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theme/themeOverride1.xml" ContentType="application/vnd.openxmlformats-officedocument.themeOverr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8" r:id="rId5"/>
  </p:sldMasterIdLst>
  <p:notesMasterIdLst>
    <p:notesMasterId r:id="rId23"/>
  </p:notesMasterIdLst>
  <p:sldIdLst>
    <p:sldId id="2676" r:id="rId6"/>
    <p:sldId id="2958" r:id="rId7"/>
    <p:sldId id="2782" r:id="rId8"/>
    <p:sldId id="2961" r:id="rId9"/>
    <p:sldId id="2924" r:id="rId10"/>
    <p:sldId id="2929" r:id="rId11"/>
    <p:sldId id="2956" r:id="rId12"/>
    <p:sldId id="2952" r:id="rId13"/>
    <p:sldId id="2953" r:id="rId14"/>
    <p:sldId id="2954" r:id="rId15"/>
    <p:sldId id="2841" r:id="rId16"/>
    <p:sldId id="2875" r:id="rId17"/>
    <p:sldId id="2890" r:id="rId18"/>
    <p:sldId id="2853" r:id="rId19"/>
    <p:sldId id="2921" r:id="rId20"/>
    <p:sldId id="2947" r:id="rId21"/>
    <p:sldId id="2865" r:id="rId22"/>
  </p:sldIdLst>
  <p:sldSz cx="12192000" cy="6858000"/>
  <p:notesSz cx="6858000" cy="9313863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azmin Rosalba Villarreal Murillo" initials="YRVM" lastIdx="1" clrIdx="0">
    <p:extLst>
      <p:ext uri="{19B8F6BF-5375-455C-9EA6-DF929625EA0E}">
        <p15:presenceInfo xmlns:p15="http://schemas.microsoft.com/office/powerpoint/2012/main" userId="S-1-5-21-349458205-2900419356-170365023-29238037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3C8"/>
    <a:srgbClr val="E69300"/>
    <a:srgbClr val="3192C0"/>
    <a:srgbClr val="00FDFF"/>
    <a:srgbClr val="076538"/>
    <a:srgbClr val="0096FF"/>
    <a:srgbClr val="009051"/>
    <a:srgbClr val="73FDD6"/>
    <a:srgbClr val="73FEFF"/>
    <a:srgbClr val="00C8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6969" autoAdjust="0"/>
    <p:restoredTop sz="96296" autoAdjust="0"/>
  </p:normalViewPr>
  <p:slideViewPr>
    <p:cSldViewPr snapToGrid="0" snapToObjects="1">
      <p:cViewPr>
        <p:scale>
          <a:sx n="100" d="100"/>
          <a:sy n="100" d="100"/>
        </p:scale>
        <p:origin x="400" y="26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22" d="100"/>
        <a:sy n="122" d="100"/>
      </p:scale>
      <p:origin x="0" y="-667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nafinsnc-my.sharepoint.com/personal/jgonzalezo_nafin_gob_mx/Documents/02%20REGAR/Estudios/Estad&#237;sticas%202021/Situacion%20Sistemas%20de%20Garantia%202021%20OK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luzstellalozanochona/Documents/SECRETARIA%20GENERAL%20/Encuestas/Encuesta%202021%20daniel/observatorio%20de%20los%20sistemas%20de%20garanti&#769;as%2019%20diciembre%202022/Situacion%20Sistemas%20de%20Garantia%202021%20OK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var/folders/97/ncg5by916zz9gn2trslwgs240000gn/T/com.microsoft.Outlook/Outlook%20Temp/Situacion%20Sistemas%20de%20Garantia%202021%20OK%5b45%5d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nafinsnc-my.sharepoint.com/personal/jgonzalezo_nafin_gob_mx/Documents/02%20REGAR/Estudios/Estad&#237;sticas%202021/Situacion%20Sistemas%20de%20Garantia%202021%20OK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nafinsnc-my.sharepoint.com/personal/jgonzalezo_nafin_gob_mx/Documents/02%20REGAR/Estudios/Estad&#237;sticas%202021/Situacion%20Sistemas%20de%20Garantia%202021%20OK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nafinsnc-my.sharepoint.com/personal/jgonzalezo_nafin_gob_mx/Documents/02%20REGAR/Estudios/Estad&#237;sticas%202021/Situacion%20Sistemas%20de%20Garantia%202021%20OK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https://nafinsnc-my.sharepoint.com/personal/jgonzalezo_nafin_gob_mx/Documents/02%20REGAR/Estudios/Estad&#237;sticas%202021/Situacion%20Sistemas%20de%20Garantia%202021%20OK.xlsx" TargetMode="External"/><Relationship Id="rId1" Type="http://schemas.openxmlformats.org/officeDocument/2006/relationships/themeOverride" Target="../theme/themeOverride1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nafinsnc-my.sharepoint.com/personal/jgonzalezo_nafin_gob_mx/Documents/02%20REGAR/Estudios/Estad&#237;sticas%202021/Situacion%20Sistemas%20de%20Garantia%202021%20OK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nafinsnc-my.sharepoint.com/personal/jgonzalezo_nafin_gob_mx/Documents/02%20REGAR/Estudios/Estad&#237;sticas%202021/Situacion%20Sistemas%20de%20Garantia%202021%20OK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gradFill flip="none" rotWithShape="1">
              <a:gsLst>
                <a:gs pos="0">
                  <a:srgbClr val="00A1DA">
                    <a:shade val="30000"/>
                    <a:satMod val="115000"/>
                  </a:srgbClr>
                </a:gs>
                <a:gs pos="50000">
                  <a:srgbClr val="00A1DA">
                    <a:shade val="67500"/>
                    <a:satMod val="115000"/>
                  </a:srgbClr>
                </a:gs>
                <a:gs pos="100000">
                  <a:srgbClr val="00A1DA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gradFill flip="none" rotWithShape="1">
                <a:gsLst>
                  <a:gs pos="0">
                    <a:schemeClr val="accent6">
                      <a:lumMod val="60000"/>
                      <a:lumOff val="40000"/>
                      <a:shade val="30000"/>
                      <a:satMod val="115000"/>
                    </a:schemeClr>
                  </a:gs>
                  <a:gs pos="50000">
                    <a:schemeClr val="accent6">
                      <a:lumMod val="60000"/>
                      <a:lumOff val="40000"/>
                      <a:shade val="67500"/>
                      <a:satMod val="115000"/>
                    </a:schemeClr>
                  </a:gs>
                  <a:gs pos="100000">
                    <a:schemeClr val="accent6">
                      <a:lumMod val="60000"/>
                      <a:lumOff val="40000"/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49F7-AB4A-B119-9F4BD9FAF4AD}"/>
              </c:ext>
            </c:extLst>
          </c:dPt>
          <c:dPt>
            <c:idx val="3"/>
            <c:invertIfNegative val="0"/>
            <c:bubble3D val="0"/>
            <c:spPr>
              <a:gradFill flip="none" rotWithShape="1">
                <a:gsLst>
                  <a:gs pos="0">
                    <a:schemeClr val="accent6">
                      <a:lumMod val="60000"/>
                      <a:lumOff val="40000"/>
                      <a:shade val="30000"/>
                      <a:satMod val="115000"/>
                    </a:schemeClr>
                  </a:gs>
                  <a:gs pos="50000">
                    <a:schemeClr val="accent6">
                      <a:lumMod val="60000"/>
                      <a:lumOff val="40000"/>
                      <a:shade val="67500"/>
                      <a:satMod val="115000"/>
                    </a:schemeClr>
                  </a:gs>
                  <a:gs pos="100000">
                    <a:schemeClr val="accent6">
                      <a:lumMod val="60000"/>
                      <a:lumOff val="40000"/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9F7-AB4A-B119-9F4BD9FAF4AD}"/>
              </c:ext>
            </c:extLst>
          </c:dPt>
          <c:dPt>
            <c:idx val="4"/>
            <c:invertIfNegative val="0"/>
            <c:bubble3D val="0"/>
            <c:spPr>
              <a:gradFill flip="none" rotWithShape="1">
                <a:gsLst>
                  <a:gs pos="0">
                    <a:srgbClr val="92D050">
                      <a:shade val="30000"/>
                      <a:satMod val="115000"/>
                    </a:srgbClr>
                  </a:gs>
                  <a:gs pos="50000">
                    <a:srgbClr val="92D050">
                      <a:shade val="67500"/>
                      <a:satMod val="115000"/>
                    </a:srgbClr>
                  </a:gs>
                  <a:gs pos="100000">
                    <a:srgbClr val="92D050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>
                <a:solidFill>
                  <a:srgbClr val="00B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49F7-AB4A-B119-9F4BD9FAF4AD}"/>
              </c:ext>
            </c:extLst>
          </c:dPt>
          <c:dPt>
            <c:idx val="5"/>
            <c:invertIfNegative val="0"/>
            <c:bubble3D val="0"/>
            <c:spPr>
              <a:gradFill flip="none" rotWithShape="1">
                <a:gsLst>
                  <a:gs pos="0">
                    <a:srgbClr val="92D050">
                      <a:shade val="30000"/>
                      <a:satMod val="115000"/>
                    </a:srgbClr>
                  </a:gs>
                  <a:gs pos="50000">
                    <a:srgbClr val="92D050">
                      <a:shade val="67500"/>
                      <a:satMod val="115000"/>
                    </a:srgbClr>
                  </a:gs>
                  <a:gs pos="100000">
                    <a:srgbClr val="92D050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9F7-AB4A-B119-9F4BD9FAF4A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77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12_Grafico_GV'!$F$110:$F$123</c:f>
              <c:strCache>
                <c:ptCount val="14"/>
                <c:pt idx="0">
                  <c:v>España</c:v>
                </c:pt>
                <c:pt idx="1">
                  <c:v>Brasil</c:v>
                </c:pt>
                <c:pt idx="2">
                  <c:v>Portugal</c:v>
                </c:pt>
                <c:pt idx="3">
                  <c:v>Chile</c:v>
                </c:pt>
                <c:pt idx="4">
                  <c:v>Mexico</c:v>
                </c:pt>
                <c:pt idx="5">
                  <c:v>Colombia</c:v>
                </c:pt>
                <c:pt idx="6">
                  <c:v>Argentina</c:v>
                </c:pt>
                <c:pt idx="7">
                  <c:v>Peru</c:v>
                </c:pt>
                <c:pt idx="8">
                  <c:v>Uruguay</c:v>
                </c:pt>
                <c:pt idx="9">
                  <c:v>El Salvador</c:v>
                </c:pt>
                <c:pt idx="10">
                  <c:v>Honduras</c:v>
                </c:pt>
                <c:pt idx="11">
                  <c:v>Ecuador</c:v>
                </c:pt>
                <c:pt idx="12">
                  <c:v>Costa Rica</c:v>
                </c:pt>
                <c:pt idx="13">
                  <c:v>Bolivia</c:v>
                </c:pt>
              </c:strCache>
            </c:strRef>
          </c:cat>
          <c:val>
            <c:numRef>
              <c:f>'12_Grafico_GV'!$H$110:$H$123</c:f>
              <c:numCache>
                <c:formatCode>_-* #,##0\ _€_-;\-* #,##0\ _€_-;_-* "-"??\ _€_-;_-@_-</c:formatCode>
                <c:ptCount val="14"/>
                <c:pt idx="0">
                  <c:v>124359.86290444306</c:v>
                </c:pt>
                <c:pt idx="1">
                  <c:v>17973.140671617595</c:v>
                </c:pt>
                <c:pt idx="2">
                  <c:v>10886.094090115161</c:v>
                </c:pt>
                <c:pt idx="3">
                  <c:v>10724.221</c:v>
                </c:pt>
                <c:pt idx="4">
                  <c:v>8502.8655854811677</c:v>
                </c:pt>
                <c:pt idx="5">
                  <c:v>7661.8883604558987</c:v>
                </c:pt>
                <c:pt idx="6">
                  <c:v>2078.9936213688457</c:v>
                </c:pt>
                <c:pt idx="7">
                  <c:v>1078.6523817231</c:v>
                </c:pt>
                <c:pt idx="8">
                  <c:v>492.76582785259404</c:v>
                </c:pt>
                <c:pt idx="9" formatCode="_(* #,##0.00_);_(* \(#,##0.00\);_(* &quot;-&quot;??_);_(@_)">
                  <c:v>180.50485628000001</c:v>
                </c:pt>
                <c:pt idx="10">
                  <c:v>153.351</c:v>
                </c:pt>
                <c:pt idx="11">
                  <c:v>110.80200000000001</c:v>
                </c:pt>
                <c:pt idx="12">
                  <c:v>55.860901683905468</c:v>
                </c:pt>
                <c:pt idx="13">
                  <c:v>0.562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55-BC47-B07E-C0BDE5DECB7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286969336"/>
        <c:axId val="286969728"/>
      </c:barChart>
      <c:catAx>
        <c:axId val="286969336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  <a:ea typeface="+mn-ea"/>
                <a:cs typeface="+mn-cs"/>
              </a:defRPr>
            </a:pPr>
            <a:endParaRPr lang="es-MX"/>
          </a:p>
        </c:txPr>
        <c:crossAx val="286969728"/>
        <c:crosses val="autoZero"/>
        <c:auto val="1"/>
        <c:lblAlgn val="ctr"/>
        <c:lblOffset val="100"/>
        <c:noMultiLvlLbl val="0"/>
      </c:catAx>
      <c:valAx>
        <c:axId val="286969728"/>
        <c:scaling>
          <c:orientation val="minMax"/>
        </c:scaling>
        <c:delete val="0"/>
        <c:axPos val="t"/>
        <c:numFmt formatCode="_-* #,##0\ _€_-;\-* #,##0\ _€_-;_-* &quot;-&quot;??\ _€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286969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es-MX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gradFill flip="none" rotWithShape="1">
              <a:gsLst>
                <a:gs pos="0">
                  <a:srgbClr val="00A1DA">
                    <a:shade val="30000"/>
                    <a:satMod val="115000"/>
                  </a:srgbClr>
                </a:gs>
                <a:gs pos="50000">
                  <a:srgbClr val="00A1DA">
                    <a:shade val="67500"/>
                    <a:satMod val="115000"/>
                  </a:srgbClr>
                </a:gs>
                <a:gs pos="100000">
                  <a:srgbClr val="00A1DA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gradFill flip="none" rotWithShape="1">
                <a:gsLst>
                  <a:gs pos="0">
                    <a:srgbClr val="92D050">
                      <a:shade val="30000"/>
                      <a:satMod val="115000"/>
                    </a:srgbClr>
                  </a:gs>
                  <a:gs pos="50000">
                    <a:srgbClr val="92D050">
                      <a:shade val="67500"/>
                      <a:satMod val="115000"/>
                    </a:srgbClr>
                  </a:gs>
                  <a:gs pos="100000">
                    <a:srgbClr val="92D050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CE5-3E41-825F-6B110B479D72}"/>
              </c:ext>
            </c:extLst>
          </c:dPt>
          <c:dPt>
            <c:idx val="3"/>
            <c:invertIfNegative val="0"/>
            <c:bubble3D val="0"/>
            <c:spPr>
              <a:gradFill flip="none" rotWithShape="1">
                <a:gsLst>
                  <a:gs pos="0">
                    <a:srgbClr val="92D050">
                      <a:shade val="30000"/>
                      <a:satMod val="115000"/>
                    </a:srgbClr>
                  </a:gs>
                  <a:gs pos="50000">
                    <a:srgbClr val="92D050">
                      <a:shade val="67500"/>
                      <a:satMod val="115000"/>
                    </a:srgbClr>
                  </a:gs>
                  <a:gs pos="100000">
                    <a:srgbClr val="92D050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CE5-3E41-825F-6B110B479D72}"/>
              </c:ext>
            </c:extLst>
          </c:dPt>
          <c:dPt>
            <c:idx val="4"/>
            <c:invertIfNegative val="0"/>
            <c:bubble3D val="0"/>
            <c:spPr>
              <a:gradFill flip="none" rotWithShape="1">
                <a:gsLst>
                  <a:gs pos="0">
                    <a:srgbClr val="92D050">
                      <a:shade val="30000"/>
                      <a:satMod val="115000"/>
                    </a:srgbClr>
                  </a:gs>
                  <a:gs pos="50000">
                    <a:srgbClr val="92D050">
                      <a:shade val="67500"/>
                      <a:satMod val="115000"/>
                    </a:srgbClr>
                  </a:gs>
                  <a:gs pos="100000">
                    <a:srgbClr val="92D050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BCE5-3E41-825F-6B110B479D72}"/>
              </c:ext>
            </c:extLst>
          </c:dPt>
          <c:dPt>
            <c:idx val="5"/>
            <c:invertIfNegative val="0"/>
            <c:bubble3D val="0"/>
            <c:spPr>
              <a:gradFill flip="none" rotWithShape="1">
                <a:gsLst>
                  <a:gs pos="0">
                    <a:srgbClr val="92D050">
                      <a:shade val="30000"/>
                      <a:satMod val="115000"/>
                    </a:srgbClr>
                  </a:gs>
                  <a:gs pos="50000">
                    <a:srgbClr val="92D050">
                      <a:shade val="67500"/>
                      <a:satMod val="115000"/>
                    </a:srgbClr>
                  </a:gs>
                  <a:gs pos="100000">
                    <a:srgbClr val="92D050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CE5-3E41-825F-6B110B479D72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77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3_Grafico_CRED'!$F$111:$F$124</c:f>
              <c:strCache>
                <c:ptCount val="14"/>
                <c:pt idx="0">
                  <c:v>España (3)</c:v>
                </c:pt>
                <c:pt idx="1">
                  <c:v>Brasil (5)</c:v>
                </c:pt>
                <c:pt idx="2">
                  <c:v>Mexico (4)</c:v>
                </c:pt>
                <c:pt idx="3">
                  <c:v>Portugal (1)</c:v>
                </c:pt>
                <c:pt idx="4">
                  <c:v>Chile (5)</c:v>
                </c:pt>
                <c:pt idx="5">
                  <c:v>Colombia (3)</c:v>
                </c:pt>
                <c:pt idx="6">
                  <c:v>Argentina (3)</c:v>
                </c:pt>
                <c:pt idx="7">
                  <c:v>Peru (2)</c:v>
                </c:pt>
                <c:pt idx="8">
                  <c:v>Uruguay (1)</c:v>
                </c:pt>
                <c:pt idx="9">
                  <c:v>Honduras (1)</c:v>
                </c:pt>
                <c:pt idx="10">
                  <c:v>El Salvador (4)</c:v>
                </c:pt>
                <c:pt idx="11">
                  <c:v>Ecuador (1)</c:v>
                </c:pt>
                <c:pt idx="12">
                  <c:v>Costa Rica (2)</c:v>
                </c:pt>
                <c:pt idx="13">
                  <c:v>Bolivia (2)</c:v>
                </c:pt>
              </c:strCache>
            </c:strRef>
          </c:cat>
          <c:val>
            <c:numRef>
              <c:f>'13_Grafico_CRED'!$H$111:$H$124</c:f>
              <c:numCache>
                <c:formatCode>_-* #,##0\ _€_-;\-* #,##0\ _€_-;_-* "-"??\ _€_-;_-@_-</c:formatCode>
                <c:ptCount val="14"/>
                <c:pt idx="0">
                  <c:v>159577.40401155449</c:v>
                </c:pt>
                <c:pt idx="1">
                  <c:v>19807.131773623667</c:v>
                </c:pt>
                <c:pt idx="2">
                  <c:v>17478.188289865844</c:v>
                </c:pt>
                <c:pt idx="3">
                  <c:v>14666.749218142935</c:v>
                </c:pt>
                <c:pt idx="4">
                  <c:v>14152.029</c:v>
                </c:pt>
                <c:pt idx="5">
                  <c:v>10493.756828311778</c:v>
                </c:pt>
                <c:pt idx="6">
                  <c:v>2116.4538032388209</c:v>
                </c:pt>
                <c:pt idx="7">
                  <c:v>1207.6323817231</c:v>
                </c:pt>
                <c:pt idx="8">
                  <c:v>806.03645980434101</c:v>
                </c:pt>
                <c:pt idx="9">
                  <c:v>314.19299999999998</c:v>
                </c:pt>
                <c:pt idx="10">
                  <c:v>304.82283261999925</c:v>
                </c:pt>
                <c:pt idx="11">
                  <c:v>164.82499999999999</c:v>
                </c:pt>
                <c:pt idx="12">
                  <c:v>146.11589188172027</c:v>
                </c:pt>
                <c:pt idx="13">
                  <c:v>1.125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98-5646-B269-455B22989D9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287637752"/>
        <c:axId val="287643240"/>
      </c:barChart>
      <c:catAx>
        <c:axId val="28763775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  <a:ea typeface="+mn-ea"/>
                <a:cs typeface="+mn-cs"/>
              </a:defRPr>
            </a:pPr>
            <a:endParaRPr lang="es-MX"/>
          </a:p>
        </c:txPr>
        <c:crossAx val="287643240"/>
        <c:crosses val="autoZero"/>
        <c:auto val="1"/>
        <c:lblAlgn val="ctr"/>
        <c:lblOffset val="100"/>
        <c:noMultiLvlLbl val="0"/>
      </c:catAx>
      <c:valAx>
        <c:axId val="287643240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287637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+mj-lt"/>
        </a:defRPr>
      </a:pPr>
      <a:endParaRPr lang="es-MX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14_Saldo_PYME'!$G$5</c:f>
              <c:strCache>
                <c:ptCount val="1"/>
                <c:pt idx="0">
                  <c:v>Saldo PYMES 2018</c:v>
                </c:pt>
              </c:strCache>
            </c:strRef>
          </c:tx>
          <c:spPr>
            <a:gradFill flip="none" rotWithShape="1">
              <a:gsLst>
                <a:gs pos="0">
                  <a:srgbClr val="00A1DA">
                    <a:shade val="30000"/>
                    <a:satMod val="115000"/>
                  </a:srgbClr>
                </a:gs>
                <a:gs pos="50000">
                  <a:srgbClr val="00A1DA">
                    <a:shade val="67500"/>
                    <a:satMod val="115000"/>
                  </a:srgbClr>
                </a:gs>
                <a:gs pos="100000">
                  <a:srgbClr val="00A1DA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gradFill flip="none" rotWithShape="1">
                <a:gsLst>
                  <a:gs pos="0">
                    <a:srgbClr val="92D050">
                      <a:shade val="30000"/>
                      <a:satMod val="115000"/>
                    </a:srgbClr>
                  </a:gs>
                  <a:gs pos="50000">
                    <a:srgbClr val="92D050">
                      <a:shade val="67500"/>
                      <a:satMod val="115000"/>
                    </a:srgbClr>
                  </a:gs>
                  <a:gs pos="100000">
                    <a:srgbClr val="92D050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2CF9-6344-8645-6CA7BB49EB21}"/>
              </c:ext>
            </c:extLst>
          </c:dPt>
          <c:dPt>
            <c:idx val="1"/>
            <c:invertIfNegative val="0"/>
            <c:bubble3D val="0"/>
            <c:spPr>
              <a:gradFill flip="none" rotWithShape="1">
                <a:gsLst>
                  <a:gs pos="0">
                    <a:srgbClr val="92D050">
                      <a:shade val="30000"/>
                      <a:satMod val="115000"/>
                    </a:srgbClr>
                  </a:gs>
                  <a:gs pos="50000">
                    <a:srgbClr val="92D050">
                      <a:shade val="67500"/>
                      <a:satMod val="115000"/>
                    </a:srgbClr>
                  </a:gs>
                  <a:gs pos="100000">
                    <a:srgbClr val="92D050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2CF9-6344-8645-6CA7BB49EB21}"/>
              </c:ext>
            </c:extLst>
          </c:dPt>
          <c:dPt>
            <c:idx val="5"/>
            <c:invertIfNegative val="0"/>
            <c:bubble3D val="0"/>
            <c:spPr>
              <a:gradFill flip="none" rotWithShape="1">
                <a:gsLst>
                  <a:gs pos="0">
                    <a:srgbClr val="92D050">
                      <a:shade val="30000"/>
                      <a:satMod val="115000"/>
                    </a:srgbClr>
                  </a:gs>
                  <a:gs pos="50000">
                    <a:srgbClr val="92D050">
                      <a:shade val="67500"/>
                      <a:satMod val="115000"/>
                    </a:srgbClr>
                  </a:gs>
                  <a:gs pos="100000">
                    <a:srgbClr val="92D050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CF9-6344-8645-6CA7BB49EB21}"/>
              </c:ext>
            </c:extLst>
          </c:dPt>
          <c:dPt>
            <c:idx val="7"/>
            <c:invertIfNegative val="0"/>
            <c:bubble3D val="0"/>
            <c:spPr>
              <a:gradFill flip="none" rotWithShape="1">
                <a:gsLst>
                  <a:gs pos="0">
                    <a:srgbClr val="92D050">
                      <a:shade val="30000"/>
                      <a:satMod val="115000"/>
                    </a:srgbClr>
                  </a:gs>
                  <a:gs pos="50000">
                    <a:srgbClr val="92D050">
                      <a:shade val="67500"/>
                      <a:satMod val="115000"/>
                    </a:srgbClr>
                  </a:gs>
                  <a:gs pos="100000">
                    <a:srgbClr val="92D050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CF9-6344-8645-6CA7BB49EB21}"/>
              </c:ext>
            </c:extLst>
          </c:dPt>
          <c:dLbls>
            <c:dLbl>
              <c:idx val="8"/>
              <c:layout>
                <c:manualLayout>
                  <c:x val="4.9791816949203973E-3"/>
                  <c:y val="1.2848480675640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1D5-BF49-8F0A-01C3748DC98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ontserrat" pitchFamily="2" charset="77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14_Saldo_PYME'!$F$114:$F$127</c:f>
              <c:strCache>
                <c:ptCount val="14"/>
                <c:pt idx="0">
                  <c:v>Colombia (3)</c:v>
                </c:pt>
                <c:pt idx="1">
                  <c:v>Mexico (4)</c:v>
                </c:pt>
                <c:pt idx="2">
                  <c:v>Brasil (5)</c:v>
                </c:pt>
                <c:pt idx="3">
                  <c:v>España (3)</c:v>
                </c:pt>
                <c:pt idx="4">
                  <c:v>Argentina (3)</c:v>
                </c:pt>
                <c:pt idx="5">
                  <c:v>Chile (5)</c:v>
                </c:pt>
                <c:pt idx="6">
                  <c:v>Peru (2)</c:v>
                </c:pt>
                <c:pt idx="7">
                  <c:v>Portugal (1)</c:v>
                </c:pt>
                <c:pt idx="8">
                  <c:v>Honduras (1)</c:v>
                </c:pt>
                <c:pt idx="9">
                  <c:v>El Salvador (4)</c:v>
                </c:pt>
                <c:pt idx="10">
                  <c:v>Uruguay (1)</c:v>
                </c:pt>
                <c:pt idx="11">
                  <c:v>Costa Rica (2)</c:v>
                </c:pt>
                <c:pt idx="12">
                  <c:v>Ecuador (1)</c:v>
                </c:pt>
                <c:pt idx="13">
                  <c:v>Bolivia (2)</c:v>
                </c:pt>
              </c:strCache>
            </c:strRef>
          </c:cat>
          <c:val>
            <c:numRef>
              <c:f>'14_Saldo_PYME'!$G$114:$G$127</c:f>
              <c:numCache>
                <c:formatCode>_-* #,##0\ _€_-;\-* #,##0\ _€_-;_-* "-"??\ _€_-;_-@_-</c:formatCode>
                <c:ptCount val="14"/>
                <c:pt idx="0">
                  <c:v>2039431</c:v>
                </c:pt>
                <c:pt idx="1">
                  <c:v>1598338</c:v>
                </c:pt>
                <c:pt idx="2">
                  <c:v>1096979</c:v>
                </c:pt>
                <c:pt idx="3">
                  <c:v>816188</c:v>
                </c:pt>
                <c:pt idx="4">
                  <c:v>492287</c:v>
                </c:pt>
                <c:pt idx="5">
                  <c:v>450727</c:v>
                </c:pt>
                <c:pt idx="6">
                  <c:v>167461</c:v>
                </c:pt>
                <c:pt idx="7">
                  <c:v>87747</c:v>
                </c:pt>
                <c:pt idx="8">
                  <c:v>49338</c:v>
                </c:pt>
                <c:pt idx="9">
                  <c:v>31825</c:v>
                </c:pt>
                <c:pt idx="10">
                  <c:v>28139</c:v>
                </c:pt>
                <c:pt idx="11">
                  <c:v>6071</c:v>
                </c:pt>
                <c:pt idx="12">
                  <c:v>4414</c:v>
                </c:pt>
                <c:pt idx="13">
                  <c:v>2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D5-BF49-8F0A-01C3748DC98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287640104"/>
        <c:axId val="287642064"/>
      </c:barChart>
      <c:catAx>
        <c:axId val="28764010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  <a:ea typeface="+mn-ea"/>
                <a:cs typeface="+mn-cs"/>
              </a:defRPr>
            </a:pPr>
            <a:endParaRPr lang="es-MX"/>
          </a:p>
        </c:txPr>
        <c:crossAx val="287642064"/>
        <c:crosses val="autoZero"/>
        <c:auto val="1"/>
        <c:lblAlgn val="ctr"/>
        <c:lblOffset val="100"/>
        <c:noMultiLvlLbl val="0"/>
      </c:catAx>
      <c:valAx>
        <c:axId val="287642064"/>
        <c:scaling>
          <c:orientation val="minMax"/>
        </c:scaling>
        <c:delete val="0"/>
        <c:axPos val="t"/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287640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949176807444522E-2"/>
          <c:y val="0.17195541401669831"/>
          <c:w val="0.93974936087534489"/>
          <c:h val="0.7271320139474026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05_Saldo stock PYMES'!$B$3</c:f>
              <c:strCache>
                <c:ptCount val="1"/>
                <c:pt idx="0">
                  <c:v>Saldo/stock PYMES</c:v>
                </c:pt>
              </c:strCache>
            </c:strRef>
          </c:tx>
          <c:spPr>
            <a:gradFill flip="none" rotWithShape="1">
              <a:gsLst>
                <a:gs pos="0">
                  <a:srgbClr val="00A1DA">
                    <a:shade val="30000"/>
                    <a:satMod val="115000"/>
                  </a:srgbClr>
                </a:gs>
                <a:gs pos="50000">
                  <a:srgbClr val="00A1DA">
                    <a:shade val="67500"/>
                    <a:satMod val="115000"/>
                  </a:srgbClr>
                </a:gs>
                <a:gs pos="100000">
                  <a:srgbClr val="00A1DA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43C-A843-A967-56C29B95F0E6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43C-A843-A967-56C29B95F0E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43C-A843-A967-56C29B95F0E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43C-A843-A967-56C29B95F0E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43C-A843-A967-56C29B95F0E6}"/>
              </c:ext>
            </c:extLst>
          </c:dPt>
          <c:dLbls>
            <c:delete val="1"/>
          </c:dLbls>
          <c:cat>
            <c:numRef>
              <c:f>'05_Saldo stock PYMES'!$C$2:$L$2</c:f>
              <c:numCache>
                <c:formatCode>General</c:formatCode>
                <c:ptCount val="10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cat>
          <c:val>
            <c:numRef>
              <c:f>'05_Saldo stock PYMES'!$C$3:$L$3</c:f>
              <c:numCache>
                <c:formatCode>#,##0</c:formatCode>
                <c:ptCount val="10"/>
                <c:pt idx="0">
                  <c:v>688730</c:v>
                </c:pt>
                <c:pt idx="1">
                  <c:v>1288248</c:v>
                </c:pt>
                <c:pt idx="2">
                  <c:v>3334456</c:v>
                </c:pt>
                <c:pt idx="3">
                  <c:v>3803173</c:v>
                </c:pt>
                <c:pt idx="4">
                  <c:v>3750259</c:v>
                </c:pt>
                <c:pt idx="5">
                  <c:v>3654872</c:v>
                </c:pt>
                <c:pt idx="6">
                  <c:v>3679485</c:v>
                </c:pt>
                <c:pt idx="7">
                  <c:v>3524152.7515942734</c:v>
                </c:pt>
                <c:pt idx="8">
                  <c:v>6414185.6044883039</c:v>
                </c:pt>
                <c:pt idx="9">
                  <c:v>59637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43C-A843-A967-56C29B95F0E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38"/>
        <c:overlap val="-24"/>
        <c:axId val="285787944"/>
        <c:axId val="285793432"/>
      </c:barChart>
      <c:catAx>
        <c:axId val="285787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pPr>
            <a:endParaRPr lang="es-MX"/>
          </a:p>
        </c:txPr>
        <c:crossAx val="285793432"/>
        <c:crosses val="autoZero"/>
        <c:auto val="1"/>
        <c:lblAlgn val="ctr"/>
        <c:lblOffset val="100"/>
        <c:noMultiLvlLbl val="0"/>
      </c:catAx>
      <c:valAx>
        <c:axId val="285793432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285787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j-lt"/>
        </a:defRPr>
      </a:pPr>
      <a:endParaRPr lang="es-MX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347825595760848E-2"/>
          <c:y val="6.2219528675820084E-2"/>
          <c:w val="0.97533180614996606"/>
          <c:h val="0.806103669028163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05_Saldo stock PYMES'!$B$4</c:f>
              <c:strCache>
                <c:ptCount val="1"/>
                <c:pt idx="0">
                  <c:v>Garantias Vivas (US$ MILL)</c:v>
                </c:pt>
              </c:strCache>
            </c:strRef>
          </c:tx>
          <c:spPr>
            <a:gradFill flip="none" rotWithShape="1">
              <a:gsLst>
                <a:gs pos="0">
                  <a:schemeClr val="accent2">
                    <a:shade val="30000"/>
                    <a:satMod val="115000"/>
                  </a:schemeClr>
                </a:gs>
                <a:gs pos="50000">
                  <a:schemeClr val="accent2">
                    <a:shade val="67500"/>
                    <a:satMod val="115000"/>
                  </a:schemeClr>
                </a:gs>
                <a:gs pos="100000">
                  <a:schemeClr val="accent2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numRef>
              <c:f>'05_Saldo stock PYMES'!$C$2:$L$2</c:f>
              <c:numCache>
                <c:formatCode>General</c:formatCode>
                <c:ptCount val="10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cat>
          <c:val>
            <c:numRef>
              <c:f>'05_Saldo stock PYMES'!$C$4:$L$4</c:f>
              <c:numCache>
                <c:formatCode>#,##0</c:formatCode>
                <c:ptCount val="10"/>
                <c:pt idx="0">
                  <c:v>2258</c:v>
                </c:pt>
                <c:pt idx="1">
                  <c:v>4836</c:v>
                </c:pt>
                <c:pt idx="2">
                  <c:v>18785</c:v>
                </c:pt>
                <c:pt idx="3">
                  <c:v>22121</c:v>
                </c:pt>
                <c:pt idx="4">
                  <c:v>21820</c:v>
                </c:pt>
                <c:pt idx="5">
                  <c:v>21969</c:v>
                </c:pt>
                <c:pt idx="6">
                  <c:v>20814</c:v>
                </c:pt>
                <c:pt idx="7">
                  <c:v>21847.017977397787</c:v>
                </c:pt>
                <c:pt idx="8">
                  <c:v>66202.730129461357</c:v>
                </c:pt>
                <c:pt idx="9">
                  <c:v>48973.854206463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1B-184E-BE53-0EB7DAB58E6C}"/>
            </c:ext>
          </c:extLst>
        </c:ser>
        <c:ser>
          <c:idx val="1"/>
          <c:order val="1"/>
          <c:tx>
            <c:strRef>
              <c:f>'05_Saldo stock PYMES'!$B$5</c:f>
              <c:strCache>
                <c:ptCount val="1"/>
                <c:pt idx="0">
                  <c:v>Saldo de crédito (US$ MILL)</c:v>
                </c:pt>
              </c:strCache>
            </c:strRef>
          </c:tx>
          <c:spPr>
            <a:gradFill flip="none" rotWithShape="1">
              <a:gsLst>
                <a:gs pos="0">
                  <a:srgbClr val="92D050">
                    <a:shade val="30000"/>
                    <a:satMod val="115000"/>
                  </a:srgbClr>
                </a:gs>
                <a:gs pos="50000">
                  <a:srgbClr val="92D050">
                    <a:shade val="67500"/>
                    <a:satMod val="115000"/>
                  </a:srgbClr>
                </a:gs>
                <a:gs pos="100000">
                  <a:srgbClr val="92D050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numRef>
              <c:f>'05_Saldo stock PYMES'!$C$2:$L$2</c:f>
              <c:numCache>
                <c:formatCode>General</c:formatCode>
                <c:ptCount val="10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cat>
          <c:val>
            <c:numRef>
              <c:f>'05_Saldo stock PYMES'!$C$5:$L$5</c:f>
              <c:numCache>
                <c:formatCode>#,##0</c:formatCode>
                <c:ptCount val="10"/>
                <c:pt idx="0">
                  <c:v>3675</c:v>
                </c:pt>
                <c:pt idx="1">
                  <c:v>7653</c:v>
                </c:pt>
                <c:pt idx="2">
                  <c:v>30526</c:v>
                </c:pt>
                <c:pt idx="3">
                  <c:v>35818</c:v>
                </c:pt>
                <c:pt idx="4">
                  <c:v>35807</c:v>
                </c:pt>
                <c:pt idx="5">
                  <c:v>36664</c:v>
                </c:pt>
                <c:pt idx="6">
                  <c:v>34867</c:v>
                </c:pt>
                <c:pt idx="7">
                  <c:v>40179.18276836881</c:v>
                </c:pt>
                <c:pt idx="8">
                  <c:v>88658.035896192538</c:v>
                </c:pt>
                <c:pt idx="9">
                  <c:v>66878.669261069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A1B-184E-BE53-0EB7DAB58E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285789512"/>
        <c:axId val="285792256"/>
      </c:barChart>
      <c:catAx>
        <c:axId val="285789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pPr>
            <a:endParaRPr lang="es-MX"/>
          </a:p>
        </c:txPr>
        <c:crossAx val="285792256"/>
        <c:crosses val="autoZero"/>
        <c:auto val="1"/>
        <c:lblAlgn val="ctr"/>
        <c:lblOffset val="100"/>
        <c:noMultiLvlLbl val="0"/>
      </c:catAx>
      <c:valAx>
        <c:axId val="285792256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2857895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+mj-lt"/>
        </a:defRPr>
      </a:pPr>
      <a:endParaRPr lang="es-MX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2"/>
          <c:order val="0"/>
          <c:tx>
            <c:strRef>
              <c:f>'06_Graficos_1'!$A$8</c:f>
              <c:strCache>
                <c:ptCount val="1"/>
                <c:pt idx="0">
                  <c:v>Saldo de crédito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00B0F0"/>
              </a:solidFill>
            </a:ln>
            <a:effectLst>
              <a:outerShdw blurRad="50800" dist="50800" dir="5400000" algn="ctr" rotWithShape="0">
                <a:schemeClr val="bg1"/>
              </a:outerShdw>
            </a:effectLst>
          </c:spPr>
          <c:invertIfNegative val="0"/>
          <c:dPt>
            <c:idx val="1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solidFill>
                  <a:srgbClr val="00B0F0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4D47-A448-B2C4-1F39C435643B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solidFill>
                  <a:srgbClr val="00B0F0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4D47-A448-B2C4-1F39C435643B}"/>
              </c:ext>
            </c:extLst>
          </c:dPt>
          <c:dPt>
            <c:idx val="11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solidFill>
                  <a:srgbClr val="00B0F0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4D47-A448-B2C4-1F39C435643B}"/>
              </c:ext>
            </c:extLst>
          </c:dPt>
          <c:dPt>
            <c:idx val="17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solidFill>
                  <a:srgbClr val="00B0F0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4D47-A448-B2C4-1F39C435643B}"/>
              </c:ext>
            </c:extLst>
          </c:dPt>
          <c:dPt>
            <c:idx val="18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solidFill>
                  <a:srgbClr val="00B0F0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4D47-A448-B2C4-1F39C435643B}"/>
              </c:ext>
            </c:extLst>
          </c:dPt>
          <c:dPt>
            <c:idx val="19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solidFill>
                  <a:srgbClr val="00B0F0"/>
                </a:solidFill>
              </a:ln>
              <a:effectLst>
                <a:outerShdw blurRad="50800" dist="50800" dir="5400000" algn="ctr" rotWithShape="0">
                  <a:schemeClr val="bg1"/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4D47-A448-B2C4-1F39C435643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06_Graficos_1'!$B$5:$U$5</c:f>
              <c:numCache>
                <c:formatCode>General</c:formatCode>
                <c:ptCount val="20"/>
                <c:pt idx="0">
                  <c:v>1998</c:v>
                </c:pt>
                <c:pt idx="1">
                  <c:v>2000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  <c:pt idx="19">
                  <c:v>2021</c:v>
                </c:pt>
              </c:numCache>
            </c:numRef>
          </c:cat>
          <c:val>
            <c:numRef>
              <c:f>'06_Graficos_1'!$B$8:$U$8</c:f>
              <c:numCache>
                <c:formatCode>#,##0</c:formatCode>
                <c:ptCount val="20"/>
                <c:pt idx="0">
                  <c:v>1307000</c:v>
                </c:pt>
                <c:pt idx="1">
                  <c:v>3675000</c:v>
                </c:pt>
                <c:pt idx="2">
                  <c:v>6148683</c:v>
                </c:pt>
                <c:pt idx="3">
                  <c:v>7653885</c:v>
                </c:pt>
                <c:pt idx="4">
                  <c:v>9366974</c:v>
                </c:pt>
                <c:pt idx="5">
                  <c:v>12065011</c:v>
                </c:pt>
                <c:pt idx="6">
                  <c:v>14042477</c:v>
                </c:pt>
                <c:pt idx="7">
                  <c:v>21998009</c:v>
                </c:pt>
                <c:pt idx="8">
                  <c:v>30526614</c:v>
                </c:pt>
                <c:pt idx="9">
                  <c:v>32773594</c:v>
                </c:pt>
                <c:pt idx="10">
                  <c:v>39436149.649999999</c:v>
                </c:pt>
                <c:pt idx="11">
                  <c:v>44324466</c:v>
                </c:pt>
                <c:pt idx="12">
                  <c:v>43268664.031940021</c:v>
                </c:pt>
                <c:pt idx="13">
                  <c:v>35480661.390954301</c:v>
                </c:pt>
                <c:pt idx="14">
                  <c:v>35798068.961260967</c:v>
                </c:pt>
                <c:pt idx="15">
                  <c:v>36660007</c:v>
                </c:pt>
                <c:pt idx="16">
                  <c:v>35843227.227844492</c:v>
                </c:pt>
                <c:pt idx="17">
                  <c:v>40179182.76836881</c:v>
                </c:pt>
                <c:pt idx="18">
                  <c:v>88658035.896192536</c:v>
                </c:pt>
                <c:pt idx="19">
                  <c:v>66992311.2610692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E-0700-1C40-8CC7-B2C9293F3B8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999951224"/>
        <c:axId val="999954176"/>
      </c:barChart>
      <c:catAx>
        <c:axId val="999951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  <a:ea typeface="+mn-ea"/>
                <a:cs typeface="+mn-cs"/>
              </a:defRPr>
            </a:pPr>
            <a:endParaRPr lang="es-MX"/>
          </a:p>
        </c:txPr>
        <c:crossAx val="999954176"/>
        <c:crosses val="autoZero"/>
        <c:auto val="1"/>
        <c:lblAlgn val="ctr"/>
        <c:lblOffset val="100"/>
        <c:noMultiLvlLbl val="0"/>
      </c:catAx>
      <c:valAx>
        <c:axId val="9999541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s-MX"/>
          </a:p>
        </c:txPr>
        <c:crossAx val="999951224"/>
        <c:crosses val="autoZero"/>
        <c:crossBetween val="between"/>
        <c:dispUnits>
          <c:builtInUnit val="thousand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</c:dispUnitsLbl>
        </c:dispUnits>
      </c:valAx>
      <c:spPr>
        <a:noFill/>
        <a:ln w="28575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07_Graficos_2'!$B$4</c:f>
              <c:strCache>
                <c:ptCount val="1"/>
                <c:pt idx="0">
                  <c:v>Saldo PYMEs</c:v>
                </c:pt>
              </c:strCache>
            </c:strRef>
          </c:tx>
          <c:spPr>
            <a:ln w="41275">
              <a:solidFill>
                <a:srgbClr val="ED7D31"/>
              </a:solidFill>
            </a:ln>
          </c:spPr>
          <c:marker>
            <c:symbol val="none"/>
          </c:marker>
          <c:dLbls>
            <c:dLbl>
              <c:idx val="1"/>
              <c:layout>
                <c:manualLayout>
                  <c:x val="-3.777696993323721E-2"/>
                  <c:y val="-6.707768580611756E-2"/>
                </c:manualLayout>
              </c:layout>
              <c:spPr>
                <a:solidFill>
                  <a:srgbClr val="DEEBF7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latin typeface="Montserrat" pitchFamily="2" charset="77"/>
                    </a:defRPr>
                  </a:pPr>
                  <a:endParaRPr lang="es-MX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557-F54C-9377-A06E5E95121A}"/>
                </c:ext>
              </c:extLst>
            </c:dLbl>
            <c:dLbl>
              <c:idx val="3"/>
              <c:layout>
                <c:manualLayout>
                  <c:x val="-3.5884228935434442E-2"/>
                  <c:y val="-6.2856236263168996E-2"/>
                </c:manualLayout>
              </c:layout>
              <c:spPr>
                <a:solidFill>
                  <a:srgbClr val="DEEBF7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latin typeface="Montserrat" pitchFamily="2" charset="77"/>
                    </a:defRPr>
                  </a:pPr>
                  <a:endParaRPr lang="es-MX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557-F54C-9377-A06E5E95121A}"/>
                </c:ext>
              </c:extLst>
            </c:dLbl>
            <c:dLbl>
              <c:idx val="11"/>
              <c:layout>
                <c:manualLayout>
                  <c:x val="-4.6379594543285052E-2"/>
                  <c:y val="-2.6197765410146585E-2"/>
                </c:manualLayout>
              </c:layout>
              <c:spPr>
                <a:solidFill>
                  <a:srgbClr val="DEEBF7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latin typeface="Montserrat" pitchFamily="2" charset="77"/>
                    </a:defRPr>
                  </a:pPr>
                  <a:endParaRPr lang="es-MX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557-F54C-9377-A06E5E95121A}"/>
                </c:ext>
              </c:extLst>
            </c:dLbl>
            <c:dLbl>
              <c:idx val="17"/>
              <c:layout>
                <c:manualLayout>
                  <c:x val="-3.5854074369634073E-2"/>
                  <c:y val="3.6653243375413598E-2"/>
                </c:manualLayout>
              </c:layout>
              <c:spPr>
                <a:solidFill>
                  <a:srgbClr val="DEEBF7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latin typeface="Montserrat" pitchFamily="2" charset="77"/>
                    </a:defRPr>
                  </a:pPr>
                  <a:endParaRPr lang="es-MX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557-F54C-9377-A06E5E95121A}"/>
                </c:ext>
              </c:extLst>
            </c:dLbl>
            <c:dLbl>
              <c:idx val="18"/>
              <c:spPr>
                <a:solidFill>
                  <a:srgbClr val="DEEBF7"/>
                </a:solidFill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latin typeface="Montserrat" pitchFamily="2" charset="77"/>
                    </a:defRPr>
                  </a:pPr>
                  <a:endParaRPr lang="es-MX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25C-9143-B006-2B9C9A4C0D03}"/>
                </c:ext>
              </c:extLst>
            </c:dLbl>
            <c:dLbl>
              <c:idx val="19"/>
              <c:layout>
                <c:manualLayout>
                  <c:x val="-1.2515130250480835E-3"/>
                  <c:y val="3.9361338150628165E-2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200" b="1"/>
                    </a:pPr>
                    <a:fld id="{5BD23FA5-16F4-874A-A106-5A3720B0C81A}" type="VALUE">
                      <a:rPr lang="en-US" sz="1200" b="1" i="0">
                        <a:latin typeface="Montserrat" pitchFamily="2" charset="77"/>
                      </a:rPr>
                      <a:pPr>
                        <a:defRPr sz="1200" b="1"/>
                      </a:pPr>
                      <a:t>[VALOR]</a:t>
                    </a:fld>
                    <a:endParaRPr lang="es-MX"/>
                  </a:p>
                </c:rich>
              </c:tx>
              <c:spPr>
                <a:solidFill>
                  <a:srgbClr val="DEEBF7"/>
                </a:solidFill>
                <a:ln>
                  <a:noFill/>
                </a:ln>
                <a:effectLst/>
              </c:sp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0557-F54C-9377-A06E5E95121A}"/>
                </c:ext>
              </c:extLst>
            </c:dLbl>
            <c:spPr>
              <a:solidFill>
                <a:srgbClr val="DEEBF7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s-MX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07_Graficos_2'!$C$3:$V$3</c:f>
              <c:numCache>
                <c:formatCode>General</c:formatCode>
                <c:ptCount val="20"/>
                <c:pt idx="0">
                  <c:v>1998</c:v>
                </c:pt>
                <c:pt idx="1">
                  <c:v>2000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  <c:pt idx="19">
                  <c:v>2021</c:v>
                </c:pt>
              </c:numCache>
            </c:numRef>
          </c:cat>
          <c:val>
            <c:numRef>
              <c:f>'07_Graficos_2'!$C$4:$V$4</c:f>
              <c:numCache>
                <c:formatCode>#,##0</c:formatCode>
                <c:ptCount val="20"/>
                <c:pt idx="0">
                  <c:v>255427</c:v>
                </c:pt>
                <c:pt idx="1">
                  <c:v>688730</c:v>
                </c:pt>
                <c:pt idx="2">
                  <c:v>1031680</c:v>
                </c:pt>
                <c:pt idx="3">
                  <c:v>1288248</c:v>
                </c:pt>
                <c:pt idx="4">
                  <c:v>1713431</c:v>
                </c:pt>
                <c:pt idx="5">
                  <c:v>1934704</c:v>
                </c:pt>
                <c:pt idx="6">
                  <c:v>2104308</c:v>
                </c:pt>
                <c:pt idx="7">
                  <c:v>2546841</c:v>
                </c:pt>
                <c:pt idx="8">
                  <c:v>3334456</c:v>
                </c:pt>
                <c:pt idx="9">
                  <c:v>3796807</c:v>
                </c:pt>
                <c:pt idx="10">
                  <c:v>3889835</c:v>
                </c:pt>
                <c:pt idx="11">
                  <c:v>4112894</c:v>
                </c:pt>
                <c:pt idx="12">
                  <c:v>3893284</c:v>
                </c:pt>
                <c:pt idx="13">
                  <c:v>3803173</c:v>
                </c:pt>
                <c:pt idx="14">
                  <c:v>3750259</c:v>
                </c:pt>
                <c:pt idx="15">
                  <c:v>3654872</c:v>
                </c:pt>
                <c:pt idx="16">
                  <c:v>3679485</c:v>
                </c:pt>
                <c:pt idx="17">
                  <c:v>3524152.7515942734</c:v>
                </c:pt>
                <c:pt idx="18">
                  <c:v>6414185.6044883039</c:v>
                </c:pt>
                <c:pt idx="19">
                  <c:v>59637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557-F54C-9377-A06E5E9512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86537704"/>
        <c:axId val="286542016"/>
      </c:lineChart>
      <c:catAx>
        <c:axId val="2865377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86542016"/>
        <c:crosses val="autoZero"/>
        <c:auto val="1"/>
        <c:lblAlgn val="ctr"/>
        <c:lblOffset val="100"/>
        <c:noMultiLvlLbl val="0"/>
      </c:catAx>
      <c:valAx>
        <c:axId val="286542016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28653770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400">
          <a:latin typeface="+mj-lt"/>
        </a:defRPr>
      </a:pPr>
      <a:endParaRPr lang="es-MX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06_Graficos_1'!$A$6</c:f>
              <c:strCache>
                <c:ptCount val="1"/>
                <c:pt idx="0">
                  <c:v>Recursos permanentes</c:v>
                </c:pt>
              </c:strCache>
            </c:strRef>
          </c:tx>
          <c:spPr>
            <a:gradFill flip="none" rotWithShape="1">
              <a:gsLst>
                <a:gs pos="0">
                  <a:srgbClr val="92D050">
                    <a:shade val="30000"/>
                    <a:satMod val="115000"/>
                  </a:srgbClr>
                </a:gs>
                <a:gs pos="50000">
                  <a:srgbClr val="92D050">
                    <a:shade val="67500"/>
                    <a:satMod val="115000"/>
                  </a:srgbClr>
                </a:gs>
                <a:gs pos="100000">
                  <a:srgbClr val="92D05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>
              <a:solidFill>
                <a:schemeClr val="accent3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06_Graficos_1'!$B$5:$U$5</c:f>
              <c:numCache>
                <c:formatCode>General</c:formatCode>
                <c:ptCount val="20"/>
                <c:pt idx="0">
                  <c:v>1998</c:v>
                </c:pt>
                <c:pt idx="1">
                  <c:v>2000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  <c:pt idx="19">
                  <c:v>2021</c:v>
                </c:pt>
              </c:numCache>
            </c:numRef>
          </c:cat>
          <c:val>
            <c:numRef>
              <c:f>'06_Graficos_1'!$B$6:$U$6</c:f>
              <c:numCache>
                <c:formatCode>#,##0</c:formatCode>
                <c:ptCount val="20"/>
                <c:pt idx="0">
                  <c:v>417630</c:v>
                </c:pt>
                <c:pt idx="1">
                  <c:v>592400</c:v>
                </c:pt>
                <c:pt idx="2">
                  <c:v>1190372</c:v>
                </c:pt>
                <c:pt idx="3">
                  <c:v>1514701</c:v>
                </c:pt>
                <c:pt idx="4">
                  <c:v>1551162</c:v>
                </c:pt>
                <c:pt idx="5">
                  <c:v>1991027</c:v>
                </c:pt>
                <c:pt idx="6">
                  <c:v>2617686.1</c:v>
                </c:pt>
                <c:pt idx="7">
                  <c:v>4629278</c:v>
                </c:pt>
                <c:pt idx="8">
                  <c:v>5303925</c:v>
                </c:pt>
                <c:pt idx="9">
                  <c:v>5623281.4000000004</c:v>
                </c:pt>
                <c:pt idx="10">
                  <c:v>6452492.8431372549</c:v>
                </c:pt>
                <c:pt idx="11">
                  <c:v>6954380.6808510637</c:v>
                </c:pt>
                <c:pt idx="12">
                  <c:v>7083185.7326415088</c:v>
                </c:pt>
                <c:pt idx="13">
                  <c:v>6725039.7774932515</c:v>
                </c:pt>
                <c:pt idx="14">
                  <c:v>6960668</c:v>
                </c:pt>
                <c:pt idx="15">
                  <c:v>8069747</c:v>
                </c:pt>
                <c:pt idx="16">
                  <c:v>8357409</c:v>
                </c:pt>
                <c:pt idx="17">
                  <c:v>8149016.7807477778</c:v>
                </c:pt>
                <c:pt idx="18">
                  <c:v>16051237.885400025</c:v>
                </c:pt>
                <c:pt idx="19">
                  <c:v>8846861.21966405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700-1C40-8CC7-B2C9293F3B8E}"/>
            </c:ext>
          </c:extLst>
        </c:ser>
        <c:ser>
          <c:idx val="1"/>
          <c:order val="1"/>
          <c:tx>
            <c:strRef>
              <c:f>'06_Graficos_1'!$A$7</c:f>
              <c:strCache>
                <c:ptCount val="1"/>
                <c:pt idx="0">
                  <c:v>Garantías vivas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FF0000"/>
              </a:solidFill>
            </a:ln>
            <a:effectLst/>
          </c:spPr>
          <c:invertIfNegative val="0"/>
          <c:dLbls>
            <c:delete val="1"/>
          </c:dLbls>
          <c:cat>
            <c:numRef>
              <c:f>'06_Graficos_1'!$B$5:$U$5</c:f>
              <c:numCache>
                <c:formatCode>General</c:formatCode>
                <c:ptCount val="20"/>
                <c:pt idx="0">
                  <c:v>1998</c:v>
                </c:pt>
                <c:pt idx="1">
                  <c:v>2000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  <c:pt idx="19">
                  <c:v>2021</c:v>
                </c:pt>
              </c:numCache>
            </c:numRef>
          </c:cat>
          <c:val>
            <c:numRef>
              <c:f>'06_Graficos_1'!$B$7:$U$7</c:f>
              <c:numCache>
                <c:formatCode>#,##0</c:formatCode>
                <c:ptCount val="20"/>
                <c:pt idx="0">
                  <c:v>739800</c:v>
                </c:pt>
                <c:pt idx="1">
                  <c:v>2258100</c:v>
                </c:pt>
                <c:pt idx="2">
                  <c:v>3947319</c:v>
                </c:pt>
                <c:pt idx="3">
                  <c:v>4836898</c:v>
                </c:pt>
                <c:pt idx="4">
                  <c:v>5766500</c:v>
                </c:pt>
                <c:pt idx="5">
                  <c:v>7413961</c:v>
                </c:pt>
                <c:pt idx="6">
                  <c:v>8577062</c:v>
                </c:pt>
                <c:pt idx="7">
                  <c:v>14200522</c:v>
                </c:pt>
                <c:pt idx="8">
                  <c:v>18785780</c:v>
                </c:pt>
                <c:pt idx="9">
                  <c:v>19514680</c:v>
                </c:pt>
                <c:pt idx="10">
                  <c:v>23463091.600000001</c:v>
                </c:pt>
                <c:pt idx="11">
                  <c:v>26790319</c:v>
                </c:pt>
                <c:pt idx="12">
                  <c:v>25707982.103584908</c:v>
                </c:pt>
                <c:pt idx="13">
                  <c:v>22081465.641492151</c:v>
                </c:pt>
                <c:pt idx="14">
                  <c:v>21779758.899999999</c:v>
                </c:pt>
                <c:pt idx="15">
                  <c:v>21896124</c:v>
                </c:pt>
                <c:pt idx="16">
                  <c:v>20814080</c:v>
                </c:pt>
                <c:pt idx="17">
                  <c:v>21847017.977397788</c:v>
                </c:pt>
                <c:pt idx="18">
                  <c:v>66202730.129461363</c:v>
                </c:pt>
                <c:pt idx="19">
                  <c:v>49013609.2064631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9-0700-1C40-8CC7-B2C9293F3B8E}"/>
            </c:ext>
          </c:extLst>
        </c:ser>
        <c:ser>
          <c:idx val="2"/>
          <c:order val="2"/>
          <c:tx>
            <c:strRef>
              <c:f>'06_Graficos_1'!$A$8</c:f>
              <c:strCache>
                <c:ptCount val="1"/>
                <c:pt idx="0">
                  <c:v>Saldo de crédito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00B0F0"/>
              </a:solidFill>
            </a:ln>
            <a:effectLst>
              <a:outerShdw blurRad="50800" dist="50800" dir="5400000" algn="ctr" rotWithShape="0">
                <a:schemeClr val="bg1"/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06_Graficos_1'!$B$5:$U$5</c:f>
              <c:numCache>
                <c:formatCode>General</c:formatCode>
                <c:ptCount val="20"/>
                <c:pt idx="0">
                  <c:v>1998</c:v>
                </c:pt>
                <c:pt idx="1">
                  <c:v>2000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  <c:pt idx="19">
                  <c:v>2021</c:v>
                </c:pt>
              </c:numCache>
            </c:numRef>
          </c:cat>
          <c:val>
            <c:numRef>
              <c:f>'06_Graficos_1'!$B$8:$U$8</c:f>
              <c:numCache>
                <c:formatCode>#,##0</c:formatCode>
                <c:ptCount val="20"/>
                <c:pt idx="0">
                  <c:v>1307000</c:v>
                </c:pt>
                <c:pt idx="1">
                  <c:v>3675000</c:v>
                </c:pt>
                <c:pt idx="2">
                  <c:v>6148683</c:v>
                </c:pt>
                <c:pt idx="3">
                  <c:v>7653885</c:v>
                </c:pt>
                <c:pt idx="4">
                  <c:v>9366974</c:v>
                </c:pt>
                <c:pt idx="5">
                  <c:v>12065011</c:v>
                </c:pt>
                <c:pt idx="6">
                  <c:v>14042477</c:v>
                </c:pt>
                <c:pt idx="7">
                  <c:v>21998009</c:v>
                </c:pt>
                <c:pt idx="8">
                  <c:v>30526614</c:v>
                </c:pt>
                <c:pt idx="9">
                  <c:v>32773594</c:v>
                </c:pt>
                <c:pt idx="10">
                  <c:v>39436149.649999999</c:v>
                </c:pt>
                <c:pt idx="11">
                  <c:v>44324466</c:v>
                </c:pt>
                <c:pt idx="12">
                  <c:v>43268664.031940021</c:v>
                </c:pt>
                <c:pt idx="13">
                  <c:v>35480661.390954301</c:v>
                </c:pt>
                <c:pt idx="14">
                  <c:v>35798068.961260967</c:v>
                </c:pt>
                <c:pt idx="15">
                  <c:v>36660007</c:v>
                </c:pt>
                <c:pt idx="16">
                  <c:v>35843227.227844492</c:v>
                </c:pt>
                <c:pt idx="17">
                  <c:v>40179182.76836881</c:v>
                </c:pt>
                <c:pt idx="18">
                  <c:v>88658035.896192536</c:v>
                </c:pt>
                <c:pt idx="19">
                  <c:v>66992311.2610692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E-0700-1C40-8CC7-B2C9293F3B8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999951224"/>
        <c:axId val="999954176"/>
      </c:barChart>
      <c:catAx>
        <c:axId val="999951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  <a:ea typeface="+mn-ea"/>
                <a:cs typeface="+mn-cs"/>
              </a:defRPr>
            </a:pPr>
            <a:endParaRPr lang="es-MX"/>
          </a:p>
        </c:txPr>
        <c:crossAx val="999954176"/>
        <c:crosses val="autoZero"/>
        <c:auto val="1"/>
        <c:lblAlgn val="ctr"/>
        <c:lblOffset val="100"/>
        <c:noMultiLvlLbl val="0"/>
      </c:catAx>
      <c:valAx>
        <c:axId val="9999541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s-MX"/>
          </a:p>
        </c:txPr>
        <c:crossAx val="999951224"/>
        <c:crosses val="autoZero"/>
        <c:crossBetween val="between"/>
        <c:dispUnits>
          <c:builtInUnit val="thousand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</c:dispUnitsLbl>
        </c:dispUnits>
      </c:valAx>
      <c:spPr>
        <a:noFill/>
        <a:ln w="28575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06_Graficos_1'!$A$6</c:f>
              <c:strCache>
                <c:ptCount val="1"/>
                <c:pt idx="0">
                  <c:v>Recursos permanente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700-1C40-8CC7-B2C9293F3B8E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700-1C40-8CC7-B2C9293F3B8E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700-1C40-8CC7-B2C9293F3B8E}"/>
                </c:ext>
              </c:extLst>
            </c:dLbl>
            <c:dLbl>
              <c:idx val="3"/>
              <c:layout>
                <c:manualLayout>
                  <c:x val="-2.4337716616628535E-2"/>
                  <c:y val="1.072148412355033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700-1C40-8CC7-B2C9293F3B8E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700-1C40-8CC7-B2C9293F3B8E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700-1C40-8CC7-B2C9293F3B8E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700-1C40-8CC7-B2C9293F3B8E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700-1C40-8CC7-B2C9293F3B8E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700-1C40-8CC7-B2C9293F3B8E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700-1C40-8CC7-B2C9293F3B8E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0700-1C40-8CC7-B2C9293F3B8E}"/>
                </c:ext>
              </c:extLst>
            </c:dLbl>
            <c:dLbl>
              <c:idx val="11"/>
              <c:layout>
                <c:manualLayout>
                  <c:x val="-5.6788005438799811E-2"/>
                  <c:y val="-4.55663075250889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0700-1C40-8CC7-B2C9293F3B8E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0700-1C40-8CC7-B2C9293F3B8E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0700-1C40-8CC7-B2C9293F3B8E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0700-1C40-8CC7-B2C9293F3B8E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0700-1C40-8CC7-B2C9293F3B8E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0700-1C40-8CC7-B2C9293F3B8E}"/>
                </c:ext>
              </c:extLst>
            </c:dLbl>
            <c:dLbl>
              <c:idx val="17"/>
              <c:layout>
                <c:manualLayout>
                  <c:x val="-8.2284660941934429E-2"/>
                  <c:y val="-4.82466785559766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0700-1C40-8CC7-B2C9293F3B8E}"/>
                </c:ext>
              </c:extLst>
            </c:dLbl>
            <c:dLbl>
              <c:idx val="18"/>
              <c:layout>
                <c:manualLayout>
                  <c:x val="-3.4768166595183558E-2"/>
                  <c:y val="-3.21644523706510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0700-1C40-8CC7-B2C9293F3B8E}"/>
                </c:ext>
              </c:extLst>
            </c:dLbl>
            <c:dLbl>
              <c:idx val="19"/>
              <c:layout>
                <c:manualLayout>
                  <c:x val="-1.6530848763038062E-3"/>
                  <c:y val="4.2916750208414581E-2"/>
                </c:manualLayout>
              </c:layout>
              <c:tx>
                <c:rich>
                  <a:bodyPr/>
                  <a:lstStyle/>
                  <a:p>
                    <a:r>
                      <a:rPr lang="en-US" sz="1200" b="1" dirty="0">
                        <a:latin typeface="Montserrat" pitchFamily="2" charset="77"/>
                      </a:rPr>
                      <a:t>8,84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3-0700-1C40-8CC7-B2C9293F3B8E}"/>
                </c:ext>
              </c:extLst>
            </c:dLbl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1200" b="1" i="0" u="none" strike="noStrike" kern="1200" baseline="0">
                    <a:solidFill>
                      <a:srgbClr val="000000"/>
                    </a:solidFill>
                    <a:latin typeface="Montserrat" pitchFamily="2" charset="77"/>
                    <a:ea typeface="Calibri"/>
                    <a:cs typeface="Calibri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06_Graficos_1'!$B$5:$U$5</c:f>
              <c:numCache>
                <c:formatCode>General</c:formatCode>
                <c:ptCount val="20"/>
                <c:pt idx="0">
                  <c:v>1998</c:v>
                </c:pt>
                <c:pt idx="1">
                  <c:v>2000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  <c:pt idx="19">
                  <c:v>2021</c:v>
                </c:pt>
              </c:numCache>
            </c:numRef>
          </c:cat>
          <c:val>
            <c:numRef>
              <c:f>'06_Graficos_1'!$B$6:$U$6</c:f>
              <c:numCache>
                <c:formatCode>#,##0</c:formatCode>
                <c:ptCount val="20"/>
                <c:pt idx="0">
                  <c:v>417630</c:v>
                </c:pt>
                <c:pt idx="1">
                  <c:v>592400</c:v>
                </c:pt>
                <c:pt idx="2">
                  <c:v>1190372</c:v>
                </c:pt>
                <c:pt idx="3">
                  <c:v>1514701</c:v>
                </c:pt>
                <c:pt idx="4">
                  <c:v>1551162</c:v>
                </c:pt>
                <c:pt idx="5">
                  <c:v>1991027</c:v>
                </c:pt>
                <c:pt idx="6">
                  <c:v>2617686.1</c:v>
                </c:pt>
                <c:pt idx="7">
                  <c:v>4629278</c:v>
                </c:pt>
                <c:pt idx="8">
                  <c:v>5303925</c:v>
                </c:pt>
                <c:pt idx="9">
                  <c:v>5623281.4000000004</c:v>
                </c:pt>
                <c:pt idx="10">
                  <c:v>6452492.8431372549</c:v>
                </c:pt>
                <c:pt idx="11">
                  <c:v>6954380.6808510637</c:v>
                </c:pt>
                <c:pt idx="12">
                  <c:v>7083185.7326415088</c:v>
                </c:pt>
                <c:pt idx="13">
                  <c:v>6725039.7774932515</c:v>
                </c:pt>
                <c:pt idx="14">
                  <c:v>6960668</c:v>
                </c:pt>
                <c:pt idx="15">
                  <c:v>8069747</c:v>
                </c:pt>
                <c:pt idx="16">
                  <c:v>8357409</c:v>
                </c:pt>
                <c:pt idx="17">
                  <c:v>8149016.7807477778</c:v>
                </c:pt>
                <c:pt idx="18">
                  <c:v>16051237.885400025</c:v>
                </c:pt>
                <c:pt idx="19">
                  <c:v>8846861.21966405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0700-1C40-8CC7-B2C9293F3B8E}"/>
            </c:ext>
          </c:extLst>
        </c:ser>
        <c:ser>
          <c:idx val="1"/>
          <c:order val="1"/>
          <c:tx>
            <c:strRef>
              <c:f>'06_Graficos_1'!$A$7</c:f>
              <c:strCache>
                <c:ptCount val="1"/>
                <c:pt idx="0">
                  <c:v>Garantías vivas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0700-1C40-8CC7-B2C9293F3B8E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0700-1C40-8CC7-B2C9293F3B8E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0700-1C40-8CC7-B2C9293F3B8E}"/>
                </c:ext>
              </c:extLst>
            </c:dLbl>
            <c:dLbl>
              <c:idx val="3"/>
              <c:layout>
                <c:manualLayout>
                  <c:x val="-2.0860899957110136E-2"/>
                  <c:y val="-8.041113092662846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0700-1C40-8CC7-B2C9293F3B8E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0700-1C40-8CC7-B2C9293F3B8E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0700-1C40-8CC7-B2C9293F3B8E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0700-1C40-8CC7-B2C9293F3B8E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0700-1C40-8CC7-B2C9293F3B8E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0700-1C40-8CC7-B2C9293F3B8E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0700-1C40-8CC7-B2C9293F3B8E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0700-1C40-8CC7-B2C9293F3B8E}"/>
                </c:ext>
              </c:extLst>
            </c:dLbl>
            <c:dLbl>
              <c:idx val="11"/>
              <c:layout>
                <c:manualLayout>
                  <c:x val="-5.9105883211812052E-2"/>
                  <c:y val="-3.2164452370650992E-2"/>
                </c:manualLayout>
              </c:layout>
              <c:spPr>
                <a:solidFill>
                  <a:schemeClr val="accent2">
                    <a:lumMod val="40000"/>
                    <a:lumOff val="6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200" b="1" i="0" u="none" strike="noStrike" kern="1200" baseline="0">
                      <a:solidFill>
                        <a:srgbClr val="000000"/>
                      </a:solidFill>
                      <a:latin typeface="Montserrat" pitchFamily="2" charset="77"/>
                      <a:ea typeface="Calibri"/>
                      <a:cs typeface="Calibri"/>
                    </a:defRPr>
                  </a:pPr>
                  <a:endParaRPr lang="es-MX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0700-1C40-8CC7-B2C9293F3B8E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0700-1C40-8CC7-B2C9293F3B8E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0700-1C40-8CC7-B2C9293F3B8E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0700-1C40-8CC7-B2C9293F3B8E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0700-1C40-8CC7-B2C9293F3B8E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0700-1C40-8CC7-B2C9293F3B8E}"/>
                </c:ext>
              </c:extLst>
            </c:dLbl>
            <c:dLbl>
              <c:idx val="17"/>
              <c:layout>
                <c:manualLayout>
                  <c:x val="-6.3741638757836519E-2"/>
                  <c:y val="-5.0927049586864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0700-1C40-8CC7-B2C9293F3B8E}"/>
                </c:ext>
              </c:extLst>
            </c:dLbl>
            <c:dLbl>
              <c:idx val="18"/>
              <c:layout>
                <c:manualLayout>
                  <c:x val="-2.5525127072629709E-2"/>
                  <c:y val="-2.68037103088758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0700-1C40-8CC7-B2C9293F3B8E}"/>
                </c:ext>
              </c:extLst>
            </c:dLbl>
            <c:dLbl>
              <c:idx val="19"/>
              <c:layout>
                <c:manualLayout>
                  <c:x val="0"/>
                  <c:y val="6.541920369764560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algn="ctr" rtl="0">
                      <a:defRPr lang="en-US" sz="1200" b="1" i="0" u="none" strike="noStrike" kern="1200" baseline="0">
                        <a:solidFill>
                          <a:srgbClr val="000000"/>
                        </a:solidFill>
                        <a:latin typeface="Montserrat" pitchFamily="2" charset="77"/>
                        <a:ea typeface="Calibri"/>
                        <a:cs typeface="Calibri"/>
                      </a:defRPr>
                    </a:pPr>
                    <a:r>
                      <a:rPr lang="en-US" sz="1200" b="1" dirty="0"/>
                      <a:t>49,014</a:t>
                    </a:r>
                  </a:p>
                </c:rich>
              </c:tx>
              <c:spPr>
                <a:solidFill>
                  <a:schemeClr val="accent2">
                    <a:lumMod val="40000"/>
                    <a:lumOff val="6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200" b="1" i="0" u="none" strike="noStrike" kern="1200" baseline="0">
                      <a:solidFill>
                        <a:srgbClr val="000000"/>
                      </a:solidFill>
                      <a:latin typeface="Montserrat" pitchFamily="2" charset="77"/>
                      <a:ea typeface="Calibri"/>
                      <a:cs typeface="Calibri"/>
                    </a:defRPr>
                  </a:pPr>
                  <a:endParaRPr lang="es-MX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8-0700-1C40-8CC7-B2C9293F3B8E}"/>
                </c:ext>
              </c:extLst>
            </c:dLbl>
            <c:spPr>
              <a:solidFill>
                <a:srgbClr val="FFDDD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1200" b="1" i="0" u="none" strike="noStrike" kern="1200" baseline="0">
                    <a:solidFill>
                      <a:srgbClr val="000000"/>
                    </a:solidFill>
                    <a:latin typeface="Montserrat" pitchFamily="2" charset="77"/>
                    <a:ea typeface="Calibri"/>
                    <a:cs typeface="Calibri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06_Graficos_1'!$B$5:$U$5</c:f>
              <c:numCache>
                <c:formatCode>General</c:formatCode>
                <c:ptCount val="20"/>
                <c:pt idx="0">
                  <c:v>1998</c:v>
                </c:pt>
                <c:pt idx="1">
                  <c:v>2000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  <c:pt idx="19">
                  <c:v>2021</c:v>
                </c:pt>
              </c:numCache>
            </c:numRef>
          </c:cat>
          <c:val>
            <c:numRef>
              <c:f>'06_Graficos_1'!$B$7:$U$7</c:f>
              <c:numCache>
                <c:formatCode>#,##0</c:formatCode>
                <c:ptCount val="20"/>
                <c:pt idx="0">
                  <c:v>739800</c:v>
                </c:pt>
                <c:pt idx="1">
                  <c:v>2258100</c:v>
                </c:pt>
                <c:pt idx="2">
                  <c:v>3947319</c:v>
                </c:pt>
                <c:pt idx="3">
                  <c:v>4836898</c:v>
                </c:pt>
                <c:pt idx="4">
                  <c:v>5766500</c:v>
                </c:pt>
                <c:pt idx="5">
                  <c:v>7413961</c:v>
                </c:pt>
                <c:pt idx="6">
                  <c:v>8577062</c:v>
                </c:pt>
                <c:pt idx="7">
                  <c:v>14200522</c:v>
                </c:pt>
                <c:pt idx="8">
                  <c:v>18785780</c:v>
                </c:pt>
                <c:pt idx="9">
                  <c:v>19514680</c:v>
                </c:pt>
                <c:pt idx="10">
                  <c:v>23463091.600000001</c:v>
                </c:pt>
                <c:pt idx="11">
                  <c:v>26790319</c:v>
                </c:pt>
                <c:pt idx="12">
                  <c:v>25707982.103584908</c:v>
                </c:pt>
                <c:pt idx="13">
                  <c:v>22081465.641492151</c:v>
                </c:pt>
                <c:pt idx="14">
                  <c:v>21779758.899999999</c:v>
                </c:pt>
                <c:pt idx="15">
                  <c:v>21896124</c:v>
                </c:pt>
                <c:pt idx="16">
                  <c:v>20814080</c:v>
                </c:pt>
                <c:pt idx="17">
                  <c:v>21847017.977397788</c:v>
                </c:pt>
                <c:pt idx="18">
                  <c:v>66202730.129461363</c:v>
                </c:pt>
                <c:pt idx="19">
                  <c:v>49013609.206463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9-0700-1C40-8CC7-B2C9293F3B8E}"/>
            </c:ext>
          </c:extLst>
        </c:ser>
        <c:ser>
          <c:idx val="2"/>
          <c:order val="2"/>
          <c:tx>
            <c:strRef>
              <c:f>'06_Graficos_1'!$A$8</c:f>
              <c:strCache>
                <c:ptCount val="1"/>
                <c:pt idx="0">
                  <c:v>Saldo de crédito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>
              <a:outerShdw blurRad="50800" dist="50800" dir="5400000" algn="ctr" rotWithShape="0">
                <a:schemeClr val="bg1"/>
              </a:outerShdw>
            </a:effectLst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0700-1C40-8CC7-B2C9293F3B8E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0700-1C40-8CC7-B2C9293F3B8E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0700-1C40-8CC7-B2C9293F3B8E}"/>
                </c:ext>
              </c:extLst>
            </c:dLbl>
            <c:dLbl>
              <c:idx val="3"/>
              <c:layout>
                <c:manualLayout>
                  <c:x val="-1.984970296487594E-2"/>
                  <c:y val="-3.1293226259194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0700-1C40-8CC7-B2C9293F3B8E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0700-1C40-8CC7-B2C9293F3B8E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F-0700-1C40-8CC7-B2C9293F3B8E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0-0700-1C40-8CC7-B2C9293F3B8E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1-0700-1C40-8CC7-B2C9293F3B8E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0700-1C40-8CC7-B2C9293F3B8E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3-0700-1C40-8CC7-B2C9293F3B8E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4-0700-1C40-8CC7-B2C9293F3B8E}"/>
                </c:ext>
              </c:extLst>
            </c:dLbl>
            <c:dLbl>
              <c:idx val="11"/>
              <c:layout>
                <c:manualLayout>
                  <c:x val="-5.8871175273536955E-2"/>
                  <c:y val="-3.56421810200183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5-0700-1C40-8CC7-B2C9293F3B8E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0700-1C40-8CC7-B2C9293F3B8E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7-0700-1C40-8CC7-B2C9293F3B8E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8-0700-1C40-8CC7-B2C9293F3B8E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9-0700-1C40-8CC7-B2C9293F3B8E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A-0700-1C40-8CC7-B2C9293F3B8E}"/>
                </c:ext>
              </c:extLst>
            </c:dLbl>
            <c:dLbl>
              <c:idx val="17"/>
              <c:layout>
                <c:manualLayout>
                  <c:x val="-5.5823166002026033E-2"/>
                  <c:y val="-3.397359729008157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B-0700-1C40-8CC7-B2C9293F3B8E}"/>
                </c:ext>
              </c:extLst>
            </c:dLbl>
            <c:dLbl>
              <c:idx val="18"/>
              <c:layout>
                <c:manualLayout>
                  <c:x val="-3.1691229479025203E-2"/>
                  <c:y val="-2.32856705676266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C-0700-1C40-8CC7-B2C9293F3B8E}"/>
                </c:ext>
              </c:extLst>
            </c:dLbl>
            <c:dLbl>
              <c:idx val="19"/>
              <c:layout>
                <c:manualLayout>
                  <c:x val="0"/>
                  <c:y val="5.4445089328113247E-2"/>
                </c:manualLayout>
              </c:layout>
              <c:tx>
                <c:rich>
                  <a:bodyPr/>
                  <a:lstStyle/>
                  <a:p>
                    <a:r>
                      <a:rPr lang="en-US" sz="1200" b="1" dirty="0">
                        <a:latin typeface="Montserrat" pitchFamily="2" charset="77"/>
                      </a:rPr>
                      <a:t>66,992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3D-0700-1C40-8CC7-B2C9293F3B8E}"/>
                </c:ext>
              </c:extLst>
            </c:dLbl>
            <c:spPr>
              <a:solidFill>
                <a:srgbClr val="DEEBF7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1200" b="1" i="0" u="none" strike="noStrike" kern="1200" baseline="0">
                    <a:solidFill>
                      <a:srgbClr val="000000"/>
                    </a:solidFill>
                    <a:latin typeface="Montserrat" pitchFamily="2" charset="77"/>
                    <a:ea typeface="Calibri"/>
                    <a:cs typeface="Calibri"/>
                  </a:defRPr>
                </a:pPr>
                <a:endParaRPr lang="es-MX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06_Graficos_1'!$B$5:$U$5</c:f>
              <c:numCache>
                <c:formatCode>General</c:formatCode>
                <c:ptCount val="20"/>
                <c:pt idx="0">
                  <c:v>1998</c:v>
                </c:pt>
                <c:pt idx="1">
                  <c:v>2000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  <c:pt idx="19">
                  <c:v>2021</c:v>
                </c:pt>
              </c:numCache>
            </c:numRef>
          </c:cat>
          <c:val>
            <c:numRef>
              <c:f>'06_Graficos_1'!$B$8:$U$8</c:f>
              <c:numCache>
                <c:formatCode>#,##0</c:formatCode>
                <c:ptCount val="20"/>
                <c:pt idx="0">
                  <c:v>1307000</c:v>
                </c:pt>
                <c:pt idx="1">
                  <c:v>3675000</c:v>
                </c:pt>
                <c:pt idx="2">
                  <c:v>6148683</c:v>
                </c:pt>
                <c:pt idx="3">
                  <c:v>7653885</c:v>
                </c:pt>
                <c:pt idx="4">
                  <c:v>9366974</c:v>
                </c:pt>
                <c:pt idx="5">
                  <c:v>12065011</c:v>
                </c:pt>
                <c:pt idx="6">
                  <c:v>14042477</c:v>
                </c:pt>
                <c:pt idx="7">
                  <c:v>21998009</c:v>
                </c:pt>
                <c:pt idx="8">
                  <c:v>30526614</c:v>
                </c:pt>
                <c:pt idx="9">
                  <c:v>32773594</c:v>
                </c:pt>
                <c:pt idx="10">
                  <c:v>39436149.649999999</c:v>
                </c:pt>
                <c:pt idx="11">
                  <c:v>44324466</c:v>
                </c:pt>
                <c:pt idx="12">
                  <c:v>43268664.031940021</c:v>
                </c:pt>
                <c:pt idx="13">
                  <c:v>35480661.390954301</c:v>
                </c:pt>
                <c:pt idx="14">
                  <c:v>35798068.961260967</c:v>
                </c:pt>
                <c:pt idx="15">
                  <c:v>36660007</c:v>
                </c:pt>
                <c:pt idx="16">
                  <c:v>35843227.227844492</c:v>
                </c:pt>
                <c:pt idx="17">
                  <c:v>40179182.76836881</c:v>
                </c:pt>
                <c:pt idx="18">
                  <c:v>88658035.896192536</c:v>
                </c:pt>
                <c:pt idx="19">
                  <c:v>66992311.2610692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3E-0700-1C40-8CC7-B2C9293F3B8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999951224"/>
        <c:axId val="999954176"/>
      </c:lineChart>
      <c:catAx>
        <c:axId val="999951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itchFamily="2" charset="77"/>
                <a:ea typeface="+mn-ea"/>
                <a:cs typeface="+mn-cs"/>
              </a:defRPr>
            </a:pPr>
            <a:endParaRPr lang="es-MX"/>
          </a:p>
        </c:txPr>
        <c:crossAx val="999954176"/>
        <c:crosses val="autoZero"/>
        <c:auto val="1"/>
        <c:lblAlgn val="ctr"/>
        <c:lblOffset val="100"/>
        <c:noMultiLvlLbl val="0"/>
      </c:catAx>
      <c:valAx>
        <c:axId val="99995417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s-MX"/>
          </a:p>
        </c:txPr>
        <c:crossAx val="999951224"/>
        <c:crosses val="autoZero"/>
        <c:crossBetween val="between"/>
        <c:dispUnits>
          <c:builtInUnit val="thousand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</c:dispUnitsLbl>
        </c:dispUnits>
      </c:valAx>
      <c:spPr>
        <a:noFill/>
        <a:ln w="28575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73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73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EC217B-AEF8-4062-A036-1FB3DBBD0CBE}" type="datetimeFigureOut">
              <a:rPr lang="en-US" smtClean="0"/>
              <a:t>6/4/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35000" y="1163638"/>
            <a:ext cx="5588000" cy="31432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82296"/>
            <a:ext cx="5486400" cy="366733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6554"/>
            <a:ext cx="2971800" cy="46731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46554"/>
            <a:ext cx="2971800" cy="46731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BA1D46-2DDE-4C3C-A7A7-9836A8F64C60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1793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BA1D46-2DDE-4C3C-A7A7-9836A8F64C6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02130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g80a48036df_0_110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7" name="Google Shape;197;g80a48036df_0_110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9209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BA1D46-2DDE-4C3C-A7A7-9836A8F64C60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1831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BA1D46-2DDE-4C3C-A7A7-9836A8F64C60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00336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BA1D46-2DDE-4C3C-A7A7-9836A8F64C60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7909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FC33CE5-3541-CB51-0EB1-AF8272CC02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9A5A7A8-6C23-842B-7948-ADDAF449C9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MX"/>
              <a:t>Haz clic para edit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BB12256-A866-DCB2-BC03-8E33361027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6AA079-81F1-6848-8CA5-0469C41DE11D}" type="datetimeFigureOut">
              <a:rPr lang="es-MX" smtClean="0"/>
              <a:t>04/06/23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FCEAE6A-7CEB-560F-8964-06EDDFC771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810415C-5145-FCD4-2EF9-CB5804C29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8373CC-B188-3943-AAC3-748E69D7AC9F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2087162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AE90239-65F7-5F9E-A03E-06FFE82888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6506A066-277A-D35B-57D0-AAB3DC93693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8135714-9E35-1BFA-2E24-A380E725BD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6AA079-81F1-6848-8CA5-0469C41DE11D}" type="datetimeFigureOut">
              <a:rPr lang="es-MX" smtClean="0"/>
              <a:t>04/06/23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A00F26F-A507-3F0F-9540-7A34C1335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CC95ED9-8CD6-23D9-E122-EDE91C7A9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8373CC-B188-3943-AAC3-748E69D7AC9F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3924880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B84E1250-D14F-CB01-8B3D-F558C71B7E8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94BE22AA-D8E0-E30E-1B31-5F3C46BDD2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F7356A3-EDD5-6E57-82D5-D339B105CE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6AA079-81F1-6848-8CA5-0469C41DE11D}" type="datetimeFigureOut">
              <a:rPr lang="es-MX" smtClean="0"/>
              <a:t>04/06/23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18BEFA4-E76A-BCC5-F5E0-BC95823C37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3CD8DDD-BE3D-DD91-FDEA-03332367B3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8373CC-B188-3943-AAC3-748E69D7AC9F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6121185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FB4404C-57FB-EB4A-5138-F958F7EEFB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0A999D5-B622-4814-FC92-0B5F19AE34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43C9747-D33C-F4A6-A515-A926BEEA7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6AA079-81F1-6848-8CA5-0469C41DE11D}" type="datetimeFigureOut">
              <a:rPr lang="es-MX" smtClean="0"/>
              <a:t>04/06/23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EA595E9-5DF2-B96A-8708-DAF55DB5E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F7A9B88-6708-28E6-5FD2-FE229671D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8373CC-B188-3943-AAC3-748E69D7AC9F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6256933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2E1BB4-E4E7-85FF-6C5D-9330C53CD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46BC5ED-0B24-A66F-6709-6C60458DF4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275BB81-1AA6-4931-C290-20E15194D2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6AA079-81F1-6848-8CA5-0469C41DE11D}" type="datetimeFigureOut">
              <a:rPr lang="es-MX" smtClean="0"/>
              <a:t>04/06/23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71EF1CD-D16D-62FE-D5E2-F7491646B5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F809BEC-F117-AA7F-7E53-9E645AC79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8373CC-B188-3943-AAC3-748E69D7AC9F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77565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AC669A9-3E3E-F887-A0A1-94FCF9E8EE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C7DF3DE-0A1F-DE1E-6AD4-D6F175D0643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D67C8161-6483-C99E-E461-AA919EF83D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773053D-B54A-316F-FD2F-C853B6A2E9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6AA079-81F1-6848-8CA5-0469C41DE11D}" type="datetimeFigureOut">
              <a:rPr lang="es-MX" smtClean="0"/>
              <a:t>04/06/23</a:t>
            </a:fld>
            <a:endParaRPr lang="es-MX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BAEA451-0B74-90D6-6860-D80CA6CA2E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B63339A-D31C-CAAA-5015-851860808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8373CC-B188-3943-AAC3-748E69D7AC9F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2399215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F50BED4-DCB2-CD3E-12AB-3EAA730FB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96D5B71-D92B-EBCA-5B4A-43D0FF4AFB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5B152C4A-FE9C-FD66-3190-F2D4E4D4041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7B5739A1-8C28-5752-5E42-04F220B4981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045C6486-E254-CC17-3CB0-5B73B7713EE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3A000245-713D-9C49-C28D-2387628CDD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6AA079-81F1-6848-8CA5-0469C41DE11D}" type="datetimeFigureOut">
              <a:rPr lang="es-MX" smtClean="0"/>
              <a:t>04/06/23</a:t>
            </a:fld>
            <a:endParaRPr lang="es-MX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5992EB3-A658-DDE8-6591-1D09E775D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3CC67192-A947-5444-5E33-D6A5D371CF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8373CC-B188-3943-AAC3-748E69D7AC9F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7669240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385929C-22B6-B5B8-2B8A-19448CDE6B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B1841DDC-CC15-FD5C-0E80-5121259192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6AA079-81F1-6848-8CA5-0469C41DE11D}" type="datetimeFigureOut">
              <a:rPr lang="es-MX" smtClean="0"/>
              <a:t>04/06/23</a:t>
            </a:fld>
            <a:endParaRPr lang="es-MX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05623E4B-E485-EBE1-6549-A9A5BB2BE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2C37715-ACCA-BAB4-DEBE-B6C39C83EA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8373CC-B188-3943-AAC3-748E69D7AC9F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1779852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D930D034-6AFC-DD1F-34D8-CB7A8EC37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6AA079-81F1-6848-8CA5-0469C41DE11D}" type="datetimeFigureOut">
              <a:rPr lang="es-MX" smtClean="0"/>
              <a:t>04/06/23</a:t>
            </a:fld>
            <a:endParaRPr lang="es-MX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3823FF3-19CC-27DC-59F1-A090F467A9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C673C052-1304-3AD6-7EAB-932641A23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8373CC-B188-3943-AAC3-748E69D7AC9F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6233292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B043071-E27C-C94B-98B1-6D898955B3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F2F96B9-5D49-A1E5-FC2D-EC1BA15456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22825F6A-C033-4437-A164-DECEE20E5A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80D4B99-CB61-CA79-6B53-44B953B714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6AA079-81F1-6848-8CA5-0469C41DE11D}" type="datetimeFigureOut">
              <a:rPr lang="es-MX" smtClean="0"/>
              <a:t>04/06/23</a:t>
            </a:fld>
            <a:endParaRPr lang="es-MX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B838928-B5DA-E959-1BF7-C0782C514C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69CA9D2D-7022-DAA3-431A-A0FC63E250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8373CC-B188-3943-AAC3-748E69D7AC9F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5204821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D2527FB-8537-0538-1B57-0C071181F5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B7B68700-F7DD-3703-B82A-C562FA009EF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3B627A1-4174-C340-A7E7-DC975DCB78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MX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68031957-BC11-7070-4F23-63C1F73E01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6AA079-81F1-6848-8CA5-0469C41DE11D}" type="datetimeFigureOut">
              <a:rPr lang="es-MX" smtClean="0"/>
              <a:t>04/06/23</a:t>
            </a:fld>
            <a:endParaRPr lang="es-MX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559C3A1-37E1-29C4-36A0-0F9C3CF975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F55E203-0BDB-1B71-6D19-D31FF5216B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8373CC-B188-3943-AAC3-748E69D7AC9F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3318034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A1F7BED5-51F8-E8FF-BCD0-427957682C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MX"/>
              <a:t>Haz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5C07025-EF69-7C98-CD20-BD086966CC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MX"/>
              <a:t>Haga clic para modificar los estilos de texto del patrón</a:t>
            </a:r>
          </a:p>
          <a:p>
            <a:pPr lvl="1"/>
            <a:r>
              <a:rPr lang="es-MX"/>
              <a:t>Segundo nivel</a:t>
            </a:r>
          </a:p>
          <a:p>
            <a:pPr lvl="2"/>
            <a:r>
              <a:rPr lang="es-MX"/>
              <a:t>Tercer nivel</a:t>
            </a:r>
          </a:p>
          <a:p>
            <a:pPr lvl="3"/>
            <a:r>
              <a:rPr lang="es-MX"/>
              <a:t>Cuarto nivel</a:t>
            </a:r>
          </a:p>
          <a:p>
            <a:pPr lvl="4"/>
            <a:r>
              <a:rPr lang="es-MX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75FB479-3FA1-1ECC-A104-3C121205CF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6AA079-81F1-6848-8CA5-0469C41DE11D}" type="datetimeFigureOut">
              <a:rPr lang="es-MX" smtClean="0"/>
              <a:t>04/06/23</a:t>
            </a:fld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8AC0214-F2C4-49DD-7AE8-64F2F2A52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F845748-3B8B-A32B-5DA4-A25369B964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8373CC-B188-3943-AAC3-748E69D7AC9F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639424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degarantias.com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2.emf"/><Relationship Id="rId18" Type="http://schemas.openxmlformats.org/officeDocument/2006/relationships/image" Target="../media/image17.png"/><Relationship Id="rId26" Type="http://schemas.openxmlformats.org/officeDocument/2006/relationships/image" Target="../media/image25.png"/><Relationship Id="rId3" Type="http://schemas.openxmlformats.org/officeDocument/2006/relationships/image" Target="../media/image3.png"/><Relationship Id="rId21" Type="http://schemas.openxmlformats.org/officeDocument/2006/relationships/image" Target="../media/image20.jpeg"/><Relationship Id="rId7" Type="http://schemas.openxmlformats.org/officeDocument/2006/relationships/image" Target="../media/image7.jpeg"/><Relationship Id="rId12" Type="http://schemas.openxmlformats.org/officeDocument/2006/relationships/image" Target="../media/image11.emf"/><Relationship Id="rId17" Type="http://schemas.openxmlformats.org/officeDocument/2006/relationships/image" Target="../media/image16.emf"/><Relationship Id="rId25" Type="http://schemas.openxmlformats.org/officeDocument/2006/relationships/image" Target="../media/image24.png"/><Relationship Id="rId2" Type="http://schemas.openxmlformats.org/officeDocument/2006/relationships/image" Target="../media/image2.png"/><Relationship Id="rId16" Type="http://schemas.openxmlformats.org/officeDocument/2006/relationships/image" Target="../media/image15.emf"/><Relationship Id="rId20" Type="http://schemas.openxmlformats.org/officeDocument/2006/relationships/image" Target="../media/image19.png"/><Relationship Id="rId29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11" Type="http://schemas.openxmlformats.org/officeDocument/2006/relationships/image" Target="../media/image10.png"/><Relationship Id="rId24" Type="http://schemas.openxmlformats.org/officeDocument/2006/relationships/image" Target="../media/image23.png"/><Relationship Id="rId5" Type="http://schemas.openxmlformats.org/officeDocument/2006/relationships/image" Target="../media/image5.jpeg"/><Relationship Id="rId15" Type="http://schemas.openxmlformats.org/officeDocument/2006/relationships/image" Target="../media/image14.jpeg"/><Relationship Id="rId23" Type="http://schemas.openxmlformats.org/officeDocument/2006/relationships/image" Target="../media/image22.png"/><Relationship Id="rId28" Type="http://schemas.openxmlformats.org/officeDocument/2006/relationships/image" Target="../media/image27.jpeg"/><Relationship Id="rId10" Type="http://schemas.openxmlformats.org/officeDocument/2006/relationships/image" Target="../media/image9.emf"/><Relationship Id="rId19" Type="http://schemas.openxmlformats.org/officeDocument/2006/relationships/image" Target="../media/image18.png"/><Relationship Id="rId4" Type="http://schemas.openxmlformats.org/officeDocument/2006/relationships/image" Target="../media/image4.jpeg"/><Relationship Id="rId9" Type="http://schemas.openxmlformats.org/officeDocument/2006/relationships/image" Target="../media/image1.png"/><Relationship Id="rId14" Type="http://schemas.openxmlformats.org/officeDocument/2006/relationships/image" Target="../media/image13.emf"/><Relationship Id="rId22" Type="http://schemas.openxmlformats.org/officeDocument/2006/relationships/image" Target="../media/image21.jpeg"/><Relationship Id="rId27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29.png"/><Relationship Id="rId4" Type="http://schemas.openxmlformats.org/officeDocument/2006/relationships/tags" Target="../tags/tag4.xml"/><Relationship Id="rId9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13" Type="http://schemas.openxmlformats.org/officeDocument/2006/relationships/image" Target="../media/image41.emf"/><Relationship Id="rId18" Type="http://schemas.openxmlformats.org/officeDocument/2006/relationships/image" Target="../media/image46.emf"/><Relationship Id="rId26" Type="http://schemas.openxmlformats.org/officeDocument/2006/relationships/image" Target="../media/image54.emf"/><Relationship Id="rId3" Type="http://schemas.openxmlformats.org/officeDocument/2006/relationships/image" Target="../media/image31.emf"/><Relationship Id="rId21" Type="http://schemas.openxmlformats.org/officeDocument/2006/relationships/image" Target="../media/image49.emf"/><Relationship Id="rId7" Type="http://schemas.openxmlformats.org/officeDocument/2006/relationships/image" Target="../media/image35.emf"/><Relationship Id="rId12" Type="http://schemas.openxmlformats.org/officeDocument/2006/relationships/image" Target="../media/image40.emf"/><Relationship Id="rId17" Type="http://schemas.openxmlformats.org/officeDocument/2006/relationships/image" Target="../media/image45.emf"/><Relationship Id="rId25" Type="http://schemas.openxmlformats.org/officeDocument/2006/relationships/image" Target="../media/image53.emf"/><Relationship Id="rId2" Type="http://schemas.openxmlformats.org/officeDocument/2006/relationships/image" Target="../media/image30.emf"/><Relationship Id="rId16" Type="http://schemas.openxmlformats.org/officeDocument/2006/relationships/image" Target="../media/image44.emf"/><Relationship Id="rId20" Type="http://schemas.openxmlformats.org/officeDocument/2006/relationships/image" Target="../media/image48.emf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emf"/><Relationship Id="rId11" Type="http://schemas.openxmlformats.org/officeDocument/2006/relationships/image" Target="../media/image39.emf"/><Relationship Id="rId24" Type="http://schemas.openxmlformats.org/officeDocument/2006/relationships/image" Target="../media/image52.emf"/><Relationship Id="rId5" Type="http://schemas.openxmlformats.org/officeDocument/2006/relationships/image" Target="../media/image33.emf"/><Relationship Id="rId15" Type="http://schemas.openxmlformats.org/officeDocument/2006/relationships/image" Target="../media/image43.emf"/><Relationship Id="rId23" Type="http://schemas.openxmlformats.org/officeDocument/2006/relationships/image" Target="../media/image51.emf"/><Relationship Id="rId28" Type="http://schemas.openxmlformats.org/officeDocument/2006/relationships/image" Target="../media/image56.emf"/><Relationship Id="rId10" Type="http://schemas.openxmlformats.org/officeDocument/2006/relationships/image" Target="../media/image38.emf"/><Relationship Id="rId19" Type="http://schemas.openxmlformats.org/officeDocument/2006/relationships/image" Target="../media/image47.emf"/><Relationship Id="rId4" Type="http://schemas.openxmlformats.org/officeDocument/2006/relationships/image" Target="../media/image32.emf"/><Relationship Id="rId9" Type="http://schemas.openxmlformats.org/officeDocument/2006/relationships/image" Target="../media/image37.emf"/><Relationship Id="rId14" Type="http://schemas.openxmlformats.org/officeDocument/2006/relationships/image" Target="../media/image42.emf"/><Relationship Id="rId22" Type="http://schemas.openxmlformats.org/officeDocument/2006/relationships/image" Target="../media/image50.emf"/><Relationship Id="rId27" Type="http://schemas.openxmlformats.org/officeDocument/2006/relationships/image" Target="../media/image55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3;p2">
            <a:extLst>
              <a:ext uri="{FF2B5EF4-FFF2-40B4-BE49-F238E27FC236}">
                <a16:creationId xmlns:a16="http://schemas.microsoft.com/office/drawing/2014/main" id="{55A7E9BA-1AE0-DE15-B55D-6B7E6A64A763}"/>
              </a:ext>
            </a:extLst>
          </p:cNvPr>
          <p:cNvSpPr/>
          <p:nvPr/>
        </p:nvSpPr>
        <p:spPr>
          <a:xfrm>
            <a:off x="0" y="0"/>
            <a:ext cx="5506703" cy="6858000"/>
          </a:xfrm>
          <a:prstGeom prst="rect">
            <a:avLst/>
          </a:prstGeom>
          <a:solidFill>
            <a:srgbClr val="008BB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s-ES" sz="24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07A98E9-60C2-A551-5B67-6F2F878F861A}"/>
              </a:ext>
            </a:extLst>
          </p:cNvPr>
          <p:cNvSpPr txBox="1"/>
          <p:nvPr/>
        </p:nvSpPr>
        <p:spPr>
          <a:xfrm>
            <a:off x="0" y="1997535"/>
            <a:ext cx="5373966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ASOCIACIÓN RED IBEROAMERICANA  DE GARANTÍAS</a:t>
            </a:r>
          </a:p>
          <a:p>
            <a:pPr marL="0" marR="0" lvl="0" indent="0" algn="ctr" defTabSz="914400" rtl="0" eaLnBrk="1" fontAlgn="auto" latinLnBrk="0" hangingPunct="1"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s-ES" sz="48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REGAR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00377DCF-276F-46B0-8907-5C6DAB20CDC5}"/>
              </a:ext>
            </a:extLst>
          </p:cNvPr>
          <p:cNvSpPr txBox="1"/>
          <p:nvPr/>
        </p:nvSpPr>
        <p:spPr>
          <a:xfrm>
            <a:off x="6692617" y="1906942"/>
            <a:ext cx="43134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4000" b="1" dirty="0">
                <a:solidFill>
                  <a:prstClr val="whit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ANHPROVI</a:t>
            </a:r>
            <a:endParaRPr kumimoji="0" lang="es-MX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Google Shape;13;p2">
            <a:extLst>
              <a:ext uri="{FF2B5EF4-FFF2-40B4-BE49-F238E27FC236}">
                <a16:creationId xmlns:a16="http://schemas.microsoft.com/office/drawing/2014/main" id="{B2C45127-0CC6-0A2A-EDCF-8F589A5A4D64}"/>
              </a:ext>
            </a:extLst>
          </p:cNvPr>
          <p:cNvSpPr/>
          <p:nvPr/>
        </p:nvSpPr>
        <p:spPr>
          <a:xfrm>
            <a:off x="5080159" y="3162308"/>
            <a:ext cx="981219" cy="870466"/>
          </a:xfrm>
          <a:prstGeom prst="rect">
            <a:avLst/>
          </a:prstGeom>
          <a:solidFill>
            <a:srgbClr val="F88B05">
              <a:alpha val="78615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5" name="Google Shape;13;p2">
            <a:extLst>
              <a:ext uri="{FF2B5EF4-FFF2-40B4-BE49-F238E27FC236}">
                <a16:creationId xmlns:a16="http://schemas.microsoft.com/office/drawing/2014/main" id="{C2F1CE98-B7FC-8E47-C4F0-48F06BD819ED}"/>
              </a:ext>
            </a:extLst>
          </p:cNvPr>
          <p:cNvSpPr/>
          <p:nvPr/>
        </p:nvSpPr>
        <p:spPr>
          <a:xfrm>
            <a:off x="4782285" y="3464236"/>
            <a:ext cx="608122" cy="605105"/>
          </a:xfrm>
          <a:prstGeom prst="rect">
            <a:avLst/>
          </a:prstGeom>
          <a:solidFill>
            <a:schemeClr val="accent4">
              <a:lumMod val="60000"/>
              <a:lumOff val="40000"/>
              <a:alpha val="88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4" name="Google Shape;13;p2">
            <a:extLst>
              <a:ext uri="{FF2B5EF4-FFF2-40B4-BE49-F238E27FC236}">
                <a16:creationId xmlns:a16="http://schemas.microsoft.com/office/drawing/2014/main" id="{6D1E8421-E1A0-A7DB-99C4-6C54174A5FEC}"/>
              </a:ext>
            </a:extLst>
          </p:cNvPr>
          <p:cNvSpPr/>
          <p:nvPr/>
        </p:nvSpPr>
        <p:spPr>
          <a:xfrm>
            <a:off x="4871868" y="3662417"/>
            <a:ext cx="1067912" cy="870466"/>
          </a:xfrm>
          <a:prstGeom prst="rect">
            <a:avLst/>
          </a:prstGeom>
          <a:solidFill>
            <a:schemeClr val="accent6">
              <a:alpha val="59064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pic>
        <p:nvPicPr>
          <p:cNvPr id="21" name="Picture 6">
            <a:extLst>
              <a:ext uri="{FF2B5EF4-FFF2-40B4-BE49-F238E27FC236}">
                <a16:creationId xmlns:a16="http://schemas.microsoft.com/office/drawing/2014/main" id="{23CBE57F-6D2C-9BB1-35D3-4B465399330E}"/>
              </a:ext>
            </a:extLst>
          </p:cNvPr>
          <p:cNvPicPr>
            <a:picLocks noChangeAspect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914" y="4722346"/>
            <a:ext cx="1900338" cy="87046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5E2A9EC6-6239-29E2-496A-C3E082623E17}"/>
              </a:ext>
            </a:extLst>
          </p:cNvPr>
          <p:cNvSpPr txBox="1"/>
          <p:nvPr/>
        </p:nvSpPr>
        <p:spPr>
          <a:xfrm>
            <a:off x="5932345" y="752780"/>
            <a:ext cx="625965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THE REGULATORY FRAMEWORK OF SMEs FROM AN INTERNATIONAL PERSPECTIVE</a:t>
            </a:r>
          </a:p>
        </p:txBody>
      </p:sp>
      <p:pic>
        <p:nvPicPr>
          <p:cNvPr id="6" name="Picture 2" descr="AECM">
            <a:extLst>
              <a:ext uri="{FF2B5EF4-FFF2-40B4-BE49-F238E27FC236}">
                <a16:creationId xmlns:a16="http://schemas.microsoft.com/office/drawing/2014/main" id="{5F083F12-4192-F4CC-9490-A41B1D48ED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4200" y="4589824"/>
            <a:ext cx="1854200" cy="2005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86536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:a16="http://schemas.microsoft.com/office/drawing/2014/main" id="{AA1F050C-869B-56AA-E479-DB3A49A5C8F0}"/>
              </a:ext>
            </a:extLst>
          </p:cNvPr>
          <p:cNvSpPr/>
          <p:nvPr/>
        </p:nvSpPr>
        <p:spPr>
          <a:xfrm rot="5400000">
            <a:off x="5964199" y="617580"/>
            <a:ext cx="296042" cy="12200695"/>
          </a:xfrm>
          <a:prstGeom prst="rect">
            <a:avLst/>
          </a:prstGeom>
          <a:gradFill flip="none" rotWithShape="1">
            <a:gsLst>
              <a:gs pos="69000">
                <a:srgbClr val="0070C0"/>
              </a:gs>
              <a:gs pos="0">
                <a:srgbClr val="00B0F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95AE589C-DD87-3590-1E38-A439EA5F6D88}"/>
              </a:ext>
            </a:extLst>
          </p:cNvPr>
          <p:cNvSpPr txBox="1"/>
          <p:nvPr/>
        </p:nvSpPr>
        <p:spPr>
          <a:xfrm>
            <a:off x="492233" y="6394669"/>
            <a:ext cx="18224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20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318A58F7-3EC7-20D7-B17B-D3015E5FC168}"/>
              </a:ext>
            </a:extLst>
          </p:cNvPr>
          <p:cNvSpPr txBox="1"/>
          <p:nvPr/>
        </p:nvSpPr>
        <p:spPr>
          <a:xfrm>
            <a:off x="5627727" y="6297697"/>
            <a:ext cx="12954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6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6E39AC5C-3BBC-32D5-0AD6-A1FE8FA327B1}"/>
              </a:ext>
            </a:extLst>
          </p:cNvPr>
          <p:cNvSpPr txBox="1"/>
          <p:nvPr/>
        </p:nvSpPr>
        <p:spPr>
          <a:xfrm>
            <a:off x="10054266" y="6340002"/>
            <a:ext cx="182242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2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CC995FCB-12CF-45CD-3A36-3198F52C89E6}"/>
              </a:ext>
            </a:extLst>
          </p:cNvPr>
          <p:cNvSpPr txBox="1"/>
          <p:nvPr/>
        </p:nvSpPr>
        <p:spPr>
          <a:xfrm>
            <a:off x="3965852" y="6321505"/>
            <a:ext cx="12954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28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E41E443E-13C8-50C3-C45D-A57CC53B3D65}"/>
              </a:ext>
            </a:extLst>
          </p:cNvPr>
          <p:cNvSpPr txBox="1"/>
          <p:nvPr/>
        </p:nvSpPr>
        <p:spPr>
          <a:xfrm>
            <a:off x="2497999" y="6421542"/>
            <a:ext cx="159438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2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9C79C619-BCE7-4F15-5568-1A829AFACD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165" y="144148"/>
            <a:ext cx="1751280" cy="803065"/>
          </a:xfrm>
          <a:prstGeom prst="rect">
            <a:avLst/>
          </a:prstGeom>
        </p:spPr>
      </p:pic>
      <p:sp>
        <p:nvSpPr>
          <p:cNvPr id="28" name="Título 1">
            <a:extLst>
              <a:ext uri="{FF2B5EF4-FFF2-40B4-BE49-F238E27FC236}">
                <a16:creationId xmlns:a16="http://schemas.microsoft.com/office/drawing/2014/main" id="{20AC56E9-FCEB-3C87-B59A-68F27CBCA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7216" y="245566"/>
            <a:ext cx="8623610" cy="902324"/>
          </a:xfrm>
        </p:spPr>
        <p:txBody>
          <a:bodyPr>
            <a:noAutofit/>
          </a:bodyPr>
          <a:lstStyle/>
          <a:p>
            <a:pPr algn="r"/>
            <a:r>
              <a:rPr lang="es-MX" sz="20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NUMBER OF GUARANTEED MSMES (2021) </a:t>
            </a:r>
            <a:r>
              <a:rPr lang="es-MX" sz="2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COUNTRIES WITH PUBLIC GUARANTEE FUNDS STAND OUT WITH GREATER MASSIVENESS. </a:t>
            </a:r>
          </a:p>
        </p:txBody>
      </p:sp>
      <p:graphicFrame>
        <p:nvGraphicFramePr>
          <p:cNvPr id="2" name="Gráfico 1">
            <a:extLst>
              <a:ext uri="{FF2B5EF4-FFF2-40B4-BE49-F238E27FC236}">
                <a16:creationId xmlns:a16="http://schemas.microsoft.com/office/drawing/2014/main" id="{A1B2D922-EB12-DECC-26C5-7D108B736FE1}"/>
              </a:ext>
            </a:extLst>
          </p:cNvPr>
          <p:cNvGraphicFramePr>
            <a:graphicFrameLocks/>
          </p:cNvGraphicFramePr>
          <p:nvPr/>
        </p:nvGraphicFramePr>
        <p:xfrm>
          <a:off x="835838" y="1971680"/>
          <a:ext cx="10310582" cy="4268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2">
            <a:extLst>
              <a:ext uri="{FF2B5EF4-FFF2-40B4-BE49-F238E27FC236}">
                <a16:creationId xmlns:a16="http://schemas.microsoft.com/office/drawing/2014/main" id="{807E3E85-B2F6-6692-DCC3-9DCEB5A69935}"/>
              </a:ext>
            </a:extLst>
          </p:cNvPr>
          <p:cNvSpPr txBox="1"/>
          <p:nvPr/>
        </p:nvSpPr>
        <p:spPr>
          <a:xfrm>
            <a:off x="207034" y="1778652"/>
            <a:ext cx="662794" cy="369332"/>
          </a:xfrm>
          <a:prstGeom prst="rect">
            <a:avLst/>
          </a:prstGeom>
          <a:solidFill>
            <a:srgbClr val="21880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MX" sz="900">
                <a:solidFill>
                  <a:schemeClr val="bg1"/>
                </a:solidFill>
                <a:latin typeface="Montserrat" pitchFamily="2" charset="77"/>
              </a:rPr>
              <a:t>%</a:t>
            </a:r>
          </a:p>
          <a:p>
            <a:pPr algn="ctr"/>
            <a:r>
              <a:rPr lang="es-MX" sz="900">
                <a:solidFill>
                  <a:schemeClr val="bg1"/>
                </a:solidFill>
                <a:latin typeface="Montserrat" pitchFamily="2" charset="77"/>
              </a:rPr>
              <a:t>TOTAL</a:t>
            </a:r>
            <a:endParaRPr lang="en-US" sz="90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5" name="TextBox 8">
            <a:extLst>
              <a:ext uri="{FF2B5EF4-FFF2-40B4-BE49-F238E27FC236}">
                <a16:creationId xmlns:a16="http://schemas.microsoft.com/office/drawing/2014/main" id="{4C434E75-89F3-541E-F978-097517D07976}"/>
              </a:ext>
            </a:extLst>
          </p:cNvPr>
          <p:cNvSpPr txBox="1"/>
          <p:nvPr/>
        </p:nvSpPr>
        <p:spPr>
          <a:xfrm>
            <a:off x="880778" y="1788824"/>
            <a:ext cx="891789" cy="369332"/>
          </a:xfrm>
          <a:prstGeom prst="rect">
            <a:avLst/>
          </a:prstGeom>
          <a:solidFill>
            <a:srgbClr val="21880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MX" sz="900">
                <a:solidFill>
                  <a:schemeClr val="bg1"/>
                </a:solidFill>
                <a:latin typeface="Montserrat" pitchFamily="2" charset="77"/>
              </a:rPr>
              <a:t>PAÍS</a:t>
            </a:r>
          </a:p>
          <a:p>
            <a:pPr algn="ctr"/>
            <a:r>
              <a:rPr lang="es-MX" sz="900">
                <a:solidFill>
                  <a:schemeClr val="bg1"/>
                </a:solidFill>
                <a:latin typeface="Montserrat" pitchFamily="2" charset="77"/>
              </a:rPr>
              <a:t>(No. Entes)</a:t>
            </a:r>
            <a:endParaRPr lang="en-US" sz="900">
              <a:solidFill>
                <a:schemeClr val="bg1"/>
              </a:solidFill>
              <a:latin typeface="Montserrat" pitchFamily="2" charset="77"/>
            </a:endParaRP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57DDED6A-6404-F0E9-DDE2-B060ED556EC7}"/>
              </a:ext>
            </a:extLst>
          </p:cNvPr>
          <p:cNvGraphicFramePr>
            <a:graphicFrameLocks noGrp="1"/>
          </p:cNvGraphicFramePr>
          <p:nvPr/>
        </p:nvGraphicFramePr>
        <p:xfrm>
          <a:off x="207034" y="2287732"/>
          <a:ext cx="628804" cy="3792964"/>
        </p:xfrm>
        <a:graphic>
          <a:graphicData uri="http://schemas.openxmlformats.org/drawingml/2006/table">
            <a:tbl>
              <a:tblPr/>
              <a:tblGrid>
                <a:gridCol w="628804">
                  <a:extLst>
                    <a:ext uri="{9D8B030D-6E8A-4147-A177-3AD203B41FA5}">
                      <a16:colId xmlns:a16="http://schemas.microsoft.com/office/drawing/2014/main" val="140993370"/>
                    </a:ext>
                  </a:extLst>
                </a:gridCol>
              </a:tblGrid>
              <a:tr h="270926"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29.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1388211"/>
                  </a:ext>
                </a:extLst>
              </a:tr>
              <a:tr h="270926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23.3</a:t>
                      </a:r>
                      <a:r>
                        <a:rPr lang="es-MX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7936806"/>
                  </a:ext>
                </a:extLst>
              </a:tr>
              <a:tr h="270926"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16.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3330122"/>
                  </a:ext>
                </a:extLst>
              </a:tr>
              <a:tr h="270926"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11.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30413"/>
                  </a:ext>
                </a:extLst>
              </a:tr>
              <a:tr h="270926"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7.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8071196"/>
                  </a:ext>
                </a:extLst>
              </a:tr>
              <a:tr h="270926"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6.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1140285"/>
                  </a:ext>
                </a:extLst>
              </a:tr>
              <a:tr h="270926"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2.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2966298"/>
                  </a:ext>
                </a:extLst>
              </a:tr>
              <a:tr h="270926"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1.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108124"/>
                  </a:ext>
                </a:extLst>
              </a:tr>
              <a:tr h="270926"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7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4450008"/>
                  </a:ext>
                </a:extLst>
              </a:tr>
              <a:tr h="270926"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9485367"/>
                  </a:ext>
                </a:extLst>
              </a:tr>
              <a:tr h="270926"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259793"/>
                  </a:ext>
                </a:extLst>
              </a:tr>
              <a:tr h="270926"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5207297"/>
                  </a:ext>
                </a:extLst>
              </a:tr>
              <a:tr h="270926"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6258656"/>
                  </a:ext>
                </a:extLst>
              </a:tr>
              <a:tr h="270926"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6510155"/>
                  </a:ext>
                </a:extLst>
              </a:tr>
            </a:tbl>
          </a:graphicData>
        </a:graphic>
      </p:graphicFrame>
      <p:sp>
        <p:nvSpPr>
          <p:cNvPr id="7" name="Rectángulo 6">
            <a:extLst>
              <a:ext uri="{FF2B5EF4-FFF2-40B4-BE49-F238E27FC236}">
                <a16:creationId xmlns:a16="http://schemas.microsoft.com/office/drawing/2014/main" id="{73F41365-43BF-EEDB-DD89-16A544384D01}"/>
              </a:ext>
            </a:extLst>
          </p:cNvPr>
          <p:cNvSpPr/>
          <p:nvPr/>
        </p:nvSpPr>
        <p:spPr>
          <a:xfrm>
            <a:off x="207034" y="2225506"/>
            <a:ext cx="11351554" cy="168648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8" name="TextBox 34">
            <a:extLst>
              <a:ext uri="{FF2B5EF4-FFF2-40B4-BE49-F238E27FC236}">
                <a16:creationId xmlns:a16="http://schemas.microsoft.com/office/drawing/2014/main" id="{5C33F924-ABDF-6043-3765-9E95D4607DFF}"/>
              </a:ext>
            </a:extLst>
          </p:cNvPr>
          <p:cNvSpPr txBox="1"/>
          <p:nvPr/>
        </p:nvSpPr>
        <p:spPr>
          <a:xfrm>
            <a:off x="3407216" y="1395063"/>
            <a:ext cx="63445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400" b="1" dirty="0">
                <a:latin typeface="Montserrat" pitchFamily="2" charset="77"/>
              </a:rPr>
              <a:t> 6,869,166 Mipymes</a:t>
            </a:r>
            <a:endParaRPr lang="en-US" sz="2400" b="1" dirty="0">
              <a:latin typeface="Montserrat" pitchFamily="2" charset="77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93D4817C-5C0C-7ED1-23B3-772B501AAD52}"/>
              </a:ext>
            </a:extLst>
          </p:cNvPr>
          <p:cNvSpPr txBox="1"/>
          <p:nvPr/>
        </p:nvSpPr>
        <p:spPr>
          <a:xfrm>
            <a:off x="6128804" y="4165003"/>
            <a:ext cx="551805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fontAlgn="base"/>
            <a:r>
              <a:rPr lang="es-MX" sz="1600" b="1" dirty="0">
                <a:solidFill>
                  <a:srgbClr val="666666"/>
                </a:solidFill>
                <a:latin typeface="Century Gothic" panose="020B0502020202020204" pitchFamily="34" charset="0"/>
              </a:rPr>
              <a:t>Portugal, Chile, México y Colombia  - </a:t>
            </a:r>
            <a:r>
              <a:rPr lang="es-MX" sz="1600" dirty="0">
                <a:solidFill>
                  <a:srgbClr val="666666"/>
                </a:solidFill>
                <a:latin typeface="Century Gothic" panose="020B0502020202020204" pitchFamily="34" charset="0"/>
              </a:rPr>
              <a:t>Public guarantee funds independent or managed by Development Banks.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71E8F631-9D1A-F0F0-A5E0-6805AF506BE1}"/>
              </a:ext>
            </a:extLst>
          </p:cNvPr>
          <p:cNvSpPr/>
          <p:nvPr/>
        </p:nvSpPr>
        <p:spPr>
          <a:xfrm>
            <a:off x="5792666" y="4265999"/>
            <a:ext cx="284267" cy="167269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s-MX" sz="160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2A42DC4D-000B-B7F6-1EA5-54349669F5A2}"/>
              </a:ext>
            </a:extLst>
          </p:cNvPr>
          <p:cNvSpPr txBox="1"/>
          <p:nvPr/>
        </p:nvSpPr>
        <p:spPr>
          <a:xfrm>
            <a:off x="6096000" y="5147161"/>
            <a:ext cx="546258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MX" sz="1600" b="1" dirty="0">
                <a:solidFill>
                  <a:srgbClr val="666666"/>
                </a:solidFill>
                <a:latin typeface="Century Gothic" panose="020B0502020202020204" pitchFamily="34" charset="0"/>
              </a:rPr>
              <a:t>Argentina – </a:t>
            </a:r>
            <a:r>
              <a:rPr lang="es-MX" sz="1600" dirty="0">
                <a:solidFill>
                  <a:srgbClr val="666666"/>
                </a:solidFill>
                <a:latin typeface="Century Gothic" panose="020B0502020202020204" pitchFamily="34" charset="0"/>
              </a:rPr>
              <a:t>Public Guarantee Funds and Mutual Guarantee Societies</a:t>
            </a:r>
            <a:endParaRPr lang="es-MX" sz="1600" dirty="0"/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A049545D-9F02-553C-FA39-EADEB9DD4C20}"/>
              </a:ext>
            </a:extLst>
          </p:cNvPr>
          <p:cNvSpPr/>
          <p:nvPr/>
        </p:nvSpPr>
        <p:spPr>
          <a:xfrm>
            <a:off x="5789628" y="5303057"/>
            <a:ext cx="284267" cy="167269"/>
          </a:xfrm>
          <a:prstGeom prst="rect">
            <a:avLst/>
          </a:prstGeom>
          <a:gradFill flip="none" rotWithShape="1">
            <a:gsLst>
              <a:gs pos="0">
                <a:srgbClr val="3FA8E3">
                  <a:shade val="30000"/>
                  <a:satMod val="115000"/>
                </a:srgbClr>
              </a:gs>
              <a:gs pos="50000">
                <a:srgbClr val="3FA8E3">
                  <a:shade val="67500"/>
                  <a:satMod val="115000"/>
                </a:srgbClr>
              </a:gs>
              <a:gs pos="100000">
                <a:srgbClr val="3FA8E3">
                  <a:shade val="100000"/>
                  <a:satMod val="115000"/>
                </a:srgb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s-MX" sz="160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53833126-8D19-7398-7A4D-85A4FB541A5D}"/>
              </a:ext>
            </a:extLst>
          </p:cNvPr>
          <p:cNvSpPr txBox="1"/>
          <p:nvPr/>
        </p:nvSpPr>
        <p:spPr>
          <a:xfrm>
            <a:off x="6128804" y="5757448"/>
            <a:ext cx="546258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MX" sz="1600" b="1" dirty="0">
                <a:solidFill>
                  <a:srgbClr val="666666"/>
                </a:solidFill>
                <a:latin typeface="Century Gothic" panose="020B0502020202020204" pitchFamily="34" charset="0"/>
              </a:rPr>
              <a:t>Brasil y España – </a:t>
            </a:r>
            <a:r>
              <a:rPr lang="es-MX" sz="1600" dirty="0">
                <a:solidFill>
                  <a:srgbClr val="666666"/>
                </a:solidFill>
                <a:latin typeface="Century Gothic" panose="020B0502020202020204" pitchFamily="34" charset="0"/>
              </a:rPr>
              <a:t> Reciprocal Guarantee Companies and Public Banking</a:t>
            </a:r>
            <a:endParaRPr lang="es-MX" sz="1600" dirty="0"/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31207825-2C6B-88DF-12BE-94B09401003B}"/>
              </a:ext>
            </a:extLst>
          </p:cNvPr>
          <p:cNvSpPr/>
          <p:nvPr/>
        </p:nvSpPr>
        <p:spPr>
          <a:xfrm>
            <a:off x="5789628" y="5856273"/>
            <a:ext cx="284267" cy="167269"/>
          </a:xfrm>
          <a:prstGeom prst="rect">
            <a:avLst/>
          </a:prstGeom>
          <a:gradFill flip="none" rotWithShape="1">
            <a:gsLst>
              <a:gs pos="0">
                <a:srgbClr val="3FA8E3">
                  <a:shade val="30000"/>
                  <a:satMod val="115000"/>
                </a:srgbClr>
              </a:gs>
              <a:gs pos="50000">
                <a:srgbClr val="3FA8E3">
                  <a:shade val="67500"/>
                  <a:satMod val="115000"/>
                </a:srgbClr>
              </a:gs>
              <a:gs pos="100000">
                <a:srgbClr val="3FA8E3">
                  <a:shade val="100000"/>
                  <a:satMod val="115000"/>
                </a:srgb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s-MX" sz="1600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6631BF13-C60A-9C78-A3F3-A5BB1B8514F1}"/>
              </a:ext>
            </a:extLst>
          </p:cNvPr>
          <p:cNvSpPr txBox="1"/>
          <p:nvPr/>
        </p:nvSpPr>
        <p:spPr>
          <a:xfrm>
            <a:off x="254165" y="6575663"/>
            <a:ext cx="978575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050" dirty="0">
                <a:solidFill>
                  <a:schemeClr val="bg1">
                    <a:lumMod val="95000"/>
                  </a:schemeClr>
                </a:solidFill>
                <a:latin typeface="ArialMT"/>
              </a:rPr>
              <a:t>Source: REGAR with data from the statistics of the activity of the guarantees 2021
</a:t>
            </a:r>
            <a:endParaRPr lang="es-MX" sz="1050" b="1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839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:a16="http://schemas.microsoft.com/office/drawing/2014/main" id="{AA1F050C-869B-56AA-E479-DB3A49A5C8F0}"/>
              </a:ext>
            </a:extLst>
          </p:cNvPr>
          <p:cNvSpPr/>
          <p:nvPr/>
        </p:nvSpPr>
        <p:spPr>
          <a:xfrm rot="5400000">
            <a:off x="5964199" y="617580"/>
            <a:ext cx="296042" cy="12200695"/>
          </a:xfrm>
          <a:prstGeom prst="rect">
            <a:avLst/>
          </a:prstGeom>
          <a:gradFill flip="none" rotWithShape="1">
            <a:gsLst>
              <a:gs pos="69000">
                <a:srgbClr val="0070C0"/>
              </a:gs>
              <a:gs pos="0">
                <a:srgbClr val="00B0F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95AE589C-DD87-3590-1E38-A439EA5F6D88}"/>
              </a:ext>
            </a:extLst>
          </p:cNvPr>
          <p:cNvSpPr txBox="1"/>
          <p:nvPr/>
        </p:nvSpPr>
        <p:spPr>
          <a:xfrm>
            <a:off x="492233" y="6394669"/>
            <a:ext cx="18224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20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318A58F7-3EC7-20D7-B17B-D3015E5FC168}"/>
              </a:ext>
            </a:extLst>
          </p:cNvPr>
          <p:cNvSpPr txBox="1"/>
          <p:nvPr/>
        </p:nvSpPr>
        <p:spPr>
          <a:xfrm>
            <a:off x="5627727" y="6297697"/>
            <a:ext cx="12954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6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6E39AC5C-3BBC-32D5-0AD6-A1FE8FA327B1}"/>
              </a:ext>
            </a:extLst>
          </p:cNvPr>
          <p:cNvSpPr txBox="1"/>
          <p:nvPr/>
        </p:nvSpPr>
        <p:spPr>
          <a:xfrm>
            <a:off x="10041014" y="6340002"/>
            <a:ext cx="182242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2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CC995FCB-12CF-45CD-3A36-3198F52C89E6}"/>
              </a:ext>
            </a:extLst>
          </p:cNvPr>
          <p:cNvSpPr txBox="1"/>
          <p:nvPr/>
        </p:nvSpPr>
        <p:spPr>
          <a:xfrm>
            <a:off x="3965852" y="6321505"/>
            <a:ext cx="12954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28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E41E443E-13C8-50C3-C45D-A57CC53B3D65}"/>
              </a:ext>
            </a:extLst>
          </p:cNvPr>
          <p:cNvSpPr txBox="1"/>
          <p:nvPr/>
        </p:nvSpPr>
        <p:spPr>
          <a:xfrm>
            <a:off x="2497999" y="6421542"/>
            <a:ext cx="159438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2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9C79C619-BCE7-4F15-5568-1A829AFACD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4165" y="144148"/>
            <a:ext cx="1751280" cy="803065"/>
          </a:xfrm>
          <a:prstGeom prst="rect">
            <a:avLst/>
          </a:prstGeom>
        </p:spPr>
      </p:pic>
      <p:graphicFrame>
        <p:nvGraphicFramePr>
          <p:cNvPr id="2" name="1 Gráfico">
            <a:extLst>
              <a:ext uri="{FF2B5EF4-FFF2-40B4-BE49-F238E27FC236}">
                <a16:creationId xmlns:a16="http://schemas.microsoft.com/office/drawing/2014/main" id="{C1A125E8-8C6D-AF7B-2B2E-6CCA72B418F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5629941"/>
              </p:ext>
            </p:extLst>
          </p:nvPr>
        </p:nvGraphicFramePr>
        <p:xfrm>
          <a:off x="578238" y="873688"/>
          <a:ext cx="10258601" cy="27859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" name="4 Gráfico">
            <a:extLst>
              <a:ext uri="{FF2B5EF4-FFF2-40B4-BE49-F238E27FC236}">
                <a16:creationId xmlns:a16="http://schemas.microsoft.com/office/drawing/2014/main" id="{F066AF5F-4DE5-7822-52A0-D24B998841E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90270356"/>
              </p:ext>
            </p:extLst>
          </p:nvPr>
        </p:nvGraphicFramePr>
        <p:xfrm>
          <a:off x="940324" y="3669108"/>
          <a:ext cx="9787226" cy="2897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CuadroTexto 3">
            <a:extLst>
              <a:ext uri="{FF2B5EF4-FFF2-40B4-BE49-F238E27FC236}">
                <a16:creationId xmlns:a16="http://schemas.microsoft.com/office/drawing/2014/main" id="{4BAF82E8-EB5B-B3D5-2714-D3F4CF8F170C}"/>
              </a:ext>
            </a:extLst>
          </p:cNvPr>
          <p:cNvSpPr txBox="1"/>
          <p:nvPr/>
        </p:nvSpPr>
        <p:spPr>
          <a:xfrm>
            <a:off x="1191791" y="2828198"/>
            <a:ext cx="5790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88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D885FD92-C8A2-5DC6-DC23-FFCD395FB2EB}"/>
              </a:ext>
            </a:extLst>
          </p:cNvPr>
          <p:cNvSpPr txBox="1"/>
          <p:nvPr/>
        </p:nvSpPr>
        <p:spPr>
          <a:xfrm>
            <a:off x="2005445" y="2699460"/>
            <a:ext cx="77457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,288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9F5BDB1-288B-DC7F-CA70-0A038993DBF8}"/>
              </a:ext>
            </a:extLst>
          </p:cNvPr>
          <p:cNvSpPr txBox="1"/>
          <p:nvPr/>
        </p:nvSpPr>
        <p:spPr>
          <a:xfrm>
            <a:off x="3008456" y="2085509"/>
            <a:ext cx="77457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,334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A87979AE-B5FC-D886-8DD8-D807220C8D6B}"/>
              </a:ext>
            </a:extLst>
          </p:cNvPr>
          <p:cNvSpPr txBox="1"/>
          <p:nvPr/>
        </p:nvSpPr>
        <p:spPr>
          <a:xfrm>
            <a:off x="8843421" y="1186581"/>
            <a:ext cx="77457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,414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DA5EE106-2179-412C-3E8B-23FF4706EF5B}"/>
              </a:ext>
            </a:extLst>
          </p:cNvPr>
          <p:cNvSpPr txBox="1"/>
          <p:nvPr/>
        </p:nvSpPr>
        <p:spPr>
          <a:xfrm>
            <a:off x="9894932" y="1272518"/>
            <a:ext cx="77457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,965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5B6EA9B3-8E78-2FFA-0BAA-6D137A5FD486}"/>
              </a:ext>
            </a:extLst>
          </p:cNvPr>
          <p:cNvSpPr txBox="1"/>
          <p:nvPr/>
        </p:nvSpPr>
        <p:spPr>
          <a:xfrm>
            <a:off x="5388567" y="1488105"/>
            <a:ext cx="15295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0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 6 TIMES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328F797B-B177-CA1B-13E8-B8665E5BFD29}"/>
              </a:ext>
            </a:extLst>
          </p:cNvPr>
          <p:cNvSpPr txBox="1"/>
          <p:nvPr/>
        </p:nvSpPr>
        <p:spPr>
          <a:xfrm>
            <a:off x="416622" y="1410735"/>
            <a:ext cx="1877077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MX" sz="2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SMESs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6A8D3EE6-1AAC-C1F7-4D05-8FABE0C13793}"/>
              </a:ext>
            </a:extLst>
          </p:cNvPr>
          <p:cNvSpPr txBox="1"/>
          <p:nvPr/>
        </p:nvSpPr>
        <p:spPr>
          <a:xfrm>
            <a:off x="253116" y="4028281"/>
            <a:ext cx="2516223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MX" sz="24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CREDIT AND
GUARANTEES
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B10B4590-1C06-08FC-4161-D451B8977D53}"/>
              </a:ext>
            </a:extLst>
          </p:cNvPr>
          <p:cNvSpPr txBox="1"/>
          <p:nvPr/>
        </p:nvSpPr>
        <p:spPr>
          <a:xfrm>
            <a:off x="918306" y="5787566"/>
            <a:ext cx="77457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,258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9D953ADE-07EA-620C-4F48-D42AB5E5D52B}"/>
              </a:ext>
            </a:extLst>
          </p:cNvPr>
          <p:cNvSpPr txBox="1"/>
          <p:nvPr/>
        </p:nvSpPr>
        <p:spPr>
          <a:xfrm>
            <a:off x="1879171" y="5670304"/>
            <a:ext cx="6960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b="1" dirty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,836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658ECD2D-4C0C-A558-4A69-177D1697C554}"/>
              </a:ext>
            </a:extLst>
          </p:cNvPr>
          <p:cNvSpPr txBox="1"/>
          <p:nvPr/>
        </p:nvSpPr>
        <p:spPr>
          <a:xfrm>
            <a:off x="2675760" y="5316331"/>
            <a:ext cx="8098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b="1" dirty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8,785</a:t>
            </a: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F5481357-528A-BAD9-9135-9558A588ADE7}"/>
              </a:ext>
            </a:extLst>
          </p:cNvPr>
          <p:cNvSpPr txBox="1"/>
          <p:nvPr/>
        </p:nvSpPr>
        <p:spPr>
          <a:xfrm>
            <a:off x="8843421" y="3789657"/>
            <a:ext cx="9060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>
                <a:solidFill>
                  <a:srgbClr val="057F8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8,658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99D957EE-AF08-B03A-79C8-519E9B257EEC}"/>
              </a:ext>
            </a:extLst>
          </p:cNvPr>
          <p:cNvSpPr txBox="1"/>
          <p:nvPr/>
        </p:nvSpPr>
        <p:spPr>
          <a:xfrm>
            <a:off x="867738" y="1761599"/>
            <a:ext cx="9730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/>
              <a:t>(miles)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47B50B85-93BA-5CF3-2E6F-CF4EA14BB389}"/>
              </a:ext>
            </a:extLst>
          </p:cNvPr>
          <p:cNvSpPr txBox="1"/>
          <p:nvPr/>
        </p:nvSpPr>
        <p:spPr>
          <a:xfrm>
            <a:off x="1129498" y="4811252"/>
            <a:ext cx="6687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(mill)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8ADEEFBD-DB35-A1A5-8491-AC064A747A97}"/>
              </a:ext>
            </a:extLst>
          </p:cNvPr>
          <p:cNvSpPr txBox="1"/>
          <p:nvPr/>
        </p:nvSpPr>
        <p:spPr>
          <a:xfrm>
            <a:off x="9429822" y="4600749"/>
            <a:ext cx="9028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9,014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AED70ED4-BB62-63DA-4F71-5C97B2FBD5A5}"/>
              </a:ext>
            </a:extLst>
          </p:cNvPr>
          <p:cNvSpPr txBox="1"/>
          <p:nvPr/>
        </p:nvSpPr>
        <p:spPr>
          <a:xfrm>
            <a:off x="4505093" y="135399"/>
            <a:ext cx="735770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s-MX" sz="2000" b="1" dirty="0">
                <a:solidFill>
                  <a:schemeClr val="accent5">
                    <a:lumMod val="50000"/>
                  </a:schemeClr>
                </a:solidFill>
                <a:latin typeface="Montserrat" pitchFamily="2" charset="77"/>
                <a:ea typeface="+mj-ea"/>
                <a:cs typeface="+mj-cs"/>
              </a:rPr>
              <a:t>GUARANTEE SYSTEMS IN LATIN AMERICA </a:t>
            </a:r>
            <a:r>
              <a:rPr lang="es-MX" sz="2000" dirty="0">
                <a:solidFill>
                  <a:schemeClr val="accent5">
                    <a:lumMod val="50000"/>
                  </a:schemeClr>
                </a:solidFill>
                <a:latin typeface="Montserrat" pitchFamily="2" charset="77"/>
                <a:ea typeface="+mj-ea"/>
                <a:cs typeface="+mj-cs"/>
              </a:rPr>
              <a:t>	EVOLUTION 2000 – 2021 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3CD532ED-8599-6191-F8BD-06A5B8958F65}"/>
              </a:ext>
            </a:extLst>
          </p:cNvPr>
          <p:cNvSpPr txBox="1"/>
          <p:nvPr/>
        </p:nvSpPr>
        <p:spPr>
          <a:xfrm>
            <a:off x="8385880" y="4275409"/>
            <a:ext cx="9028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6,203</a:t>
            </a: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62CE57B6-FBF9-4B1A-3AF9-78CB9F2F6370}"/>
              </a:ext>
            </a:extLst>
          </p:cNvPr>
          <p:cNvSpPr txBox="1"/>
          <p:nvPr/>
        </p:nvSpPr>
        <p:spPr>
          <a:xfrm>
            <a:off x="9934509" y="4275409"/>
            <a:ext cx="906017" cy="3385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s-MX" sz="1600" b="1" dirty="0">
                <a:solidFill>
                  <a:srgbClr val="057F8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6,992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741C688A-3CD2-A488-3F5F-1BA0FA850B6D}"/>
              </a:ext>
            </a:extLst>
          </p:cNvPr>
          <p:cNvSpPr txBox="1"/>
          <p:nvPr/>
        </p:nvSpPr>
        <p:spPr>
          <a:xfrm>
            <a:off x="3548471" y="4171370"/>
            <a:ext cx="38603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000" b="1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bilized Credit + </a:t>
            </a:r>
            <a:r>
              <a:rPr lang="es-MX" sz="2000" b="1" dirty="0">
                <a:solidFill>
                  <a:schemeClr val="accent6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1 TIMES</a:t>
            </a:r>
          </a:p>
        </p:txBody>
      </p: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id="{AC51CF8D-FD02-FE44-B95F-5A2B72553EA5}"/>
              </a:ext>
            </a:extLst>
          </p:cNvPr>
          <p:cNvCxnSpPr>
            <a:cxnSpLocks/>
          </p:cNvCxnSpPr>
          <p:nvPr/>
        </p:nvCxnSpPr>
        <p:spPr>
          <a:xfrm flipV="1">
            <a:off x="492233" y="3726260"/>
            <a:ext cx="11497203" cy="40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de flecha 38">
            <a:extLst>
              <a:ext uri="{FF2B5EF4-FFF2-40B4-BE49-F238E27FC236}">
                <a16:creationId xmlns:a16="http://schemas.microsoft.com/office/drawing/2014/main" id="{B446A188-286F-621E-FEA1-9BCC8F8492FA}"/>
              </a:ext>
            </a:extLst>
          </p:cNvPr>
          <p:cNvCxnSpPr>
            <a:cxnSpLocks/>
          </p:cNvCxnSpPr>
          <p:nvPr/>
        </p:nvCxnSpPr>
        <p:spPr>
          <a:xfrm>
            <a:off x="2293699" y="5025570"/>
            <a:ext cx="6373123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cto de flecha 46">
            <a:extLst>
              <a:ext uri="{FF2B5EF4-FFF2-40B4-BE49-F238E27FC236}">
                <a16:creationId xmlns:a16="http://schemas.microsoft.com/office/drawing/2014/main" id="{2AB7669E-E1FA-C8A8-E87E-C0B0E36DADA4}"/>
              </a:ext>
            </a:extLst>
          </p:cNvPr>
          <p:cNvCxnSpPr>
            <a:cxnSpLocks/>
          </p:cNvCxnSpPr>
          <p:nvPr/>
        </p:nvCxnSpPr>
        <p:spPr>
          <a:xfrm>
            <a:off x="2520976" y="1937872"/>
            <a:ext cx="6373123" cy="0"/>
          </a:xfrm>
          <a:prstGeom prst="straightConnector1">
            <a:avLst/>
          </a:prstGeom>
          <a:ln>
            <a:solidFill>
              <a:srgbClr val="00BCFF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uadroTexto 47">
            <a:extLst>
              <a:ext uri="{FF2B5EF4-FFF2-40B4-BE49-F238E27FC236}">
                <a16:creationId xmlns:a16="http://schemas.microsoft.com/office/drawing/2014/main" id="{9E1B3256-3BDA-77E8-31D8-766B518F5364}"/>
              </a:ext>
            </a:extLst>
          </p:cNvPr>
          <p:cNvSpPr txBox="1"/>
          <p:nvPr/>
        </p:nvSpPr>
        <p:spPr>
          <a:xfrm>
            <a:off x="3806121" y="4546383"/>
            <a:ext cx="42659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000" b="1" dirty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alance Guarantees+ 13 TIMES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DA593501-56DD-637D-B68C-F00CC4D5C0EB}"/>
              </a:ext>
            </a:extLst>
          </p:cNvPr>
          <p:cNvSpPr txBox="1"/>
          <p:nvPr/>
        </p:nvSpPr>
        <p:spPr>
          <a:xfrm>
            <a:off x="3223813" y="5125608"/>
            <a:ext cx="8098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b="1" dirty="0">
                <a:solidFill>
                  <a:srgbClr val="057F8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,526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C6A00E45-32E0-5616-C496-2B223B852686}"/>
              </a:ext>
            </a:extLst>
          </p:cNvPr>
          <p:cNvSpPr txBox="1"/>
          <p:nvPr/>
        </p:nvSpPr>
        <p:spPr>
          <a:xfrm>
            <a:off x="2200733" y="5485632"/>
            <a:ext cx="6960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b="1" dirty="0">
                <a:solidFill>
                  <a:srgbClr val="057F8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,653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0489F319-1190-4F40-B361-E0A269484708}"/>
              </a:ext>
            </a:extLst>
          </p:cNvPr>
          <p:cNvSpPr txBox="1"/>
          <p:nvPr/>
        </p:nvSpPr>
        <p:spPr>
          <a:xfrm>
            <a:off x="254165" y="6575663"/>
            <a:ext cx="978575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050" dirty="0">
                <a:solidFill>
                  <a:schemeClr val="bg1">
                    <a:lumMod val="95000"/>
                  </a:schemeClr>
                </a:solidFill>
                <a:latin typeface="ArialMT"/>
              </a:rPr>
              <a:t>Source: REGAR with data from the statistics of the activity of the guarantees 2021
</a:t>
            </a:r>
            <a:endParaRPr lang="es-MX" sz="1050" b="1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1478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9C12BC64-C0B4-CA94-C930-FAEFA0CF960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0792773"/>
              </p:ext>
            </p:extLst>
          </p:nvPr>
        </p:nvGraphicFramePr>
        <p:xfrm>
          <a:off x="143232" y="1676400"/>
          <a:ext cx="10958300" cy="473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2" name="Rectángulo 21">
            <a:extLst>
              <a:ext uri="{FF2B5EF4-FFF2-40B4-BE49-F238E27FC236}">
                <a16:creationId xmlns:a16="http://schemas.microsoft.com/office/drawing/2014/main" id="{569E696F-E8F6-3BCC-4A5E-3F64F849A181}"/>
              </a:ext>
            </a:extLst>
          </p:cNvPr>
          <p:cNvSpPr/>
          <p:nvPr/>
        </p:nvSpPr>
        <p:spPr>
          <a:xfrm>
            <a:off x="10430218" y="2099662"/>
            <a:ext cx="838184" cy="429365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376A12C4-FC80-A5D1-33FD-55B51D4BAFB5}"/>
              </a:ext>
            </a:extLst>
          </p:cNvPr>
          <p:cNvSpPr/>
          <p:nvPr/>
        </p:nvSpPr>
        <p:spPr>
          <a:xfrm>
            <a:off x="1090468" y="2120900"/>
            <a:ext cx="5910407" cy="429365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00079DFF-A860-7569-B39D-AB2804FAB8C5}"/>
              </a:ext>
            </a:extLst>
          </p:cNvPr>
          <p:cNvSpPr/>
          <p:nvPr/>
        </p:nvSpPr>
        <p:spPr>
          <a:xfrm>
            <a:off x="7062124" y="2120900"/>
            <a:ext cx="2355751" cy="429365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2" name="2 Gráfico">
            <a:extLst>
              <a:ext uri="{FF2B5EF4-FFF2-40B4-BE49-F238E27FC236}">
                <a16:creationId xmlns:a16="http://schemas.microsoft.com/office/drawing/2014/main" id="{D48A302F-1D06-45F9-7E59-12ED59F4F27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9621785"/>
              </p:ext>
            </p:extLst>
          </p:nvPr>
        </p:nvGraphicFramePr>
        <p:xfrm>
          <a:off x="797858" y="1714080"/>
          <a:ext cx="10147717" cy="3825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" name="Rectángulo 20">
            <a:extLst>
              <a:ext uri="{FF2B5EF4-FFF2-40B4-BE49-F238E27FC236}">
                <a16:creationId xmlns:a16="http://schemas.microsoft.com/office/drawing/2014/main" id="{4F91A0BA-18F3-5AE2-94BB-9DC28D9F5C2A}"/>
              </a:ext>
            </a:extLst>
          </p:cNvPr>
          <p:cNvSpPr/>
          <p:nvPr/>
        </p:nvSpPr>
        <p:spPr>
          <a:xfrm>
            <a:off x="9479124" y="2113950"/>
            <a:ext cx="889845" cy="429365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Google Shape;17;p2">
            <a:extLst>
              <a:ext uri="{FF2B5EF4-FFF2-40B4-BE49-F238E27FC236}">
                <a16:creationId xmlns:a16="http://schemas.microsoft.com/office/drawing/2014/main" id="{D8992F58-F073-F945-D872-2F2BC8A1ED46}"/>
              </a:ext>
            </a:extLst>
          </p:cNvPr>
          <p:cNvSpPr/>
          <p:nvPr/>
        </p:nvSpPr>
        <p:spPr>
          <a:xfrm>
            <a:off x="0" y="-3147"/>
            <a:ext cx="12192000" cy="104069"/>
          </a:xfrm>
          <a:prstGeom prst="rect">
            <a:avLst/>
          </a:prstGeom>
          <a:solidFill>
            <a:srgbClr val="008BB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</a:pPr>
            <a:endParaRPr sz="2400" b="1" kern="0" dirty="0">
              <a:solidFill>
                <a:schemeClr val="bg1"/>
              </a:solidFill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E570A3E8-C599-7B08-5EC1-83C204A0138F}"/>
              </a:ext>
            </a:extLst>
          </p:cNvPr>
          <p:cNvSpPr/>
          <p:nvPr/>
        </p:nvSpPr>
        <p:spPr>
          <a:xfrm rot="5400000">
            <a:off x="5964199" y="617580"/>
            <a:ext cx="296042" cy="12200695"/>
          </a:xfrm>
          <a:prstGeom prst="rect">
            <a:avLst/>
          </a:prstGeom>
          <a:gradFill flip="none" rotWithShape="1">
            <a:gsLst>
              <a:gs pos="69000">
                <a:srgbClr val="0070C0"/>
              </a:gs>
              <a:gs pos="0">
                <a:srgbClr val="00B0F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283" name="Picture 2">
            <a:extLst>
              <a:ext uri="{FF2B5EF4-FFF2-40B4-BE49-F238E27FC236}">
                <a16:creationId xmlns:a16="http://schemas.microsoft.com/office/drawing/2014/main" id="{93C4C00D-D75D-8D15-1209-67B2928408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4165" y="144148"/>
            <a:ext cx="1751280" cy="803065"/>
          </a:xfrm>
          <a:prstGeom prst="rect">
            <a:avLst/>
          </a:prstGeom>
        </p:spPr>
      </p:pic>
      <p:sp>
        <p:nvSpPr>
          <p:cNvPr id="23" name="CuadroTexto 22">
            <a:extLst>
              <a:ext uri="{FF2B5EF4-FFF2-40B4-BE49-F238E27FC236}">
                <a16:creationId xmlns:a16="http://schemas.microsoft.com/office/drawing/2014/main" id="{9B238C46-4E55-3B27-11C9-BA7CD1AF0E73}"/>
              </a:ext>
            </a:extLst>
          </p:cNvPr>
          <p:cNvSpPr txBox="1"/>
          <p:nvPr/>
        </p:nvSpPr>
        <p:spPr>
          <a:xfrm>
            <a:off x="10287368" y="1229889"/>
            <a:ext cx="112388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1400" b="1" dirty="0">
                <a:latin typeface="Montserrat" pitchFamily="2" charset="77"/>
              </a:rPr>
              <a:t>Post-pandemic
</a:t>
            </a:r>
            <a:endParaRPr lang="es-MX" sz="1400" b="1" dirty="0"/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725B9B6F-3C08-6047-A44E-C7BC53F95F00}"/>
              </a:ext>
            </a:extLst>
          </p:cNvPr>
          <p:cNvSpPr txBox="1"/>
          <p:nvPr/>
        </p:nvSpPr>
        <p:spPr>
          <a:xfrm>
            <a:off x="9397522" y="1433969"/>
            <a:ext cx="889846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s-MX" sz="1400" b="1" dirty="0">
                <a:latin typeface="Montserrat" pitchFamily="2" charset="77"/>
              </a:rPr>
              <a:t>COVID</a:t>
            </a:r>
            <a:endParaRPr lang="es-MX" sz="1400" b="1" dirty="0"/>
          </a:p>
        </p:txBody>
      </p:sp>
      <p:sp>
        <p:nvSpPr>
          <p:cNvPr id="28" name="Título 1">
            <a:extLst>
              <a:ext uri="{FF2B5EF4-FFF2-40B4-BE49-F238E27FC236}">
                <a16:creationId xmlns:a16="http://schemas.microsoft.com/office/drawing/2014/main" id="{26A2C9AE-333F-7FB3-B75F-5637D5477F77}"/>
              </a:ext>
            </a:extLst>
          </p:cNvPr>
          <p:cNvSpPr txBox="1">
            <a:spLocks/>
          </p:cNvSpPr>
          <p:nvPr/>
        </p:nvSpPr>
        <p:spPr>
          <a:xfrm>
            <a:off x="2787805" y="231395"/>
            <a:ext cx="9424763" cy="909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MX" sz="20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EVOLUTION 1998-2021 IN LATIN AMERICA</a:t>
            </a:r>
            <a:r>
              <a:rPr lang="es-MX" sz="2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: GREATER NUMBER OF SMES SUPPORTED WHILE THE CREDIT MOBILIZED INCREASED</a:t>
            </a:r>
            <a:endParaRPr lang="es-MX" sz="2000" b="1" dirty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270" name="Conector recto 269">
            <a:extLst>
              <a:ext uri="{FF2B5EF4-FFF2-40B4-BE49-F238E27FC236}">
                <a16:creationId xmlns:a16="http://schemas.microsoft.com/office/drawing/2014/main" id="{8460524C-7ACE-706D-8547-913F7D9B6E61}"/>
              </a:ext>
            </a:extLst>
          </p:cNvPr>
          <p:cNvCxnSpPr>
            <a:cxnSpLocks/>
          </p:cNvCxnSpPr>
          <p:nvPr/>
        </p:nvCxnSpPr>
        <p:spPr>
          <a:xfrm>
            <a:off x="1243057" y="1917635"/>
            <a:ext cx="236620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5" name="CuadroTexto 274">
            <a:extLst>
              <a:ext uri="{FF2B5EF4-FFF2-40B4-BE49-F238E27FC236}">
                <a16:creationId xmlns:a16="http://schemas.microsoft.com/office/drawing/2014/main" id="{7DBC8CB4-34B4-1547-2509-89E3C841D33F}"/>
              </a:ext>
            </a:extLst>
          </p:cNvPr>
          <p:cNvSpPr txBox="1"/>
          <p:nvPr/>
        </p:nvSpPr>
        <p:spPr>
          <a:xfrm>
            <a:off x="1489559" y="1561936"/>
            <a:ext cx="309556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200" dirty="0">
                <a:latin typeface="Montserrat" pitchFamily="2" charset="77"/>
              </a:rPr>
              <a:t>Credit mobilized
SMEs</a:t>
            </a:r>
            <a:endParaRPr lang="es-MX" sz="1200" dirty="0"/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7A82A4C8-98F8-27E9-FDAC-F80C43CBA3F9}"/>
              </a:ext>
            </a:extLst>
          </p:cNvPr>
          <p:cNvSpPr/>
          <p:nvPr/>
        </p:nvSpPr>
        <p:spPr>
          <a:xfrm>
            <a:off x="1252939" y="1631737"/>
            <a:ext cx="236620" cy="104197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cxnSp>
        <p:nvCxnSpPr>
          <p:cNvPr id="4" name="Conector recto de flecha 3">
            <a:extLst>
              <a:ext uri="{FF2B5EF4-FFF2-40B4-BE49-F238E27FC236}">
                <a16:creationId xmlns:a16="http://schemas.microsoft.com/office/drawing/2014/main" id="{DE76333C-A00E-F6CA-E916-5D967A49A2EF}"/>
              </a:ext>
            </a:extLst>
          </p:cNvPr>
          <p:cNvCxnSpPr>
            <a:cxnSpLocks/>
          </p:cNvCxnSpPr>
          <p:nvPr/>
        </p:nvCxnSpPr>
        <p:spPr>
          <a:xfrm>
            <a:off x="1506509" y="2215913"/>
            <a:ext cx="8218259" cy="0"/>
          </a:xfrm>
          <a:prstGeom prst="straightConnector1">
            <a:avLst/>
          </a:prstGeom>
          <a:ln w="28575">
            <a:solidFill>
              <a:srgbClr val="00A49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uadroTexto 4">
            <a:extLst>
              <a:ext uri="{FF2B5EF4-FFF2-40B4-BE49-F238E27FC236}">
                <a16:creationId xmlns:a16="http://schemas.microsoft.com/office/drawing/2014/main" id="{2CD913D8-BAC3-CECF-8D91-544F3214C8EA}"/>
              </a:ext>
            </a:extLst>
          </p:cNvPr>
          <p:cNvSpPr txBox="1"/>
          <p:nvPr/>
        </p:nvSpPr>
        <p:spPr>
          <a:xfrm>
            <a:off x="5745851" y="1716682"/>
            <a:ext cx="17696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800" b="1" dirty="0"/>
              <a:t>   9 times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85F06683-1E97-40CE-1BD4-29B8BA9DF086}"/>
              </a:ext>
            </a:extLst>
          </p:cNvPr>
          <p:cNvSpPr txBox="1"/>
          <p:nvPr/>
        </p:nvSpPr>
        <p:spPr>
          <a:xfrm>
            <a:off x="8101013" y="1229889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/>
              <a:t>69%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E1045768-19C9-5368-761A-65959E4B7E85}"/>
              </a:ext>
            </a:extLst>
          </p:cNvPr>
          <p:cNvSpPr txBox="1"/>
          <p:nvPr/>
        </p:nvSpPr>
        <p:spPr>
          <a:xfrm>
            <a:off x="9204686" y="2417057"/>
            <a:ext cx="7360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000" b="1" dirty="0">
                <a:latin typeface="Montserrat" pitchFamily="2" charset="77"/>
              </a:rPr>
              <a:t>69%</a:t>
            </a:r>
          </a:p>
        </p:txBody>
      </p:sp>
      <p:sp>
        <p:nvSpPr>
          <p:cNvPr id="26" name="Triángulo 25">
            <a:extLst>
              <a:ext uri="{FF2B5EF4-FFF2-40B4-BE49-F238E27FC236}">
                <a16:creationId xmlns:a16="http://schemas.microsoft.com/office/drawing/2014/main" id="{09EED086-CE32-8B3B-6CDB-DDE335CC1911}"/>
              </a:ext>
            </a:extLst>
          </p:cNvPr>
          <p:cNvSpPr/>
          <p:nvPr/>
        </p:nvSpPr>
        <p:spPr>
          <a:xfrm>
            <a:off x="8942172" y="2480389"/>
            <a:ext cx="285750" cy="200055"/>
          </a:xfrm>
          <a:prstGeom prst="triangl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1659DF1F-D3E1-E1D8-DD8E-4DF4260F0476}"/>
              </a:ext>
            </a:extLst>
          </p:cNvPr>
          <p:cNvSpPr txBox="1"/>
          <p:nvPr/>
        </p:nvSpPr>
        <p:spPr>
          <a:xfrm>
            <a:off x="4492149" y="3429000"/>
            <a:ext cx="8242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000" b="1" dirty="0">
                <a:latin typeface="Montserrat" pitchFamily="2" charset="77"/>
              </a:rPr>
              <a:t>219%</a:t>
            </a:r>
          </a:p>
        </p:txBody>
      </p:sp>
      <p:sp>
        <p:nvSpPr>
          <p:cNvPr id="29" name="Triángulo 28">
            <a:extLst>
              <a:ext uri="{FF2B5EF4-FFF2-40B4-BE49-F238E27FC236}">
                <a16:creationId xmlns:a16="http://schemas.microsoft.com/office/drawing/2014/main" id="{581A5844-86EE-0A61-E0EA-40B04F638BFE}"/>
              </a:ext>
            </a:extLst>
          </p:cNvPr>
          <p:cNvSpPr/>
          <p:nvPr/>
        </p:nvSpPr>
        <p:spPr>
          <a:xfrm>
            <a:off x="4252250" y="3591633"/>
            <a:ext cx="285750" cy="200055"/>
          </a:xfrm>
          <a:prstGeom prst="triangle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51E6A1B5-F8F4-3EB6-CD79-D4699C866EF1}"/>
              </a:ext>
            </a:extLst>
          </p:cNvPr>
          <p:cNvSpPr txBox="1"/>
          <p:nvPr/>
        </p:nvSpPr>
        <p:spPr>
          <a:xfrm>
            <a:off x="254165" y="6575663"/>
            <a:ext cx="978575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050" dirty="0">
                <a:solidFill>
                  <a:schemeClr val="bg1">
                    <a:lumMod val="95000"/>
                  </a:schemeClr>
                </a:solidFill>
                <a:latin typeface="ArialMT"/>
              </a:rPr>
              <a:t>Source: REGAR with data from the statistics of the activity of the guarantees 2021
</a:t>
            </a:r>
            <a:endParaRPr lang="es-MX" sz="1050" b="1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7837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20">
            <a:extLst>
              <a:ext uri="{FF2B5EF4-FFF2-40B4-BE49-F238E27FC236}">
                <a16:creationId xmlns:a16="http://schemas.microsoft.com/office/drawing/2014/main" id="{4F91A0BA-18F3-5AE2-94BB-9DC28D9F5C2A}"/>
              </a:ext>
            </a:extLst>
          </p:cNvPr>
          <p:cNvSpPr/>
          <p:nvPr/>
        </p:nvSpPr>
        <p:spPr>
          <a:xfrm>
            <a:off x="9573832" y="2099662"/>
            <a:ext cx="645649" cy="429365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569E696F-E8F6-3BCC-4A5E-3F64F849A181}"/>
              </a:ext>
            </a:extLst>
          </p:cNvPr>
          <p:cNvSpPr/>
          <p:nvPr/>
        </p:nvSpPr>
        <p:spPr>
          <a:xfrm>
            <a:off x="10280729" y="2099662"/>
            <a:ext cx="913417" cy="429365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Google Shape;17;p2">
            <a:extLst>
              <a:ext uri="{FF2B5EF4-FFF2-40B4-BE49-F238E27FC236}">
                <a16:creationId xmlns:a16="http://schemas.microsoft.com/office/drawing/2014/main" id="{D8992F58-F073-F945-D872-2F2BC8A1ED46}"/>
              </a:ext>
            </a:extLst>
          </p:cNvPr>
          <p:cNvSpPr/>
          <p:nvPr/>
        </p:nvSpPr>
        <p:spPr>
          <a:xfrm>
            <a:off x="0" y="-3147"/>
            <a:ext cx="12192000" cy="104069"/>
          </a:xfrm>
          <a:prstGeom prst="rect">
            <a:avLst/>
          </a:prstGeom>
          <a:solidFill>
            <a:srgbClr val="008BB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</a:pPr>
            <a:endParaRPr sz="2400" b="1" kern="0" dirty="0">
              <a:solidFill>
                <a:schemeClr val="bg1"/>
              </a:solidFill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E570A3E8-C599-7B08-5EC1-83C204A0138F}"/>
              </a:ext>
            </a:extLst>
          </p:cNvPr>
          <p:cNvSpPr/>
          <p:nvPr/>
        </p:nvSpPr>
        <p:spPr>
          <a:xfrm rot="5400000">
            <a:off x="5964199" y="617580"/>
            <a:ext cx="296042" cy="12200695"/>
          </a:xfrm>
          <a:prstGeom prst="rect">
            <a:avLst/>
          </a:prstGeom>
          <a:gradFill flip="none" rotWithShape="1">
            <a:gsLst>
              <a:gs pos="69000">
                <a:srgbClr val="0070C0"/>
              </a:gs>
              <a:gs pos="0">
                <a:srgbClr val="00B0F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283" name="Picture 2">
            <a:extLst>
              <a:ext uri="{FF2B5EF4-FFF2-40B4-BE49-F238E27FC236}">
                <a16:creationId xmlns:a16="http://schemas.microsoft.com/office/drawing/2014/main" id="{93C4C00D-D75D-8D15-1209-67B2928408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165" y="144148"/>
            <a:ext cx="1751280" cy="803065"/>
          </a:xfrm>
          <a:prstGeom prst="rect">
            <a:avLst/>
          </a:prstGeom>
        </p:spPr>
      </p:pic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9C12BC64-C0B4-CA94-C930-FAEFA0CF960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9284918"/>
              </p:ext>
            </p:extLst>
          </p:nvPr>
        </p:nvGraphicFramePr>
        <p:xfrm>
          <a:off x="120930" y="1676400"/>
          <a:ext cx="10958300" cy="473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Rectángulo 18">
            <a:extLst>
              <a:ext uri="{FF2B5EF4-FFF2-40B4-BE49-F238E27FC236}">
                <a16:creationId xmlns:a16="http://schemas.microsoft.com/office/drawing/2014/main" id="{376A12C4-FC80-A5D1-33FD-55B51D4BAFB5}"/>
              </a:ext>
            </a:extLst>
          </p:cNvPr>
          <p:cNvSpPr/>
          <p:nvPr/>
        </p:nvSpPr>
        <p:spPr>
          <a:xfrm>
            <a:off x="1090468" y="2120900"/>
            <a:ext cx="5712713" cy="429365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00079DFF-A860-7569-B39D-AB2804FAB8C5}"/>
              </a:ext>
            </a:extLst>
          </p:cNvPr>
          <p:cNvSpPr/>
          <p:nvPr/>
        </p:nvSpPr>
        <p:spPr>
          <a:xfrm>
            <a:off x="6874958" y="2120900"/>
            <a:ext cx="2637625" cy="429365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9B238C46-4E55-3B27-11C9-BA7CD1AF0E73}"/>
              </a:ext>
            </a:extLst>
          </p:cNvPr>
          <p:cNvSpPr txBox="1"/>
          <p:nvPr/>
        </p:nvSpPr>
        <p:spPr>
          <a:xfrm>
            <a:off x="10174920" y="1613966"/>
            <a:ext cx="126696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1400" b="1" dirty="0">
                <a:latin typeface="Montserrat" pitchFamily="2" charset="77"/>
              </a:rPr>
              <a:t>Post-pandemic
</a:t>
            </a:r>
            <a:endParaRPr lang="es-MX" sz="1400" b="1" dirty="0"/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725B9B6F-3C08-6047-A44E-C7BC53F95F00}"/>
              </a:ext>
            </a:extLst>
          </p:cNvPr>
          <p:cNvSpPr txBox="1"/>
          <p:nvPr/>
        </p:nvSpPr>
        <p:spPr>
          <a:xfrm>
            <a:off x="9263175" y="1806395"/>
            <a:ext cx="1266961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s-MX" sz="1400" b="1" dirty="0">
                <a:latin typeface="Montserrat" pitchFamily="2" charset="77"/>
              </a:rPr>
              <a:t>COVID</a:t>
            </a:r>
            <a:endParaRPr lang="es-MX" sz="1400" b="1" dirty="0"/>
          </a:p>
        </p:txBody>
      </p:sp>
      <p:sp>
        <p:nvSpPr>
          <p:cNvPr id="28" name="Título 1">
            <a:extLst>
              <a:ext uri="{FF2B5EF4-FFF2-40B4-BE49-F238E27FC236}">
                <a16:creationId xmlns:a16="http://schemas.microsoft.com/office/drawing/2014/main" id="{26A2C9AE-333F-7FB3-B75F-5637D5477F77}"/>
              </a:ext>
            </a:extLst>
          </p:cNvPr>
          <p:cNvSpPr txBox="1">
            <a:spLocks/>
          </p:cNvSpPr>
          <p:nvPr/>
        </p:nvSpPr>
        <p:spPr>
          <a:xfrm>
            <a:off x="1953439" y="290519"/>
            <a:ext cx="10051597" cy="6982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MX" sz="20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EVOLUTION 1998-2021 IN LATIN AMERICA: </a:t>
            </a:r>
            <a:r>
              <a:rPr lang="es-MX" sz="2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GROWTH, HIGHER LEVERAGE, MORE CREDIT MOBILIZED, COUNTERCYCLICAL ROLE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56F8F607-CFF0-3544-B8A5-88C2DB14D6EC}"/>
              </a:ext>
            </a:extLst>
          </p:cNvPr>
          <p:cNvSpPr txBox="1"/>
          <p:nvPr/>
        </p:nvSpPr>
        <p:spPr>
          <a:xfrm>
            <a:off x="254165" y="6575663"/>
            <a:ext cx="978575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050" dirty="0">
                <a:solidFill>
                  <a:schemeClr val="bg1">
                    <a:lumMod val="95000"/>
                  </a:schemeClr>
                </a:solidFill>
                <a:latin typeface="ArialMT"/>
              </a:rPr>
              <a:t>Source: REGAR with data from the statistics of the activity of the guarantees 2021
</a:t>
            </a:r>
            <a:endParaRPr lang="es-MX" sz="1050" b="1" dirty="0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61" name="Conector recto de flecha 60">
            <a:extLst>
              <a:ext uri="{FF2B5EF4-FFF2-40B4-BE49-F238E27FC236}">
                <a16:creationId xmlns:a16="http://schemas.microsoft.com/office/drawing/2014/main" id="{1578BCCF-5089-4E32-C886-6C2937B4115D}"/>
              </a:ext>
            </a:extLst>
          </p:cNvPr>
          <p:cNvCxnSpPr>
            <a:cxnSpLocks/>
          </p:cNvCxnSpPr>
          <p:nvPr/>
        </p:nvCxnSpPr>
        <p:spPr>
          <a:xfrm flipV="1">
            <a:off x="2497873" y="4129413"/>
            <a:ext cx="4271231" cy="139525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CuadroTexto 255">
            <a:extLst>
              <a:ext uri="{FF2B5EF4-FFF2-40B4-BE49-F238E27FC236}">
                <a16:creationId xmlns:a16="http://schemas.microsoft.com/office/drawing/2014/main" id="{A6D8BD54-8434-D19F-9742-D994C6E7D508}"/>
              </a:ext>
            </a:extLst>
          </p:cNvPr>
          <p:cNvSpPr txBox="1"/>
          <p:nvPr/>
        </p:nvSpPr>
        <p:spPr>
          <a:xfrm rot="20158616">
            <a:off x="4030396" y="4471964"/>
            <a:ext cx="10390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b="1" dirty="0"/>
              <a:t>   7 times</a:t>
            </a:r>
          </a:p>
        </p:txBody>
      </p:sp>
      <p:sp>
        <p:nvSpPr>
          <p:cNvPr id="275" name="CuadroTexto 274">
            <a:extLst>
              <a:ext uri="{FF2B5EF4-FFF2-40B4-BE49-F238E27FC236}">
                <a16:creationId xmlns:a16="http://schemas.microsoft.com/office/drawing/2014/main" id="{7DBC8CB4-34B4-1547-2509-89E3C841D33F}"/>
              </a:ext>
            </a:extLst>
          </p:cNvPr>
          <p:cNvSpPr txBox="1"/>
          <p:nvPr/>
        </p:nvSpPr>
        <p:spPr>
          <a:xfrm>
            <a:off x="1489559" y="1333333"/>
            <a:ext cx="30955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200" dirty="0">
                <a:latin typeface="Montserrat" pitchFamily="2" charset="77"/>
              </a:rPr>
              <a:t>Credit mobilized
Balance guarantees </a:t>
            </a:r>
          </a:p>
          <a:p>
            <a:r>
              <a:rPr lang="es-MX" sz="1200" dirty="0">
                <a:latin typeface="Montserrat" pitchFamily="2" charset="77"/>
              </a:rPr>
              <a:t>Permanent resources (patrimony))</a:t>
            </a:r>
            <a:endParaRPr lang="es-MX" sz="1200" dirty="0"/>
          </a:p>
        </p:txBody>
      </p:sp>
      <p:cxnSp>
        <p:nvCxnSpPr>
          <p:cNvPr id="292" name="Conector recto de flecha 291">
            <a:extLst>
              <a:ext uri="{FF2B5EF4-FFF2-40B4-BE49-F238E27FC236}">
                <a16:creationId xmlns:a16="http://schemas.microsoft.com/office/drawing/2014/main" id="{B2BA41B5-9510-7E6E-532E-1B918C9EBDB2}"/>
              </a:ext>
            </a:extLst>
          </p:cNvPr>
          <p:cNvCxnSpPr>
            <a:cxnSpLocks/>
          </p:cNvCxnSpPr>
          <p:nvPr/>
        </p:nvCxnSpPr>
        <p:spPr>
          <a:xfrm flipV="1">
            <a:off x="9743459" y="2378762"/>
            <a:ext cx="476022" cy="198136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4" name="CuadroTexto 293">
            <a:extLst>
              <a:ext uri="{FF2B5EF4-FFF2-40B4-BE49-F238E27FC236}">
                <a16:creationId xmlns:a16="http://schemas.microsoft.com/office/drawing/2014/main" id="{33EFD364-DCA7-712F-5343-DD6A137C7A77}"/>
              </a:ext>
            </a:extLst>
          </p:cNvPr>
          <p:cNvSpPr txBox="1"/>
          <p:nvPr/>
        </p:nvSpPr>
        <p:spPr>
          <a:xfrm rot="17107214">
            <a:off x="9252670" y="3142399"/>
            <a:ext cx="1101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b="1" dirty="0"/>
              <a:t>  +2 times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E1525743-E196-035D-0478-81830803317D}"/>
              </a:ext>
            </a:extLst>
          </p:cNvPr>
          <p:cNvSpPr/>
          <p:nvPr/>
        </p:nvSpPr>
        <p:spPr>
          <a:xfrm>
            <a:off x="1257735" y="1787737"/>
            <a:ext cx="231824" cy="85063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D2A1514A-9F60-6CA6-FA05-6C30B39F6D66}"/>
              </a:ext>
            </a:extLst>
          </p:cNvPr>
          <p:cNvSpPr/>
          <p:nvPr/>
        </p:nvSpPr>
        <p:spPr>
          <a:xfrm>
            <a:off x="1257735" y="1438956"/>
            <a:ext cx="231824" cy="85063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C95CD5C5-ED9B-2524-E17F-BF5A49583F1E}"/>
              </a:ext>
            </a:extLst>
          </p:cNvPr>
          <p:cNvSpPr/>
          <p:nvPr/>
        </p:nvSpPr>
        <p:spPr>
          <a:xfrm>
            <a:off x="1257735" y="1613966"/>
            <a:ext cx="231824" cy="85063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4FE5FB20-E3CC-9412-856B-3BE13A218C15}"/>
              </a:ext>
            </a:extLst>
          </p:cNvPr>
          <p:cNvSpPr txBox="1"/>
          <p:nvPr/>
        </p:nvSpPr>
        <p:spPr>
          <a:xfrm>
            <a:off x="6894823" y="2214279"/>
            <a:ext cx="252525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1400" dirty="0">
                <a:latin typeface="Montserrat" pitchFamily="2" charset="77"/>
              </a:rPr>
              <a:t>Sustaining levels of credit mobilized
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0EF87283-F176-6A8B-3963-6224EA0C289D}"/>
              </a:ext>
            </a:extLst>
          </p:cNvPr>
          <p:cNvSpPr txBox="1"/>
          <p:nvPr/>
        </p:nvSpPr>
        <p:spPr>
          <a:xfrm>
            <a:off x="1396412" y="2202300"/>
            <a:ext cx="516980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1400" dirty="0">
                <a:latin typeface="Montserrat" pitchFamily="2" charset="77"/>
              </a:rPr>
              <a:t>Significant growth in mobilized credit, without significant resource requirements. 
</a:t>
            </a:r>
          </a:p>
        </p:txBody>
      </p:sp>
    </p:spTree>
    <p:extLst>
      <p:ext uri="{BB962C8B-B14F-4D97-AF65-F5344CB8AC3E}">
        <p14:creationId xmlns:p14="http://schemas.microsoft.com/office/powerpoint/2010/main" val="4370969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20">
            <a:extLst>
              <a:ext uri="{FF2B5EF4-FFF2-40B4-BE49-F238E27FC236}">
                <a16:creationId xmlns:a16="http://schemas.microsoft.com/office/drawing/2014/main" id="{4F91A0BA-18F3-5AE2-94BB-9DC28D9F5C2A}"/>
              </a:ext>
            </a:extLst>
          </p:cNvPr>
          <p:cNvSpPr/>
          <p:nvPr/>
        </p:nvSpPr>
        <p:spPr>
          <a:xfrm>
            <a:off x="9333282" y="2110813"/>
            <a:ext cx="886199" cy="429365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569E696F-E8F6-3BCC-4A5E-3F64F849A181}"/>
              </a:ext>
            </a:extLst>
          </p:cNvPr>
          <p:cNvSpPr/>
          <p:nvPr/>
        </p:nvSpPr>
        <p:spPr>
          <a:xfrm>
            <a:off x="10280729" y="2099662"/>
            <a:ext cx="1288815" cy="429365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Google Shape;17;p2">
            <a:extLst>
              <a:ext uri="{FF2B5EF4-FFF2-40B4-BE49-F238E27FC236}">
                <a16:creationId xmlns:a16="http://schemas.microsoft.com/office/drawing/2014/main" id="{D8992F58-F073-F945-D872-2F2BC8A1ED46}"/>
              </a:ext>
            </a:extLst>
          </p:cNvPr>
          <p:cNvSpPr/>
          <p:nvPr/>
        </p:nvSpPr>
        <p:spPr>
          <a:xfrm>
            <a:off x="0" y="-3147"/>
            <a:ext cx="12192000" cy="104069"/>
          </a:xfrm>
          <a:prstGeom prst="rect">
            <a:avLst/>
          </a:prstGeom>
          <a:solidFill>
            <a:srgbClr val="008BB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</a:pPr>
            <a:endParaRPr sz="2400" b="1" kern="0" dirty="0">
              <a:solidFill>
                <a:schemeClr val="bg1"/>
              </a:solidFill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E570A3E8-C599-7B08-5EC1-83C204A0138F}"/>
              </a:ext>
            </a:extLst>
          </p:cNvPr>
          <p:cNvSpPr/>
          <p:nvPr/>
        </p:nvSpPr>
        <p:spPr>
          <a:xfrm rot="5400000">
            <a:off x="5964199" y="617580"/>
            <a:ext cx="296042" cy="12200695"/>
          </a:xfrm>
          <a:prstGeom prst="rect">
            <a:avLst/>
          </a:prstGeom>
          <a:gradFill flip="none" rotWithShape="1">
            <a:gsLst>
              <a:gs pos="69000">
                <a:srgbClr val="0070C0"/>
              </a:gs>
              <a:gs pos="0">
                <a:srgbClr val="00B0F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283" name="Picture 2">
            <a:extLst>
              <a:ext uri="{FF2B5EF4-FFF2-40B4-BE49-F238E27FC236}">
                <a16:creationId xmlns:a16="http://schemas.microsoft.com/office/drawing/2014/main" id="{93C4C00D-D75D-8D15-1209-67B2928408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165" y="144148"/>
            <a:ext cx="1751280" cy="803065"/>
          </a:xfrm>
          <a:prstGeom prst="rect">
            <a:avLst/>
          </a:prstGeom>
        </p:spPr>
      </p:pic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9C12BC64-C0B4-CA94-C930-FAEFA0CF960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9482985"/>
              </p:ext>
            </p:extLst>
          </p:nvPr>
        </p:nvGraphicFramePr>
        <p:xfrm>
          <a:off x="148196" y="1646556"/>
          <a:ext cx="10958300" cy="4738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Rectángulo 18">
            <a:extLst>
              <a:ext uri="{FF2B5EF4-FFF2-40B4-BE49-F238E27FC236}">
                <a16:creationId xmlns:a16="http://schemas.microsoft.com/office/drawing/2014/main" id="{376A12C4-FC80-A5D1-33FD-55B51D4BAFB5}"/>
              </a:ext>
            </a:extLst>
          </p:cNvPr>
          <p:cNvSpPr/>
          <p:nvPr/>
        </p:nvSpPr>
        <p:spPr>
          <a:xfrm>
            <a:off x="1090468" y="2120900"/>
            <a:ext cx="5712713" cy="429365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00079DFF-A860-7569-B39D-AB2804FAB8C5}"/>
              </a:ext>
            </a:extLst>
          </p:cNvPr>
          <p:cNvSpPr/>
          <p:nvPr/>
        </p:nvSpPr>
        <p:spPr>
          <a:xfrm>
            <a:off x="6874958" y="2120900"/>
            <a:ext cx="2386547" cy="429365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9B238C46-4E55-3B27-11C9-BA7CD1AF0E73}"/>
              </a:ext>
            </a:extLst>
          </p:cNvPr>
          <p:cNvSpPr txBox="1"/>
          <p:nvPr/>
        </p:nvSpPr>
        <p:spPr>
          <a:xfrm>
            <a:off x="10312095" y="1606107"/>
            <a:ext cx="126696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1400" b="1" dirty="0">
                <a:latin typeface="Montserrat" pitchFamily="2" charset="77"/>
              </a:rPr>
              <a:t>Post-pandemic
</a:t>
            </a:r>
            <a:endParaRPr lang="es-MX" sz="1400" b="1" dirty="0"/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725B9B6F-3C08-6047-A44E-C7BC53F95F00}"/>
              </a:ext>
            </a:extLst>
          </p:cNvPr>
          <p:cNvSpPr txBox="1"/>
          <p:nvPr/>
        </p:nvSpPr>
        <p:spPr>
          <a:xfrm>
            <a:off x="9263175" y="1806395"/>
            <a:ext cx="1266961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s-MX" sz="1400" b="1" dirty="0">
                <a:latin typeface="Montserrat" pitchFamily="2" charset="77"/>
              </a:rPr>
              <a:t>COVID</a:t>
            </a:r>
            <a:endParaRPr lang="es-MX" sz="1400" b="1" dirty="0"/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40712550-459B-7818-6135-CBC4792DA4D3}"/>
              </a:ext>
            </a:extLst>
          </p:cNvPr>
          <p:cNvSpPr txBox="1"/>
          <p:nvPr/>
        </p:nvSpPr>
        <p:spPr>
          <a:xfrm>
            <a:off x="6931142" y="2177843"/>
            <a:ext cx="252525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1400" dirty="0">
                <a:latin typeface="Montserrat" pitchFamily="2" charset="77"/>
              </a:rPr>
              <a:t>Growth stabilizes 
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74E8BA65-C9C2-5814-8A2C-9F8A9F99C46A}"/>
              </a:ext>
            </a:extLst>
          </p:cNvPr>
          <p:cNvSpPr txBox="1"/>
          <p:nvPr/>
        </p:nvSpPr>
        <p:spPr>
          <a:xfrm>
            <a:off x="1396412" y="2202300"/>
            <a:ext cx="516980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1400" dirty="0">
                <a:latin typeface="Montserrat" pitchFamily="2" charset="77"/>
              </a:rPr>
              <a:t>Growth, maturation of different types of guarantee systems
</a:t>
            </a:r>
            <a:endParaRPr lang="es-MX" sz="1400" dirty="0"/>
          </a:p>
        </p:txBody>
      </p:sp>
      <p:sp>
        <p:nvSpPr>
          <p:cNvPr id="28" name="Título 1">
            <a:extLst>
              <a:ext uri="{FF2B5EF4-FFF2-40B4-BE49-F238E27FC236}">
                <a16:creationId xmlns:a16="http://schemas.microsoft.com/office/drawing/2014/main" id="{26A2C9AE-333F-7FB3-B75F-5637D5477F77}"/>
              </a:ext>
            </a:extLst>
          </p:cNvPr>
          <p:cNvSpPr txBox="1">
            <a:spLocks/>
          </p:cNvSpPr>
          <p:nvPr/>
        </p:nvSpPr>
        <p:spPr>
          <a:xfrm>
            <a:off x="1953439" y="290519"/>
            <a:ext cx="10051597" cy="6982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MX" sz="20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EVOLUTION 1998-2021 IN LATIN AMERICA: </a:t>
            </a:r>
            <a:r>
              <a:rPr lang="es-MX" sz="2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GROWTH, HIGHER LEVERAGE, MORE CREDIT MOBILIZED, COUNTERCYCLICAL ROLE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4C821F11-1177-60F1-9DE7-221DFFC69109}"/>
              </a:ext>
            </a:extLst>
          </p:cNvPr>
          <p:cNvSpPr txBox="1"/>
          <p:nvPr/>
        </p:nvSpPr>
        <p:spPr>
          <a:xfrm>
            <a:off x="6257481" y="3525866"/>
            <a:ext cx="6174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>
                <a:latin typeface="Montserrat" pitchFamily="2" charset="77"/>
              </a:rPr>
              <a:t>59%</a:t>
            </a: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535E3179-F7C5-6225-A31C-39B94DE43CCC}"/>
              </a:ext>
            </a:extLst>
          </p:cNvPr>
          <p:cNvSpPr txBox="1"/>
          <p:nvPr/>
        </p:nvSpPr>
        <p:spPr>
          <a:xfrm>
            <a:off x="10911901" y="3085593"/>
            <a:ext cx="6319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>
                <a:latin typeface="Montserrat" pitchFamily="2" charset="77"/>
              </a:rPr>
              <a:t>74%</a:t>
            </a: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A679244A-5711-C140-7EFB-10ACCA9FE097}"/>
              </a:ext>
            </a:extLst>
          </p:cNvPr>
          <p:cNvSpPr txBox="1"/>
          <p:nvPr/>
        </p:nvSpPr>
        <p:spPr>
          <a:xfrm>
            <a:off x="9666038" y="2255349"/>
            <a:ext cx="6126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>
                <a:latin typeface="Montserrat" pitchFamily="2" charset="77"/>
              </a:rPr>
              <a:t>75%</a:t>
            </a: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A93F1FAE-1B0F-34B0-115C-0C0A9A5928A5}"/>
              </a:ext>
            </a:extLst>
          </p:cNvPr>
          <p:cNvSpPr txBox="1"/>
          <p:nvPr/>
        </p:nvSpPr>
        <p:spPr>
          <a:xfrm>
            <a:off x="2610933" y="5108020"/>
            <a:ext cx="6174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>
                <a:latin typeface="Montserrat" pitchFamily="2" charset="77"/>
              </a:rPr>
              <a:t>63%</a:t>
            </a:r>
          </a:p>
        </p:txBody>
      </p:sp>
      <p:sp>
        <p:nvSpPr>
          <p:cNvPr id="50" name="Google Shape;10963;p143">
            <a:extLst>
              <a:ext uri="{FF2B5EF4-FFF2-40B4-BE49-F238E27FC236}">
                <a16:creationId xmlns:a16="http://schemas.microsoft.com/office/drawing/2014/main" id="{F30F101B-4CD8-DE89-2957-26545F812668}"/>
              </a:ext>
            </a:extLst>
          </p:cNvPr>
          <p:cNvSpPr/>
          <p:nvPr/>
        </p:nvSpPr>
        <p:spPr>
          <a:xfrm>
            <a:off x="2336300" y="5066047"/>
            <a:ext cx="334289" cy="337367"/>
          </a:xfrm>
          <a:custGeom>
            <a:avLst/>
            <a:gdLst/>
            <a:ahLst/>
            <a:cxnLst/>
            <a:rect l="l" t="t" r="r" b="b"/>
            <a:pathLst>
              <a:path w="10744" h="12729" extrusionOk="0">
                <a:moveTo>
                  <a:pt x="5419" y="1701"/>
                </a:moveTo>
                <a:cubicBezTo>
                  <a:pt x="7561" y="1701"/>
                  <a:pt x="9357" y="3151"/>
                  <a:pt x="9830" y="5167"/>
                </a:cubicBezTo>
                <a:cubicBezTo>
                  <a:pt x="9641" y="5041"/>
                  <a:pt x="9389" y="5009"/>
                  <a:pt x="9137" y="5009"/>
                </a:cubicBezTo>
                <a:cubicBezTo>
                  <a:pt x="8601" y="5009"/>
                  <a:pt x="8191" y="5230"/>
                  <a:pt x="7908" y="5545"/>
                </a:cubicBezTo>
                <a:cubicBezTo>
                  <a:pt x="7593" y="5198"/>
                  <a:pt x="7152" y="5009"/>
                  <a:pt x="6679" y="5009"/>
                </a:cubicBezTo>
                <a:cubicBezTo>
                  <a:pt x="6175" y="5009"/>
                  <a:pt x="5734" y="5230"/>
                  <a:pt x="5419" y="5545"/>
                </a:cubicBezTo>
                <a:cubicBezTo>
                  <a:pt x="5104" y="5198"/>
                  <a:pt x="4663" y="5009"/>
                  <a:pt x="4190" y="5009"/>
                </a:cubicBezTo>
                <a:cubicBezTo>
                  <a:pt x="3686" y="5009"/>
                  <a:pt x="3245" y="5230"/>
                  <a:pt x="2993" y="5545"/>
                </a:cubicBezTo>
                <a:cubicBezTo>
                  <a:pt x="2678" y="5198"/>
                  <a:pt x="2237" y="5009"/>
                  <a:pt x="1764" y="5009"/>
                </a:cubicBezTo>
                <a:cubicBezTo>
                  <a:pt x="1512" y="5009"/>
                  <a:pt x="1292" y="5041"/>
                  <a:pt x="1040" y="5167"/>
                </a:cubicBezTo>
                <a:cubicBezTo>
                  <a:pt x="1481" y="3151"/>
                  <a:pt x="3308" y="1701"/>
                  <a:pt x="5419" y="1701"/>
                </a:cubicBezTo>
                <a:close/>
                <a:moveTo>
                  <a:pt x="5356" y="0"/>
                </a:moveTo>
                <a:cubicBezTo>
                  <a:pt x="5104" y="0"/>
                  <a:pt x="4946" y="189"/>
                  <a:pt x="4946" y="441"/>
                </a:cubicBezTo>
                <a:lnTo>
                  <a:pt x="4946" y="851"/>
                </a:lnTo>
                <a:cubicBezTo>
                  <a:pt x="2206" y="1071"/>
                  <a:pt x="0" y="3371"/>
                  <a:pt x="0" y="6207"/>
                </a:cubicBezTo>
                <a:lnTo>
                  <a:pt x="0" y="6648"/>
                </a:lnTo>
                <a:lnTo>
                  <a:pt x="32" y="6648"/>
                </a:lnTo>
                <a:cubicBezTo>
                  <a:pt x="32" y="6900"/>
                  <a:pt x="221" y="7089"/>
                  <a:pt x="473" y="7089"/>
                </a:cubicBezTo>
                <a:cubicBezTo>
                  <a:pt x="693" y="7089"/>
                  <a:pt x="851" y="6900"/>
                  <a:pt x="851" y="6648"/>
                </a:cubicBezTo>
                <a:cubicBezTo>
                  <a:pt x="851" y="6175"/>
                  <a:pt x="1197" y="5829"/>
                  <a:pt x="1701" y="5829"/>
                </a:cubicBezTo>
                <a:cubicBezTo>
                  <a:pt x="2143" y="5829"/>
                  <a:pt x="2521" y="6175"/>
                  <a:pt x="2521" y="6648"/>
                </a:cubicBezTo>
                <a:cubicBezTo>
                  <a:pt x="2521" y="6900"/>
                  <a:pt x="2710" y="7089"/>
                  <a:pt x="2899" y="7089"/>
                </a:cubicBezTo>
                <a:cubicBezTo>
                  <a:pt x="3119" y="7089"/>
                  <a:pt x="3308" y="6900"/>
                  <a:pt x="3308" y="6648"/>
                </a:cubicBezTo>
                <a:cubicBezTo>
                  <a:pt x="3308" y="6175"/>
                  <a:pt x="3655" y="5829"/>
                  <a:pt x="4127" y="5829"/>
                </a:cubicBezTo>
                <a:cubicBezTo>
                  <a:pt x="4600" y="5829"/>
                  <a:pt x="4946" y="6175"/>
                  <a:pt x="4946" y="6648"/>
                </a:cubicBezTo>
                <a:lnTo>
                  <a:pt x="4946" y="11499"/>
                </a:lnTo>
                <a:cubicBezTo>
                  <a:pt x="4946" y="12161"/>
                  <a:pt x="5514" y="12728"/>
                  <a:pt x="6175" y="12728"/>
                </a:cubicBezTo>
                <a:cubicBezTo>
                  <a:pt x="6837" y="12728"/>
                  <a:pt x="7404" y="12161"/>
                  <a:pt x="7404" y="11499"/>
                </a:cubicBezTo>
                <a:lnTo>
                  <a:pt x="7404" y="10680"/>
                </a:lnTo>
                <a:cubicBezTo>
                  <a:pt x="7404" y="10428"/>
                  <a:pt x="7215" y="10239"/>
                  <a:pt x="6994" y="10239"/>
                </a:cubicBezTo>
                <a:cubicBezTo>
                  <a:pt x="6805" y="10239"/>
                  <a:pt x="6616" y="10428"/>
                  <a:pt x="6616" y="10680"/>
                </a:cubicBezTo>
                <a:lnTo>
                  <a:pt x="6616" y="11499"/>
                </a:lnTo>
                <a:cubicBezTo>
                  <a:pt x="6616" y="11720"/>
                  <a:pt x="6427" y="11940"/>
                  <a:pt x="6175" y="11940"/>
                </a:cubicBezTo>
                <a:cubicBezTo>
                  <a:pt x="5955" y="11940"/>
                  <a:pt x="5797" y="11720"/>
                  <a:pt x="5797" y="11499"/>
                </a:cubicBezTo>
                <a:lnTo>
                  <a:pt x="5797" y="6648"/>
                </a:lnTo>
                <a:cubicBezTo>
                  <a:pt x="5797" y="6175"/>
                  <a:pt x="6144" y="5829"/>
                  <a:pt x="6616" y="5829"/>
                </a:cubicBezTo>
                <a:cubicBezTo>
                  <a:pt x="7089" y="5829"/>
                  <a:pt x="7435" y="6175"/>
                  <a:pt x="7435" y="6648"/>
                </a:cubicBezTo>
                <a:cubicBezTo>
                  <a:pt x="7435" y="6900"/>
                  <a:pt x="7624" y="7089"/>
                  <a:pt x="7876" y="7089"/>
                </a:cubicBezTo>
                <a:cubicBezTo>
                  <a:pt x="8097" y="7089"/>
                  <a:pt x="8255" y="6900"/>
                  <a:pt x="8255" y="6648"/>
                </a:cubicBezTo>
                <a:cubicBezTo>
                  <a:pt x="8255" y="6175"/>
                  <a:pt x="8633" y="5829"/>
                  <a:pt x="9105" y="5829"/>
                </a:cubicBezTo>
                <a:cubicBezTo>
                  <a:pt x="9578" y="5829"/>
                  <a:pt x="9924" y="6175"/>
                  <a:pt x="9924" y="6648"/>
                </a:cubicBezTo>
                <a:cubicBezTo>
                  <a:pt x="9924" y="6900"/>
                  <a:pt x="10113" y="7089"/>
                  <a:pt x="10302" y="7089"/>
                </a:cubicBezTo>
                <a:cubicBezTo>
                  <a:pt x="10554" y="7089"/>
                  <a:pt x="10743" y="6900"/>
                  <a:pt x="10743" y="6648"/>
                </a:cubicBezTo>
                <a:lnTo>
                  <a:pt x="10743" y="6207"/>
                </a:lnTo>
                <a:cubicBezTo>
                  <a:pt x="10743" y="3371"/>
                  <a:pt x="8538" y="1071"/>
                  <a:pt x="5797" y="851"/>
                </a:cubicBezTo>
                <a:lnTo>
                  <a:pt x="5797" y="441"/>
                </a:lnTo>
                <a:cubicBezTo>
                  <a:pt x="5797" y="189"/>
                  <a:pt x="5577" y="0"/>
                  <a:pt x="535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3" name="Google Shape;10963;p143">
            <a:extLst>
              <a:ext uri="{FF2B5EF4-FFF2-40B4-BE49-F238E27FC236}">
                <a16:creationId xmlns:a16="http://schemas.microsoft.com/office/drawing/2014/main" id="{0CCD5F0B-C588-75BF-3C43-CE83A2AD4105}"/>
              </a:ext>
            </a:extLst>
          </p:cNvPr>
          <p:cNvSpPr/>
          <p:nvPr/>
        </p:nvSpPr>
        <p:spPr>
          <a:xfrm>
            <a:off x="5921783" y="3508943"/>
            <a:ext cx="334289" cy="337367"/>
          </a:xfrm>
          <a:custGeom>
            <a:avLst/>
            <a:gdLst/>
            <a:ahLst/>
            <a:cxnLst/>
            <a:rect l="l" t="t" r="r" b="b"/>
            <a:pathLst>
              <a:path w="10744" h="12729" extrusionOk="0">
                <a:moveTo>
                  <a:pt x="5419" y="1701"/>
                </a:moveTo>
                <a:cubicBezTo>
                  <a:pt x="7561" y="1701"/>
                  <a:pt x="9357" y="3151"/>
                  <a:pt x="9830" y="5167"/>
                </a:cubicBezTo>
                <a:cubicBezTo>
                  <a:pt x="9641" y="5041"/>
                  <a:pt x="9389" y="5009"/>
                  <a:pt x="9137" y="5009"/>
                </a:cubicBezTo>
                <a:cubicBezTo>
                  <a:pt x="8601" y="5009"/>
                  <a:pt x="8191" y="5230"/>
                  <a:pt x="7908" y="5545"/>
                </a:cubicBezTo>
                <a:cubicBezTo>
                  <a:pt x="7593" y="5198"/>
                  <a:pt x="7152" y="5009"/>
                  <a:pt x="6679" y="5009"/>
                </a:cubicBezTo>
                <a:cubicBezTo>
                  <a:pt x="6175" y="5009"/>
                  <a:pt x="5734" y="5230"/>
                  <a:pt x="5419" y="5545"/>
                </a:cubicBezTo>
                <a:cubicBezTo>
                  <a:pt x="5104" y="5198"/>
                  <a:pt x="4663" y="5009"/>
                  <a:pt x="4190" y="5009"/>
                </a:cubicBezTo>
                <a:cubicBezTo>
                  <a:pt x="3686" y="5009"/>
                  <a:pt x="3245" y="5230"/>
                  <a:pt x="2993" y="5545"/>
                </a:cubicBezTo>
                <a:cubicBezTo>
                  <a:pt x="2678" y="5198"/>
                  <a:pt x="2237" y="5009"/>
                  <a:pt x="1764" y="5009"/>
                </a:cubicBezTo>
                <a:cubicBezTo>
                  <a:pt x="1512" y="5009"/>
                  <a:pt x="1292" y="5041"/>
                  <a:pt x="1040" y="5167"/>
                </a:cubicBezTo>
                <a:cubicBezTo>
                  <a:pt x="1481" y="3151"/>
                  <a:pt x="3308" y="1701"/>
                  <a:pt x="5419" y="1701"/>
                </a:cubicBezTo>
                <a:close/>
                <a:moveTo>
                  <a:pt x="5356" y="0"/>
                </a:moveTo>
                <a:cubicBezTo>
                  <a:pt x="5104" y="0"/>
                  <a:pt x="4946" y="189"/>
                  <a:pt x="4946" y="441"/>
                </a:cubicBezTo>
                <a:lnTo>
                  <a:pt x="4946" y="851"/>
                </a:lnTo>
                <a:cubicBezTo>
                  <a:pt x="2206" y="1071"/>
                  <a:pt x="0" y="3371"/>
                  <a:pt x="0" y="6207"/>
                </a:cubicBezTo>
                <a:lnTo>
                  <a:pt x="0" y="6648"/>
                </a:lnTo>
                <a:lnTo>
                  <a:pt x="32" y="6648"/>
                </a:lnTo>
                <a:cubicBezTo>
                  <a:pt x="32" y="6900"/>
                  <a:pt x="221" y="7089"/>
                  <a:pt x="473" y="7089"/>
                </a:cubicBezTo>
                <a:cubicBezTo>
                  <a:pt x="693" y="7089"/>
                  <a:pt x="851" y="6900"/>
                  <a:pt x="851" y="6648"/>
                </a:cubicBezTo>
                <a:cubicBezTo>
                  <a:pt x="851" y="6175"/>
                  <a:pt x="1197" y="5829"/>
                  <a:pt x="1701" y="5829"/>
                </a:cubicBezTo>
                <a:cubicBezTo>
                  <a:pt x="2143" y="5829"/>
                  <a:pt x="2521" y="6175"/>
                  <a:pt x="2521" y="6648"/>
                </a:cubicBezTo>
                <a:cubicBezTo>
                  <a:pt x="2521" y="6900"/>
                  <a:pt x="2710" y="7089"/>
                  <a:pt x="2899" y="7089"/>
                </a:cubicBezTo>
                <a:cubicBezTo>
                  <a:pt x="3119" y="7089"/>
                  <a:pt x="3308" y="6900"/>
                  <a:pt x="3308" y="6648"/>
                </a:cubicBezTo>
                <a:cubicBezTo>
                  <a:pt x="3308" y="6175"/>
                  <a:pt x="3655" y="5829"/>
                  <a:pt x="4127" y="5829"/>
                </a:cubicBezTo>
                <a:cubicBezTo>
                  <a:pt x="4600" y="5829"/>
                  <a:pt x="4946" y="6175"/>
                  <a:pt x="4946" y="6648"/>
                </a:cubicBezTo>
                <a:lnTo>
                  <a:pt x="4946" y="11499"/>
                </a:lnTo>
                <a:cubicBezTo>
                  <a:pt x="4946" y="12161"/>
                  <a:pt x="5514" y="12728"/>
                  <a:pt x="6175" y="12728"/>
                </a:cubicBezTo>
                <a:cubicBezTo>
                  <a:pt x="6837" y="12728"/>
                  <a:pt x="7404" y="12161"/>
                  <a:pt x="7404" y="11499"/>
                </a:cubicBezTo>
                <a:lnTo>
                  <a:pt x="7404" y="10680"/>
                </a:lnTo>
                <a:cubicBezTo>
                  <a:pt x="7404" y="10428"/>
                  <a:pt x="7215" y="10239"/>
                  <a:pt x="6994" y="10239"/>
                </a:cubicBezTo>
                <a:cubicBezTo>
                  <a:pt x="6805" y="10239"/>
                  <a:pt x="6616" y="10428"/>
                  <a:pt x="6616" y="10680"/>
                </a:cubicBezTo>
                <a:lnTo>
                  <a:pt x="6616" y="11499"/>
                </a:lnTo>
                <a:cubicBezTo>
                  <a:pt x="6616" y="11720"/>
                  <a:pt x="6427" y="11940"/>
                  <a:pt x="6175" y="11940"/>
                </a:cubicBezTo>
                <a:cubicBezTo>
                  <a:pt x="5955" y="11940"/>
                  <a:pt x="5797" y="11720"/>
                  <a:pt x="5797" y="11499"/>
                </a:cubicBezTo>
                <a:lnTo>
                  <a:pt x="5797" y="6648"/>
                </a:lnTo>
                <a:cubicBezTo>
                  <a:pt x="5797" y="6175"/>
                  <a:pt x="6144" y="5829"/>
                  <a:pt x="6616" y="5829"/>
                </a:cubicBezTo>
                <a:cubicBezTo>
                  <a:pt x="7089" y="5829"/>
                  <a:pt x="7435" y="6175"/>
                  <a:pt x="7435" y="6648"/>
                </a:cubicBezTo>
                <a:cubicBezTo>
                  <a:pt x="7435" y="6900"/>
                  <a:pt x="7624" y="7089"/>
                  <a:pt x="7876" y="7089"/>
                </a:cubicBezTo>
                <a:cubicBezTo>
                  <a:pt x="8097" y="7089"/>
                  <a:pt x="8255" y="6900"/>
                  <a:pt x="8255" y="6648"/>
                </a:cubicBezTo>
                <a:cubicBezTo>
                  <a:pt x="8255" y="6175"/>
                  <a:pt x="8633" y="5829"/>
                  <a:pt x="9105" y="5829"/>
                </a:cubicBezTo>
                <a:cubicBezTo>
                  <a:pt x="9578" y="5829"/>
                  <a:pt x="9924" y="6175"/>
                  <a:pt x="9924" y="6648"/>
                </a:cubicBezTo>
                <a:cubicBezTo>
                  <a:pt x="9924" y="6900"/>
                  <a:pt x="10113" y="7089"/>
                  <a:pt x="10302" y="7089"/>
                </a:cubicBezTo>
                <a:cubicBezTo>
                  <a:pt x="10554" y="7089"/>
                  <a:pt x="10743" y="6900"/>
                  <a:pt x="10743" y="6648"/>
                </a:cubicBezTo>
                <a:lnTo>
                  <a:pt x="10743" y="6207"/>
                </a:lnTo>
                <a:cubicBezTo>
                  <a:pt x="10743" y="3371"/>
                  <a:pt x="8538" y="1071"/>
                  <a:pt x="5797" y="851"/>
                </a:cubicBezTo>
                <a:lnTo>
                  <a:pt x="5797" y="441"/>
                </a:lnTo>
                <a:cubicBezTo>
                  <a:pt x="5797" y="189"/>
                  <a:pt x="5577" y="0"/>
                  <a:pt x="535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60FB5EB8-F46C-0C90-F5DD-B589C942518F}"/>
              </a:ext>
            </a:extLst>
          </p:cNvPr>
          <p:cNvSpPr txBox="1"/>
          <p:nvPr/>
        </p:nvSpPr>
        <p:spPr>
          <a:xfrm>
            <a:off x="3192594" y="5777190"/>
            <a:ext cx="4956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x</a:t>
            </a:r>
            <a:r>
              <a:rPr lang="es-MX" b="1" dirty="0"/>
              <a:t> 5</a:t>
            </a:r>
          </a:p>
        </p:txBody>
      </p:sp>
      <p:sp>
        <p:nvSpPr>
          <p:cNvPr id="58" name="Google Shape;10963;p143">
            <a:extLst>
              <a:ext uri="{FF2B5EF4-FFF2-40B4-BE49-F238E27FC236}">
                <a16:creationId xmlns:a16="http://schemas.microsoft.com/office/drawing/2014/main" id="{3D53D0C5-AB0C-C197-C7F0-8AB08FAF460C}"/>
              </a:ext>
            </a:extLst>
          </p:cNvPr>
          <p:cNvSpPr/>
          <p:nvPr/>
        </p:nvSpPr>
        <p:spPr>
          <a:xfrm>
            <a:off x="9468694" y="2157497"/>
            <a:ext cx="334289" cy="337367"/>
          </a:xfrm>
          <a:custGeom>
            <a:avLst/>
            <a:gdLst/>
            <a:ahLst/>
            <a:cxnLst/>
            <a:rect l="l" t="t" r="r" b="b"/>
            <a:pathLst>
              <a:path w="10744" h="12729" extrusionOk="0">
                <a:moveTo>
                  <a:pt x="5419" y="1701"/>
                </a:moveTo>
                <a:cubicBezTo>
                  <a:pt x="7561" y="1701"/>
                  <a:pt x="9357" y="3151"/>
                  <a:pt x="9830" y="5167"/>
                </a:cubicBezTo>
                <a:cubicBezTo>
                  <a:pt x="9641" y="5041"/>
                  <a:pt x="9389" y="5009"/>
                  <a:pt x="9137" y="5009"/>
                </a:cubicBezTo>
                <a:cubicBezTo>
                  <a:pt x="8601" y="5009"/>
                  <a:pt x="8191" y="5230"/>
                  <a:pt x="7908" y="5545"/>
                </a:cubicBezTo>
                <a:cubicBezTo>
                  <a:pt x="7593" y="5198"/>
                  <a:pt x="7152" y="5009"/>
                  <a:pt x="6679" y="5009"/>
                </a:cubicBezTo>
                <a:cubicBezTo>
                  <a:pt x="6175" y="5009"/>
                  <a:pt x="5734" y="5230"/>
                  <a:pt x="5419" y="5545"/>
                </a:cubicBezTo>
                <a:cubicBezTo>
                  <a:pt x="5104" y="5198"/>
                  <a:pt x="4663" y="5009"/>
                  <a:pt x="4190" y="5009"/>
                </a:cubicBezTo>
                <a:cubicBezTo>
                  <a:pt x="3686" y="5009"/>
                  <a:pt x="3245" y="5230"/>
                  <a:pt x="2993" y="5545"/>
                </a:cubicBezTo>
                <a:cubicBezTo>
                  <a:pt x="2678" y="5198"/>
                  <a:pt x="2237" y="5009"/>
                  <a:pt x="1764" y="5009"/>
                </a:cubicBezTo>
                <a:cubicBezTo>
                  <a:pt x="1512" y="5009"/>
                  <a:pt x="1292" y="5041"/>
                  <a:pt x="1040" y="5167"/>
                </a:cubicBezTo>
                <a:cubicBezTo>
                  <a:pt x="1481" y="3151"/>
                  <a:pt x="3308" y="1701"/>
                  <a:pt x="5419" y="1701"/>
                </a:cubicBezTo>
                <a:close/>
                <a:moveTo>
                  <a:pt x="5356" y="0"/>
                </a:moveTo>
                <a:cubicBezTo>
                  <a:pt x="5104" y="0"/>
                  <a:pt x="4946" y="189"/>
                  <a:pt x="4946" y="441"/>
                </a:cubicBezTo>
                <a:lnTo>
                  <a:pt x="4946" y="851"/>
                </a:lnTo>
                <a:cubicBezTo>
                  <a:pt x="2206" y="1071"/>
                  <a:pt x="0" y="3371"/>
                  <a:pt x="0" y="6207"/>
                </a:cubicBezTo>
                <a:lnTo>
                  <a:pt x="0" y="6648"/>
                </a:lnTo>
                <a:lnTo>
                  <a:pt x="32" y="6648"/>
                </a:lnTo>
                <a:cubicBezTo>
                  <a:pt x="32" y="6900"/>
                  <a:pt x="221" y="7089"/>
                  <a:pt x="473" y="7089"/>
                </a:cubicBezTo>
                <a:cubicBezTo>
                  <a:pt x="693" y="7089"/>
                  <a:pt x="851" y="6900"/>
                  <a:pt x="851" y="6648"/>
                </a:cubicBezTo>
                <a:cubicBezTo>
                  <a:pt x="851" y="6175"/>
                  <a:pt x="1197" y="5829"/>
                  <a:pt x="1701" y="5829"/>
                </a:cubicBezTo>
                <a:cubicBezTo>
                  <a:pt x="2143" y="5829"/>
                  <a:pt x="2521" y="6175"/>
                  <a:pt x="2521" y="6648"/>
                </a:cubicBezTo>
                <a:cubicBezTo>
                  <a:pt x="2521" y="6900"/>
                  <a:pt x="2710" y="7089"/>
                  <a:pt x="2899" y="7089"/>
                </a:cubicBezTo>
                <a:cubicBezTo>
                  <a:pt x="3119" y="7089"/>
                  <a:pt x="3308" y="6900"/>
                  <a:pt x="3308" y="6648"/>
                </a:cubicBezTo>
                <a:cubicBezTo>
                  <a:pt x="3308" y="6175"/>
                  <a:pt x="3655" y="5829"/>
                  <a:pt x="4127" y="5829"/>
                </a:cubicBezTo>
                <a:cubicBezTo>
                  <a:pt x="4600" y="5829"/>
                  <a:pt x="4946" y="6175"/>
                  <a:pt x="4946" y="6648"/>
                </a:cubicBezTo>
                <a:lnTo>
                  <a:pt x="4946" y="11499"/>
                </a:lnTo>
                <a:cubicBezTo>
                  <a:pt x="4946" y="12161"/>
                  <a:pt x="5514" y="12728"/>
                  <a:pt x="6175" y="12728"/>
                </a:cubicBezTo>
                <a:cubicBezTo>
                  <a:pt x="6837" y="12728"/>
                  <a:pt x="7404" y="12161"/>
                  <a:pt x="7404" y="11499"/>
                </a:cubicBezTo>
                <a:lnTo>
                  <a:pt x="7404" y="10680"/>
                </a:lnTo>
                <a:cubicBezTo>
                  <a:pt x="7404" y="10428"/>
                  <a:pt x="7215" y="10239"/>
                  <a:pt x="6994" y="10239"/>
                </a:cubicBezTo>
                <a:cubicBezTo>
                  <a:pt x="6805" y="10239"/>
                  <a:pt x="6616" y="10428"/>
                  <a:pt x="6616" y="10680"/>
                </a:cubicBezTo>
                <a:lnTo>
                  <a:pt x="6616" y="11499"/>
                </a:lnTo>
                <a:cubicBezTo>
                  <a:pt x="6616" y="11720"/>
                  <a:pt x="6427" y="11940"/>
                  <a:pt x="6175" y="11940"/>
                </a:cubicBezTo>
                <a:cubicBezTo>
                  <a:pt x="5955" y="11940"/>
                  <a:pt x="5797" y="11720"/>
                  <a:pt x="5797" y="11499"/>
                </a:cubicBezTo>
                <a:lnTo>
                  <a:pt x="5797" y="6648"/>
                </a:lnTo>
                <a:cubicBezTo>
                  <a:pt x="5797" y="6175"/>
                  <a:pt x="6144" y="5829"/>
                  <a:pt x="6616" y="5829"/>
                </a:cubicBezTo>
                <a:cubicBezTo>
                  <a:pt x="7089" y="5829"/>
                  <a:pt x="7435" y="6175"/>
                  <a:pt x="7435" y="6648"/>
                </a:cubicBezTo>
                <a:cubicBezTo>
                  <a:pt x="7435" y="6900"/>
                  <a:pt x="7624" y="7089"/>
                  <a:pt x="7876" y="7089"/>
                </a:cubicBezTo>
                <a:cubicBezTo>
                  <a:pt x="8097" y="7089"/>
                  <a:pt x="8255" y="6900"/>
                  <a:pt x="8255" y="6648"/>
                </a:cubicBezTo>
                <a:cubicBezTo>
                  <a:pt x="8255" y="6175"/>
                  <a:pt x="8633" y="5829"/>
                  <a:pt x="9105" y="5829"/>
                </a:cubicBezTo>
                <a:cubicBezTo>
                  <a:pt x="9578" y="5829"/>
                  <a:pt x="9924" y="6175"/>
                  <a:pt x="9924" y="6648"/>
                </a:cubicBezTo>
                <a:cubicBezTo>
                  <a:pt x="9924" y="6900"/>
                  <a:pt x="10113" y="7089"/>
                  <a:pt x="10302" y="7089"/>
                </a:cubicBezTo>
                <a:cubicBezTo>
                  <a:pt x="10554" y="7089"/>
                  <a:pt x="10743" y="6900"/>
                  <a:pt x="10743" y="6648"/>
                </a:cubicBezTo>
                <a:lnTo>
                  <a:pt x="10743" y="6207"/>
                </a:lnTo>
                <a:cubicBezTo>
                  <a:pt x="10743" y="3371"/>
                  <a:pt x="8538" y="1071"/>
                  <a:pt x="5797" y="851"/>
                </a:cubicBezTo>
                <a:lnTo>
                  <a:pt x="5797" y="441"/>
                </a:lnTo>
                <a:cubicBezTo>
                  <a:pt x="5797" y="189"/>
                  <a:pt x="5577" y="0"/>
                  <a:pt x="535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267" name="Grupo 266">
            <a:extLst>
              <a:ext uri="{FF2B5EF4-FFF2-40B4-BE49-F238E27FC236}">
                <a16:creationId xmlns:a16="http://schemas.microsoft.com/office/drawing/2014/main" id="{40C4BBB7-ACFC-0778-9D00-58209B4363EA}"/>
              </a:ext>
            </a:extLst>
          </p:cNvPr>
          <p:cNvGrpSpPr/>
          <p:nvPr/>
        </p:nvGrpSpPr>
        <p:grpSpPr>
          <a:xfrm>
            <a:off x="4887454" y="1475440"/>
            <a:ext cx="1469856" cy="350677"/>
            <a:chOff x="1206609" y="1494977"/>
            <a:chExt cx="1469856" cy="350677"/>
          </a:xfrm>
        </p:grpSpPr>
        <p:sp>
          <p:nvSpPr>
            <p:cNvPr id="259" name="Google Shape;10963;p143">
              <a:extLst>
                <a:ext uri="{FF2B5EF4-FFF2-40B4-BE49-F238E27FC236}">
                  <a16:creationId xmlns:a16="http://schemas.microsoft.com/office/drawing/2014/main" id="{2462B0FD-BEF2-F90D-6406-31511C1F6059}"/>
                </a:ext>
              </a:extLst>
            </p:cNvPr>
            <p:cNvSpPr/>
            <p:nvPr/>
          </p:nvSpPr>
          <p:spPr>
            <a:xfrm>
              <a:off x="1206609" y="1494977"/>
              <a:ext cx="334289" cy="337367"/>
            </a:xfrm>
            <a:custGeom>
              <a:avLst/>
              <a:gdLst/>
              <a:ahLst/>
              <a:cxnLst/>
              <a:rect l="l" t="t" r="r" b="b"/>
              <a:pathLst>
                <a:path w="10744" h="12729" extrusionOk="0">
                  <a:moveTo>
                    <a:pt x="5419" y="1701"/>
                  </a:moveTo>
                  <a:cubicBezTo>
                    <a:pt x="7561" y="1701"/>
                    <a:pt x="9357" y="3151"/>
                    <a:pt x="9830" y="5167"/>
                  </a:cubicBezTo>
                  <a:cubicBezTo>
                    <a:pt x="9641" y="5041"/>
                    <a:pt x="9389" y="5009"/>
                    <a:pt x="9137" y="5009"/>
                  </a:cubicBezTo>
                  <a:cubicBezTo>
                    <a:pt x="8601" y="5009"/>
                    <a:pt x="8191" y="5230"/>
                    <a:pt x="7908" y="5545"/>
                  </a:cubicBezTo>
                  <a:cubicBezTo>
                    <a:pt x="7593" y="5198"/>
                    <a:pt x="7152" y="5009"/>
                    <a:pt x="6679" y="5009"/>
                  </a:cubicBezTo>
                  <a:cubicBezTo>
                    <a:pt x="6175" y="5009"/>
                    <a:pt x="5734" y="5230"/>
                    <a:pt x="5419" y="5545"/>
                  </a:cubicBezTo>
                  <a:cubicBezTo>
                    <a:pt x="5104" y="5198"/>
                    <a:pt x="4663" y="5009"/>
                    <a:pt x="4190" y="5009"/>
                  </a:cubicBezTo>
                  <a:cubicBezTo>
                    <a:pt x="3686" y="5009"/>
                    <a:pt x="3245" y="5230"/>
                    <a:pt x="2993" y="5545"/>
                  </a:cubicBezTo>
                  <a:cubicBezTo>
                    <a:pt x="2678" y="5198"/>
                    <a:pt x="2237" y="5009"/>
                    <a:pt x="1764" y="5009"/>
                  </a:cubicBezTo>
                  <a:cubicBezTo>
                    <a:pt x="1512" y="5009"/>
                    <a:pt x="1292" y="5041"/>
                    <a:pt x="1040" y="5167"/>
                  </a:cubicBezTo>
                  <a:cubicBezTo>
                    <a:pt x="1481" y="3151"/>
                    <a:pt x="3308" y="1701"/>
                    <a:pt x="5419" y="1701"/>
                  </a:cubicBezTo>
                  <a:close/>
                  <a:moveTo>
                    <a:pt x="5356" y="0"/>
                  </a:moveTo>
                  <a:cubicBezTo>
                    <a:pt x="5104" y="0"/>
                    <a:pt x="4946" y="189"/>
                    <a:pt x="4946" y="441"/>
                  </a:cubicBezTo>
                  <a:lnTo>
                    <a:pt x="4946" y="851"/>
                  </a:lnTo>
                  <a:cubicBezTo>
                    <a:pt x="2206" y="1071"/>
                    <a:pt x="0" y="3371"/>
                    <a:pt x="0" y="6207"/>
                  </a:cubicBezTo>
                  <a:lnTo>
                    <a:pt x="0" y="6648"/>
                  </a:lnTo>
                  <a:lnTo>
                    <a:pt x="32" y="6648"/>
                  </a:lnTo>
                  <a:cubicBezTo>
                    <a:pt x="32" y="6900"/>
                    <a:pt x="221" y="7089"/>
                    <a:pt x="473" y="7089"/>
                  </a:cubicBezTo>
                  <a:cubicBezTo>
                    <a:pt x="693" y="7089"/>
                    <a:pt x="851" y="6900"/>
                    <a:pt x="851" y="6648"/>
                  </a:cubicBezTo>
                  <a:cubicBezTo>
                    <a:pt x="851" y="6175"/>
                    <a:pt x="1197" y="5829"/>
                    <a:pt x="1701" y="5829"/>
                  </a:cubicBezTo>
                  <a:cubicBezTo>
                    <a:pt x="2143" y="5829"/>
                    <a:pt x="2521" y="6175"/>
                    <a:pt x="2521" y="6648"/>
                  </a:cubicBezTo>
                  <a:cubicBezTo>
                    <a:pt x="2521" y="6900"/>
                    <a:pt x="2710" y="7089"/>
                    <a:pt x="2899" y="7089"/>
                  </a:cubicBezTo>
                  <a:cubicBezTo>
                    <a:pt x="3119" y="7089"/>
                    <a:pt x="3308" y="6900"/>
                    <a:pt x="3308" y="6648"/>
                  </a:cubicBezTo>
                  <a:cubicBezTo>
                    <a:pt x="3308" y="6175"/>
                    <a:pt x="3655" y="5829"/>
                    <a:pt x="4127" y="5829"/>
                  </a:cubicBezTo>
                  <a:cubicBezTo>
                    <a:pt x="4600" y="5829"/>
                    <a:pt x="4946" y="6175"/>
                    <a:pt x="4946" y="6648"/>
                  </a:cubicBezTo>
                  <a:lnTo>
                    <a:pt x="4946" y="11499"/>
                  </a:lnTo>
                  <a:cubicBezTo>
                    <a:pt x="4946" y="12161"/>
                    <a:pt x="5514" y="12728"/>
                    <a:pt x="6175" y="12728"/>
                  </a:cubicBezTo>
                  <a:cubicBezTo>
                    <a:pt x="6837" y="12728"/>
                    <a:pt x="7404" y="12161"/>
                    <a:pt x="7404" y="11499"/>
                  </a:cubicBezTo>
                  <a:lnTo>
                    <a:pt x="7404" y="10680"/>
                  </a:lnTo>
                  <a:cubicBezTo>
                    <a:pt x="7404" y="10428"/>
                    <a:pt x="7215" y="10239"/>
                    <a:pt x="6994" y="10239"/>
                  </a:cubicBezTo>
                  <a:cubicBezTo>
                    <a:pt x="6805" y="10239"/>
                    <a:pt x="6616" y="10428"/>
                    <a:pt x="6616" y="10680"/>
                  </a:cubicBezTo>
                  <a:lnTo>
                    <a:pt x="6616" y="11499"/>
                  </a:lnTo>
                  <a:cubicBezTo>
                    <a:pt x="6616" y="11720"/>
                    <a:pt x="6427" y="11940"/>
                    <a:pt x="6175" y="11940"/>
                  </a:cubicBezTo>
                  <a:cubicBezTo>
                    <a:pt x="5955" y="11940"/>
                    <a:pt x="5797" y="11720"/>
                    <a:pt x="5797" y="11499"/>
                  </a:cubicBezTo>
                  <a:lnTo>
                    <a:pt x="5797" y="6648"/>
                  </a:lnTo>
                  <a:cubicBezTo>
                    <a:pt x="5797" y="6175"/>
                    <a:pt x="6144" y="5829"/>
                    <a:pt x="6616" y="5829"/>
                  </a:cubicBezTo>
                  <a:cubicBezTo>
                    <a:pt x="7089" y="5829"/>
                    <a:pt x="7435" y="6175"/>
                    <a:pt x="7435" y="6648"/>
                  </a:cubicBezTo>
                  <a:cubicBezTo>
                    <a:pt x="7435" y="6900"/>
                    <a:pt x="7624" y="7089"/>
                    <a:pt x="7876" y="7089"/>
                  </a:cubicBezTo>
                  <a:cubicBezTo>
                    <a:pt x="8097" y="7089"/>
                    <a:pt x="8255" y="6900"/>
                    <a:pt x="8255" y="6648"/>
                  </a:cubicBezTo>
                  <a:cubicBezTo>
                    <a:pt x="8255" y="6175"/>
                    <a:pt x="8633" y="5829"/>
                    <a:pt x="9105" y="5829"/>
                  </a:cubicBezTo>
                  <a:cubicBezTo>
                    <a:pt x="9578" y="5829"/>
                    <a:pt x="9924" y="6175"/>
                    <a:pt x="9924" y="6648"/>
                  </a:cubicBezTo>
                  <a:cubicBezTo>
                    <a:pt x="9924" y="6900"/>
                    <a:pt x="10113" y="7089"/>
                    <a:pt x="10302" y="7089"/>
                  </a:cubicBezTo>
                  <a:cubicBezTo>
                    <a:pt x="10554" y="7089"/>
                    <a:pt x="10743" y="6900"/>
                    <a:pt x="10743" y="6648"/>
                  </a:cubicBezTo>
                  <a:lnTo>
                    <a:pt x="10743" y="6207"/>
                  </a:lnTo>
                  <a:cubicBezTo>
                    <a:pt x="10743" y="3371"/>
                    <a:pt x="8538" y="1071"/>
                    <a:pt x="5797" y="851"/>
                  </a:cubicBezTo>
                  <a:lnTo>
                    <a:pt x="5797" y="441"/>
                  </a:lnTo>
                  <a:cubicBezTo>
                    <a:pt x="5797" y="189"/>
                    <a:pt x="5577" y="0"/>
                    <a:pt x="53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  <a:buFont typeface="Arial"/>
                <a:buNone/>
              </a:pPr>
              <a:endParaRPr sz="1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60" name="CuadroTexto 259">
              <a:extLst>
                <a:ext uri="{FF2B5EF4-FFF2-40B4-BE49-F238E27FC236}">
                  <a16:creationId xmlns:a16="http://schemas.microsoft.com/office/drawing/2014/main" id="{509D20D0-DDEE-7A49-0621-EEC25E25B626}"/>
                </a:ext>
              </a:extLst>
            </p:cNvPr>
            <p:cNvSpPr txBox="1"/>
            <p:nvPr/>
          </p:nvSpPr>
          <p:spPr>
            <a:xfrm>
              <a:off x="1409504" y="1537877"/>
              <a:ext cx="1266961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MX" sz="1400" b="1" dirty="0">
                  <a:latin typeface="Montserrat" pitchFamily="2" charset="77"/>
                </a:rPr>
                <a:t>Cobertura</a:t>
              </a:r>
            </a:p>
          </p:txBody>
        </p:sp>
      </p:grpSp>
      <p:cxnSp>
        <p:nvCxnSpPr>
          <p:cNvPr id="264" name="Conector recto 263">
            <a:extLst>
              <a:ext uri="{FF2B5EF4-FFF2-40B4-BE49-F238E27FC236}">
                <a16:creationId xmlns:a16="http://schemas.microsoft.com/office/drawing/2014/main" id="{FBD6BD9C-3581-1FFB-DB6A-61F4B2928528}"/>
              </a:ext>
            </a:extLst>
          </p:cNvPr>
          <p:cNvCxnSpPr>
            <a:cxnSpLocks/>
          </p:cNvCxnSpPr>
          <p:nvPr/>
        </p:nvCxnSpPr>
        <p:spPr>
          <a:xfrm>
            <a:off x="1243057" y="1463157"/>
            <a:ext cx="236620" cy="0"/>
          </a:xfrm>
          <a:prstGeom prst="line">
            <a:avLst/>
          </a:prstGeom>
          <a:ln w="38100">
            <a:solidFill>
              <a:srgbClr val="00B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Conector recto 269">
            <a:extLst>
              <a:ext uri="{FF2B5EF4-FFF2-40B4-BE49-F238E27FC236}">
                <a16:creationId xmlns:a16="http://schemas.microsoft.com/office/drawing/2014/main" id="{8460524C-7ACE-706D-8547-913F7D9B6E61}"/>
              </a:ext>
            </a:extLst>
          </p:cNvPr>
          <p:cNvCxnSpPr>
            <a:cxnSpLocks/>
          </p:cNvCxnSpPr>
          <p:nvPr/>
        </p:nvCxnSpPr>
        <p:spPr>
          <a:xfrm>
            <a:off x="1243057" y="1689032"/>
            <a:ext cx="236620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Conector recto 271">
            <a:extLst>
              <a:ext uri="{FF2B5EF4-FFF2-40B4-BE49-F238E27FC236}">
                <a16:creationId xmlns:a16="http://schemas.microsoft.com/office/drawing/2014/main" id="{BEF89B26-2A14-947A-9410-4413CA5DCE87}"/>
              </a:ext>
            </a:extLst>
          </p:cNvPr>
          <p:cNvCxnSpPr>
            <a:cxnSpLocks/>
          </p:cNvCxnSpPr>
          <p:nvPr/>
        </p:nvCxnSpPr>
        <p:spPr>
          <a:xfrm>
            <a:off x="1241156" y="1869397"/>
            <a:ext cx="236620" cy="0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5" name="CuadroTexto 274">
            <a:extLst>
              <a:ext uri="{FF2B5EF4-FFF2-40B4-BE49-F238E27FC236}">
                <a16:creationId xmlns:a16="http://schemas.microsoft.com/office/drawing/2014/main" id="{7DBC8CB4-34B4-1547-2509-89E3C841D33F}"/>
              </a:ext>
            </a:extLst>
          </p:cNvPr>
          <p:cNvSpPr txBox="1"/>
          <p:nvPr/>
        </p:nvSpPr>
        <p:spPr>
          <a:xfrm>
            <a:off x="1489559" y="1333333"/>
            <a:ext cx="30955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200" dirty="0">
                <a:latin typeface="Montserrat" pitchFamily="2" charset="77"/>
              </a:rPr>
              <a:t>Credit mobilized
Balance guarantees </a:t>
            </a:r>
          </a:p>
          <a:p>
            <a:r>
              <a:rPr lang="es-MX" sz="1200" dirty="0">
                <a:latin typeface="Montserrat" pitchFamily="2" charset="77"/>
              </a:rPr>
              <a:t>Permanent resources (patrimony)</a:t>
            </a:r>
            <a:endParaRPr lang="es-MX" sz="1200" dirty="0"/>
          </a:p>
        </p:txBody>
      </p:sp>
      <p:sp>
        <p:nvSpPr>
          <p:cNvPr id="280" name="CuadroTexto 279">
            <a:extLst>
              <a:ext uri="{FF2B5EF4-FFF2-40B4-BE49-F238E27FC236}">
                <a16:creationId xmlns:a16="http://schemas.microsoft.com/office/drawing/2014/main" id="{E35EB7BA-24B8-D114-437A-1F0300F3E8B8}"/>
              </a:ext>
            </a:extLst>
          </p:cNvPr>
          <p:cNvSpPr txBox="1"/>
          <p:nvPr/>
        </p:nvSpPr>
        <p:spPr>
          <a:xfrm>
            <a:off x="6146256" y="1496284"/>
            <a:ext cx="21183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b="1" dirty="0">
                <a:solidFill>
                  <a:srgbClr val="FFC000"/>
                </a:solidFill>
                <a:latin typeface="Montserrat" pitchFamily="2" charset="77"/>
              </a:rPr>
              <a:t>X</a:t>
            </a:r>
            <a:r>
              <a:rPr lang="es-MX" sz="1400" b="1" dirty="0">
                <a:solidFill>
                  <a:srgbClr val="FFC000"/>
                </a:solidFill>
                <a:latin typeface="Montserrat" pitchFamily="2" charset="77"/>
              </a:rPr>
              <a:t> </a:t>
            </a:r>
            <a:r>
              <a:rPr lang="es-MX" sz="1400" b="1" dirty="0">
                <a:latin typeface="Montserrat" pitchFamily="2" charset="77"/>
              </a:rPr>
              <a:t>Leverage</a:t>
            </a:r>
          </a:p>
        </p:txBody>
      </p:sp>
      <p:sp>
        <p:nvSpPr>
          <p:cNvPr id="284" name="CuadroTexto 283">
            <a:extLst>
              <a:ext uri="{FF2B5EF4-FFF2-40B4-BE49-F238E27FC236}">
                <a16:creationId xmlns:a16="http://schemas.microsoft.com/office/drawing/2014/main" id="{BCAE70F4-EC66-19B8-0AE0-A4CE385A6A44}"/>
              </a:ext>
            </a:extLst>
          </p:cNvPr>
          <p:cNvSpPr txBox="1"/>
          <p:nvPr/>
        </p:nvSpPr>
        <p:spPr>
          <a:xfrm>
            <a:off x="6731414" y="5303398"/>
            <a:ext cx="4956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400" b="1" dirty="0">
                <a:solidFill>
                  <a:schemeClr val="bg2">
                    <a:lumMod val="50000"/>
                  </a:schemeClr>
                </a:solidFill>
              </a:rPr>
              <a:t>x</a:t>
            </a:r>
            <a:r>
              <a:rPr lang="es-MX" b="1" dirty="0"/>
              <a:t> 7</a:t>
            </a:r>
          </a:p>
        </p:txBody>
      </p:sp>
      <p:sp>
        <p:nvSpPr>
          <p:cNvPr id="285" name="CuadroTexto 284">
            <a:extLst>
              <a:ext uri="{FF2B5EF4-FFF2-40B4-BE49-F238E27FC236}">
                <a16:creationId xmlns:a16="http://schemas.microsoft.com/office/drawing/2014/main" id="{47A491AE-438B-B310-18AE-608C9AC76D97}"/>
              </a:ext>
            </a:extLst>
          </p:cNvPr>
          <p:cNvSpPr txBox="1"/>
          <p:nvPr/>
        </p:nvSpPr>
        <p:spPr>
          <a:xfrm>
            <a:off x="10449927" y="4972220"/>
            <a:ext cx="4956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x</a:t>
            </a:r>
            <a:r>
              <a:rPr lang="es-MX" b="1" dirty="0"/>
              <a:t> 7</a:t>
            </a:r>
          </a:p>
        </p:txBody>
      </p:sp>
      <p:sp>
        <p:nvSpPr>
          <p:cNvPr id="287" name="Google Shape;10963;p143">
            <a:extLst>
              <a:ext uri="{FF2B5EF4-FFF2-40B4-BE49-F238E27FC236}">
                <a16:creationId xmlns:a16="http://schemas.microsoft.com/office/drawing/2014/main" id="{45353436-7679-1BC9-9D90-DF22DE71688C}"/>
              </a:ext>
            </a:extLst>
          </p:cNvPr>
          <p:cNvSpPr/>
          <p:nvPr/>
        </p:nvSpPr>
        <p:spPr>
          <a:xfrm>
            <a:off x="10735244" y="3006394"/>
            <a:ext cx="334289" cy="337367"/>
          </a:xfrm>
          <a:custGeom>
            <a:avLst/>
            <a:gdLst/>
            <a:ahLst/>
            <a:cxnLst/>
            <a:rect l="l" t="t" r="r" b="b"/>
            <a:pathLst>
              <a:path w="10744" h="12729" extrusionOk="0">
                <a:moveTo>
                  <a:pt x="5419" y="1701"/>
                </a:moveTo>
                <a:cubicBezTo>
                  <a:pt x="7561" y="1701"/>
                  <a:pt x="9357" y="3151"/>
                  <a:pt x="9830" y="5167"/>
                </a:cubicBezTo>
                <a:cubicBezTo>
                  <a:pt x="9641" y="5041"/>
                  <a:pt x="9389" y="5009"/>
                  <a:pt x="9137" y="5009"/>
                </a:cubicBezTo>
                <a:cubicBezTo>
                  <a:pt x="8601" y="5009"/>
                  <a:pt x="8191" y="5230"/>
                  <a:pt x="7908" y="5545"/>
                </a:cubicBezTo>
                <a:cubicBezTo>
                  <a:pt x="7593" y="5198"/>
                  <a:pt x="7152" y="5009"/>
                  <a:pt x="6679" y="5009"/>
                </a:cubicBezTo>
                <a:cubicBezTo>
                  <a:pt x="6175" y="5009"/>
                  <a:pt x="5734" y="5230"/>
                  <a:pt x="5419" y="5545"/>
                </a:cubicBezTo>
                <a:cubicBezTo>
                  <a:pt x="5104" y="5198"/>
                  <a:pt x="4663" y="5009"/>
                  <a:pt x="4190" y="5009"/>
                </a:cubicBezTo>
                <a:cubicBezTo>
                  <a:pt x="3686" y="5009"/>
                  <a:pt x="3245" y="5230"/>
                  <a:pt x="2993" y="5545"/>
                </a:cubicBezTo>
                <a:cubicBezTo>
                  <a:pt x="2678" y="5198"/>
                  <a:pt x="2237" y="5009"/>
                  <a:pt x="1764" y="5009"/>
                </a:cubicBezTo>
                <a:cubicBezTo>
                  <a:pt x="1512" y="5009"/>
                  <a:pt x="1292" y="5041"/>
                  <a:pt x="1040" y="5167"/>
                </a:cubicBezTo>
                <a:cubicBezTo>
                  <a:pt x="1481" y="3151"/>
                  <a:pt x="3308" y="1701"/>
                  <a:pt x="5419" y="1701"/>
                </a:cubicBezTo>
                <a:close/>
                <a:moveTo>
                  <a:pt x="5356" y="0"/>
                </a:moveTo>
                <a:cubicBezTo>
                  <a:pt x="5104" y="0"/>
                  <a:pt x="4946" y="189"/>
                  <a:pt x="4946" y="441"/>
                </a:cubicBezTo>
                <a:lnTo>
                  <a:pt x="4946" y="851"/>
                </a:lnTo>
                <a:cubicBezTo>
                  <a:pt x="2206" y="1071"/>
                  <a:pt x="0" y="3371"/>
                  <a:pt x="0" y="6207"/>
                </a:cubicBezTo>
                <a:lnTo>
                  <a:pt x="0" y="6648"/>
                </a:lnTo>
                <a:lnTo>
                  <a:pt x="32" y="6648"/>
                </a:lnTo>
                <a:cubicBezTo>
                  <a:pt x="32" y="6900"/>
                  <a:pt x="221" y="7089"/>
                  <a:pt x="473" y="7089"/>
                </a:cubicBezTo>
                <a:cubicBezTo>
                  <a:pt x="693" y="7089"/>
                  <a:pt x="851" y="6900"/>
                  <a:pt x="851" y="6648"/>
                </a:cubicBezTo>
                <a:cubicBezTo>
                  <a:pt x="851" y="6175"/>
                  <a:pt x="1197" y="5829"/>
                  <a:pt x="1701" y="5829"/>
                </a:cubicBezTo>
                <a:cubicBezTo>
                  <a:pt x="2143" y="5829"/>
                  <a:pt x="2521" y="6175"/>
                  <a:pt x="2521" y="6648"/>
                </a:cubicBezTo>
                <a:cubicBezTo>
                  <a:pt x="2521" y="6900"/>
                  <a:pt x="2710" y="7089"/>
                  <a:pt x="2899" y="7089"/>
                </a:cubicBezTo>
                <a:cubicBezTo>
                  <a:pt x="3119" y="7089"/>
                  <a:pt x="3308" y="6900"/>
                  <a:pt x="3308" y="6648"/>
                </a:cubicBezTo>
                <a:cubicBezTo>
                  <a:pt x="3308" y="6175"/>
                  <a:pt x="3655" y="5829"/>
                  <a:pt x="4127" y="5829"/>
                </a:cubicBezTo>
                <a:cubicBezTo>
                  <a:pt x="4600" y="5829"/>
                  <a:pt x="4946" y="6175"/>
                  <a:pt x="4946" y="6648"/>
                </a:cubicBezTo>
                <a:lnTo>
                  <a:pt x="4946" y="11499"/>
                </a:lnTo>
                <a:cubicBezTo>
                  <a:pt x="4946" y="12161"/>
                  <a:pt x="5514" y="12728"/>
                  <a:pt x="6175" y="12728"/>
                </a:cubicBezTo>
                <a:cubicBezTo>
                  <a:pt x="6837" y="12728"/>
                  <a:pt x="7404" y="12161"/>
                  <a:pt x="7404" y="11499"/>
                </a:cubicBezTo>
                <a:lnTo>
                  <a:pt x="7404" y="10680"/>
                </a:lnTo>
                <a:cubicBezTo>
                  <a:pt x="7404" y="10428"/>
                  <a:pt x="7215" y="10239"/>
                  <a:pt x="6994" y="10239"/>
                </a:cubicBezTo>
                <a:cubicBezTo>
                  <a:pt x="6805" y="10239"/>
                  <a:pt x="6616" y="10428"/>
                  <a:pt x="6616" y="10680"/>
                </a:cubicBezTo>
                <a:lnTo>
                  <a:pt x="6616" y="11499"/>
                </a:lnTo>
                <a:cubicBezTo>
                  <a:pt x="6616" y="11720"/>
                  <a:pt x="6427" y="11940"/>
                  <a:pt x="6175" y="11940"/>
                </a:cubicBezTo>
                <a:cubicBezTo>
                  <a:pt x="5955" y="11940"/>
                  <a:pt x="5797" y="11720"/>
                  <a:pt x="5797" y="11499"/>
                </a:cubicBezTo>
                <a:lnTo>
                  <a:pt x="5797" y="6648"/>
                </a:lnTo>
                <a:cubicBezTo>
                  <a:pt x="5797" y="6175"/>
                  <a:pt x="6144" y="5829"/>
                  <a:pt x="6616" y="5829"/>
                </a:cubicBezTo>
                <a:cubicBezTo>
                  <a:pt x="7089" y="5829"/>
                  <a:pt x="7435" y="6175"/>
                  <a:pt x="7435" y="6648"/>
                </a:cubicBezTo>
                <a:cubicBezTo>
                  <a:pt x="7435" y="6900"/>
                  <a:pt x="7624" y="7089"/>
                  <a:pt x="7876" y="7089"/>
                </a:cubicBezTo>
                <a:cubicBezTo>
                  <a:pt x="8097" y="7089"/>
                  <a:pt x="8255" y="6900"/>
                  <a:pt x="8255" y="6648"/>
                </a:cubicBezTo>
                <a:cubicBezTo>
                  <a:pt x="8255" y="6175"/>
                  <a:pt x="8633" y="5829"/>
                  <a:pt x="9105" y="5829"/>
                </a:cubicBezTo>
                <a:cubicBezTo>
                  <a:pt x="9578" y="5829"/>
                  <a:pt x="9924" y="6175"/>
                  <a:pt x="9924" y="6648"/>
                </a:cubicBezTo>
                <a:cubicBezTo>
                  <a:pt x="9924" y="6900"/>
                  <a:pt x="10113" y="7089"/>
                  <a:pt x="10302" y="7089"/>
                </a:cubicBezTo>
                <a:cubicBezTo>
                  <a:pt x="10554" y="7089"/>
                  <a:pt x="10743" y="6900"/>
                  <a:pt x="10743" y="6648"/>
                </a:cubicBezTo>
                <a:lnTo>
                  <a:pt x="10743" y="6207"/>
                </a:lnTo>
                <a:cubicBezTo>
                  <a:pt x="10743" y="3371"/>
                  <a:pt x="8538" y="1071"/>
                  <a:pt x="5797" y="851"/>
                </a:cubicBezTo>
                <a:lnTo>
                  <a:pt x="5797" y="441"/>
                </a:lnTo>
                <a:cubicBezTo>
                  <a:pt x="5797" y="189"/>
                  <a:pt x="5577" y="0"/>
                  <a:pt x="535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8" name="CuadroTexto 287">
            <a:extLst>
              <a:ext uri="{FF2B5EF4-FFF2-40B4-BE49-F238E27FC236}">
                <a16:creationId xmlns:a16="http://schemas.microsoft.com/office/drawing/2014/main" id="{95636946-7EED-72BE-E9C4-4D5F41AFB29E}"/>
              </a:ext>
            </a:extLst>
          </p:cNvPr>
          <p:cNvSpPr txBox="1"/>
          <p:nvPr/>
        </p:nvSpPr>
        <p:spPr>
          <a:xfrm>
            <a:off x="11056084" y="5624542"/>
            <a:ext cx="4956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x</a:t>
            </a:r>
            <a:r>
              <a:rPr lang="es-MX" b="1" dirty="0"/>
              <a:t> 8</a:t>
            </a:r>
          </a:p>
        </p:txBody>
      </p:sp>
      <p:sp>
        <p:nvSpPr>
          <p:cNvPr id="290" name="CuadroTexto 289">
            <a:extLst>
              <a:ext uri="{FF2B5EF4-FFF2-40B4-BE49-F238E27FC236}">
                <a16:creationId xmlns:a16="http://schemas.microsoft.com/office/drawing/2014/main" id="{06757FCC-86BB-529E-BAE6-E4CE071A7AD2}"/>
              </a:ext>
            </a:extLst>
          </p:cNvPr>
          <p:cNvSpPr txBox="1"/>
          <p:nvPr/>
        </p:nvSpPr>
        <p:spPr>
          <a:xfrm>
            <a:off x="9342807" y="5217775"/>
            <a:ext cx="4956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400" b="1" dirty="0">
                <a:solidFill>
                  <a:schemeClr val="bg2">
                    <a:lumMod val="50000"/>
                  </a:schemeClr>
                </a:solidFill>
              </a:rPr>
              <a:t>x</a:t>
            </a:r>
            <a:r>
              <a:rPr lang="es-MX" b="1" dirty="0"/>
              <a:t> 5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9F6018D9-5F68-362D-4619-2CD43B99295C}"/>
              </a:ext>
            </a:extLst>
          </p:cNvPr>
          <p:cNvSpPr txBox="1"/>
          <p:nvPr/>
        </p:nvSpPr>
        <p:spPr>
          <a:xfrm>
            <a:off x="9000485" y="3731788"/>
            <a:ext cx="6270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>
                <a:latin typeface="Montserrat" pitchFamily="2" charset="77"/>
              </a:rPr>
              <a:t>54%</a:t>
            </a:r>
          </a:p>
        </p:txBody>
      </p:sp>
      <p:sp>
        <p:nvSpPr>
          <p:cNvPr id="3" name="Google Shape;10963;p143">
            <a:extLst>
              <a:ext uri="{FF2B5EF4-FFF2-40B4-BE49-F238E27FC236}">
                <a16:creationId xmlns:a16="http://schemas.microsoft.com/office/drawing/2014/main" id="{48D311F7-B36D-32E2-5E5E-3529C63225FC}"/>
              </a:ext>
            </a:extLst>
          </p:cNvPr>
          <p:cNvSpPr/>
          <p:nvPr/>
        </p:nvSpPr>
        <p:spPr>
          <a:xfrm>
            <a:off x="8664787" y="3714865"/>
            <a:ext cx="334289" cy="337367"/>
          </a:xfrm>
          <a:custGeom>
            <a:avLst/>
            <a:gdLst/>
            <a:ahLst/>
            <a:cxnLst/>
            <a:rect l="l" t="t" r="r" b="b"/>
            <a:pathLst>
              <a:path w="10744" h="12729" extrusionOk="0">
                <a:moveTo>
                  <a:pt x="5419" y="1701"/>
                </a:moveTo>
                <a:cubicBezTo>
                  <a:pt x="7561" y="1701"/>
                  <a:pt x="9357" y="3151"/>
                  <a:pt x="9830" y="5167"/>
                </a:cubicBezTo>
                <a:cubicBezTo>
                  <a:pt x="9641" y="5041"/>
                  <a:pt x="9389" y="5009"/>
                  <a:pt x="9137" y="5009"/>
                </a:cubicBezTo>
                <a:cubicBezTo>
                  <a:pt x="8601" y="5009"/>
                  <a:pt x="8191" y="5230"/>
                  <a:pt x="7908" y="5545"/>
                </a:cubicBezTo>
                <a:cubicBezTo>
                  <a:pt x="7593" y="5198"/>
                  <a:pt x="7152" y="5009"/>
                  <a:pt x="6679" y="5009"/>
                </a:cubicBezTo>
                <a:cubicBezTo>
                  <a:pt x="6175" y="5009"/>
                  <a:pt x="5734" y="5230"/>
                  <a:pt x="5419" y="5545"/>
                </a:cubicBezTo>
                <a:cubicBezTo>
                  <a:pt x="5104" y="5198"/>
                  <a:pt x="4663" y="5009"/>
                  <a:pt x="4190" y="5009"/>
                </a:cubicBezTo>
                <a:cubicBezTo>
                  <a:pt x="3686" y="5009"/>
                  <a:pt x="3245" y="5230"/>
                  <a:pt x="2993" y="5545"/>
                </a:cubicBezTo>
                <a:cubicBezTo>
                  <a:pt x="2678" y="5198"/>
                  <a:pt x="2237" y="5009"/>
                  <a:pt x="1764" y="5009"/>
                </a:cubicBezTo>
                <a:cubicBezTo>
                  <a:pt x="1512" y="5009"/>
                  <a:pt x="1292" y="5041"/>
                  <a:pt x="1040" y="5167"/>
                </a:cubicBezTo>
                <a:cubicBezTo>
                  <a:pt x="1481" y="3151"/>
                  <a:pt x="3308" y="1701"/>
                  <a:pt x="5419" y="1701"/>
                </a:cubicBezTo>
                <a:close/>
                <a:moveTo>
                  <a:pt x="5356" y="0"/>
                </a:moveTo>
                <a:cubicBezTo>
                  <a:pt x="5104" y="0"/>
                  <a:pt x="4946" y="189"/>
                  <a:pt x="4946" y="441"/>
                </a:cubicBezTo>
                <a:lnTo>
                  <a:pt x="4946" y="851"/>
                </a:lnTo>
                <a:cubicBezTo>
                  <a:pt x="2206" y="1071"/>
                  <a:pt x="0" y="3371"/>
                  <a:pt x="0" y="6207"/>
                </a:cubicBezTo>
                <a:lnTo>
                  <a:pt x="0" y="6648"/>
                </a:lnTo>
                <a:lnTo>
                  <a:pt x="32" y="6648"/>
                </a:lnTo>
                <a:cubicBezTo>
                  <a:pt x="32" y="6900"/>
                  <a:pt x="221" y="7089"/>
                  <a:pt x="473" y="7089"/>
                </a:cubicBezTo>
                <a:cubicBezTo>
                  <a:pt x="693" y="7089"/>
                  <a:pt x="851" y="6900"/>
                  <a:pt x="851" y="6648"/>
                </a:cubicBezTo>
                <a:cubicBezTo>
                  <a:pt x="851" y="6175"/>
                  <a:pt x="1197" y="5829"/>
                  <a:pt x="1701" y="5829"/>
                </a:cubicBezTo>
                <a:cubicBezTo>
                  <a:pt x="2143" y="5829"/>
                  <a:pt x="2521" y="6175"/>
                  <a:pt x="2521" y="6648"/>
                </a:cubicBezTo>
                <a:cubicBezTo>
                  <a:pt x="2521" y="6900"/>
                  <a:pt x="2710" y="7089"/>
                  <a:pt x="2899" y="7089"/>
                </a:cubicBezTo>
                <a:cubicBezTo>
                  <a:pt x="3119" y="7089"/>
                  <a:pt x="3308" y="6900"/>
                  <a:pt x="3308" y="6648"/>
                </a:cubicBezTo>
                <a:cubicBezTo>
                  <a:pt x="3308" y="6175"/>
                  <a:pt x="3655" y="5829"/>
                  <a:pt x="4127" y="5829"/>
                </a:cubicBezTo>
                <a:cubicBezTo>
                  <a:pt x="4600" y="5829"/>
                  <a:pt x="4946" y="6175"/>
                  <a:pt x="4946" y="6648"/>
                </a:cubicBezTo>
                <a:lnTo>
                  <a:pt x="4946" y="11499"/>
                </a:lnTo>
                <a:cubicBezTo>
                  <a:pt x="4946" y="12161"/>
                  <a:pt x="5514" y="12728"/>
                  <a:pt x="6175" y="12728"/>
                </a:cubicBezTo>
                <a:cubicBezTo>
                  <a:pt x="6837" y="12728"/>
                  <a:pt x="7404" y="12161"/>
                  <a:pt x="7404" y="11499"/>
                </a:cubicBezTo>
                <a:lnTo>
                  <a:pt x="7404" y="10680"/>
                </a:lnTo>
                <a:cubicBezTo>
                  <a:pt x="7404" y="10428"/>
                  <a:pt x="7215" y="10239"/>
                  <a:pt x="6994" y="10239"/>
                </a:cubicBezTo>
                <a:cubicBezTo>
                  <a:pt x="6805" y="10239"/>
                  <a:pt x="6616" y="10428"/>
                  <a:pt x="6616" y="10680"/>
                </a:cubicBezTo>
                <a:lnTo>
                  <a:pt x="6616" y="11499"/>
                </a:lnTo>
                <a:cubicBezTo>
                  <a:pt x="6616" y="11720"/>
                  <a:pt x="6427" y="11940"/>
                  <a:pt x="6175" y="11940"/>
                </a:cubicBezTo>
                <a:cubicBezTo>
                  <a:pt x="5955" y="11940"/>
                  <a:pt x="5797" y="11720"/>
                  <a:pt x="5797" y="11499"/>
                </a:cubicBezTo>
                <a:lnTo>
                  <a:pt x="5797" y="6648"/>
                </a:lnTo>
                <a:cubicBezTo>
                  <a:pt x="5797" y="6175"/>
                  <a:pt x="6144" y="5829"/>
                  <a:pt x="6616" y="5829"/>
                </a:cubicBezTo>
                <a:cubicBezTo>
                  <a:pt x="7089" y="5829"/>
                  <a:pt x="7435" y="6175"/>
                  <a:pt x="7435" y="6648"/>
                </a:cubicBezTo>
                <a:cubicBezTo>
                  <a:pt x="7435" y="6900"/>
                  <a:pt x="7624" y="7089"/>
                  <a:pt x="7876" y="7089"/>
                </a:cubicBezTo>
                <a:cubicBezTo>
                  <a:pt x="8097" y="7089"/>
                  <a:pt x="8255" y="6900"/>
                  <a:pt x="8255" y="6648"/>
                </a:cubicBezTo>
                <a:cubicBezTo>
                  <a:pt x="8255" y="6175"/>
                  <a:pt x="8633" y="5829"/>
                  <a:pt x="9105" y="5829"/>
                </a:cubicBezTo>
                <a:cubicBezTo>
                  <a:pt x="9578" y="5829"/>
                  <a:pt x="9924" y="6175"/>
                  <a:pt x="9924" y="6648"/>
                </a:cubicBezTo>
                <a:cubicBezTo>
                  <a:pt x="9924" y="6900"/>
                  <a:pt x="10113" y="7089"/>
                  <a:pt x="10302" y="7089"/>
                </a:cubicBezTo>
                <a:cubicBezTo>
                  <a:pt x="10554" y="7089"/>
                  <a:pt x="10743" y="6900"/>
                  <a:pt x="10743" y="6648"/>
                </a:cubicBezTo>
                <a:lnTo>
                  <a:pt x="10743" y="6207"/>
                </a:lnTo>
                <a:cubicBezTo>
                  <a:pt x="10743" y="3371"/>
                  <a:pt x="8538" y="1071"/>
                  <a:pt x="5797" y="851"/>
                </a:cubicBezTo>
                <a:lnTo>
                  <a:pt x="5797" y="441"/>
                </a:lnTo>
                <a:cubicBezTo>
                  <a:pt x="5797" y="189"/>
                  <a:pt x="5577" y="0"/>
                  <a:pt x="535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1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7552F25A-E262-228B-8153-19F66143361C}"/>
              </a:ext>
            </a:extLst>
          </p:cNvPr>
          <p:cNvSpPr txBox="1"/>
          <p:nvPr/>
        </p:nvSpPr>
        <p:spPr>
          <a:xfrm>
            <a:off x="254165" y="6575663"/>
            <a:ext cx="978575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050" dirty="0">
                <a:solidFill>
                  <a:schemeClr val="bg1">
                    <a:lumMod val="95000"/>
                  </a:schemeClr>
                </a:solidFill>
                <a:latin typeface="ArialMT"/>
              </a:rPr>
              <a:t>Source: REGAR with data from the statistics of the activity of the guarantees 2021
</a:t>
            </a:r>
            <a:endParaRPr lang="es-MX" sz="1050" b="1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1808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:a16="http://schemas.microsoft.com/office/drawing/2014/main" id="{AA1F050C-869B-56AA-E479-DB3A49A5C8F0}"/>
              </a:ext>
            </a:extLst>
          </p:cNvPr>
          <p:cNvSpPr/>
          <p:nvPr/>
        </p:nvSpPr>
        <p:spPr>
          <a:xfrm rot="5400000">
            <a:off x="5964199" y="617580"/>
            <a:ext cx="296042" cy="12200695"/>
          </a:xfrm>
          <a:prstGeom prst="rect">
            <a:avLst/>
          </a:prstGeom>
          <a:gradFill flip="none" rotWithShape="1">
            <a:gsLst>
              <a:gs pos="69000">
                <a:srgbClr val="0070C0"/>
              </a:gs>
              <a:gs pos="0">
                <a:srgbClr val="00B0F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95AE589C-DD87-3590-1E38-A439EA5F6D88}"/>
              </a:ext>
            </a:extLst>
          </p:cNvPr>
          <p:cNvSpPr txBox="1"/>
          <p:nvPr/>
        </p:nvSpPr>
        <p:spPr>
          <a:xfrm>
            <a:off x="492233" y="6394669"/>
            <a:ext cx="18224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20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318A58F7-3EC7-20D7-B17B-D3015E5FC168}"/>
              </a:ext>
            </a:extLst>
          </p:cNvPr>
          <p:cNvSpPr txBox="1"/>
          <p:nvPr/>
        </p:nvSpPr>
        <p:spPr>
          <a:xfrm>
            <a:off x="5627727" y="6297697"/>
            <a:ext cx="12954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6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6E39AC5C-3BBC-32D5-0AD6-A1FE8FA327B1}"/>
              </a:ext>
            </a:extLst>
          </p:cNvPr>
          <p:cNvSpPr txBox="1"/>
          <p:nvPr/>
        </p:nvSpPr>
        <p:spPr>
          <a:xfrm>
            <a:off x="10028866" y="6340002"/>
            <a:ext cx="182242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2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CC995FCB-12CF-45CD-3A36-3198F52C89E6}"/>
              </a:ext>
            </a:extLst>
          </p:cNvPr>
          <p:cNvSpPr txBox="1"/>
          <p:nvPr/>
        </p:nvSpPr>
        <p:spPr>
          <a:xfrm>
            <a:off x="3965852" y="6321505"/>
            <a:ext cx="12954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28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E41E443E-13C8-50C3-C45D-A57CC53B3D65}"/>
              </a:ext>
            </a:extLst>
          </p:cNvPr>
          <p:cNvSpPr txBox="1"/>
          <p:nvPr/>
        </p:nvSpPr>
        <p:spPr>
          <a:xfrm>
            <a:off x="2497999" y="6421542"/>
            <a:ext cx="159438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2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9C79C619-BCE7-4F15-5568-1A829AFACD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4165" y="144148"/>
            <a:ext cx="1751280" cy="803065"/>
          </a:xfrm>
          <a:prstGeom prst="rect">
            <a:avLst/>
          </a:prstGeom>
        </p:spPr>
      </p:pic>
      <p:sp>
        <p:nvSpPr>
          <p:cNvPr id="6" name="Título 1">
            <a:extLst>
              <a:ext uri="{FF2B5EF4-FFF2-40B4-BE49-F238E27FC236}">
                <a16:creationId xmlns:a16="http://schemas.microsoft.com/office/drawing/2014/main" id="{84A3EF0B-5AE4-49F2-A376-AC0687C1F8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7727" y="483258"/>
            <a:ext cx="5941621" cy="535420"/>
          </a:xfrm>
        </p:spPr>
        <p:txBody>
          <a:bodyPr>
            <a:noAutofit/>
          </a:bodyPr>
          <a:lstStyle/>
          <a:p>
            <a:pPr algn="r"/>
            <a:r>
              <a:rPr lang="es-ES" sz="2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MAIN REGULATORY HURDLES
</a:t>
            </a:r>
            <a:endParaRPr lang="es-MX" sz="2400" b="1" dirty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FBC29AC8-ADCF-F940-A958-7DD8594C0BDD}"/>
              </a:ext>
            </a:extLst>
          </p:cNvPr>
          <p:cNvSpPr txBox="1"/>
          <p:nvPr/>
        </p:nvSpPr>
        <p:spPr>
          <a:xfrm>
            <a:off x="883434" y="1374006"/>
            <a:ext cx="10457572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4013" indent="-342900" algn="just">
              <a:buFont typeface="+mj-lt"/>
              <a:buAutoNum type="arabicPeriod"/>
            </a:pPr>
            <a:r>
              <a:rPr lang="es-MX" b="1" dirty="0">
                <a:solidFill>
                  <a:srgbClr val="374151"/>
                </a:solidFill>
                <a:latin typeface="Century Gothic" panose="020B0502020202020204" pitchFamily="34" charset="0"/>
              </a:rPr>
              <a:t>Insufficient legal and regulatory framework </a:t>
            </a:r>
            <a:r>
              <a:rPr lang="es-MX" dirty="0">
                <a:solidFill>
                  <a:srgbClr val="374151"/>
                </a:solidFill>
                <a:latin typeface="Century Gothic" panose="020B0502020202020204" pitchFamily="34" charset="0"/>
              </a:rPr>
              <a:t>: In some countries, legislation and regulations related to guarantee institutions may be scarce or outdated, which hinders the development of guarantee funds towards more robust and capitalized systems.</a:t>
            </a:r>
          </a:p>
          <a:p>
            <a:pPr marL="354013" indent="-342900" algn="just">
              <a:buFont typeface="+mj-lt"/>
              <a:buAutoNum type="arabicPeriod"/>
            </a:pPr>
            <a:endParaRPr lang="es-MX" b="0" i="0" u="none" strike="noStrike" dirty="0">
              <a:solidFill>
                <a:srgbClr val="374151"/>
              </a:solidFill>
              <a:effectLst/>
              <a:latin typeface="Century Gothic" panose="020B0502020202020204" pitchFamily="34" charset="0"/>
            </a:endParaRPr>
          </a:p>
          <a:p>
            <a:pPr marL="354013" indent="-342900" algn="just">
              <a:buFont typeface="+mj-lt"/>
              <a:buAutoNum type="arabicPeriod"/>
            </a:pPr>
            <a:r>
              <a:rPr lang="es-MX" b="1" dirty="0">
                <a:solidFill>
                  <a:srgbClr val="374151"/>
                </a:solidFill>
                <a:latin typeface="Century Gothic" panose="020B0502020202020204" pitchFamily="34" charset="0"/>
              </a:rPr>
              <a:t>Bureaucracy and excessive paperwork</a:t>
            </a:r>
            <a:r>
              <a:rPr lang="es-MX" dirty="0">
                <a:solidFill>
                  <a:srgbClr val="374151"/>
                </a:solidFill>
                <a:latin typeface="Century Gothic" panose="020B0502020202020204" pitchFamily="34" charset="0"/>
              </a:rPr>
              <a:t>: Bureaucratic processes and complicated administrative procedures can slow down the operations of guarantee institutions. </a:t>
            </a:r>
          </a:p>
          <a:p>
            <a:pPr marL="354013" indent="-342900" algn="just">
              <a:buFont typeface="+mj-lt"/>
              <a:buAutoNum type="arabicPeriod"/>
            </a:pPr>
            <a:endParaRPr lang="es-MX" dirty="0">
              <a:solidFill>
                <a:srgbClr val="374151"/>
              </a:solidFill>
              <a:latin typeface="Century Gothic" panose="020B0502020202020204" pitchFamily="34" charset="0"/>
            </a:endParaRPr>
          </a:p>
          <a:p>
            <a:pPr marL="354013" indent="-342900" algn="just">
              <a:buFont typeface="+mj-lt"/>
              <a:buAutoNum type="arabicPeriod"/>
            </a:pPr>
            <a:r>
              <a:rPr lang="es-MX" b="1" dirty="0">
                <a:solidFill>
                  <a:srgbClr val="374151"/>
                </a:solidFill>
                <a:latin typeface="Century Gothic" panose="020B0502020202020204" pitchFamily="34" charset="0"/>
              </a:rPr>
              <a:t>Inter-agency coordination: </a:t>
            </a:r>
            <a:r>
              <a:rPr lang="es-MX" dirty="0">
                <a:solidFill>
                  <a:srgbClr val="374151"/>
                </a:solidFill>
                <a:latin typeface="Century Gothic" panose="020B0502020202020204" pitchFamily="34" charset="0"/>
              </a:rPr>
              <a:t>The lack of coordination between guarantee institutions with regulators and government agencies limits the effectiveness of the measures to be implemented.</a:t>
            </a:r>
          </a:p>
          <a:p>
            <a:pPr marL="354013" indent="-342900" algn="just">
              <a:buFont typeface="+mj-lt"/>
              <a:buAutoNum type="arabicPeriod"/>
            </a:pPr>
            <a:endParaRPr lang="es-MX" dirty="0">
              <a:solidFill>
                <a:srgbClr val="374151"/>
              </a:solidFill>
              <a:latin typeface="Century Gothic" panose="020B0502020202020204" pitchFamily="34" charset="0"/>
            </a:endParaRPr>
          </a:p>
          <a:p>
            <a:pPr marL="354013" indent="-342900" algn="just">
              <a:buFont typeface="+mj-lt"/>
              <a:buAutoNum type="arabicPeriod"/>
            </a:pPr>
            <a:r>
              <a:rPr lang="es-MX" b="1" dirty="0">
                <a:solidFill>
                  <a:srgbClr val="374151"/>
                </a:solidFill>
                <a:latin typeface="Century Gothic" panose="020B0502020202020204" pitchFamily="34" charset="0"/>
              </a:rPr>
              <a:t>Capital and reserve requirements: </a:t>
            </a:r>
            <a:r>
              <a:rPr lang="es-MX" dirty="0">
                <a:solidFill>
                  <a:srgbClr val="374151"/>
                </a:solidFill>
                <a:latin typeface="Century Gothic" panose="020B0502020202020204" pitchFamily="34" charset="0"/>
              </a:rPr>
              <a:t>The lack of understanding of the guarantees and their different modalities causes the application of rules that generate excesses in the reserves and capitalization.</a:t>
            </a:r>
          </a:p>
          <a:p>
            <a:pPr algn="just"/>
            <a:endParaRPr lang="es-MX" b="0" i="0" u="none" strike="noStrike" dirty="0">
              <a:solidFill>
                <a:srgbClr val="374151"/>
              </a:solidFill>
              <a:effectLst/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8675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>
            <a:extLst>
              <a:ext uri="{FF2B5EF4-FFF2-40B4-BE49-F238E27FC236}">
                <a16:creationId xmlns:a16="http://schemas.microsoft.com/office/drawing/2014/main" id="{9C79C619-BCE7-4F15-5568-1A829AFACD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165" y="144148"/>
            <a:ext cx="1751280" cy="803065"/>
          </a:xfrm>
          <a:prstGeom prst="rect">
            <a:avLst/>
          </a:prstGeom>
        </p:spPr>
      </p:pic>
      <p:sp>
        <p:nvSpPr>
          <p:cNvPr id="6" name="Título 1">
            <a:extLst>
              <a:ext uri="{FF2B5EF4-FFF2-40B4-BE49-F238E27FC236}">
                <a16:creationId xmlns:a16="http://schemas.microsoft.com/office/drawing/2014/main" id="{84A3EF0B-5AE4-49F2-A376-AC0687C1F8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1900" y="545680"/>
            <a:ext cx="7481140" cy="535420"/>
          </a:xfrm>
        </p:spPr>
        <p:txBody>
          <a:bodyPr>
            <a:normAutofit fontScale="90000"/>
          </a:bodyPr>
          <a:lstStyle/>
          <a:p>
            <a:pPr algn="r"/>
            <a:r>
              <a:rPr lang="es-MX" sz="27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MAIN CHALLENGES
</a:t>
            </a:r>
            <a:endParaRPr lang="es-MX" sz="2400" b="1" dirty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BABFB83F-EC90-B5F2-7E27-0413AEEB0007}"/>
              </a:ext>
            </a:extLst>
          </p:cNvPr>
          <p:cNvSpPr txBox="1"/>
          <p:nvPr/>
        </p:nvSpPr>
        <p:spPr>
          <a:xfrm>
            <a:off x="527313" y="1684789"/>
            <a:ext cx="11248676" cy="40164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1800"/>
              </a:spcAft>
              <a:buClr>
                <a:schemeClr val="accent6"/>
              </a:buClr>
              <a:buFont typeface="Letra del sistema regular"/>
              <a:buChar char="●"/>
            </a:pPr>
            <a:r>
              <a:rPr lang="es-MX" sz="2000" dirty="0">
                <a:latin typeface="Century Gothic" panose="020B0502020202020204" pitchFamily="34" charset="0"/>
              </a:rPr>
              <a:t>Simplify processes that do not represent potential risks
Greater involvement of authorities and regulators in the understanding of guarantees in some countries of the region</a:t>
            </a:r>
          </a:p>
          <a:p>
            <a:pPr marL="285750" indent="-285750">
              <a:spcAft>
                <a:spcPts val="1800"/>
              </a:spcAft>
              <a:buClr>
                <a:schemeClr val="accent6"/>
              </a:buClr>
              <a:buFont typeface="Letra del sistema regular"/>
              <a:buChar char="●"/>
            </a:pPr>
            <a:r>
              <a:rPr lang="es-MX" sz="2000" dirty="0">
                <a:latin typeface="Century Gothic" panose="020B0502020202020204" pitchFamily="34" charset="0"/>
              </a:rPr>
              <a:t>Generate schemes that detonate automatically in the face of crises.
Replicate syndicated guarantees to other countries in the region</a:t>
            </a:r>
          </a:p>
          <a:p>
            <a:pPr marL="285750" indent="-285750">
              <a:spcAft>
                <a:spcPts val="1800"/>
              </a:spcAft>
              <a:buClr>
                <a:schemeClr val="accent6"/>
              </a:buClr>
              <a:buFont typeface="Letra del sistema regular"/>
              <a:buChar char="●"/>
            </a:pPr>
            <a:r>
              <a:rPr lang="es-MX" sz="2000" dirty="0">
                <a:latin typeface="Century Gothic" panose="020B0502020202020204" pitchFamily="34" charset="0"/>
              </a:rPr>
              <a:t>Establish mechanisms to replicate European Investment Funds programmes in the region</a:t>
            </a:r>
          </a:p>
          <a:p>
            <a:pPr marL="285750" indent="-285750">
              <a:spcAft>
                <a:spcPts val="1800"/>
              </a:spcAft>
              <a:buClr>
                <a:schemeClr val="accent6"/>
              </a:buClr>
              <a:buFont typeface="Letra del sistema regular"/>
              <a:buChar char="●"/>
            </a:pPr>
            <a:r>
              <a:rPr lang="es-MX" sz="2000" dirty="0">
                <a:latin typeface="Century Gothic" panose="020B0502020202020204" pitchFamily="34" charset="0"/>
              </a:rPr>
              <a:t>Fortalecer los reafianzamientos, como una medida necesaria para la distribuciión del riesgo de las carteras.</a:t>
            </a:r>
            <a:endParaRPr lang="es-MX" sz="2000" dirty="0">
              <a:effectLst/>
              <a:latin typeface="SymbolMT"/>
            </a:endParaRPr>
          </a:p>
        </p:txBody>
      </p:sp>
    </p:spTree>
    <p:extLst>
      <p:ext uri="{BB962C8B-B14F-4D97-AF65-F5344CB8AC3E}">
        <p14:creationId xmlns:p14="http://schemas.microsoft.com/office/powerpoint/2010/main" val="14603409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uadroTexto 22">
            <a:extLst>
              <a:ext uri="{FF2B5EF4-FFF2-40B4-BE49-F238E27FC236}">
                <a16:creationId xmlns:a16="http://schemas.microsoft.com/office/drawing/2014/main" id="{00377DCF-276F-46B0-8907-5C6DAB20CDC5}"/>
              </a:ext>
            </a:extLst>
          </p:cNvPr>
          <p:cNvSpPr txBox="1"/>
          <p:nvPr/>
        </p:nvSpPr>
        <p:spPr>
          <a:xfrm>
            <a:off x="6692617" y="1906942"/>
            <a:ext cx="43134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FODEMIPYME</a:t>
            </a:r>
          </a:p>
        </p:txBody>
      </p:sp>
      <p:sp>
        <p:nvSpPr>
          <p:cNvPr id="3" name="Google Shape;13;p2">
            <a:extLst>
              <a:ext uri="{FF2B5EF4-FFF2-40B4-BE49-F238E27FC236}">
                <a16:creationId xmlns:a16="http://schemas.microsoft.com/office/drawing/2014/main" id="{55A7E9BA-1AE0-DE15-B55D-6B7E6A64A763}"/>
              </a:ext>
            </a:extLst>
          </p:cNvPr>
          <p:cNvSpPr/>
          <p:nvPr/>
        </p:nvSpPr>
        <p:spPr>
          <a:xfrm>
            <a:off x="0" y="0"/>
            <a:ext cx="5506703" cy="6858000"/>
          </a:xfrm>
          <a:prstGeom prst="rect">
            <a:avLst/>
          </a:prstGeom>
          <a:solidFill>
            <a:srgbClr val="008BB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s-ES" sz="24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" name="Google Shape;13;p2">
            <a:extLst>
              <a:ext uri="{FF2B5EF4-FFF2-40B4-BE49-F238E27FC236}">
                <a16:creationId xmlns:a16="http://schemas.microsoft.com/office/drawing/2014/main" id="{B2C45127-0CC6-0A2A-EDCF-8F589A5A4D64}"/>
              </a:ext>
            </a:extLst>
          </p:cNvPr>
          <p:cNvSpPr/>
          <p:nvPr/>
        </p:nvSpPr>
        <p:spPr>
          <a:xfrm>
            <a:off x="4905528" y="3550676"/>
            <a:ext cx="983673" cy="973033"/>
          </a:xfrm>
          <a:prstGeom prst="rect">
            <a:avLst/>
          </a:prstGeom>
          <a:solidFill>
            <a:srgbClr val="F88B05">
              <a:alpha val="78615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5" name="Google Shape;13;p2">
            <a:extLst>
              <a:ext uri="{FF2B5EF4-FFF2-40B4-BE49-F238E27FC236}">
                <a16:creationId xmlns:a16="http://schemas.microsoft.com/office/drawing/2014/main" id="{C2F1CE98-B7FC-8E47-C4F0-48F06BD819ED}"/>
              </a:ext>
            </a:extLst>
          </p:cNvPr>
          <p:cNvSpPr/>
          <p:nvPr/>
        </p:nvSpPr>
        <p:spPr>
          <a:xfrm>
            <a:off x="5397365" y="3061870"/>
            <a:ext cx="804802" cy="708497"/>
          </a:xfrm>
          <a:prstGeom prst="rect">
            <a:avLst/>
          </a:prstGeom>
          <a:solidFill>
            <a:schemeClr val="accent4">
              <a:lumMod val="60000"/>
              <a:lumOff val="40000"/>
              <a:alpha val="88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07A98E9-60C2-A551-5B67-6F2F878F861A}"/>
              </a:ext>
            </a:extLst>
          </p:cNvPr>
          <p:cNvSpPr txBox="1"/>
          <p:nvPr/>
        </p:nvSpPr>
        <p:spPr>
          <a:xfrm>
            <a:off x="0" y="1997535"/>
            <a:ext cx="5373966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ASOCIACIÓN RED IBEROAMERICANA  DE GARANTÍAS</a:t>
            </a:r>
          </a:p>
          <a:p>
            <a:pPr marL="0" marR="0" lvl="0" indent="0" algn="ctr" defTabSz="914400" rtl="0" eaLnBrk="1" fontAlgn="auto" latinLnBrk="0" hangingPunct="1"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s-ES" sz="48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REGAR</a:t>
            </a:r>
          </a:p>
        </p:txBody>
      </p:sp>
      <p:sp>
        <p:nvSpPr>
          <p:cNvPr id="4" name="Google Shape;13;p2">
            <a:extLst>
              <a:ext uri="{FF2B5EF4-FFF2-40B4-BE49-F238E27FC236}">
                <a16:creationId xmlns:a16="http://schemas.microsoft.com/office/drawing/2014/main" id="{6D1E8421-E1A0-A7DB-99C4-6C54174A5FEC}"/>
              </a:ext>
            </a:extLst>
          </p:cNvPr>
          <p:cNvSpPr/>
          <p:nvPr/>
        </p:nvSpPr>
        <p:spPr>
          <a:xfrm>
            <a:off x="4279597" y="3682943"/>
            <a:ext cx="804802" cy="708497"/>
          </a:xfrm>
          <a:prstGeom prst="rect">
            <a:avLst/>
          </a:prstGeom>
          <a:solidFill>
            <a:schemeClr val="accent6">
              <a:alpha val="59064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2E5C0610-6340-1931-7C3A-78717EBF51FA}"/>
              </a:ext>
            </a:extLst>
          </p:cNvPr>
          <p:cNvSpPr txBox="1"/>
          <p:nvPr/>
        </p:nvSpPr>
        <p:spPr>
          <a:xfrm>
            <a:off x="7820195" y="5555888"/>
            <a:ext cx="43718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0" i="0" u="sng" strike="noStrike" kern="1200" cap="none" spc="0" normalizeH="0" baseline="0" noProof="0" dirty="0">
                <a:ln>
                  <a:noFill/>
                </a:ln>
                <a:solidFill>
                  <a:srgbClr val="257C89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redegarantias.com</a:t>
            </a:r>
            <a:r>
              <a:rPr kumimoji="0" lang="es-ES" sz="1600" b="0" i="0" u="sng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endParaRPr kumimoji="0" lang="es-ES" sz="1600" b="0" i="0" u="sng" strike="noStrike" kern="120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41F41C0D-7108-69A2-549F-8D72C5F3E912}"/>
              </a:ext>
            </a:extLst>
          </p:cNvPr>
          <p:cNvSpPr/>
          <p:nvPr/>
        </p:nvSpPr>
        <p:spPr>
          <a:xfrm>
            <a:off x="5889201" y="1964150"/>
            <a:ext cx="626171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“</a:t>
            </a:r>
            <a:r>
              <a:rPr lang="es-MX" sz="2400" dirty="0">
                <a:solidFill>
                  <a:schemeClr val="accent5">
                    <a:lumMod val="50000"/>
                  </a:schemeClr>
                </a:solidFill>
                <a:latin typeface="Montserrat" pitchFamily="2" charset="77"/>
              </a:rPr>
              <a:t>WHO DOMINATES THE GUARANTEE
 DOMINATES CREDI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”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grpSp>
        <p:nvGrpSpPr>
          <p:cNvPr id="6" name="Grupo 5">
            <a:extLst>
              <a:ext uri="{FF2B5EF4-FFF2-40B4-BE49-F238E27FC236}">
                <a16:creationId xmlns:a16="http://schemas.microsoft.com/office/drawing/2014/main" id="{5BE7C2C7-53C3-CF63-84B6-E59C22B9EFA8}"/>
              </a:ext>
            </a:extLst>
          </p:cNvPr>
          <p:cNvGrpSpPr/>
          <p:nvPr/>
        </p:nvGrpSpPr>
        <p:grpSpPr>
          <a:xfrm>
            <a:off x="9461067" y="6108515"/>
            <a:ext cx="1362380" cy="444685"/>
            <a:chOff x="1504732" y="778125"/>
            <a:chExt cx="1362380" cy="444685"/>
          </a:xfrm>
        </p:grpSpPr>
        <p:pic>
          <p:nvPicPr>
            <p:cNvPr id="14" name="object 5">
              <a:extLst>
                <a:ext uri="{FF2B5EF4-FFF2-40B4-BE49-F238E27FC236}">
                  <a16:creationId xmlns:a16="http://schemas.microsoft.com/office/drawing/2014/main" id="{6DDA6242-ABFD-46D0-DAD1-8F962889DFE9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504732" y="778125"/>
              <a:ext cx="536903" cy="429112"/>
            </a:xfrm>
            <a:prstGeom prst="rect">
              <a:avLst/>
            </a:prstGeom>
          </p:spPr>
        </p:pic>
        <p:pic>
          <p:nvPicPr>
            <p:cNvPr id="15" name="object 11">
              <a:extLst>
                <a:ext uri="{FF2B5EF4-FFF2-40B4-BE49-F238E27FC236}">
                  <a16:creationId xmlns:a16="http://schemas.microsoft.com/office/drawing/2014/main" id="{12805D71-4F22-4DE3-B928-E4FB2435A857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041635" y="805835"/>
              <a:ext cx="357927" cy="387573"/>
            </a:xfrm>
            <a:prstGeom prst="rect">
              <a:avLst/>
            </a:prstGeom>
          </p:spPr>
        </p:pic>
        <p:pic>
          <p:nvPicPr>
            <p:cNvPr id="16" name="object 19">
              <a:extLst>
                <a:ext uri="{FF2B5EF4-FFF2-40B4-BE49-F238E27FC236}">
                  <a16:creationId xmlns:a16="http://schemas.microsoft.com/office/drawing/2014/main" id="{27A1A9AC-BB86-77C5-4F22-19468A8823AE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468112" y="793699"/>
              <a:ext cx="399000" cy="4291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905455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17;p2">
            <a:extLst>
              <a:ext uri="{FF2B5EF4-FFF2-40B4-BE49-F238E27FC236}">
                <a16:creationId xmlns:a16="http://schemas.microsoft.com/office/drawing/2014/main" id="{ECDEF892-2A08-9CA4-4728-016A8AC887D9}"/>
              </a:ext>
            </a:extLst>
          </p:cNvPr>
          <p:cNvSpPr/>
          <p:nvPr/>
        </p:nvSpPr>
        <p:spPr>
          <a:xfrm>
            <a:off x="0" y="-3147"/>
            <a:ext cx="12192000" cy="104069"/>
          </a:xfrm>
          <a:prstGeom prst="rect">
            <a:avLst/>
          </a:prstGeom>
          <a:solidFill>
            <a:srgbClr val="008BB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</a:pPr>
            <a:endParaRPr sz="2400" b="1" kern="0" dirty="0">
              <a:solidFill>
                <a:schemeClr val="bg1"/>
              </a:solidFill>
              <a:latin typeface="Montserrat" pitchFamily="2" charset="77"/>
              <a:cs typeface="Arial"/>
              <a:sym typeface="Arial"/>
            </a:endParaRPr>
          </a:p>
        </p:txBody>
      </p:sp>
      <p:pic>
        <p:nvPicPr>
          <p:cNvPr id="48" name="Picture 2">
            <a:extLst>
              <a:ext uri="{FF2B5EF4-FFF2-40B4-BE49-F238E27FC236}">
                <a16:creationId xmlns:a16="http://schemas.microsoft.com/office/drawing/2014/main" id="{FAB4E7C3-E239-613A-BFB3-A092DE6235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993" y="207001"/>
            <a:ext cx="1751280" cy="803065"/>
          </a:xfrm>
          <a:prstGeom prst="rect">
            <a:avLst/>
          </a:prstGeom>
        </p:spPr>
      </p:pic>
      <p:sp>
        <p:nvSpPr>
          <p:cNvPr id="15" name="Rectángulo 14">
            <a:extLst>
              <a:ext uri="{FF2B5EF4-FFF2-40B4-BE49-F238E27FC236}">
                <a16:creationId xmlns:a16="http://schemas.microsoft.com/office/drawing/2014/main" id="{575C85F7-EB34-847D-EE39-2517A9A0B5E9}"/>
              </a:ext>
            </a:extLst>
          </p:cNvPr>
          <p:cNvSpPr/>
          <p:nvPr/>
        </p:nvSpPr>
        <p:spPr>
          <a:xfrm rot="5400000">
            <a:off x="5964199" y="617580"/>
            <a:ext cx="296042" cy="12200695"/>
          </a:xfrm>
          <a:prstGeom prst="rect">
            <a:avLst/>
          </a:prstGeom>
          <a:gradFill flip="none" rotWithShape="1">
            <a:gsLst>
              <a:gs pos="69000">
                <a:srgbClr val="0070C0"/>
              </a:gs>
              <a:gs pos="0">
                <a:srgbClr val="00B0F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F6D24CA0-FF2C-964F-B35B-C3BDDBC157F2}"/>
              </a:ext>
            </a:extLst>
          </p:cNvPr>
          <p:cNvSpPr txBox="1"/>
          <p:nvPr/>
        </p:nvSpPr>
        <p:spPr>
          <a:xfrm>
            <a:off x="561854" y="6597496"/>
            <a:ext cx="18224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20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DAE22FD0-B91C-877B-4696-9A33A0E87E8D}"/>
              </a:ext>
            </a:extLst>
          </p:cNvPr>
          <p:cNvSpPr txBox="1"/>
          <p:nvPr/>
        </p:nvSpPr>
        <p:spPr>
          <a:xfrm>
            <a:off x="5627727" y="6297697"/>
            <a:ext cx="12954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6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8EDBEFF9-00FE-5FF7-C729-A5308A019EE5}"/>
              </a:ext>
            </a:extLst>
          </p:cNvPr>
          <p:cNvSpPr txBox="1"/>
          <p:nvPr/>
        </p:nvSpPr>
        <p:spPr>
          <a:xfrm>
            <a:off x="10041014" y="6340002"/>
            <a:ext cx="182242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2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E2E70289-6511-9BC0-D687-AB1015FC6C38}"/>
              </a:ext>
            </a:extLst>
          </p:cNvPr>
          <p:cNvSpPr txBox="1"/>
          <p:nvPr/>
        </p:nvSpPr>
        <p:spPr>
          <a:xfrm>
            <a:off x="3965852" y="6321505"/>
            <a:ext cx="12954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28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CAD31098-F0EC-7D44-02E2-B49C9EEE7FC7}"/>
              </a:ext>
            </a:extLst>
          </p:cNvPr>
          <p:cNvSpPr txBox="1"/>
          <p:nvPr/>
        </p:nvSpPr>
        <p:spPr>
          <a:xfrm>
            <a:off x="2497999" y="6421542"/>
            <a:ext cx="159438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2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3A3577-CF04-D8D4-9D32-9950058FF5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2076" y="251198"/>
            <a:ext cx="9951358" cy="815408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r"/>
            <a:br>
              <a:rPr lang="es-MX" sz="2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</a:br>
            <a:r>
              <a:rPr lang="es-MX" sz="2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THE IBEROAMERICAN NETWORK OF GUARANTEES - REGAR
</a:t>
            </a:r>
            <a:endParaRPr lang="en-US" sz="2400" b="1" dirty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Rectangle 8">
            <a:extLst>
              <a:ext uri="{FF2B5EF4-FFF2-40B4-BE49-F238E27FC236}">
                <a16:creationId xmlns:a16="http://schemas.microsoft.com/office/drawing/2014/main" id="{A678DED4-C299-E4E5-4C61-113E3E404065}"/>
              </a:ext>
            </a:extLst>
          </p:cNvPr>
          <p:cNvSpPr/>
          <p:nvPr/>
        </p:nvSpPr>
        <p:spPr>
          <a:xfrm>
            <a:off x="0" y="6165140"/>
            <a:ext cx="12172950" cy="708233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9">
            <a:extLst>
              <a:ext uri="{FF2B5EF4-FFF2-40B4-BE49-F238E27FC236}">
                <a16:creationId xmlns:a16="http://schemas.microsoft.com/office/drawing/2014/main" id="{4CA19F08-C4E1-6AA5-0697-87289FDC0125}"/>
              </a:ext>
            </a:extLst>
          </p:cNvPr>
          <p:cNvSpPr txBox="1"/>
          <p:nvPr/>
        </p:nvSpPr>
        <p:spPr>
          <a:xfrm>
            <a:off x="-11641" y="5695870"/>
            <a:ext cx="25552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s-MX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latin typeface="Arial Narrow" panose="020B0606020202030204" pitchFamily="34" charset="0"/>
                <a:cs typeface="Times New Roman" panose="02020603050405020304" pitchFamily="18" charset="0"/>
              </a:rPr>
              <a:t>SOCIOS ESTRATÉGICOS</a:t>
            </a:r>
            <a:endParaRPr kumimoji="0" lang="en-US" i="0" u="none" strike="noStrike" kern="1200" normalizeH="0" baseline="0" noProof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5" name="4 Imagen">
            <a:extLst>
              <a:ext uri="{FF2B5EF4-FFF2-40B4-BE49-F238E27FC236}">
                <a16:creationId xmlns:a16="http://schemas.microsoft.com/office/drawing/2014/main" id="{F369795E-DD3D-CA9F-1FA9-B12DC0CE35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387" y="6268922"/>
            <a:ext cx="1224048" cy="382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2 Imagen">
            <a:extLst>
              <a:ext uri="{FF2B5EF4-FFF2-40B4-BE49-F238E27FC236}">
                <a16:creationId xmlns:a16="http://schemas.microsoft.com/office/drawing/2014/main" id="{36EDB6EE-6CD4-7E89-3F3A-F165B313A6A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8580" y="6261795"/>
            <a:ext cx="550242" cy="485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2" descr="Resultado de imagen para caf">
            <a:extLst>
              <a:ext uri="{FF2B5EF4-FFF2-40B4-BE49-F238E27FC236}">
                <a16:creationId xmlns:a16="http://schemas.microsoft.com/office/drawing/2014/main" id="{851CF005-5FC7-ABF0-7E6B-833905A1C7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1806" y="6216312"/>
            <a:ext cx="592182" cy="585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4" descr="Resultado de imagen para banco mundial">
            <a:extLst>
              <a:ext uri="{FF2B5EF4-FFF2-40B4-BE49-F238E27FC236}">
                <a16:creationId xmlns:a16="http://schemas.microsoft.com/office/drawing/2014/main" id="{94477D38-7AC6-7FAC-C108-50B34235CC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3663" y="6257701"/>
            <a:ext cx="605771" cy="454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6" descr="Resultado de imagen para bid">
            <a:extLst>
              <a:ext uri="{FF2B5EF4-FFF2-40B4-BE49-F238E27FC236}">
                <a16:creationId xmlns:a16="http://schemas.microsoft.com/office/drawing/2014/main" id="{B28E6EE6-F2E1-4DF9-B640-C229ED9C2D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5831" y="6370733"/>
            <a:ext cx="605771" cy="288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0" descr="Resultado de imagen para ifc">
            <a:extLst>
              <a:ext uri="{FF2B5EF4-FFF2-40B4-BE49-F238E27FC236}">
                <a16:creationId xmlns:a16="http://schemas.microsoft.com/office/drawing/2014/main" id="{1E11E5E7-6B33-C30A-F78D-04CC9ACC4C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4365" y="6251940"/>
            <a:ext cx="1209222" cy="565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 descr="AECM">
            <a:extLst>
              <a:ext uri="{FF2B5EF4-FFF2-40B4-BE49-F238E27FC236}">
                <a16:creationId xmlns:a16="http://schemas.microsoft.com/office/drawing/2014/main" id="{F1957DD5-5B91-9190-8805-28215BE87D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3910" y="6150222"/>
            <a:ext cx="727355" cy="654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30">
            <a:extLst>
              <a:ext uri="{FF2B5EF4-FFF2-40B4-BE49-F238E27FC236}">
                <a16:creationId xmlns:a16="http://schemas.microsoft.com/office/drawing/2014/main" id="{C5576479-4D79-E293-8093-16787960009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90772" y="6300055"/>
            <a:ext cx="854286" cy="329363"/>
          </a:xfrm>
          <a:prstGeom prst="rect">
            <a:avLst/>
          </a:prstGeom>
        </p:spPr>
      </p:pic>
      <p:sp>
        <p:nvSpPr>
          <p:cNvPr id="21" name="Google Shape;12287;p43">
            <a:extLst>
              <a:ext uri="{FF2B5EF4-FFF2-40B4-BE49-F238E27FC236}">
                <a16:creationId xmlns:a16="http://schemas.microsoft.com/office/drawing/2014/main" id="{3F533A6F-EC20-E1C0-0A2D-F59A2A074701}"/>
              </a:ext>
            </a:extLst>
          </p:cNvPr>
          <p:cNvSpPr/>
          <p:nvPr/>
        </p:nvSpPr>
        <p:spPr>
          <a:xfrm>
            <a:off x="2779389" y="4271881"/>
            <a:ext cx="1094047" cy="239885"/>
          </a:xfrm>
          <a:custGeom>
            <a:avLst/>
            <a:gdLst/>
            <a:ahLst/>
            <a:cxnLst/>
            <a:rect l="l" t="t" r="r" b="b"/>
            <a:pathLst>
              <a:path w="57567" h="15753" extrusionOk="0">
                <a:moveTo>
                  <a:pt x="7906" y="1"/>
                </a:moveTo>
                <a:cubicBezTo>
                  <a:pt x="3644" y="1"/>
                  <a:pt x="119" y="3466"/>
                  <a:pt x="36" y="7728"/>
                </a:cubicBezTo>
                <a:cubicBezTo>
                  <a:pt x="0" y="9812"/>
                  <a:pt x="798" y="11800"/>
                  <a:pt x="2286" y="13312"/>
                </a:cubicBezTo>
                <a:cubicBezTo>
                  <a:pt x="3810" y="14860"/>
                  <a:pt x="5918" y="15753"/>
                  <a:pt x="8073" y="15753"/>
                </a:cubicBezTo>
                <a:lnTo>
                  <a:pt x="49697" y="15753"/>
                </a:lnTo>
                <a:cubicBezTo>
                  <a:pt x="54031" y="15753"/>
                  <a:pt x="57567" y="12217"/>
                  <a:pt x="57567" y="7871"/>
                </a:cubicBezTo>
                <a:cubicBezTo>
                  <a:pt x="57567" y="3537"/>
                  <a:pt x="54031" y="1"/>
                  <a:pt x="49697" y="1"/>
                </a:cubicBezTo>
                <a:close/>
              </a:path>
            </a:pathLst>
          </a:custGeom>
          <a:solidFill>
            <a:srgbClr val="BBBDB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2" name="Google Shape;12027;p43">
            <a:extLst>
              <a:ext uri="{FF2B5EF4-FFF2-40B4-BE49-F238E27FC236}">
                <a16:creationId xmlns:a16="http://schemas.microsoft.com/office/drawing/2014/main" id="{62FC840D-F6B2-45A5-C80C-9B86DC221331}"/>
              </a:ext>
            </a:extLst>
          </p:cNvPr>
          <p:cNvGrpSpPr/>
          <p:nvPr/>
        </p:nvGrpSpPr>
        <p:grpSpPr>
          <a:xfrm>
            <a:off x="2554049" y="1201511"/>
            <a:ext cx="7690538" cy="4254355"/>
            <a:chOff x="2654821" y="2311071"/>
            <a:chExt cx="2279714" cy="1262120"/>
          </a:xfrm>
        </p:grpSpPr>
        <p:grpSp>
          <p:nvGrpSpPr>
            <p:cNvPr id="23" name="Google Shape;12028;p43">
              <a:extLst>
                <a:ext uri="{FF2B5EF4-FFF2-40B4-BE49-F238E27FC236}">
                  <a16:creationId xmlns:a16="http://schemas.microsoft.com/office/drawing/2014/main" id="{08EF2405-7843-EBDB-B3E7-9971EF662BB6}"/>
                </a:ext>
              </a:extLst>
            </p:cNvPr>
            <p:cNvGrpSpPr/>
            <p:nvPr/>
          </p:nvGrpSpPr>
          <p:grpSpPr>
            <a:xfrm>
              <a:off x="4034269" y="2840745"/>
              <a:ext cx="40212" cy="36437"/>
              <a:chOff x="4293400" y="2574725"/>
              <a:chExt cx="84425" cy="80100"/>
            </a:xfrm>
          </p:grpSpPr>
          <p:sp>
            <p:nvSpPr>
              <p:cNvPr id="279" name="Google Shape;12029;p43">
                <a:extLst>
                  <a:ext uri="{FF2B5EF4-FFF2-40B4-BE49-F238E27FC236}">
                    <a16:creationId xmlns:a16="http://schemas.microsoft.com/office/drawing/2014/main" id="{325BBCE2-ADEC-C9A1-6B78-A60F900995EC}"/>
                  </a:ext>
                </a:extLst>
              </p:cNvPr>
              <p:cNvSpPr/>
              <p:nvPr/>
            </p:nvSpPr>
            <p:spPr>
              <a:xfrm>
                <a:off x="4293400" y="2574725"/>
                <a:ext cx="57150" cy="45250"/>
              </a:xfrm>
              <a:custGeom>
                <a:avLst/>
                <a:gdLst/>
                <a:ahLst/>
                <a:cxnLst/>
                <a:rect l="l" t="t" r="r" b="b"/>
                <a:pathLst>
                  <a:path w="2286" h="1810" extrusionOk="0">
                    <a:moveTo>
                      <a:pt x="2286" y="905"/>
                    </a:moveTo>
                    <a:lnTo>
                      <a:pt x="1857" y="476"/>
                    </a:lnTo>
                    <a:lnTo>
                      <a:pt x="0" y="0"/>
                    </a:lnTo>
                    <a:lnTo>
                      <a:pt x="95" y="834"/>
                    </a:lnTo>
                    <a:lnTo>
                      <a:pt x="952" y="1476"/>
                    </a:lnTo>
                    <a:lnTo>
                      <a:pt x="1952" y="181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280" name="Google Shape;12030;p43">
                <a:extLst>
                  <a:ext uri="{FF2B5EF4-FFF2-40B4-BE49-F238E27FC236}">
                    <a16:creationId xmlns:a16="http://schemas.microsoft.com/office/drawing/2014/main" id="{E89B669F-757D-92A4-09F6-F707C58C56A1}"/>
                  </a:ext>
                </a:extLst>
              </p:cNvPr>
              <p:cNvSpPr/>
              <p:nvPr/>
            </p:nvSpPr>
            <p:spPr>
              <a:xfrm>
                <a:off x="4299350" y="2589925"/>
                <a:ext cx="78475" cy="649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596" extrusionOk="0">
                    <a:moveTo>
                      <a:pt x="2009" y="1"/>
                    </a:moveTo>
                    <a:lnTo>
                      <a:pt x="1820" y="252"/>
                    </a:lnTo>
                    <a:lnTo>
                      <a:pt x="1632" y="314"/>
                    </a:lnTo>
                    <a:lnTo>
                      <a:pt x="1590" y="419"/>
                    </a:lnTo>
                    <a:lnTo>
                      <a:pt x="1318" y="398"/>
                    </a:lnTo>
                    <a:lnTo>
                      <a:pt x="1255" y="273"/>
                    </a:lnTo>
                    <a:lnTo>
                      <a:pt x="983" y="63"/>
                    </a:lnTo>
                    <a:lnTo>
                      <a:pt x="837" y="42"/>
                    </a:lnTo>
                    <a:lnTo>
                      <a:pt x="795" y="63"/>
                    </a:lnTo>
                    <a:lnTo>
                      <a:pt x="753" y="252"/>
                    </a:lnTo>
                    <a:lnTo>
                      <a:pt x="900" y="314"/>
                    </a:lnTo>
                    <a:lnTo>
                      <a:pt x="983" y="461"/>
                    </a:lnTo>
                    <a:lnTo>
                      <a:pt x="963" y="670"/>
                    </a:lnTo>
                    <a:lnTo>
                      <a:pt x="753" y="566"/>
                    </a:lnTo>
                    <a:lnTo>
                      <a:pt x="544" y="524"/>
                    </a:lnTo>
                    <a:lnTo>
                      <a:pt x="209" y="356"/>
                    </a:lnTo>
                    <a:lnTo>
                      <a:pt x="0" y="419"/>
                    </a:lnTo>
                    <a:lnTo>
                      <a:pt x="0" y="524"/>
                    </a:lnTo>
                    <a:lnTo>
                      <a:pt x="105" y="628"/>
                    </a:lnTo>
                    <a:lnTo>
                      <a:pt x="314" y="670"/>
                    </a:lnTo>
                    <a:lnTo>
                      <a:pt x="419" y="796"/>
                    </a:lnTo>
                    <a:lnTo>
                      <a:pt x="377" y="921"/>
                    </a:lnTo>
                    <a:lnTo>
                      <a:pt x="377" y="1026"/>
                    </a:lnTo>
                    <a:lnTo>
                      <a:pt x="628" y="1214"/>
                    </a:lnTo>
                    <a:lnTo>
                      <a:pt x="628" y="1340"/>
                    </a:lnTo>
                    <a:lnTo>
                      <a:pt x="544" y="1423"/>
                    </a:lnTo>
                    <a:lnTo>
                      <a:pt x="628" y="1612"/>
                    </a:lnTo>
                    <a:lnTo>
                      <a:pt x="879" y="1737"/>
                    </a:lnTo>
                    <a:lnTo>
                      <a:pt x="1067" y="1737"/>
                    </a:lnTo>
                    <a:lnTo>
                      <a:pt x="1193" y="1863"/>
                    </a:lnTo>
                    <a:lnTo>
                      <a:pt x="1046" y="1884"/>
                    </a:lnTo>
                    <a:lnTo>
                      <a:pt x="1109" y="2051"/>
                    </a:lnTo>
                    <a:lnTo>
                      <a:pt x="1088" y="2093"/>
                    </a:lnTo>
                    <a:lnTo>
                      <a:pt x="1088" y="2239"/>
                    </a:lnTo>
                    <a:lnTo>
                      <a:pt x="1172" y="2260"/>
                    </a:lnTo>
                    <a:lnTo>
                      <a:pt x="1276" y="2198"/>
                    </a:lnTo>
                    <a:lnTo>
                      <a:pt x="1276" y="2156"/>
                    </a:lnTo>
                    <a:lnTo>
                      <a:pt x="1318" y="2093"/>
                    </a:lnTo>
                    <a:lnTo>
                      <a:pt x="1381" y="2072"/>
                    </a:lnTo>
                    <a:lnTo>
                      <a:pt x="1486" y="1946"/>
                    </a:lnTo>
                    <a:lnTo>
                      <a:pt x="1569" y="1926"/>
                    </a:lnTo>
                    <a:lnTo>
                      <a:pt x="1611" y="1821"/>
                    </a:lnTo>
                    <a:lnTo>
                      <a:pt x="1695" y="1821"/>
                    </a:lnTo>
                    <a:lnTo>
                      <a:pt x="1820" y="1737"/>
                    </a:lnTo>
                    <a:lnTo>
                      <a:pt x="1883" y="1737"/>
                    </a:lnTo>
                    <a:lnTo>
                      <a:pt x="1883" y="1758"/>
                    </a:lnTo>
                    <a:lnTo>
                      <a:pt x="1925" y="1758"/>
                    </a:lnTo>
                    <a:lnTo>
                      <a:pt x="1988" y="1863"/>
                    </a:lnTo>
                    <a:lnTo>
                      <a:pt x="2051" y="1946"/>
                    </a:lnTo>
                    <a:lnTo>
                      <a:pt x="2009" y="1988"/>
                    </a:lnTo>
                    <a:lnTo>
                      <a:pt x="2030" y="2051"/>
                    </a:lnTo>
                    <a:lnTo>
                      <a:pt x="2155" y="2135"/>
                    </a:lnTo>
                    <a:lnTo>
                      <a:pt x="1988" y="2260"/>
                    </a:lnTo>
                    <a:lnTo>
                      <a:pt x="2155" y="2470"/>
                    </a:lnTo>
                    <a:lnTo>
                      <a:pt x="2260" y="2511"/>
                    </a:lnTo>
                    <a:lnTo>
                      <a:pt x="2302" y="2574"/>
                    </a:lnTo>
                    <a:lnTo>
                      <a:pt x="2406" y="2595"/>
                    </a:lnTo>
                    <a:lnTo>
                      <a:pt x="2448" y="2574"/>
                    </a:lnTo>
                    <a:lnTo>
                      <a:pt x="2448" y="2365"/>
                    </a:lnTo>
                    <a:lnTo>
                      <a:pt x="2427" y="2302"/>
                    </a:lnTo>
                    <a:lnTo>
                      <a:pt x="2427" y="2198"/>
                    </a:lnTo>
                    <a:lnTo>
                      <a:pt x="2406" y="2072"/>
                    </a:lnTo>
                    <a:lnTo>
                      <a:pt x="2427" y="1967"/>
                    </a:lnTo>
                    <a:lnTo>
                      <a:pt x="2469" y="1946"/>
                    </a:lnTo>
                    <a:lnTo>
                      <a:pt x="2553" y="2030"/>
                    </a:lnTo>
                    <a:lnTo>
                      <a:pt x="2511" y="2135"/>
                    </a:lnTo>
                    <a:lnTo>
                      <a:pt x="2553" y="2198"/>
                    </a:lnTo>
                    <a:lnTo>
                      <a:pt x="2574" y="2135"/>
                    </a:lnTo>
                    <a:lnTo>
                      <a:pt x="2574" y="1946"/>
                    </a:lnTo>
                    <a:lnTo>
                      <a:pt x="2636" y="1884"/>
                    </a:lnTo>
                    <a:lnTo>
                      <a:pt x="2636" y="1779"/>
                    </a:lnTo>
                    <a:lnTo>
                      <a:pt x="2574" y="1737"/>
                    </a:lnTo>
                    <a:lnTo>
                      <a:pt x="2616" y="1633"/>
                    </a:lnTo>
                    <a:lnTo>
                      <a:pt x="2657" y="1549"/>
                    </a:lnTo>
                    <a:lnTo>
                      <a:pt x="2636" y="1444"/>
                    </a:lnTo>
                    <a:lnTo>
                      <a:pt x="2636" y="1298"/>
                    </a:lnTo>
                    <a:lnTo>
                      <a:pt x="2783" y="1151"/>
                    </a:lnTo>
                    <a:lnTo>
                      <a:pt x="2950" y="1130"/>
                    </a:lnTo>
                    <a:lnTo>
                      <a:pt x="3034" y="1089"/>
                    </a:lnTo>
                    <a:lnTo>
                      <a:pt x="3139" y="1089"/>
                    </a:lnTo>
                    <a:lnTo>
                      <a:pt x="3034" y="984"/>
                    </a:lnTo>
                    <a:lnTo>
                      <a:pt x="2888" y="900"/>
                    </a:lnTo>
                    <a:lnTo>
                      <a:pt x="2741" y="921"/>
                    </a:lnTo>
                    <a:lnTo>
                      <a:pt x="2616" y="817"/>
                    </a:lnTo>
                    <a:lnTo>
                      <a:pt x="2574" y="712"/>
                    </a:lnTo>
                    <a:lnTo>
                      <a:pt x="2406" y="586"/>
                    </a:lnTo>
                    <a:lnTo>
                      <a:pt x="2323" y="419"/>
                    </a:lnTo>
                    <a:lnTo>
                      <a:pt x="2323" y="314"/>
                    </a:lnTo>
                    <a:lnTo>
                      <a:pt x="2134" y="84"/>
                    </a:lnTo>
                    <a:lnTo>
                      <a:pt x="200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4" name="Google Shape;12031;p43">
              <a:extLst>
                <a:ext uri="{FF2B5EF4-FFF2-40B4-BE49-F238E27FC236}">
                  <a16:creationId xmlns:a16="http://schemas.microsoft.com/office/drawing/2014/main" id="{1ECB4811-A359-5F44-FC04-7B2E7C22A4CF}"/>
                </a:ext>
              </a:extLst>
            </p:cNvPr>
            <p:cNvGrpSpPr/>
            <p:nvPr/>
          </p:nvGrpSpPr>
          <p:grpSpPr>
            <a:xfrm>
              <a:off x="3894606" y="2334874"/>
              <a:ext cx="913198" cy="518984"/>
              <a:chOff x="4000175" y="1462675"/>
              <a:chExt cx="1917275" cy="1140875"/>
            </a:xfrm>
          </p:grpSpPr>
          <p:sp>
            <p:nvSpPr>
              <p:cNvPr id="271" name="Google Shape;12032;p43">
                <a:extLst>
                  <a:ext uri="{FF2B5EF4-FFF2-40B4-BE49-F238E27FC236}">
                    <a16:creationId xmlns:a16="http://schemas.microsoft.com/office/drawing/2014/main" id="{A94A220C-D36C-A625-C184-616912A36B74}"/>
                  </a:ext>
                </a:extLst>
              </p:cNvPr>
              <p:cNvSpPr/>
              <p:nvPr/>
            </p:nvSpPr>
            <p:spPr>
              <a:xfrm>
                <a:off x="4178050" y="2433300"/>
                <a:ext cx="60250" cy="65175"/>
              </a:xfrm>
              <a:custGeom>
                <a:avLst/>
                <a:gdLst/>
                <a:ahLst/>
                <a:cxnLst/>
                <a:rect l="l" t="t" r="r" b="b"/>
                <a:pathLst>
                  <a:path w="2410" h="2607" extrusionOk="0">
                    <a:moveTo>
                      <a:pt x="639" y="2410"/>
                    </a:moveTo>
                    <a:lnTo>
                      <a:pt x="1180" y="2607"/>
                    </a:lnTo>
                    <a:lnTo>
                      <a:pt x="2410" y="2017"/>
                    </a:lnTo>
                    <a:lnTo>
                      <a:pt x="2262" y="0"/>
                    </a:lnTo>
                    <a:lnTo>
                      <a:pt x="541" y="0"/>
                    </a:lnTo>
                    <a:lnTo>
                      <a:pt x="0" y="177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272" name="Google Shape;12033;p43">
                <a:extLst>
                  <a:ext uri="{FF2B5EF4-FFF2-40B4-BE49-F238E27FC236}">
                    <a16:creationId xmlns:a16="http://schemas.microsoft.com/office/drawing/2014/main" id="{2BD716CA-5269-FEB7-4922-6FE840A26A24}"/>
                  </a:ext>
                </a:extLst>
              </p:cNvPr>
              <p:cNvGrpSpPr/>
              <p:nvPr/>
            </p:nvGrpSpPr>
            <p:grpSpPr>
              <a:xfrm>
                <a:off x="4000175" y="1462675"/>
                <a:ext cx="1917275" cy="1140875"/>
                <a:chOff x="4000175" y="1462675"/>
                <a:chExt cx="1917275" cy="1140875"/>
              </a:xfrm>
            </p:grpSpPr>
            <p:sp>
              <p:nvSpPr>
                <p:cNvPr id="273" name="Google Shape;12034;p43">
                  <a:extLst>
                    <a:ext uri="{FF2B5EF4-FFF2-40B4-BE49-F238E27FC236}">
                      <a16:creationId xmlns:a16="http://schemas.microsoft.com/office/drawing/2014/main" id="{3831C9CD-5DF7-D6F4-B3E1-3A3EA1896D73}"/>
                    </a:ext>
                  </a:extLst>
                </p:cNvPr>
                <p:cNvSpPr/>
                <p:nvPr/>
              </p:nvSpPr>
              <p:spPr>
                <a:xfrm>
                  <a:off x="4000175" y="2000075"/>
                  <a:ext cx="1545875" cy="51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835" h="20400" extrusionOk="0">
                      <a:moveTo>
                        <a:pt x="1594" y="319"/>
                      </a:moveTo>
                      <a:lnTo>
                        <a:pt x="106" y="0"/>
                      </a:lnTo>
                      <a:lnTo>
                        <a:pt x="0" y="2444"/>
                      </a:lnTo>
                      <a:lnTo>
                        <a:pt x="1062" y="9031"/>
                      </a:lnTo>
                      <a:lnTo>
                        <a:pt x="3931" y="9775"/>
                      </a:lnTo>
                      <a:lnTo>
                        <a:pt x="2125" y="10200"/>
                      </a:lnTo>
                      <a:lnTo>
                        <a:pt x="531" y="10413"/>
                      </a:lnTo>
                      <a:lnTo>
                        <a:pt x="1487" y="13600"/>
                      </a:lnTo>
                      <a:lnTo>
                        <a:pt x="3931" y="17212"/>
                      </a:lnTo>
                      <a:lnTo>
                        <a:pt x="8393" y="18594"/>
                      </a:lnTo>
                      <a:lnTo>
                        <a:pt x="9987" y="18169"/>
                      </a:lnTo>
                      <a:lnTo>
                        <a:pt x="13281" y="20400"/>
                      </a:lnTo>
                      <a:lnTo>
                        <a:pt x="14343" y="18912"/>
                      </a:lnTo>
                      <a:lnTo>
                        <a:pt x="28793" y="17319"/>
                      </a:lnTo>
                      <a:lnTo>
                        <a:pt x="35699" y="16894"/>
                      </a:lnTo>
                      <a:lnTo>
                        <a:pt x="48342" y="16894"/>
                      </a:lnTo>
                      <a:lnTo>
                        <a:pt x="49617" y="15194"/>
                      </a:lnTo>
                      <a:lnTo>
                        <a:pt x="59285" y="20294"/>
                      </a:lnTo>
                      <a:lnTo>
                        <a:pt x="60135" y="19231"/>
                      </a:lnTo>
                      <a:lnTo>
                        <a:pt x="61835" y="18487"/>
                      </a:lnTo>
                      <a:lnTo>
                        <a:pt x="61092" y="13494"/>
                      </a:lnTo>
                      <a:lnTo>
                        <a:pt x="46323" y="3188"/>
                      </a:lnTo>
                      <a:lnTo>
                        <a:pt x="12962" y="10413"/>
                      </a:lnTo>
                      <a:lnTo>
                        <a:pt x="4569" y="7013"/>
                      </a:lnTo>
                      <a:lnTo>
                        <a:pt x="2444" y="3507"/>
                      </a:lnTo>
                      <a:lnTo>
                        <a:pt x="2019" y="1807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</p:sp>
            <p:sp>
              <p:nvSpPr>
                <p:cNvPr id="274" name="Google Shape;12035;p43">
                  <a:extLst>
                    <a:ext uri="{FF2B5EF4-FFF2-40B4-BE49-F238E27FC236}">
                      <a16:creationId xmlns:a16="http://schemas.microsoft.com/office/drawing/2014/main" id="{46008737-D4B0-DF2A-07A9-C151CFF89AD6}"/>
                    </a:ext>
                  </a:extLst>
                </p:cNvPr>
                <p:cNvSpPr/>
                <p:nvPr/>
              </p:nvSpPr>
              <p:spPr>
                <a:xfrm>
                  <a:off x="4624175" y="1521775"/>
                  <a:ext cx="58100" cy="73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24" h="2951" extrusionOk="0">
                      <a:moveTo>
                        <a:pt x="210" y="1"/>
                      </a:moveTo>
                      <a:lnTo>
                        <a:pt x="126" y="84"/>
                      </a:lnTo>
                      <a:lnTo>
                        <a:pt x="147" y="189"/>
                      </a:lnTo>
                      <a:lnTo>
                        <a:pt x="252" y="252"/>
                      </a:lnTo>
                      <a:lnTo>
                        <a:pt x="335" y="356"/>
                      </a:lnTo>
                      <a:lnTo>
                        <a:pt x="273" y="419"/>
                      </a:lnTo>
                      <a:lnTo>
                        <a:pt x="210" y="419"/>
                      </a:lnTo>
                      <a:lnTo>
                        <a:pt x="147" y="335"/>
                      </a:lnTo>
                      <a:lnTo>
                        <a:pt x="63" y="293"/>
                      </a:lnTo>
                      <a:lnTo>
                        <a:pt x="22" y="293"/>
                      </a:lnTo>
                      <a:lnTo>
                        <a:pt x="42" y="356"/>
                      </a:lnTo>
                      <a:lnTo>
                        <a:pt x="22" y="545"/>
                      </a:lnTo>
                      <a:lnTo>
                        <a:pt x="1" y="565"/>
                      </a:lnTo>
                      <a:lnTo>
                        <a:pt x="1" y="712"/>
                      </a:lnTo>
                      <a:lnTo>
                        <a:pt x="42" y="754"/>
                      </a:lnTo>
                      <a:lnTo>
                        <a:pt x="126" y="775"/>
                      </a:lnTo>
                      <a:lnTo>
                        <a:pt x="189" y="858"/>
                      </a:lnTo>
                      <a:lnTo>
                        <a:pt x="147" y="963"/>
                      </a:lnTo>
                      <a:lnTo>
                        <a:pt x="294" y="1256"/>
                      </a:lnTo>
                      <a:lnTo>
                        <a:pt x="356" y="1340"/>
                      </a:lnTo>
                      <a:lnTo>
                        <a:pt x="461" y="1340"/>
                      </a:lnTo>
                      <a:lnTo>
                        <a:pt x="398" y="1402"/>
                      </a:lnTo>
                      <a:lnTo>
                        <a:pt x="294" y="1444"/>
                      </a:lnTo>
                      <a:lnTo>
                        <a:pt x="231" y="1612"/>
                      </a:lnTo>
                      <a:lnTo>
                        <a:pt x="335" y="1821"/>
                      </a:lnTo>
                      <a:lnTo>
                        <a:pt x="398" y="1988"/>
                      </a:lnTo>
                      <a:lnTo>
                        <a:pt x="398" y="2114"/>
                      </a:lnTo>
                      <a:lnTo>
                        <a:pt x="440" y="2177"/>
                      </a:lnTo>
                      <a:lnTo>
                        <a:pt x="461" y="2281"/>
                      </a:lnTo>
                      <a:lnTo>
                        <a:pt x="419" y="2323"/>
                      </a:lnTo>
                      <a:lnTo>
                        <a:pt x="503" y="2511"/>
                      </a:lnTo>
                      <a:lnTo>
                        <a:pt x="545" y="2679"/>
                      </a:lnTo>
                      <a:lnTo>
                        <a:pt x="649" y="2762"/>
                      </a:lnTo>
                      <a:lnTo>
                        <a:pt x="649" y="2867"/>
                      </a:lnTo>
                      <a:lnTo>
                        <a:pt x="733" y="2951"/>
                      </a:lnTo>
                      <a:lnTo>
                        <a:pt x="879" y="2909"/>
                      </a:lnTo>
                      <a:lnTo>
                        <a:pt x="963" y="2742"/>
                      </a:lnTo>
                      <a:lnTo>
                        <a:pt x="1089" y="2553"/>
                      </a:lnTo>
                      <a:lnTo>
                        <a:pt x="1172" y="2511"/>
                      </a:lnTo>
                      <a:lnTo>
                        <a:pt x="1151" y="2428"/>
                      </a:lnTo>
                      <a:lnTo>
                        <a:pt x="1172" y="2323"/>
                      </a:lnTo>
                      <a:lnTo>
                        <a:pt x="1423" y="2135"/>
                      </a:lnTo>
                      <a:lnTo>
                        <a:pt x="1528" y="2114"/>
                      </a:lnTo>
                      <a:lnTo>
                        <a:pt x="1612" y="2177"/>
                      </a:lnTo>
                      <a:lnTo>
                        <a:pt x="1695" y="2177"/>
                      </a:lnTo>
                      <a:lnTo>
                        <a:pt x="1737" y="2072"/>
                      </a:lnTo>
                      <a:lnTo>
                        <a:pt x="1800" y="1988"/>
                      </a:lnTo>
                      <a:lnTo>
                        <a:pt x="1926" y="1926"/>
                      </a:lnTo>
                      <a:lnTo>
                        <a:pt x="2114" y="1779"/>
                      </a:lnTo>
                      <a:lnTo>
                        <a:pt x="2135" y="1674"/>
                      </a:lnTo>
                      <a:lnTo>
                        <a:pt x="2219" y="1612"/>
                      </a:lnTo>
                      <a:lnTo>
                        <a:pt x="2323" y="1382"/>
                      </a:lnTo>
                      <a:lnTo>
                        <a:pt x="2302" y="1256"/>
                      </a:lnTo>
                      <a:lnTo>
                        <a:pt x="2135" y="1068"/>
                      </a:lnTo>
                      <a:lnTo>
                        <a:pt x="2051" y="942"/>
                      </a:lnTo>
                      <a:lnTo>
                        <a:pt x="2051" y="837"/>
                      </a:lnTo>
                      <a:lnTo>
                        <a:pt x="1884" y="712"/>
                      </a:lnTo>
                      <a:lnTo>
                        <a:pt x="1779" y="712"/>
                      </a:lnTo>
                      <a:lnTo>
                        <a:pt x="1716" y="733"/>
                      </a:lnTo>
                      <a:lnTo>
                        <a:pt x="1633" y="670"/>
                      </a:lnTo>
                      <a:lnTo>
                        <a:pt x="1507" y="628"/>
                      </a:lnTo>
                      <a:lnTo>
                        <a:pt x="1382" y="503"/>
                      </a:lnTo>
                      <a:lnTo>
                        <a:pt x="1319" y="461"/>
                      </a:lnTo>
                      <a:lnTo>
                        <a:pt x="1298" y="524"/>
                      </a:lnTo>
                      <a:lnTo>
                        <a:pt x="1214" y="503"/>
                      </a:lnTo>
                      <a:lnTo>
                        <a:pt x="1193" y="419"/>
                      </a:lnTo>
                      <a:lnTo>
                        <a:pt x="1110" y="314"/>
                      </a:lnTo>
                      <a:lnTo>
                        <a:pt x="1047" y="314"/>
                      </a:lnTo>
                      <a:lnTo>
                        <a:pt x="1005" y="419"/>
                      </a:lnTo>
                      <a:lnTo>
                        <a:pt x="963" y="419"/>
                      </a:lnTo>
                      <a:lnTo>
                        <a:pt x="858" y="252"/>
                      </a:lnTo>
                      <a:lnTo>
                        <a:pt x="775" y="210"/>
                      </a:lnTo>
                      <a:lnTo>
                        <a:pt x="775" y="252"/>
                      </a:lnTo>
                      <a:lnTo>
                        <a:pt x="858" y="356"/>
                      </a:lnTo>
                      <a:lnTo>
                        <a:pt x="858" y="440"/>
                      </a:lnTo>
                      <a:lnTo>
                        <a:pt x="775" y="503"/>
                      </a:lnTo>
                      <a:lnTo>
                        <a:pt x="775" y="607"/>
                      </a:lnTo>
                      <a:lnTo>
                        <a:pt x="733" y="607"/>
                      </a:lnTo>
                      <a:lnTo>
                        <a:pt x="670" y="524"/>
                      </a:lnTo>
                      <a:lnTo>
                        <a:pt x="649" y="147"/>
                      </a:lnTo>
                      <a:lnTo>
                        <a:pt x="545" y="105"/>
                      </a:lnTo>
                      <a:lnTo>
                        <a:pt x="440" y="84"/>
                      </a:lnTo>
                      <a:lnTo>
                        <a:pt x="273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5" name="Google Shape;12036;p43">
                  <a:extLst>
                    <a:ext uri="{FF2B5EF4-FFF2-40B4-BE49-F238E27FC236}">
                      <a16:creationId xmlns:a16="http://schemas.microsoft.com/office/drawing/2014/main" id="{06DC9715-60DE-95B5-0DCF-B0E5A1642F19}"/>
                    </a:ext>
                  </a:extLst>
                </p:cNvPr>
                <p:cNvSpPr/>
                <p:nvPr/>
              </p:nvSpPr>
              <p:spPr>
                <a:xfrm>
                  <a:off x="4499150" y="1462675"/>
                  <a:ext cx="117200" cy="104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688" h="4164" extrusionOk="0">
                      <a:moveTo>
                        <a:pt x="398" y="0"/>
                      </a:moveTo>
                      <a:lnTo>
                        <a:pt x="357" y="63"/>
                      </a:lnTo>
                      <a:lnTo>
                        <a:pt x="336" y="168"/>
                      </a:lnTo>
                      <a:lnTo>
                        <a:pt x="357" y="251"/>
                      </a:lnTo>
                      <a:lnTo>
                        <a:pt x="357" y="398"/>
                      </a:lnTo>
                      <a:lnTo>
                        <a:pt x="252" y="523"/>
                      </a:lnTo>
                      <a:lnTo>
                        <a:pt x="147" y="712"/>
                      </a:lnTo>
                      <a:lnTo>
                        <a:pt x="22" y="879"/>
                      </a:lnTo>
                      <a:lnTo>
                        <a:pt x="1" y="984"/>
                      </a:lnTo>
                      <a:lnTo>
                        <a:pt x="22" y="1423"/>
                      </a:lnTo>
                      <a:lnTo>
                        <a:pt x="105" y="1507"/>
                      </a:lnTo>
                      <a:lnTo>
                        <a:pt x="210" y="1549"/>
                      </a:lnTo>
                      <a:lnTo>
                        <a:pt x="231" y="1653"/>
                      </a:lnTo>
                      <a:lnTo>
                        <a:pt x="189" y="1967"/>
                      </a:lnTo>
                      <a:lnTo>
                        <a:pt x="126" y="2093"/>
                      </a:lnTo>
                      <a:lnTo>
                        <a:pt x="105" y="2197"/>
                      </a:lnTo>
                      <a:lnTo>
                        <a:pt x="126" y="2281"/>
                      </a:lnTo>
                      <a:lnTo>
                        <a:pt x="189" y="2260"/>
                      </a:lnTo>
                      <a:lnTo>
                        <a:pt x="273" y="2155"/>
                      </a:lnTo>
                      <a:lnTo>
                        <a:pt x="419" y="2093"/>
                      </a:lnTo>
                      <a:lnTo>
                        <a:pt x="482" y="2155"/>
                      </a:lnTo>
                      <a:lnTo>
                        <a:pt x="503" y="2260"/>
                      </a:lnTo>
                      <a:lnTo>
                        <a:pt x="650" y="2385"/>
                      </a:lnTo>
                      <a:lnTo>
                        <a:pt x="754" y="2385"/>
                      </a:lnTo>
                      <a:lnTo>
                        <a:pt x="817" y="2344"/>
                      </a:lnTo>
                      <a:lnTo>
                        <a:pt x="901" y="2365"/>
                      </a:lnTo>
                      <a:cubicBezTo>
                        <a:pt x="859" y="2448"/>
                        <a:pt x="859" y="2511"/>
                        <a:pt x="859" y="2595"/>
                      </a:cubicBezTo>
                      <a:lnTo>
                        <a:pt x="838" y="2595"/>
                      </a:lnTo>
                      <a:lnTo>
                        <a:pt x="733" y="2657"/>
                      </a:lnTo>
                      <a:lnTo>
                        <a:pt x="629" y="2595"/>
                      </a:lnTo>
                      <a:lnTo>
                        <a:pt x="545" y="2595"/>
                      </a:lnTo>
                      <a:lnTo>
                        <a:pt x="440" y="2678"/>
                      </a:lnTo>
                      <a:lnTo>
                        <a:pt x="315" y="2678"/>
                      </a:lnTo>
                      <a:lnTo>
                        <a:pt x="294" y="2699"/>
                      </a:lnTo>
                      <a:lnTo>
                        <a:pt x="336" y="2783"/>
                      </a:lnTo>
                      <a:lnTo>
                        <a:pt x="482" y="2804"/>
                      </a:lnTo>
                      <a:lnTo>
                        <a:pt x="524" y="2909"/>
                      </a:lnTo>
                      <a:lnTo>
                        <a:pt x="650" y="2971"/>
                      </a:lnTo>
                      <a:lnTo>
                        <a:pt x="733" y="3076"/>
                      </a:lnTo>
                      <a:lnTo>
                        <a:pt x="901" y="3118"/>
                      </a:lnTo>
                      <a:lnTo>
                        <a:pt x="1110" y="3118"/>
                      </a:lnTo>
                      <a:lnTo>
                        <a:pt x="1173" y="3139"/>
                      </a:lnTo>
                      <a:lnTo>
                        <a:pt x="1131" y="3181"/>
                      </a:lnTo>
                      <a:lnTo>
                        <a:pt x="963" y="3222"/>
                      </a:lnTo>
                      <a:lnTo>
                        <a:pt x="838" y="3222"/>
                      </a:lnTo>
                      <a:lnTo>
                        <a:pt x="838" y="3285"/>
                      </a:lnTo>
                      <a:lnTo>
                        <a:pt x="942" y="3327"/>
                      </a:lnTo>
                      <a:lnTo>
                        <a:pt x="1068" y="3327"/>
                      </a:lnTo>
                      <a:lnTo>
                        <a:pt x="1173" y="3243"/>
                      </a:lnTo>
                      <a:lnTo>
                        <a:pt x="1319" y="3139"/>
                      </a:lnTo>
                      <a:lnTo>
                        <a:pt x="1382" y="3097"/>
                      </a:lnTo>
                      <a:lnTo>
                        <a:pt x="1445" y="2929"/>
                      </a:lnTo>
                      <a:lnTo>
                        <a:pt x="1528" y="2762"/>
                      </a:lnTo>
                      <a:lnTo>
                        <a:pt x="1486" y="2678"/>
                      </a:lnTo>
                      <a:lnTo>
                        <a:pt x="1256" y="2532"/>
                      </a:lnTo>
                      <a:lnTo>
                        <a:pt x="1152" y="2511"/>
                      </a:lnTo>
                      <a:lnTo>
                        <a:pt x="1152" y="2385"/>
                      </a:lnTo>
                      <a:lnTo>
                        <a:pt x="1256" y="2406"/>
                      </a:lnTo>
                      <a:lnTo>
                        <a:pt x="1382" y="2385"/>
                      </a:lnTo>
                      <a:lnTo>
                        <a:pt x="1570" y="2281"/>
                      </a:lnTo>
                      <a:lnTo>
                        <a:pt x="1654" y="2176"/>
                      </a:lnTo>
                      <a:lnTo>
                        <a:pt x="1654" y="2072"/>
                      </a:lnTo>
                      <a:lnTo>
                        <a:pt x="1779" y="1946"/>
                      </a:lnTo>
                      <a:lnTo>
                        <a:pt x="1968" y="1800"/>
                      </a:lnTo>
                      <a:lnTo>
                        <a:pt x="2114" y="1967"/>
                      </a:lnTo>
                      <a:lnTo>
                        <a:pt x="2010" y="2009"/>
                      </a:lnTo>
                      <a:lnTo>
                        <a:pt x="1968" y="2093"/>
                      </a:lnTo>
                      <a:lnTo>
                        <a:pt x="1968" y="2176"/>
                      </a:lnTo>
                      <a:lnTo>
                        <a:pt x="1800" y="2197"/>
                      </a:lnTo>
                      <a:lnTo>
                        <a:pt x="1696" y="2281"/>
                      </a:lnTo>
                      <a:lnTo>
                        <a:pt x="1654" y="2469"/>
                      </a:lnTo>
                      <a:lnTo>
                        <a:pt x="1654" y="2574"/>
                      </a:lnTo>
                      <a:lnTo>
                        <a:pt x="1758" y="2637"/>
                      </a:lnTo>
                      <a:lnTo>
                        <a:pt x="1821" y="2637"/>
                      </a:lnTo>
                      <a:lnTo>
                        <a:pt x="1884" y="2720"/>
                      </a:lnTo>
                      <a:lnTo>
                        <a:pt x="1758" y="2867"/>
                      </a:lnTo>
                      <a:lnTo>
                        <a:pt x="1717" y="2971"/>
                      </a:lnTo>
                      <a:lnTo>
                        <a:pt x="1779" y="3139"/>
                      </a:lnTo>
                      <a:lnTo>
                        <a:pt x="1758" y="3222"/>
                      </a:lnTo>
                      <a:lnTo>
                        <a:pt x="1570" y="3327"/>
                      </a:lnTo>
                      <a:lnTo>
                        <a:pt x="1549" y="3390"/>
                      </a:lnTo>
                      <a:lnTo>
                        <a:pt x="1675" y="3453"/>
                      </a:lnTo>
                      <a:lnTo>
                        <a:pt x="1738" y="3515"/>
                      </a:lnTo>
                      <a:lnTo>
                        <a:pt x="1779" y="3494"/>
                      </a:lnTo>
                      <a:lnTo>
                        <a:pt x="1758" y="3411"/>
                      </a:lnTo>
                      <a:lnTo>
                        <a:pt x="1779" y="3348"/>
                      </a:lnTo>
                      <a:lnTo>
                        <a:pt x="1884" y="3411"/>
                      </a:lnTo>
                      <a:lnTo>
                        <a:pt x="1989" y="3494"/>
                      </a:lnTo>
                      <a:lnTo>
                        <a:pt x="2093" y="3432"/>
                      </a:lnTo>
                      <a:lnTo>
                        <a:pt x="2177" y="3432"/>
                      </a:lnTo>
                      <a:lnTo>
                        <a:pt x="2240" y="3536"/>
                      </a:lnTo>
                      <a:lnTo>
                        <a:pt x="2323" y="3746"/>
                      </a:lnTo>
                      <a:lnTo>
                        <a:pt x="2407" y="3829"/>
                      </a:lnTo>
                      <a:lnTo>
                        <a:pt x="2533" y="3850"/>
                      </a:lnTo>
                      <a:lnTo>
                        <a:pt x="2658" y="3934"/>
                      </a:lnTo>
                      <a:lnTo>
                        <a:pt x="2763" y="3955"/>
                      </a:lnTo>
                      <a:lnTo>
                        <a:pt x="2909" y="3871"/>
                      </a:lnTo>
                      <a:lnTo>
                        <a:pt x="3056" y="3829"/>
                      </a:lnTo>
                      <a:lnTo>
                        <a:pt x="3139" y="3871"/>
                      </a:lnTo>
                      <a:lnTo>
                        <a:pt x="3286" y="3955"/>
                      </a:lnTo>
                      <a:lnTo>
                        <a:pt x="3579" y="3976"/>
                      </a:lnTo>
                      <a:lnTo>
                        <a:pt x="3683" y="3955"/>
                      </a:lnTo>
                      <a:lnTo>
                        <a:pt x="3767" y="3976"/>
                      </a:lnTo>
                      <a:lnTo>
                        <a:pt x="3872" y="3976"/>
                      </a:lnTo>
                      <a:lnTo>
                        <a:pt x="3955" y="4059"/>
                      </a:lnTo>
                      <a:lnTo>
                        <a:pt x="4060" y="4164"/>
                      </a:lnTo>
                      <a:lnTo>
                        <a:pt x="4165" y="4164"/>
                      </a:lnTo>
                      <a:lnTo>
                        <a:pt x="4269" y="4080"/>
                      </a:lnTo>
                      <a:lnTo>
                        <a:pt x="4395" y="3955"/>
                      </a:lnTo>
                      <a:lnTo>
                        <a:pt x="4541" y="3913"/>
                      </a:lnTo>
                      <a:lnTo>
                        <a:pt x="4688" y="3725"/>
                      </a:lnTo>
                      <a:lnTo>
                        <a:pt x="4688" y="3620"/>
                      </a:lnTo>
                      <a:lnTo>
                        <a:pt x="4541" y="3453"/>
                      </a:lnTo>
                      <a:lnTo>
                        <a:pt x="4479" y="3432"/>
                      </a:lnTo>
                      <a:lnTo>
                        <a:pt x="4332" y="3285"/>
                      </a:lnTo>
                      <a:lnTo>
                        <a:pt x="4186" y="3243"/>
                      </a:lnTo>
                      <a:lnTo>
                        <a:pt x="4060" y="3181"/>
                      </a:lnTo>
                      <a:lnTo>
                        <a:pt x="4018" y="3034"/>
                      </a:lnTo>
                      <a:lnTo>
                        <a:pt x="4102" y="3034"/>
                      </a:lnTo>
                      <a:lnTo>
                        <a:pt x="4186" y="3097"/>
                      </a:lnTo>
                      <a:lnTo>
                        <a:pt x="4290" y="3097"/>
                      </a:lnTo>
                      <a:lnTo>
                        <a:pt x="4290" y="3013"/>
                      </a:lnTo>
                      <a:lnTo>
                        <a:pt x="4165" y="2825"/>
                      </a:lnTo>
                      <a:lnTo>
                        <a:pt x="3976" y="2657"/>
                      </a:lnTo>
                      <a:lnTo>
                        <a:pt x="3976" y="2490"/>
                      </a:lnTo>
                      <a:lnTo>
                        <a:pt x="3955" y="2344"/>
                      </a:lnTo>
                      <a:lnTo>
                        <a:pt x="3851" y="2281"/>
                      </a:lnTo>
                      <a:lnTo>
                        <a:pt x="3851" y="2155"/>
                      </a:lnTo>
                      <a:lnTo>
                        <a:pt x="3788" y="2093"/>
                      </a:lnTo>
                      <a:lnTo>
                        <a:pt x="3746" y="2093"/>
                      </a:lnTo>
                      <a:lnTo>
                        <a:pt x="3370" y="1821"/>
                      </a:lnTo>
                      <a:lnTo>
                        <a:pt x="3160" y="1779"/>
                      </a:lnTo>
                      <a:lnTo>
                        <a:pt x="2972" y="1821"/>
                      </a:lnTo>
                      <a:lnTo>
                        <a:pt x="2951" y="1883"/>
                      </a:lnTo>
                      <a:lnTo>
                        <a:pt x="2972" y="1967"/>
                      </a:lnTo>
                      <a:lnTo>
                        <a:pt x="3139" y="2155"/>
                      </a:lnTo>
                      <a:lnTo>
                        <a:pt x="3139" y="2239"/>
                      </a:lnTo>
                      <a:lnTo>
                        <a:pt x="3077" y="2344"/>
                      </a:lnTo>
                      <a:lnTo>
                        <a:pt x="3077" y="2448"/>
                      </a:lnTo>
                      <a:lnTo>
                        <a:pt x="3056" y="2574"/>
                      </a:lnTo>
                      <a:lnTo>
                        <a:pt x="2972" y="2720"/>
                      </a:lnTo>
                      <a:lnTo>
                        <a:pt x="2930" y="2783"/>
                      </a:lnTo>
                      <a:lnTo>
                        <a:pt x="2909" y="2699"/>
                      </a:lnTo>
                      <a:lnTo>
                        <a:pt x="2951" y="2595"/>
                      </a:lnTo>
                      <a:lnTo>
                        <a:pt x="2972" y="2490"/>
                      </a:lnTo>
                      <a:lnTo>
                        <a:pt x="2930" y="2448"/>
                      </a:lnTo>
                      <a:lnTo>
                        <a:pt x="2972" y="2260"/>
                      </a:lnTo>
                      <a:lnTo>
                        <a:pt x="2930" y="2155"/>
                      </a:lnTo>
                      <a:lnTo>
                        <a:pt x="2742" y="1883"/>
                      </a:lnTo>
                      <a:lnTo>
                        <a:pt x="2595" y="1779"/>
                      </a:lnTo>
                      <a:lnTo>
                        <a:pt x="2386" y="1758"/>
                      </a:lnTo>
                      <a:lnTo>
                        <a:pt x="2323" y="1779"/>
                      </a:lnTo>
                      <a:lnTo>
                        <a:pt x="2282" y="1925"/>
                      </a:lnTo>
                      <a:lnTo>
                        <a:pt x="2240" y="1946"/>
                      </a:lnTo>
                      <a:cubicBezTo>
                        <a:pt x="2198" y="1883"/>
                        <a:pt x="2114" y="1841"/>
                        <a:pt x="2072" y="1821"/>
                      </a:cubicBezTo>
                      <a:lnTo>
                        <a:pt x="2114" y="1779"/>
                      </a:lnTo>
                      <a:lnTo>
                        <a:pt x="2177" y="1674"/>
                      </a:lnTo>
                      <a:lnTo>
                        <a:pt x="2177" y="1549"/>
                      </a:lnTo>
                      <a:lnTo>
                        <a:pt x="1989" y="1444"/>
                      </a:lnTo>
                      <a:lnTo>
                        <a:pt x="1800" y="1297"/>
                      </a:lnTo>
                      <a:lnTo>
                        <a:pt x="1696" y="1109"/>
                      </a:lnTo>
                      <a:lnTo>
                        <a:pt x="1696" y="984"/>
                      </a:lnTo>
                      <a:lnTo>
                        <a:pt x="1758" y="837"/>
                      </a:lnTo>
                      <a:lnTo>
                        <a:pt x="1758" y="733"/>
                      </a:lnTo>
                      <a:lnTo>
                        <a:pt x="1696" y="712"/>
                      </a:lnTo>
                      <a:lnTo>
                        <a:pt x="1403" y="712"/>
                      </a:lnTo>
                      <a:lnTo>
                        <a:pt x="1194" y="628"/>
                      </a:lnTo>
                      <a:lnTo>
                        <a:pt x="1047" y="523"/>
                      </a:lnTo>
                      <a:lnTo>
                        <a:pt x="817" y="251"/>
                      </a:lnTo>
                      <a:lnTo>
                        <a:pt x="650" y="105"/>
                      </a:lnTo>
                      <a:lnTo>
                        <a:pt x="461" y="0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6" name="Google Shape;12037;p43">
                  <a:extLst>
                    <a:ext uri="{FF2B5EF4-FFF2-40B4-BE49-F238E27FC236}">
                      <a16:creationId xmlns:a16="http://schemas.microsoft.com/office/drawing/2014/main" id="{3C241EBE-9DC9-8DC3-06EC-233EF8BC88F7}"/>
                    </a:ext>
                  </a:extLst>
                </p:cNvPr>
                <p:cNvSpPr/>
                <p:nvPr/>
              </p:nvSpPr>
              <p:spPr>
                <a:xfrm>
                  <a:off x="4241800" y="1706950"/>
                  <a:ext cx="130800" cy="246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232" h="9856" extrusionOk="0">
                      <a:moveTo>
                        <a:pt x="4750" y="1"/>
                      </a:moveTo>
                      <a:lnTo>
                        <a:pt x="4625" y="63"/>
                      </a:lnTo>
                      <a:lnTo>
                        <a:pt x="4604" y="126"/>
                      </a:lnTo>
                      <a:lnTo>
                        <a:pt x="4520" y="105"/>
                      </a:lnTo>
                      <a:lnTo>
                        <a:pt x="4436" y="42"/>
                      </a:lnTo>
                      <a:lnTo>
                        <a:pt x="4332" y="63"/>
                      </a:lnTo>
                      <a:lnTo>
                        <a:pt x="4206" y="168"/>
                      </a:lnTo>
                      <a:lnTo>
                        <a:pt x="4185" y="273"/>
                      </a:lnTo>
                      <a:lnTo>
                        <a:pt x="4101" y="335"/>
                      </a:lnTo>
                      <a:lnTo>
                        <a:pt x="4018" y="356"/>
                      </a:lnTo>
                      <a:lnTo>
                        <a:pt x="3934" y="440"/>
                      </a:lnTo>
                      <a:lnTo>
                        <a:pt x="3934" y="524"/>
                      </a:lnTo>
                      <a:lnTo>
                        <a:pt x="3871" y="628"/>
                      </a:lnTo>
                      <a:lnTo>
                        <a:pt x="3871" y="670"/>
                      </a:lnTo>
                      <a:lnTo>
                        <a:pt x="3934" y="775"/>
                      </a:lnTo>
                      <a:lnTo>
                        <a:pt x="3934" y="858"/>
                      </a:lnTo>
                      <a:lnTo>
                        <a:pt x="3829" y="858"/>
                      </a:lnTo>
                      <a:lnTo>
                        <a:pt x="3788" y="900"/>
                      </a:lnTo>
                      <a:lnTo>
                        <a:pt x="3788" y="984"/>
                      </a:lnTo>
                      <a:lnTo>
                        <a:pt x="3725" y="1047"/>
                      </a:lnTo>
                      <a:lnTo>
                        <a:pt x="3662" y="1109"/>
                      </a:lnTo>
                      <a:lnTo>
                        <a:pt x="3453" y="1256"/>
                      </a:lnTo>
                      <a:lnTo>
                        <a:pt x="3369" y="1298"/>
                      </a:lnTo>
                      <a:lnTo>
                        <a:pt x="3306" y="1277"/>
                      </a:lnTo>
                      <a:lnTo>
                        <a:pt x="3202" y="1277"/>
                      </a:lnTo>
                      <a:lnTo>
                        <a:pt x="3139" y="1319"/>
                      </a:lnTo>
                      <a:lnTo>
                        <a:pt x="3034" y="1486"/>
                      </a:lnTo>
                      <a:lnTo>
                        <a:pt x="2951" y="1528"/>
                      </a:lnTo>
                      <a:lnTo>
                        <a:pt x="2888" y="1507"/>
                      </a:lnTo>
                      <a:lnTo>
                        <a:pt x="2867" y="1423"/>
                      </a:lnTo>
                      <a:lnTo>
                        <a:pt x="2825" y="1423"/>
                      </a:lnTo>
                      <a:lnTo>
                        <a:pt x="2783" y="1507"/>
                      </a:lnTo>
                      <a:lnTo>
                        <a:pt x="2825" y="1633"/>
                      </a:lnTo>
                      <a:lnTo>
                        <a:pt x="2783" y="1695"/>
                      </a:lnTo>
                      <a:lnTo>
                        <a:pt x="2762" y="1591"/>
                      </a:lnTo>
                      <a:lnTo>
                        <a:pt x="2721" y="1486"/>
                      </a:lnTo>
                      <a:lnTo>
                        <a:pt x="2532" y="1507"/>
                      </a:lnTo>
                      <a:lnTo>
                        <a:pt x="2323" y="1570"/>
                      </a:lnTo>
                      <a:lnTo>
                        <a:pt x="2260" y="1612"/>
                      </a:lnTo>
                      <a:lnTo>
                        <a:pt x="2197" y="1633"/>
                      </a:lnTo>
                      <a:lnTo>
                        <a:pt x="2156" y="1695"/>
                      </a:lnTo>
                      <a:lnTo>
                        <a:pt x="2218" y="1842"/>
                      </a:lnTo>
                      <a:lnTo>
                        <a:pt x="2260" y="1905"/>
                      </a:lnTo>
                      <a:lnTo>
                        <a:pt x="2260" y="1946"/>
                      </a:lnTo>
                      <a:lnTo>
                        <a:pt x="2218" y="1988"/>
                      </a:lnTo>
                      <a:lnTo>
                        <a:pt x="2135" y="2093"/>
                      </a:lnTo>
                      <a:lnTo>
                        <a:pt x="2093" y="2051"/>
                      </a:lnTo>
                      <a:lnTo>
                        <a:pt x="2093" y="2009"/>
                      </a:lnTo>
                      <a:lnTo>
                        <a:pt x="2135" y="1946"/>
                      </a:lnTo>
                      <a:lnTo>
                        <a:pt x="2135" y="1884"/>
                      </a:lnTo>
                      <a:lnTo>
                        <a:pt x="2051" y="1884"/>
                      </a:lnTo>
                      <a:lnTo>
                        <a:pt x="1946" y="2009"/>
                      </a:lnTo>
                      <a:lnTo>
                        <a:pt x="1884" y="2051"/>
                      </a:lnTo>
                      <a:lnTo>
                        <a:pt x="1884" y="2135"/>
                      </a:lnTo>
                      <a:lnTo>
                        <a:pt x="1946" y="2156"/>
                      </a:lnTo>
                      <a:lnTo>
                        <a:pt x="1905" y="2218"/>
                      </a:lnTo>
                      <a:lnTo>
                        <a:pt x="1842" y="2323"/>
                      </a:lnTo>
                      <a:lnTo>
                        <a:pt x="1716" y="2323"/>
                      </a:lnTo>
                      <a:lnTo>
                        <a:pt x="1632" y="2365"/>
                      </a:lnTo>
                      <a:lnTo>
                        <a:pt x="1612" y="2449"/>
                      </a:lnTo>
                      <a:lnTo>
                        <a:pt x="1507" y="2470"/>
                      </a:lnTo>
                      <a:lnTo>
                        <a:pt x="1465" y="2553"/>
                      </a:lnTo>
                      <a:lnTo>
                        <a:pt x="1423" y="2721"/>
                      </a:lnTo>
                      <a:lnTo>
                        <a:pt x="1465" y="2742"/>
                      </a:lnTo>
                      <a:lnTo>
                        <a:pt x="1528" y="2742"/>
                      </a:lnTo>
                      <a:lnTo>
                        <a:pt x="1465" y="2825"/>
                      </a:lnTo>
                      <a:lnTo>
                        <a:pt x="1277" y="2825"/>
                      </a:lnTo>
                      <a:lnTo>
                        <a:pt x="1214" y="2867"/>
                      </a:lnTo>
                      <a:lnTo>
                        <a:pt x="1193" y="3034"/>
                      </a:lnTo>
                      <a:lnTo>
                        <a:pt x="1214" y="3097"/>
                      </a:lnTo>
                      <a:lnTo>
                        <a:pt x="1277" y="3097"/>
                      </a:lnTo>
                      <a:lnTo>
                        <a:pt x="1360" y="3076"/>
                      </a:lnTo>
                      <a:lnTo>
                        <a:pt x="1381" y="3139"/>
                      </a:lnTo>
                      <a:lnTo>
                        <a:pt x="1360" y="3181"/>
                      </a:lnTo>
                      <a:lnTo>
                        <a:pt x="1360" y="3286"/>
                      </a:lnTo>
                      <a:lnTo>
                        <a:pt x="1277" y="3348"/>
                      </a:lnTo>
                      <a:lnTo>
                        <a:pt x="1193" y="3306"/>
                      </a:lnTo>
                      <a:lnTo>
                        <a:pt x="1068" y="3286"/>
                      </a:lnTo>
                      <a:lnTo>
                        <a:pt x="942" y="3348"/>
                      </a:lnTo>
                      <a:lnTo>
                        <a:pt x="900" y="3411"/>
                      </a:lnTo>
                      <a:lnTo>
                        <a:pt x="900" y="3495"/>
                      </a:lnTo>
                      <a:lnTo>
                        <a:pt x="858" y="3599"/>
                      </a:lnTo>
                      <a:lnTo>
                        <a:pt x="754" y="3683"/>
                      </a:lnTo>
                      <a:lnTo>
                        <a:pt x="670" y="3620"/>
                      </a:lnTo>
                      <a:lnTo>
                        <a:pt x="628" y="3558"/>
                      </a:lnTo>
                      <a:lnTo>
                        <a:pt x="586" y="3474"/>
                      </a:lnTo>
                      <a:lnTo>
                        <a:pt x="544" y="3495"/>
                      </a:lnTo>
                      <a:lnTo>
                        <a:pt x="524" y="3662"/>
                      </a:lnTo>
                      <a:lnTo>
                        <a:pt x="544" y="3788"/>
                      </a:lnTo>
                      <a:lnTo>
                        <a:pt x="649" y="3871"/>
                      </a:lnTo>
                      <a:lnTo>
                        <a:pt x="733" y="3830"/>
                      </a:lnTo>
                      <a:lnTo>
                        <a:pt x="754" y="3871"/>
                      </a:lnTo>
                      <a:lnTo>
                        <a:pt x="754" y="3934"/>
                      </a:lnTo>
                      <a:lnTo>
                        <a:pt x="691" y="4081"/>
                      </a:lnTo>
                      <a:lnTo>
                        <a:pt x="733" y="4122"/>
                      </a:lnTo>
                      <a:lnTo>
                        <a:pt x="796" y="4143"/>
                      </a:lnTo>
                      <a:lnTo>
                        <a:pt x="858" y="4081"/>
                      </a:lnTo>
                      <a:lnTo>
                        <a:pt x="900" y="4081"/>
                      </a:lnTo>
                      <a:lnTo>
                        <a:pt x="963" y="4102"/>
                      </a:lnTo>
                      <a:lnTo>
                        <a:pt x="1068" y="4102"/>
                      </a:lnTo>
                      <a:lnTo>
                        <a:pt x="1151" y="4039"/>
                      </a:lnTo>
                      <a:lnTo>
                        <a:pt x="1172" y="4081"/>
                      </a:lnTo>
                      <a:lnTo>
                        <a:pt x="1109" y="4143"/>
                      </a:lnTo>
                      <a:lnTo>
                        <a:pt x="1047" y="4185"/>
                      </a:lnTo>
                      <a:lnTo>
                        <a:pt x="900" y="4185"/>
                      </a:lnTo>
                      <a:lnTo>
                        <a:pt x="858" y="4248"/>
                      </a:lnTo>
                      <a:lnTo>
                        <a:pt x="775" y="4227"/>
                      </a:lnTo>
                      <a:lnTo>
                        <a:pt x="733" y="4311"/>
                      </a:lnTo>
                      <a:lnTo>
                        <a:pt x="754" y="4436"/>
                      </a:lnTo>
                      <a:lnTo>
                        <a:pt x="837" y="4499"/>
                      </a:lnTo>
                      <a:lnTo>
                        <a:pt x="900" y="4520"/>
                      </a:lnTo>
                      <a:lnTo>
                        <a:pt x="984" y="4499"/>
                      </a:lnTo>
                      <a:lnTo>
                        <a:pt x="1005" y="4520"/>
                      </a:lnTo>
                      <a:lnTo>
                        <a:pt x="984" y="4562"/>
                      </a:lnTo>
                      <a:lnTo>
                        <a:pt x="858" y="4625"/>
                      </a:lnTo>
                      <a:lnTo>
                        <a:pt x="733" y="4625"/>
                      </a:lnTo>
                      <a:lnTo>
                        <a:pt x="649" y="4666"/>
                      </a:lnTo>
                      <a:lnTo>
                        <a:pt x="649" y="4729"/>
                      </a:lnTo>
                      <a:lnTo>
                        <a:pt x="691" y="4771"/>
                      </a:lnTo>
                      <a:lnTo>
                        <a:pt x="796" y="4750"/>
                      </a:lnTo>
                      <a:lnTo>
                        <a:pt x="900" y="4750"/>
                      </a:lnTo>
                      <a:lnTo>
                        <a:pt x="900" y="4813"/>
                      </a:lnTo>
                      <a:lnTo>
                        <a:pt x="837" y="4834"/>
                      </a:lnTo>
                      <a:lnTo>
                        <a:pt x="733" y="4855"/>
                      </a:lnTo>
                      <a:lnTo>
                        <a:pt x="733" y="4897"/>
                      </a:lnTo>
                      <a:lnTo>
                        <a:pt x="754" y="4938"/>
                      </a:lnTo>
                      <a:lnTo>
                        <a:pt x="879" y="4959"/>
                      </a:lnTo>
                      <a:lnTo>
                        <a:pt x="984" y="5043"/>
                      </a:lnTo>
                      <a:lnTo>
                        <a:pt x="984" y="5085"/>
                      </a:lnTo>
                      <a:lnTo>
                        <a:pt x="858" y="5085"/>
                      </a:lnTo>
                      <a:lnTo>
                        <a:pt x="754" y="5043"/>
                      </a:lnTo>
                      <a:lnTo>
                        <a:pt x="649" y="5043"/>
                      </a:lnTo>
                      <a:lnTo>
                        <a:pt x="565" y="5085"/>
                      </a:lnTo>
                      <a:lnTo>
                        <a:pt x="544" y="5169"/>
                      </a:lnTo>
                      <a:lnTo>
                        <a:pt x="482" y="5210"/>
                      </a:lnTo>
                      <a:lnTo>
                        <a:pt x="482" y="5273"/>
                      </a:lnTo>
                      <a:lnTo>
                        <a:pt x="544" y="5315"/>
                      </a:lnTo>
                      <a:lnTo>
                        <a:pt x="524" y="5378"/>
                      </a:lnTo>
                      <a:lnTo>
                        <a:pt x="461" y="5399"/>
                      </a:lnTo>
                      <a:lnTo>
                        <a:pt x="419" y="5399"/>
                      </a:lnTo>
                      <a:lnTo>
                        <a:pt x="335" y="5483"/>
                      </a:lnTo>
                      <a:lnTo>
                        <a:pt x="314" y="5566"/>
                      </a:lnTo>
                      <a:lnTo>
                        <a:pt x="335" y="5608"/>
                      </a:lnTo>
                      <a:lnTo>
                        <a:pt x="314" y="5671"/>
                      </a:lnTo>
                      <a:lnTo>
                        <a:pt x="210" y="5692"/>
                      </a:lnTo>
                      <a:lnTo>
                        <a:pt x="210" y="5713"/>
                      </a:lnTo>
                      <a:lnTo>
                        <a:pt x="335" y="5838"/>
                      </a:lnTo>
                      <a:lnTo>
                        <a:pt x="440" y="5901"/>
                      </a:lnTo>
                      <a:lnTo>
                        <a:pt x="482" y="5880"/>
                      </a:lnTo>
                      <a:lnTo>
                        <a:pt x="524" y="5796"/>
                      </a:lnTo>
                      <a:lnTo>
                        <a:pt x="586" y="5734"/>
                      </a:lnTo>
                      <a:lnTo>
                        <a:pt x="754" y="5629"/>
                      </a:lnTo>
                      <a:lnTo>
                        <a:pt x="858" y="5587"/>
                      </a:lnTo>
                      <a:lnTo>
                        <a:pt x="858" y="5629"/>
                      </a:lnTo>
                      <a:lnTo>
                        <a:pt x="837" y="5629"/>
                      </a:lnTo>
                      <a:lnTo>
                        <a:pt x="796" y="5713"/>
                      </a:lnTo>
                      <a:lnTo>
                        <a:pt x="649" y="5817"/>
                      </a:lnTo>
                      <a:lnTo>
                        <a:pt x="586" y="5922"/>
                      </a:lnTo>
                      <a:lnTo>
                        <a:pt x="565" y="6027"/>
                      </a:lnTo>
                      <a:lnTo>
                        <a:pt x="586" y="6131"/>
                      </a:lnTo>
                      <a:lnTo>
                        <a:pt x="565" y="6194"/>
                      </a:lnTo>
                      <a:lnTo>
                        <a:pt x="565" y="6236"/>
                      </a:lnTo>
                      <a:lnTo>
                        <a:pt x="754" y="6236"/>
                      </a:lnTo>
                      <a:lnTo>
                        <a:pt x="837" y="6194"/>
                      </a:lnTo>
                      <a:lnTo>
                        <a:pt x="837" y="6257"/>
                      </a:lnTo>
                      <a:lnTo>
                        <a:pt x="775" y="6299"/>
                      </a:lnTo>
                      <a:lnTo>
                        <a:pt x="586" y="6299"/>
                      </a:lnTo>
                      <a:lnTo>
                        <a:pt x="524" y="6340"/>
                      </a:lnTo>
                      <a:lnTo>
                        <a:pt x="356" y="6445"/>
                      </a:lnTo>
                      <a:lnTo>
                        <a:pt x="356" y="6571"/>
                      </a:lnTo>
                      <a:lnTo>
                        <a:pt x="335" y="6654"/>
                      </a:lnTo>
                      <a:lnTo>
                        <a:pt x="356" y="6759"/>
                      </a:lnTo>
                      <a:lnTo>
                        <a:pt x="461" y="6759"/>
                      </a:lnTo>
                      <a:lnTo>
                        <a:pt x="524" y="6822"/>
                      </a:lnTo>
                      <a:lnTo>
                        <a:pt x="482" y="6863"/>
                      </a:lnTo>
                      <a:lnTo>
                        <a:pt x="377" y="6863"/>
                      </a:lnTo>
                      <a:lnTo>
                        <a:pt x="252" y="6884"/>
                      </a:lnTo>
                      <a:lnTo>
                        <a:pt x="147" y="7052"/>
                      </a:lnTo>
                      <a:lnTo>
                        <a:pt x="147" y="7177"/>
                      </a:lnTo>
                      <a:lnTo>
                        <a:pt x="210" y="7240"/>
                      </a:lnTo>
                      <a:lnTo>
                        <a:pt x="272" y="7198"/>
                      </a:lnTo>
                      <a:lnTo>
                        <a:pt x="440" y="7135"/>
                      </a:lnTo>
                      <a:lnTo>
                        <a:pt x="461" y="7177"/>
                      </a:lnTo>
                      <a:lnTo>
                        <a:pt x="356" y="7261"/>
                      </a:lnTo>
                      <a:lnTo>
                        <a:pt x="335" y="7366"/>
                      </a:lnTo>
                      <a:lnTo>
                        <a:pt x="377" y="7366"/>
                      </a:lnTo>
                      <a:lnTo>
                        <a:pt x="461" y="7282"/>
                      </a:lnTo>
                      <a:lnTo>
                        <a:pt x="544" y="7261"/>
                      </a:lnTo>
                      <a:lnTo>
                        <a:pt x="565" y="7303"/>
                      </a:lnTo>
                      <a:lnTo>
                        <a:pt x="482" y="7387"/>
                      </a:lnTo>
                      <a:lnTo>
                        <a:pt x="461" y="7470"/>
                      </a:lnTo>
                      <a:lnTo>
                        <a:pt x="544" y="7554"/>
                      </a:lnTo>
                      <a:lnTo>
                        <a:pt x="649" y="7554"/>
                      </a:lnTo>
                      <a:lnTo>
                        <a:pt x="565" y="7575"/>
                      </a:lnTo>
                      <a:lnTo>
                        <a:pt x="482" y="7575"/>
                      </a:lnTo>
                      <a:lnTo>
                        <a:pt x="419" y="7659"/>
                      </a:lnTo>
                      <a:lnTo>
                        <a:pt x="419" y="7721"/>
                      </a:lnTo>
                      <a:lnTo>
                        <a:pt x="461" y="7826"/>
                      </a:lnTo>
                      <a:lnTo>
                        <a:pt x="419" y="7889"/>
                      </a:lnTo>
                      <a:lnTo>
                        <a:pt x="356" y="7868"/>
                      </a:lnTo>
                      <a:lnTo>
                        <a:pt x="252" y="7889"/>
                      </a:lnTo>
                      <a:lnTo>
                        <a:pt x="168" y="7826"/>
                      </a:lnTo>
                      <a:lnTo>
                        <a:pt x="105" y="7826"/>
                      </a:lnTo>
                      <a:lnTo>
                        <a:pt x="0" y="7972"/>
                      </a:lnTo>
                      <a:lnTo>
                        <a:pt x="0" y="8077"/>
                      </a:lnTo>
                      <a:lnTo>
                        <a:pt x="168" y="8265"/>
                      </a:lnTo>
                      <a:lnTo>
                        <a:pt x="147" y="8391"/>
                      </a:lnTo>
                      <a:lnTo>
                        <a:pt x="168" y="8496"/>
                      </a:lnTo>
                      <a:lnTo>
                        <a:pt x="335" y="8621"/>
                      </a:lnTo>
                      <a:lnTo>
                        <a:pt x="335" y="8705"/>
                      </a:lnTo>
                      <a:lnTo>
                        <a:pt x="482" y="8830"/>
                      </a:lnTo>
                      <a:lnTo>
                        <a:pt x="586" y="8872"/>
                      </a:lnTo>
                      <a:lnTo>
                        <a:pt x="649" y="8851"/>
                      </a:lnTo>
                      <a:lnTo>
                        <a:pt x="733" y="8830"/>
                      </a:lnTo>
                      <a:lnTo>
                        <a:pt x="837" y="8663"/>
                      </a:lnTo>
                      <a:lnTo>
                        <a:pt x="796" y="8516"/>
                      </a:lnTo>
                      <a:lnTo>
                        <a:pt x="837" y="8412"/>
                      </a:lnTo>
                      <a:lnTo>
                        <a:pt x="900" y="8307"/>
                      </a:lnTo>
                      <a:lnTo>
                        <a:pt x="858" y="8433"/>
                      </a:lnTo>
                      <a:lnTo>
                        <a:pt x="858" y="8516"/>
                      </a:lnTo>
                      <a:lnTo>
                        <a:pt x="900" y="8600"/>
                      </a:lnTo>
                      <a:lnTo>
                        <a:pt x="963" y="8747"/>
                      </a:lnTo>
                      <a:lnTo>
                        <a:pt x="1047" y="8788"/>
                      </a:lnTo>
                      <a:lnTo>
                        <a:pt x="1109" y="8726"/>
                      </a:lnTo>
                      <a:lnTo>
                        <a:pt x="1109" y="8642"/>
                      </a:lnTo>
                      <a:lnTo>
                        <a:pt x="1172" y="8537"/>
                      </a:lnTo>
                      <a:lnTo>
                        <a:pt x="1193" y="8600"/>
                      </a:lnTo>
                      <a:lnTo>
                        <a:pt x="1172" y="8642"/>
                      </a:lnTo>
                      <a:lnTo>
                        <a:pt x="1172" y="8747"/>
                      </a:lnTo>
                      <a:lnTo>
                        <a:pt x="1277" y="8935"/>
                      </a:lnTo>
                      <a:lnTo>
                        <a:pt x="1402" y="9019"/>
                      </a:lnTo>
                      <a:lnTo>
                        <a:pt x="1507" y="9019"/>
                      </a:lnTo>
                      <a:lnTo>
                        <a:pt x="1591" y="8956"/>
                      </a:lnTo>
                      <a:lnTo>
                        <a:pt x="1632" y="8998"/>
                      </a:lnTo>
                      <a:lnTo>
                        <a:pt x="1612" y="9040"/>
                      </a:lnTo>
                      <a:lnTo>
                        <a:pt x="1570" y="9040"/>
                      </a:lnTo>
                      <a:lnTo>
                        <a:pt x="1528" y="9123"/>
                      </a:lnTo>
                      <a:lnTo>
                        <a:pt x="1444" y="9165"/>
                      </a:lnTo>
                      <a:lnTo>
                        <a:pt x="1423" y="9249"/>
                      </a:lnTo>
                      <a:lnTo>
                        <a:pt x="1528" y="9332"/>
                      </a:lnTo>
                      <a:lnTo>
                        <a:pt x="1528" y="9416"/>
                      </a:lnTo>
                      <a:lnTo>
                        <a:pt x="1444" y="9416"/>
                      </a:lnTo>
                      <a:lnTo>
                        <a:pt x="1381" y="9374"/>
                      </a:lnTo>
                      <a:lnTo>
                        <a:pt x="1381" y="9458"/>
                      </a:lnTo>
                      <a:lnTo>
                        <a:pt x="1423" y="9521"/>
                      </a:lnTo>
                      <a:lnTo>
                        <a:pt x="1612" y="9542"/>
                      </a:lnTo>
                      <a:lnTo>
                        <a:pt x="1716" y="9584"/>
                      </a:lnTo>
                      <a:lnTo>
                        <a:pt x="1821" y="9563"/>
                      </a:lnTo>
                      <a:lnTo>
                        <a:pt x="1967" y="9604"/>
                      </a:lnTo>
                      <a:lnTo>
                        <a:pt x="1967" y="9521"/>
                      </a:lnTo>
                      <a:lnTo>
                        <a:pt x="2051" y="9542"/>
                      </a:lnTo>
                      <a:lnTo>
                        <a:pt x="2072" y="9625"/>
                      </a:lnTo>
                      <a:lnTo>
                        <a:pt x="2135" y="9772"/>
                      </a:lnTo>
                      <a:lnTo>
                        <a:pt x="2218" y="9856"/>
                      </a:lnTo>
                      <a:lnTo>
                        <a:pt x="2281" y="9856"/>
                      </a:lnTo>
                      <a:lnTo>
                        <a:pt x="2365" y="9751"/>
                      </a:lnTo>
                      <a:lnTo>
                        <a:pt x="2344" y="9625"/>
                      </a:lnTo>
                      <a:lnTo>
                        <a:pt x="2177" y="9542"/>
                      </a:lnTo>
                      <a:lnTo>
                        <a:pt x="2135" y="9521"/>
                      </a:lnTo>
                      <a:lnTo>
                        <a:pt x="2177" y="9479"/>
                      </a:lnTo>
                      <a:lnTo>
                        <a:pt x="2260" y="9521"/>
                      </a:lnTo>
                      <a:lnTo>
                        <a:pt x="2365" y="9584"/>
                      </a:lnTo>
                      <a:lnTo>
                        <a:pt x="2428" y="9667"/>
                      </a:lnTo>
                      <a:lnTo>
                        <a:pt x="2469" y="9772"/>
                      </a:lnTo>
                      <a:lnTo>
                        <a:pt x="2532" y="9772"/>
                      </a:lnTo>
                      <a:lnTo>
                        <a:pt x="2553" y="9667"/>
                      </a:lnTo>
                      <a:lnTo>
                        <a:pt x="2595" y="9646"/>
                      </a:lnTo>
                      <a:lnTo>
                        <a:pt x="2679" y="9751"/>
                      </a:lnTo>
                      <a:lnTo>
                        <a:pt x="2804" y="9793"/>
                      </a:lnTo>
                      <a:lnTo>
                        <a:pt x="2888" y="9793"/>
                      </a:lnTo>
                      <a:lnTo>
                        <a:pt x="2888" y="9730"/>
                      </a:lnTo>
                      <a:lnTo>
                        <a:pt x="2783" y="9646"/>
                      </a:lnTo>
                      <a:lnTo>
                        <a:pt x="2783" y="9584"/>
                      </a:lnTo>
                      <a:lnTo>
                        <a:pt x="2846" y="9563"/>
                      </a:lnTo>
                      <a:lnTo>
                        <a:pt x="2951" y="9604"/>
                      </a:lnTo>
                      <a:lnTo>
                        <a:pt x="2993" y="9667"/>
                      </a:lnTo>
                      <a:lnTo>
                        <a:pt x="3013" y="9667"/>
                      </a:lnTo>
                      <a:lnTo>
                        <a:pt x="3055" y="9772"/>
                      </a:lnTo>
                      <a:lnTo>
                        <a:pt x="3118" y="9814"/>
                      </a:lnTo>
                      <a:lnTo>
                        <a:pt x="3181" y="9793"/>
                      </a:lnTo>
                      <a:lnTo>
                        <a:pt x="3202" y="9688"/>
                      </a:lnTo>
                      <a:lnTo>
                        <a:pt x="3160" y="9604"/>
                      </a:lnTo>
                      <a:lnTo>
                        <a:pt x="3076" y="9604"/>
                      </a:lnTo>
                      <a:lnTo>
                        <a:pt x="3013" y="9563"/>
                      </a:lnTo>
                      <a:lnTo>
                        <a:pt x="3055" y="9500"/>
                      </a:lnTo>
                      <a:lnTo>
                        <a:pt x="3097" y="9542"/>
                      </a:lnTo>
                      <a:lnTo>
                        <a:pt x="3160" y="9542"/>
                      </a:lnTo>
                      <a:lnTo>
                        <a:pt x="3223" y="9437"/>
                      </a:lnTo>
                      <a:lnTo>
                        <a:pt x="3265" y="9353"/>
                      </a:lnTo>
                      <a:lnTo>
                        <a:pt x="3265" y="9312"/>
                      </a:lnTo>
                      <a:lnTo>
                        <a:pt x="3118" y="9207"/>
                      </a:lnTo>
                      <a:lnTo>
                        <a:pt x="3055" y="9228"/>
                      </a:lnTo>
                      <a:lnTo>
                        <a:pt x="2951" y="9207"/>
                      </a:lnTo>
                      <a:lnTo>
                        <a:pt x="2867" y="9040"/>
                      </a:lnTo>
                      <a:lnTo>
                        <a:pt x="2762" y="9040"/>
                      </a:lnTo>
                      <a:lnTo>
                        <a:pt x="2574" y="8872"/>
                      </a:lnTo>
                      <a:lnTo>
                        <a:pt x="2490" y="8788"/>
                      </a:lnTo>
                      <a:lnTo>
                        <a:pt x="2365" y="8788"/>
                      </a:lnTo>
                      <a:lnTo>
                        <a:pt x="2239" y="8516"/>
                      </a:lnTo>
                      <a:lnTo>
                        <a:pt x="2030" y="8286"/>
                      </a:lnTo>
                      <a:lnTo>
                        <a:pt x="1946" y="8014"/>
                      </a:lnTo>
                      <a:lnTo>
                        <a:pt x="1842" y="7847"/>
                      </a:lnTo>
                      <a:lnTo>
                        <a:pt x="1842" y="7554"/>
                      </a:lnTo>
                      <a:lnTo>
                        <a:pt x="1758" y="7387"/>
                      </a:lnTo>
                      <a:lnTo>
                        <a:pt x="1716" y="7073"/>
                      </a:lnTo>
                      <a:lnTo>
                        <a:pt x="1695" y="7010"/>
                      </a:lnTo>
                      <a:lnTo>
                        <a:pt x="1737" y="6905"/>
                      </a:lnTo>
                      <a:lnTo>
                        <a:pt x="1737" y="6822"/>
                      </a:lnTo>
                      <a:lnTo>
                        <a:pt x="1632" y="6801"/>
                      </a:lnTo>
                      <a:lnTo>
                        <a:pt x="1549" y="6843"/>
                      </a:lnTo>
                      <a:lnTo>
                        <a:pt x="1486" y="6801"/>
                      </a:lnTo>
                      <a:lnTo>
                        <a:pt x="1507" y="6759"/>
                      </a:lnTo>
                      <a:lnTo>
                        <a:pt x="1653" y="6759"/>
                      </a:lnTo>
                      <a:lnTo>
                        <a:pt x="1800" y="6696"/>
                      </a:lnTo>
                      <a:lnTo>
                        <a:pt x="1821" y="6487"/>
                      </a:lnTo>
                      <a:lnTo>
                        <a:pt x="1800" y="6382"/>
                      </a:lnTo>
                      <a:lnTo>
                        <a:pt x="1695" y="6403"/>
                      </a:lnTo>
                      <a:lnTo>
                        <a:pt x="1591" y="6424"/>
                      </a:lnTo>
                      <a:lnTo>
                        <a:pt x="1632" y="6382"/>
                      </a:lnTo>
                      <a:lnTo>
                        <a:pt x="1800" y="6319"/>
                      </a:lnTo>
                      <a:lnTo>
                        <a:pt x="1821" y="6236"/>
                      </a:lnTo>
                      <a:lnTo>
                        <a:pt x="1779" y="6194"/>
                      </a:lnTo>
                      <a:lnTo>
                        <a:pt x="1570" y="6194"/>
                      </a:lnTo>
                      <a:lnTo>
                        <a:pt x="1423" y="6173"/>
                      </a:lnTo>
                      <a:lnTo>
                        <a:pt x="1423" y="6110"/>
                      </a:lnTo>
                      <a:lnTo>
                        <a:pt x="1507" y="6068"/>
                      </a:lnTo>
                      <a:lnTo>
                        <a:pt x="1465" y="6006"/>
                      </a:lnTo>
                      <a:lnTo>
                        <a:pt x="1465" y="5922"/>
                      </a:lnTo>
                      <a:lnTo>
                        <a:pt x="1507" y="5964"/>
                      </a:lnTo>
                      <a:lnTo>
                        <a:pt x="1570" y="6068"/>
                      </a:lnTo>
                      <a:lnTo>
                        <a:pt x="1674" y="6110"/>
                      </a:lnTo>
                      <a:lnTo>
                        <a:pt x="1821" y="6110"/>
                      </a:lnTo>
                      <a:lnTo>
                        <a:pt x="1842" y="6068"/>
                      </a:lnTo>
                      <a:lnTo>
                        <a:pt x="1925" y="6027"/>
                      </a:lnTo>
                      <a:lnTo>
                        <a:pt x="1988" y="5901"/>
                      </a:lnTo>
                      <a:lnTo>
                        <a:pt x="1988" y="5775"/>
                      </a:lnTo>
                      <a:lnTo>
                        <a:pt x="2051" y="5650"/>
                      </a:lnTo>
                      <a:lnTo>
                        <a:pt x="2093" y="5545"/>
                      </a:lnTo>
                      <a:lnTo>
                        <a:pt x="2009" y="5462"/>
                      </a:lnTo>
                      <a:lnTo>
                        <a:pt x="1946" y="5336"/>
                      </a:lnTo>
                      <a:lnTo>
                        <a:pt x="1842" y="5294"/>
                      </a:lnTo>
                      <a:lnTo>
                        <a:pt x="1779" y="5294"/>
                      </a:lnTo>
                      <a:lnTo>
                        <a:pt x="1716" y="5252"/>
                      </a:lnTo>
                      <a:lnTo>
                        <a:pt x="1800" y="5231"/>
                      </a:lnTo>
                      <a:lnTo>
                        <a:pt x="1884" y="5252"/>
                      </a:lnTo>
                      <a:lnTo>
                        <a:pt x="1946" y="5231"/>
                      </a:lnTo>
                      <a:lnTo>
                        <a:pt x="2009" y="5294"/>
                      </a:lnTo>
                      <a:lnTo>
                        <a:pt x="2009" y="5378"/>
                      </a:lnTo>
                      <a:lnTo>
                        <a:pt x="2051" y="5399"/>
                      </a:lnTo>
                      <a:lnTo>
                        <a:pt x="2114" y="5336"/>
                      </a:lnTo>
                      <a:lnTo>
                        <a:pt x="2051" y="5148"/>
                      </a:lnTo>
                      <a:lnTo>
                        <a:pt x="1925" y="4980"/>
                      </a:lnTo>
                      <a:lnTo>
                        <a:pt x="1821" y="4834"/>
                      </a:lnTo>
                      <a:lnTo>
                        <a:pt x="1842" y="4771"/>
                      </a:lnTo>
                      <a:lnTo>
                        <a:pt x="1925" y="4855"/>
                      </a:lnTo>
                      <a:lnTo>
                        <a:pt x="1946" y="4938"/>
                      </a:lnTo>
                      <a:lnTo>
                        <a:pt x="2051" y="4980"/>
                      </a:lnTo>
                      <a:lnTo>
                        <a:pt x="2156" y="5022"/>
                      </a:lnTo>
                      <a:lnTo>
                        <a:pt x="2197" y="4938"/>
                      </a:lnTo>
                      <a:lnTo>
                        <a:pt x="2197" y="4855"/>
                      </a:lnTo>
                      <a:lnTo>
                        <a:pt x="2135" y="4813"/>
                      </a:lnTo>
                      <a:lnTo>
                        <a:pt x="2135" y="4729"/>
                      </a:lnTo>
                      <a:lnTo>
                        <a:pt x="2218" y="4625"/>
                      </a:lnTo>
                      <a:lnTo>
                        <a:pt x="2218" y="4520"/>
                      </a:lnTo>
                      <a:lnTo>
                        <a:pt x="2135" y="4415"/>
                      </a:lnTo>
                      <a:lnTo>
                        <a:pt x="2009" y="4248"/>
                      </a:lnTo>
                      <a:lnTo>
                        <a:pt x="2093" y="4248"/>
                      </a:lnTo>
                      <a:lnTo>
                        <a:pt x="2197" y="4332"/>
                      </a:lnTo>
                      <a:lnTo>
                        <a:pt x="2260" y="4311"/>
                      </a:lnTo>
                      <a:lnTo>
                        <a:pt x="2323" y="4185"/>
                      </a:lnTo>
                      <a:lnTo>
                        <a:pt x="2302" y="4143"/>
                      </a:lnTo>
                      <a:lnTo>
                        <a:pt x="2218" y="4143"/>
                      </a:lnTo>
                      <a:lnTo>
                        <a:pt x="2218" y="3997"/>
                      </a:lnTo>
                      <a:lnTo>
                        <a:pt x="2302" y="3976"/>
                      </a:lnTo>
                      <a:lnTo>
                        <a:pt x="2407" y="4039"/>
                      </a:lnTo>
                      <a:lnTo>
                        <a:pt x="2553" y="4102"/>
                      </a:lnTo>
                      <a:lnTo>
                        <a:pt x="2616" y="4018"/>
                      </a:lnTo>
                      <a:lnTo>
                        <a:pt x="2532" y="3976"/>
                      </a:lnTo>
                      <a:lnTo>
                        <a:pt x="2532" y="3913"/>
                      </a:lnTo>
                      <a:lnTo>
                        <a:pt x="2616" y="3913"/>
                      </a:lnTo>
                      <a:lnTo>
                        <a:pt x="2679" y="3934"/>
                      </a:lnTo>
                      <a:lnTo>
                        <a:pt x="2762" y="3871"/>
                      </a:lnTo>
                      <a:lnTo>
                        <a:pt x="2762" y="3767"/>
                      </a:lnTo>
                      <a:lnTo>
                        <a:pt x="2741" y="3704"/>
                      </a:lnTo>
                      <a:lnTo>
                        <a:pt x="2762" y="3662"/>
                      </a:lnTo>
                      <a:lnTo>
                        <a:pt x="2930" y="3578"/>
                      </a:lnTo>
                      <a:lnTo>
                        <a:pt x="2951" y="3495"/>
                      </a:lnTo>
                      <a:lnTo>
                        <a:pt x="2846" y="3453"/>
                      </a:lnTo>
                      <a:lnTo>
                        <a:pt x="2783" y="3369"/>
                      </a:lnTo>
                      <a:lnTo>
                        <a:pt x="2846" y="3265"/>
                      </a:lnTo>
                      <a:lnTo>
                        <a:pt x="2888" y="3369"/>
                      </a:lnTo>
                      <a:lnTo>
                        <a:pt x="2972" y="3306"/>
                      </a:lnTo>
                      <a:lnTo>
                        <a:pt x="3139" y="3097"/>
                      </a:lnTo>
                      <a:lnTo>
                        <a:pt x="3181" y="2972"/>
                      </a:lnTo>
                      <a:lnTo>
                        <a:pt x="3265" y="2930"/>
                      </a:lnTo>
                      <a:lnTo>
                        <a:pt x="3285" y="2783"/>
                      </a:lnTo>
                      <a:lnTo>
                        <a:pt x="3453" y="2679"/>
                      </a:lnTo>
                      <a:lnTo>
                        <a:pt x="3516" y="2532"/>
                      </a:lnTo>
                      <a:lnTo>
                        <a:pt x="3599" y="2323"/>
                      </a:lnTo>
                      <a:lnTo>
                        <a:pt x="3683" y="2323"/>
                      </a:lnTo>
                      <a:lnTo>
                        <a:pt x="3892" y="2156"/>
                      </a:lnTo>
                      <a:lnTo>
                        <a:pt x="4122" y="1905"/>
                      </a:lnTo>
                      <a:lnTo>
                        <a:pt x="4311" y="1737"/>
                      </a:lnTo>
                      <a:lnTo>
                        <a:pt x="4394" y="1737"/>
                      </a:lnTo>
                      <a:lnTo>
                        <a:pt x="4541" y="1612"/>
                      </a:lnTo>
                      <a:lnTo>
                        <a:pt x="4729" y="1570"/>
                      </a:lnTo>
                      <a:lnTo>
                        <a:pt x="4834" y="1486"/>
                      </a:lnTo>
                      <a:lnTo>
                        <a:pt x="4980" y="1277"/>
                      </a:lnTo>
                      <a:lnTo>
                        <a:pt x="5064" y="1214"/>
                      </a:lnTo>
                      <a:lnTo>
                        <a:pt x="5127" y="1214"/>
                      </a:lnTo>
                      <a:lnTo>
                        <a:pt x="5190" y="1193"/>
                      </a:lnTo>
                      <a:lnTo>
                        <a:pt x="5190" y="1109"/>
                      </a:lnTo>
                      <a:lnTo>
                        <a:pt x="5169" y="1068"/>
                      </a:lnTo>
                      <a:lnTo>
                        <a:pt x="5231" y="963"/>
                      </a:lnTo>
                      <a:lnTo>
                        <a:pt x="5190" y="858"/>
                      </a:lnTo>
                      <a:lnTo>
                        <a:pt x="5190" y="691"/>
                      </a:lnTo>
                      <a:lnTo>
                        <a:pt x="5169" y="670"/>
                      </a:lnTo>
                      <a:lnTo>
                        <a:pt x="5085" y="670"/>
                      </a:lnTo>
                      <a:lnTo>
                        <a:pt x="5085" y="524"/>
                      </a:lnTo>
                      <a:lnTo>
                        <a:pt x="5148" y="377"/>
                      </a:lnTo>
                      <a:lnTo>
                        <a:pt x="5127" y="335"/>
                      </a:lnTo>
                      <a:lnTo>
                        <a:pt x="5022" y="314"/>
                      </a:lnTo>
                      <a:lnTo>
                        <a:pt x="4959" y="252"/>
                      </a:lnTo>
                      <a:lnTo>
                        <a:pt x="4855" y="231"/>
                      </a:lnTo>
                      <a:lnTo>
                        <a:pt x="4813" y="147"/>
                      </a:lnTo>
                      <a:lnTo>
                        <a:pt x="4813" y="42"/>
                      </a:lnTo>
                      <a:lnTo>
                        <a:pt x="475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7" name="Google Shape;12038;p43">
                  <a:extLst>
                    <a:ext uri="{FF2B5EF4-FFF2-40B4-BE49-F238E27FC236}">
                      <a16:creationId xmlns:a16="http://schemas.microsoft.com/office/drawing/2014/main" id="{8599BC9A-2D55-8EDB-B591-4255CA6C96ED}"/>
                    </a:ext>
                  </a:extLst>
                </p:cNvPr>
                <p:cNvSpPr/>
                <p:nvPr/>
              </p:nvSpPr>
              <p:spPr>
                <a:xfrm>
                  <a:off x="4015475" y="1586100"/>
                  <a:ext cx="1901975" cy="10174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079" h="40698" extrusionOk="0">
                      <a:moveTo>
                        <a:pt x="27578" y="1"/>
                      </a:moveTo>
                      <a:lnTo>
                        <a:pt x="27431" y="126"/>
                      </a:lnTo>
                      <a:lnTo>
                        <a:pt x="27389" y="231"/>
                      </a:lnTo>
                      <a:lnTo>
                        <a:pt x="27285" y="273"/>
                      </a:lnTo>
                      <a:lnTo>
                        <a:pt x="27368" y="377"/>
                      </a:lnTo>
                      <a:lnTo>
                        <a:pt x="27264" y="482"/>
                      </a:lnTo>
                      <a:lnTo>
                        <a:pt x="27243" y="649"/>
                      </a:lnTo>
                      <a:lnTo>
                        <a:pt x="27285" y="796"/>
                      </a:lnTo>
                      <a:lnTo>
                        <a:pt x="27159" y="921"/>
                      </a:lnTo>
                      <a:lnTo>
                        <a:pt x="27138" y="1444"/>
                      </a:lnTo>
                      <a:lnTo>
                        <a:pt x="27264" y="1570"/>
                      </a:lnTo>
                      <a:lnTo>
                        <a:pt x="27264" y="1695"/>
                      </a:lnTo>
                      <a:lnTo>
                        <a:pt x="27159" y="1695"/>
                      </a:lnTo>
                      <a:lnTo>
                        <a:pt x="27180" y="1842"/>
                      </a:lnTo>
                      <a:lnTo>
                        <a:pt x="27285" y="1967"/>
                      </a:lnTo>
                      <a:lnTo>
                        <a:pt x="27389" y="1967"/>
                      </a:lnTo>
                      <a:lnTo>
                        <a:pt x="27536" y="2156"/>
                      </a:lnTo>
                      <a:lnTo>
                        <a:pt x="27682" y="2177"/>
                      </a:lnTo>
                      <a:lnTo>
                        <a:pt x="27536" y="2281"/>
                      </a:lnTo>
                      <a:lnTo>
                        <a:pt x="27578" y="2407"/>
                      </a:lnTo>
                      <a:lnTo>
                        <a:pt x="27578" y="2491"/>
                      </a:lnTo>
                      <a:lnTo>
                        <a:pt x="27787" y="2511"/>
                      </a:lnTo>
                      <a:lnTo>
                        <a:pt x="27912" y="2470"/>
                      </a:lnTo>
                      <a:lnTo>
                        <a:pt x="28101" y="2532"/>
                      </a:lnTo>
                      <a:lnTo>
                        <a:pt x="28289" y="2532"/>
                      </a:lnTo>
                      <a:lnTo>
                        <a:pt x="28331" y="2616"/>
                      </a:lnTo>
                      <a:lnTo>
                        <a:pt x="28226" y="2700"/>
                      </a:lnTo>
                      <a:lnTo>
                        <a:pt x="28122" y="2679"/>
                      </a:lnTo>
                      <a:lnTo>
                        <a:pt x="28059" y="2700"/>
                      </a:lnTo>
                      <a:lnTo>
                        <a:pt x="27933" y="2616"/>
                      </a:lnTo>
                      <a:lnTo>
                        <a:pt x="27661" y="2721"/>
                      </a:lnTo>
                      <a:lnTo>
                        <a:pt x="27578" y="2679"/>
                      </a:lnTo>
                      <a:lnTo>
                        <a:pt x="27473" y="2721"/>
                      </a:lnTo>
                      <a:lnTo>
                        <a:pt x="27368" y="2700"/>
                      </a:lnTo>
                      <a:lnTo>
                        <a:pt x="27264" y="2700"/>
                      </a:lnTo>
                      <a:lnTo>
                        <a:pt x="27201" y="2783"/>
                      </a:lnTo>
                      <a:lnTo>
                        <a:pt x="26950" y="2783"/>
                      </a:lnTo>
                      <a:lnTo>
                        <a:pt x="26887" y="2888"/>
                      </a:lnTo>
                      <a:lnTo>
                        <a:pt x="26908" y="2930"/>
                      </a:lnTo>
                      <a:lnTo>
                        <a:pt x="27034" y="2951"/>
                      </a:lnTo>
                      <a:lnTo>
                        <a:pt x="27054" y="3055"/>
                      </a:lnTo>
                      <a:lnTo>
                        <a:pt x="27201" y="3035"/>
                      </a:lnTo>
                      <a:lnTo>
                        <a:pt x="27264" y="3097"/>
                      </a:lnTo>
                      <a:lnTo>
                        <a:pt x="27410" y="3014"/>
                      </a:lnTo>
                      <a:lnTo>
                        <a:pt x="27515" y="3160"/>
                      </a:lnTo>
                      <a:lnTo>
                        <a:pt x="27661" y="3265"/>
                      </a:lnTo>
                      <a:lnTo>
                        <a:pt x="27787" y="3516"/>
                      </a:lnTo>
                      <a:lnTo>
                        <a:pt x="27682" y="3746"/>
                      </a:lnTo>
                      <a:lnTo>
                        <a:pt x="27410" y="4018"/>
                      </a:lnTo>
                      <a:lnTo>
                        <a:pt x="27515" y="3746"/>
                      </a:lnTo>
                      <a:lnTo>
                        <a:pt x="27431" y="3662"/>
                      </a:lnTo>
                      <a:lnTo>
                        <a:pt x="27431" y="3495"/>
                      </a:lnTo>
                      <a:lnTo>
                        <a:pt x="27243" y="3453"/>
                      </a:lnTo>
                      <a:lnTo>
                        <a:pt x="27180" y="3432"/>
                      </a:lnTo>
                      <a:lnTo>
                        <a:pt x="27180" y="3348"/>
                      </a:lnTo>
                      <a:lnTo>
                        <a:pt x="27117" y="3327"/>
                      </a:lnTo>
                      <a:lnTo>
                        <a:pt x="27013" y="3411"/>
                      </a:lnTo>
                      <a:lnTo>
                        <a:pt x="26845" y="3411"/>
                      </a:lnTo>
                      <a:lnTo>
                        <a:pt x="26720" y="3537"/>
                      </a:lnTo>
                      <a:lnTo>
                        <a:pt x="26845" y="3599"/>
                      </a:lnTo>
                      <a:lnTo>
                        <a:pt x="26803" y="3662"/>
                      </a:lnTo>
                      <a:lnTo>
                        <a:pt x="26657" y="3662"/>
                      </a:lnTo>
                      <a:lnTo>
                        <a:pt x="26741" y="3767"/>
                      </a:lnTo>
                      <a:lnTo>
                        <a:pt x="26720" y="3851"/>
                      </a:lnTo>
                      <a:lnTo>
                        <a:pt x="26552" y="3976"/>
                      </a:lnTo>
                      <a:lnTo>
                        <a:pt x="26531" y="3851"/>
                      </a:lnTo>
                      <a:lnTo>
                        <a:pt x="26490" y="3851"/>
                      </a:lnTo>
                      <a:lnTo>
                        <a:pt x="26406" y="3913"/>
                      </a:lnTo>
                      <a:lnTo>
                        <a:pt x="26448" y="4039"/>
                      </a:lnTo>
                      <a:lnTo>
                        <a:pt x="26406" y="4164"/>
                      </a:lnTo>
                      <a:lnTo>
                        <a:pt x="26301" y="4164"/>
                      </a:lnTo>
                      <a:lnTo>
                        <a:pt x="26280" y="3976"/>
                      </a:lnTo>
                      <a:lnTo>
                        <a:pt x="26176" y="3871"/>
                      </a:lnTo>
                      <a:lnTo>
                        <a:pt x="26134" y="3934"/>
                      </a:lnTo>
                      <a:lnTo>
                        <a:pt x="26176" y="4039"/>
                      </a:lnTo>
                      <a:lnTo>
                        <a:pt x="26071" y="4227"/>
                      </a:lnTo>
                      <a:lnTo>
                        <a:pt x="26008" y="4374"/>
                      </a:lnTo>
                      <a:lnTo>
                        <a:pt x="25883" y="4290"/>
                      </a:lnTo>
                      <a:lnTo>
                        <a:pt x="25883" y="4227"/>
                      </a:lnTo>
                      <a:lnTo>
                        <a:pt x="26008" y="3955"/>
                      </a:lnTo>
                      <a:lnTo>
                        <a:pt x="25966" y="3851"/>
                      </a:lnTo>
                      <a:lnTo>
                        <a:pt x="25820" y="3830"/>
                      </a:lnTo>
                      <a:lnTo>
                        <a:pt x="25506" y="3934"/>
                      </a:lnTo>
                      <a:lnTo>
                        <a:pt x="25401" y="3871"/>
                      </a:lnTo>
                      <a:lnTo>
                        <a:pt x="25255" y="4018"/>
                      </a:lnTo>
                      <a:lnTo>
                        <a:pt x="25150" y="3976"/>
                      </a:lnTo>
                      <a:lnTo>
                        <a:pt x="25046" y="3934"/>
                      </a:lnTo>
                      <a:lnTo>
                        <a:pt x="24878" y="3955"/>
                      </a:lnTo>
                      <a:lnTo>
                        <a:pt x="25025" y="4081"/>
                      </a:lnTo>
                      <a:lnTo>
                        <a:pt x="24941" y="4164"/>
                      </a:lnTo>
                      <a:lnTo>
                        <a:pt x="24920" y="4143"/>
                      </a:lnTo>
                      <a:lnTo>
                        <a:pt x="24878" y="4081"/>
                      </a:lnTo>
                      <a:lnTo>
                        <a:pt x="24837" y="4060"/>
                      </a:lnTo>
                      <a:lnTo>
                        <a:pt x="24774" y="4164"/>
                      </a:lnTo>
                      <a:lnTo>
                        <a:pt x="24732" y="4227"/>
                      </a:lnTo>
                      <a:lnTo>
                        <a:pt x="24732" y="4478"/>
                      </a:lnTo>
                      <a:lnTo>
                        <a:pt x="24816" y="4562"/>
                      </a:lnTo>
                      <a:lnTo>
                        <a:pt x="24941" y="4436"/>
                      </a:lnTo>
                      <a:lnTo>
                        <a:pt x="25025" y="4478"/>
                      </a:lnTo>
                      <a:lnTo>
                        <a:pt x="25192" y="4353"/>
                      </a:lnTo>
                      <a:lnTo>
                        <a:pt x="25276" y="4374"/>
                      </a:lnTo>
                      <a:lnTo>
                        <a:pt x="25255" y="4478"/>
                      </a:lnTo>
                      <a:lnTo>
                        <a:pt x="24941" y="4604"/>
                      </a:lnTo>
                      <a:lnTo>
                        <a:pt x="24878" y="4750"/>
                      </a:lnTo>
                      <a:lnTo>
                        <a:pt x="24753" y="4813"/>
                      </a:lnTo>
                      <a:lnTo>
                        <a:pt x="24502" y="4855"/>
                      </a:lnTo>
                      <a:lnTo>
                        <a:pt x="24460" y="4918"/>
                      </a:lnTo>
                      <a:lnTo>
                        <a:pt x="24523" y="5001"/>
                      </a:lnTo>
                      <a:lnTo>
                        <a:pt x="24313" y="5064"/>
                      </a:lnTo>
                      <a:lnTo>
                        <a:pt x="24209" y="5001"/>
                      </a:lnTo>
                      <a:lnTo>
                        <a:pt x="24146" y="5022"/>
                      </a:lnTo>
                      <a:lnTo>
                        <a:pt x="24125" y="5127"/>
                      </a:lnTo>
                      <a:lnTo>
                        <a:pt x="24041" y="5169"/>
                      </a:lnTo>
                      <a:lnTo>
                        <a:pt x="23895" y="5211"/>
                      </a:lnTo>
                      <a:lnTo>
                        <a:pt x="23832" y="5294"/>
                      </a:lnTo>
                      <a:lnTo>
                        <a:pt x="23916" y="5399"/>
                      </a:lnTo>
                      <a:lnTo>
                        <a:pt x="23874" y="5399"/>
                      </a:lnTo>
                      <a:lnTo>
                        <a:pt x="23832" y="5504"/>
                      </a:lnTo>
                      <a:lnTo>
                        <a:pt x="23790" y="5524"/>
                      </a:lnTo>
                      <a:lnTo>
                        <a:pt x="23728" y="5441"/>
                      </a:lnTo>
                      <a:lnTo>
                        <a:pt x="23686" y="5441"/>
                      </a:lnTo>
                      <a:lnTo>
                        <a:pt x="23581" y="5608"/>
                      </a:lnTo>
                      <a:lnTo>
                        <a:pt x="23602" y="5650"/>
                      </a:lnTo>
                      <a:lnTo>
                        <a:pt x="23560" y="5713"/>
                      </a:lnTo>
                      <a:lnTo>
                        <a:pt x="23560" y="5817"/>
                      </a:lnTo>
                      <a:lnTo>
                        <a:pt x="23456" y="5943"/>
                      </a:lnTo>
                      <a:lnTo>
                        <a:pt x="23477" y="6048"/>
                      </a:lnTo>
                      <a:lnTo>
                        <a:pt x="23309" y="6110"/>
                      </a:lnTo>
                      <a:lnTo>
                        <a:pt x="23142" y="6110"/>
                      </a:lnTo>
                      <a:lnTo>
                        <a:pt x="23037" y="6173"/>
                      </a:lnTo>
                      <a:lnTo>
                        <a:pt x="23037" y="6278"/>
                      </a:lnTo>
                      <a:lnTo>
                        <a:pt x="23100" y="6278"/>
                      </a:lnTo>
                      <a:lnTo>
                        <a:pt x="23163" y="6215"/>
                      </a:lnTo>
                      <a:lnTo>
                        <a:pt x="23414" y="6257"/>
                      </a:lnTo>
                      <a:lnTo>
                        <a:pt x="23372" y="6340"/>
                      </a:lnTo>
                      <a:lnTo>
                        <a:pt x="23246" y="6320"/>
                      </a:lnTo>
                      <a:lnTo>
                        <a:pt x="23204" y="6361"/>
                      </a:lnTo>
                      <a:lnTo>
                        <a:pt x="23288" y="6445"/>
                      </a:lnTo>
                      <a:lnTo>
                        <a:pt x="23267" y="6675"/>
                      </a:lnTo>
                      <a:lnTo>
                        <a:pt x="23163" y="6759"/>
                      </a:lnTo>
                      <a:lnTo>
                        <a:pt x="23184" y="6843"/>
                      </a:lnTo>
                      <a:lnTo>
                        <a:pt x="23163" y="6947"/>
                      </a:lnTo>
                      <a:lnTo>
                        <a:pt x="23037" y="6759"/>
                      </a:lnTo>
                      <a:lnTo>
                        <a:pt x="22932" y="6780"/>
                      </a:lnTo>
                      <a:lnTo>
                        <a:pt x="22786" y="6633"/>
                      </a:lnTo>
                      <a:lnTo>
                        <a:pt x="22723" y="6592"/>
                      </a:lnTo>
                      <a:lnTo>
                        <a:pt x="22681" y="6654"/>
                      </a:lnTo>
                      <a:lnTo>
                        <a:pt x="22765" y="6738"/>
                      </a:lnTo>
                      <a:lnTo>
                        <a:pt x="22765" y="6843"/>
                      </a:lnTo>
                      <a:lnTo>
                        <a:pt x="22723" y="6905"/>
                      </a:lnTo>
                      <a:lnTo>
                        <a:pt x="22786" y="7010"/>
                      </a:lnTo>
                      <a:lnTo>
                        <a:pt x="22891" y="6968"/>
                      </a:lnTo>
                      <a:lnTo>
                        <a:pt x="23079" y="7010"/>
                      </a:lnTo>
                      <a:lnTo>
                        <a:pt x="23204" y="7052"/>
                      </a:lnTo>
                      <a:lnTo>
                        <a:pt x="23246" y="7156"/>
                      </a:lnTo>
                      <a:lnTo>
                        <a:pt x="23351" y="7219"/>
                      </a:lnTo>
                      <a:lnTo>
                        <a:pt x="23456" y="7198"/>
                      </a:lnTo>
                      <a:lnTo>
                        <a:pt x="23497" y="7177"/>
                      </a:lnTo>
                      <a:lnTo>
                        <a:pt x="23560" y="7261"/>
                      </a:lnTo>
                      <a:lnTo>
                        <a:pt x="23414" y="7303"/>
                      </a:lnTo>
                      <a:lnTo>
                        <a:pt x="23288" y="7303"/>
                      </a:lnTo>
                      <a:lnTo>
                        <a:pt x="23184" y="7198"/>
                      </a:lnTo>
                      <a:lnTo>
                        <a:pt x="23142" y="7219"/>
                      </a:lnTo>
                      <a:lnTo>
                        <a:pt x="23100" y="7303"/>
                      </a:lnTo>
                      <a:lnTo>
                        <a:pt x="23058" y="7366"/>
                      </a:lnTo>
                      <a:lnTo>
                        <a:pt x="23184" y="7512"/>
                      </a:lnTo>
                      <a:lnTo>
                        <a:pt x="23267" y="7470"/>
                      </a:lnTo>
                      <a:lnTo>
                        <a:pt x="23456" y="7470"/>
                      </a:lnTo>
                      <a:lnTo>
                        <a:pt x="23497" y="7617"/>
                      </a:lnTo>
                      <a:lnTo>
                        <a:pt x="23581" y="7680"/>
                      </a:lnTo>
                      <a:lnTo>
                        <a:pt x="23623" y="7596"/>
                      </a:lnTo>
                      <a:lnTo>
                        <a:pt x="23811" y="7596"/>
                      </a:lnTo>
                      <a:lnTo>
                        <a:pt x="23790" y="7701"/>
                      </a:lnTo>
                      <a:lnTo>
                        <a:pt x="23937" y="7805"/>
                      </a:lnTo>
                      <a:lnTo>
                        <a:pt x="24083" y="7805"/>
                      </a:lnTo>
                      <a:lnTo>
                        <a:pt x="24146" y="7952"/>
                      </a:lnTo>
                      <a:lnTo>
                        <a:pt x="24083" y="8161"/>
                      </a:lnTo>
                      <a:lnTo>
                        <a:pt x="23832" y="8307"/>
                      </a:lnTo>
                      <a:lnTo>
                        <a:pt x="23769" y="8433"/>
                      </a:lnTo>
                      <a:lnTo>
                        <a:pt x="23769" y="8517"/>
                      </a:lnTo>
                      <a:lnTo>
                        <a:pt x="23979" y="8726"/>
                      </a:lnTo>
                      <a:lnTo>
                        <a:pt x="24104" y="8768"/>
                      </a:lnTo>
                      <a:lnTo>
                        <a:pt x="23895" y="8768"/>
                      </a:lnTo>
                      <a:lnTo>
                        <a:pt x="23665" y="8579"/>
                      </a:lnTo>
                      <a:lnTo>
                        <a:pt x="23665" y="8454"/>
                      </a:lnTo>
                      <a:lnTo>
                        <a:pt x="23769" y="8224"/>
                      </a:lnTo>
                      <a:lnTo>
                        <a:pt x="23832" y="8161"/>
                      </a:lnTo>
                      <a:lnTo>
                        <a:pt x="23832" y="8098"/>
                      </a:lnTo>
                      <a:lnTo>
                        <a:pt x="23895" y="7952"/>
                      </a:lnTo>
                      <a:lnTo>
                        <a:pt x="23832" y="7910"/>
                      </a:lnTo>
                      <a:lnTo>
                        <a:pt x="23456" y="8098"/>
                      </a:lnTo>
                      <a:lnTo>
                        <a:pt x="23246" y="8161"/>
                      </a:lnTo>
                      <a:lnTo>
                        <a:pt x="23184" y="8307"/>
                      </a:lnTo>
                      <a:lnTo>
                        <a:pt x="23058" y="8349"/>
                      </a:lnTo>
                      <a:lnTo>
                        <a:pt x="22953" y="8307"/>
                      </a:lnTo>
                      <a:lnTo>
                        <a:pt x="22828" y="8328"/>
                      </a:lnTo>
                      <a:lnTo>
                        <a:pt x="22660" y="8454"/>
                      </a:lnTo>
                      <a:lnTo>
                        <a:pt x="22221" y="8621"/>
                      </a:lnTo>
                      <a:lnTo>
                        <a:pt x="21907" y="8684"/>
                      </a:lnTo>
                      <a:lnTo>
                        <a:pt x="21782" y="8684"/>
                      </a:lnTo>
                      <a:lnTo>
                        <a:pt x="21614" y="8851"/>
                      </a:lnTo>
                      <a:lnTo>
                        <a:pt x="21468" y="8851"/>
                      </a:lnTo>
                      <a:lnTo>
                        <a:pt x="21384" y="8935"/>
                      </a:lnTo>
                      <a:lnTo>
                        <a:pt x="21510" y="9040"/>
                      </a:lnTo>
                      <a:lnTo>
                        <a:pt x="21510" y="9165"/>
                      </a:lnTo>
                      <a:lnTo>
                        <a:pt x="21489" y="9291"/>
                      </a:lnTo>
                      <a:lnTo>
                        <a:pt x="21572" y="9374"/>
                      </a:lnTo>
                      <a:lnTo>
                        <a:pt x="21677" y="9374"/>
                      </a:lnTo>
                      <a:lnTo>
                        <a:pt x="21698" y="9458"/>
                      </a:lnTo>
                      <a:lnTo>
                        <a:pt x="21635" y="9521"/>
                      </a:lnTo>
                      <a:lnTo>
                        <a:pt x="21844" y="9667"/>
                      </a:lnTo>
                      <a:lnTo>
                        <a:pt x="22012" y="9918"/>
                      </a:lnTo>
                      <a:lnTo>
                        <a:pt x="22012" y="10128"/>
                      </a:lnTo>
                      <a:lnTo>
                        <a:pt x="22054" y="10232"/>
                      </a:lnTo>
                      <a:lnTo>
                        <a:pt x="22116" y="10232"/>
                      </a:lnTo>
                      <a:lnTo>
                        <a:pt x="22137" y="10400"/>
                      </a:lnTo>
                      <a:lnTo>
                        <a:pt x="22305" y="10504"/>
                      </a:lnTo>
                      <a:lnTo>
                        <a:pt x="22430" y="10462"/>
                      </a:lnTo>
                      <a:lnTo>
                        <a:pt x="22828" y="10504"/>
                      </a:lnTo>
                      <a:lnTo>
                        <a:pt x="22953" y="10421"/>
                      </a:lnTo>
                      <a:lnTo>
                        <a:pt x="22953" y="10504"/>
                      </a:lnTo>
                      <a:lnTo>
                        <a:pt x="22995" y="10609"/>
                      </a:lnTo>
                      <a:lnTo>
                        <a:pt x="22995" y="10755"/>
                      </a:lnTo>
                      <a:lnTo>
                        <a:pt x="23184" y="10839"/>
                      </a:lnTo>
                      <a:lnTo>
                        <a:pt x="23288" y="10986"/>
                      </a:lnTo>
                      <a:lnTo>
                        <a:pt x="23581" y="10986"/>
                      </a:lnTo>
                      <a:lnTo>
                        <a:pt x="23790" y="11132"/>
                      </a:lnTo>
                      <a:lnTo>
                        <a:pt x="23874" y="11132"/>
                      </a:lnTo>
                      <a:lnTo>
                        <a:pt x="23979" y="11258"/>
                      </a:lnTo>
                      <a:lnTo>
                        <a:pt x="24000" y="11550"/>
                      </a:lnTo>
                      <a:lnTo>
                        <a:pt x="24041" y="11676"/>
                      </a:lnTo>
                      <a:lnTo>
                        <a:pt x="24000" y="11864"/>
                      </a:lnTo>
                      <a:lnTo>
                        <a:pt x="24125" y="12011"/>
                      </a:lnTo>
                      <a:lnTo>
                        <a:pt x="24230" y="12094"/>
                      </a:lnTo>
                      <a:lnTo>
                        <a:pt x="24418" y="12346"/>
                      </a:lnTo>
                      <a:lnTo>
                        <a:pt x="24502" y="12618"/>
                      </a:lnTo>
                      <a:lnTo>
                        <a:pt x="24648" y="12743"/>
                      </a:lnTo>
                      <a:lnTo>
                        <a:pt x="24711" y="12869"/>
                      </a:lnTo>
                      <a:lnTo>
                        <a:pt x="24585" y="13141"/>
                      </a:lnTo>
                      <a:lnTo>
                        <a:pt x="24502" y="13162"/>
                      </a:lnTo>
                      <a:lnTo>
                        <a:pt x="24418" y="13141"/>
                      </a:lnTo>
                      <a:lnTo>
                        <a:pt x="24418" y="13141"/>
                      </a:lnTo>
                      <a:lnTo>
                        <a:pt x="24523" y="13287"/>
                      </a:lnTo>
                      <a:lnTo>
                        <a:pt x="24732" y="13329"/>
                      </a:lnTo>
                      <a:lnTo>
                        <a:pt x="24837" y="13392"/>
                      </a:lnTo>
                      <a:lnTo>
                        <a:pt x="25046" y="13643"/>
                      </a:lnTo>
                      <a:lnTo>
                        <a:pt x="25255" y="13706"/>
                      </a:lnTo>
                      <a:lnTo>
                        <a:pt x="25276" y="13685"/>
                      </a:lnTo>
                      <a:lnTo>
                        <a:pt x="25360" y="13706"/>
                      </a:lnTo>
                      <a:lnTo>
                        <a:pt x="25548" y="13559"/>
                      </a:lnTo>
                      <a:lnTo>
                        <a:pt x="25736" y="13517"/>
                      </a:lnTo>
                      <a:lnTo>
                        <a:pt x="25945" y="13685"/>
                      </a:lnTo>
                      <a:lnTo>
                        <a:pt x="26092" y="13747"/>
                      </a:lnTo>
                      <a:lnTo>
                        <a:pt x="26197" y="13747"/>
                      </a:lnTo>
                      <a:lnTo>
                        <a:pt x="26280" y="13894"/>
                      </a:lnTo>
                      <a:lnTo>
                        <a:pt x="26301" y="14124"/>
                      </a:lnTo>
                      <a:lnTo>
                        <a:pt x="26238" y="13915"/>
                      </a:lnTo>
                      <a:lnTo>
                        <a:pt x="26176" y="13810"/>
                      </a:lnTo>
                      <a:lnTo>
                        <a:pt x="25987" y="13810"/>
                      </a:lnTo>
                      <a:lnTo>
                        <a:pt x="25757" y="13643"/>
                      </a:lnTo>
                      <a:lnTo>
                        <a:pt x="25611" y="13643"/>
                      </a:lnTo>
                      <a:lnTo>
                        <a:pt x="25443" y="13810"/>
                      </a:lnTo>
                      <a:lnTo>
                        <a:pt x="25443" y="13978"/>
                      </a:lnTo>
                      <a:lnTo>
                        <a:pt x="25464" y="14061"/>
                      </a:lnTo>
                      <a:lnTo>
                        <a:pt x="25234" y="13810"/>
                      </a:lnTo>
                      <a:lnTo>
                        <a:pt x="24983" y="13810"/>
                      </a:lnTo>
                      <a:lnTo>
                        <a:pt x="24857" y="13706"/>
                      </a:lnTo>
                      <a:lnTo>
                        <a:pt x="24857" y="13580"/>
                      </a:lnTo>
                      <a:lnTo>
                        <a:pt x="24753" y="13434"/>
                      </a:lnTo>
                      <a:lnTo>
                        <a:pt x="24565" y="13371"/>
                      </a:lnTo>
                      <a:lnTo>
                        <a:pt x="24397" y="13371"/>
                      </a:lnTo>
                      <a:lnTo>
                        <a:pt x="24188" y="13245"/>
                      </a:lnTo>
                      <a:lnTo>
                        <a:pt x="24230" y="13182"/>
                      </a:lnTo>
                      <a:lnTo>
                        <a:pt x="24230" y="13057"/>
                      </a:lnTo>
                      <a:lnTo>
                        <a:pt x="24313" y="13015"/>
                      </a:lnTo>
                      <a:lnTo>
                        <a:pt x="24272" y="12910"/>
                      </a:lnTo>
                      <a:lnTo>
                        <a:pt x="24230" y="12638"/>
                      </a:lnTo>
                      <a:lnTo>
                        <a:pt x="24167" y="12429"/>
                      </a:lnTo>
                      <a:lnTo>
                        <a:pt x="24083" y="12387"/>
                      </a:lnTo>
                      <a:lnTo>
                        <a:pt x="24021" y="12555"/>
                      </a:lnTo>
                      <a:lnTo>
                        <a:pt x="23958" y="12597"/>
                      </a:lnTo>
                      <a:lnTo>
                        <a:pt x="23979" y="12743"/>
                      </a:lnTo>
                      <a:lnTo>
                        <a:pt x="23895" y="12827"/>
                      </a:lnTo>
                      <a:lnTo>
                        <a:pt x="23916" y="12910"/>
                      </a:lnTo>
                      <a:lnTo>
                        <a:pt x="23895" y="13036"/>
                      </a:lnTo>
                      <a:lnTo>
                        <a:pt x="23811" y="13036"/>
                      </a:lnTo>
                      <a:lnTo>
                        <a:pt x="23769" y="12659"/>
                      </a:lnTo>
                      <a:lnTo>
                        <a:pt x="23853" y="12555"/>
                      </a:lnTo>
                      <a:lnTo>
                        <a:pt x="23811" y="12429"/>
                      </a:lnTo>
                      <a:lnTo>
                        <a:pt x="23644" y="12283"/>
                      </a:lnTo>
                      <a:lnTo>
                        <a:pt x="23644" y="12094"/>
                      </a:lnTo>
                      <a:lnTo>
                        <a:pt x="23560" y="11969"/>
                      </a:lnTo>
                      <a:lnTo>
                        <a:pt x="23560" y="11802"/>
                      </a:lnTo>
                      <a:lnTo>
                        <a:pt x="23707" y="11697"/>
                      </a:lnTo>
                      <a:lnTo>
                        <a:pt x="23707" y="11613"/>
                      </a:lnTo>
                      <a:lnTo>
                        <a:pt x="23686" y="11509"/>
                      </a:lnTo>
                      <a:lnTo>
                        <a:pt x="23707" y="11299"/>
                      </a:lnTo>
                      <a:lnTo>
                        <a:pt x="23581" y="11278"/>
                      </a:lnTo>
                      <a:lnTo>
                        <a:pt x="23539" y="11299"/>
                      </a:lnTo>
                      <a:lnTo>
                        <a:pt x="23456" y="11216"/>
                      </a:lnTo>
                      <a:lnTo>
                        <a:pt x="23225" y="11383"/>
                      </a:lnTo>
                      <a:lnTo>
                        <a:pt x="22912" y="11425"/>
                      </a:lnTo>
                      <a:lnTo>
                        <a:pt x="22744" y="11425"/>
                      </a:lnTo>
                      <a:lnTo>
                        <a:pt x="22514" y="11195"/>
                      </a:lnTo>
                      <a:lnTo>
                        <a:pt x="22388" y="11111"/>
                      </a:lnTo>
                      <a:lnTo>
                        <a:pt x="22347" y="11006"/>
                      </a:lnTo>
                      <a:lnTo>
                        <a:pt x="22012" y="10965"/>
                      </a:lnTo>
                      <a:lnTo>
                        <a:pt x="21886" y="10860"/>
                      </a:lnTo>
                      <a:lnTo>
                        <a:pt x="21761" y="10693"/>
                      </a:lnTo>
                      <a:lnTo>
                        <a:pt x="21363" y="10693"/>
                      </a:lnTo>
                      <a:lnTo>
                        <a:pt x="21259" y="10651"/>
                      </a:lnTo>
                      <a:lnTo>
                        <a:pt x="21133" y="10734"/>
                      </a:lnTo>
                      <a:lnTo>
                        <a:pt x="20987" y="10944"/>
                      </a:lnTo>
                      <a:lnTo>
                        <a:pt x="20966" y="11069"/>
                      </a:lnTo>
                      <a:lnTo>
                        <a:pt x="20924" y="11111"/>
                      </a:lnTo>
                      <a:lnTo>
                        <a:pt x="20861" y="11090"/>
                      </a:lnTo>
                      <a:lnTo>
                        <a:pt x="20840" y="11174"/>
                      </a:lnTo>
                      <a:lnTo>
                        <a:pt x="20924" y="11258"/>
                      </a:lnTo>
                      <a:lnTo>
                        <a:pt x="21091" y="11132"/>
                      </a:lnTo>
                      <a:lnTo>
                        <a:pt x="21300" y="11174"/>
                      </a:lnTo>
                      <a:lnTo>
                        <a:pt x="21405" y="11383"/>
                      </a:lnTo>
                      <a:lnTo>
                        <a:pt x="21280" y="11613"/>
                      </a:lnTo>
                      <a:lnTo>
                        <a:pt x="21133" y="11655"/>
                      </a:lnTo>
                      <a:lnTo>
                        <a:pt x="20861" y="11550"/>
                      </a:lnTo>
                      <a:lnTo>
                        <a:pt x="20715" y="11362"/>
                      </a:lnTo>
                      <a:lnTo>
                        <a:pt x="20610" y="11362"/>
                      </a:lnTo>
                      <a:lnTo>
                        <a:pt x="20443" y="11467"/>
                      </a:lnTo>
                      <a:lnTo>
                        <a:pt x="20401" y="11550"/>
                      </a:lnTo>
                      <a:lnTo>
                        <a:pt x="20317" y="11571"/>
                      </a:lnTo>
                      <a:lnTo>
                        <a:pt x="20505" y="11822"/>
                      </a:lnTo>
                      <a:lnTo>
                        <a:pt x="20568" y="11822"/>
                      </a:lnTo>
                      <a:lnTo>
                        <a:pt x="20631" y="11969"/>
                      </a:lnTo>
                      <a:lnTo>
                        <a:pt x="20840" y="12136"/>
                      </a:lnTo>
                      <a:lnTo>
                        <a:pt x="21028" y="12136"/>
                      </a:lnTo>
                      <a:lnTo>
                        <a:pt x="21112" y="12220"/>
                      </a:lnTo>
                      <a:lnTo>
                        <a:pt x="21405" y="12241"/>
                      </a:lnTo>
                      <a:lnTo>
                        <a:pt x="21489" y="12178"/>
                      </a:lnTo>
                      <a:lnTo>
                        <a:pt x="21531" y="12178"/>
                      </a:lnTo>
                      <a:lnTo>
                        <a:pt x="21572" y="12283"/>
                      </a:lnTo>
                      <a:lnTo>
                        <a:pt x="21782" y="12283"/>
                      </a:lnTo>
                      <a:lnTo>
                        <a:pt x="21824" y="12429"/>
                      </a:lnTo>
                      <a:lnTo>
                        <a:pt x="21907" y="12450"/>
                      </a:lnTo>
                      <a:lnTo>
                        <a:pt x="21928" y="12555"/>
                      </a:lnTo>
                      <a:lnTo>
                        <a:pt x="22158" y="12597"/>
                      </a:lnTo>
                      <a:lnTo>
                        <a:pt x="22263" y="12513"/>
                      </a:lnTo>
                      <a:lnTo>
                        <a:pt x="22200" y="12618"/>
                      </a:lnTo>
                      <a:lnTo>
                        <a:pt x="21949" y="12659"/>
                      </a:lnTo>
                      <a:lnTo>
                        <a:pt x="21803" y="12576"/>
                      </a:lnTo>
                      <a:lnTo>
                        <a:pt x="21698" y="12555"/>
                      </a:lnTo>
                      <a:lnTo>
                        <a:pt x="21531" y="12366"/>
                      </a:lnTo>
                      <a:lnTo>
                        <a:pt x="21426" y="12346"/>
                      </a:lnTo>
                      <a:lnTo>
                        <a:pt x="21321" y="12408"/>
                      </a:lnTo>
                      <a:lnTo>
                        <a:pt x="21196" y="12408"/>
                      </a:lnTo>
                      <a:lnTo>
                        <a:pt x="21091" y="12534"/>
                      </a:lnTo>
                      <a:lnTo>
                        <a:pt x="21049" y="12429"/>
                      </a:lnTo>
                      <a:lnTo>
                        <a:pt x="20945" y="12346"/>
                      </a:lnTo>
                      <a:lnTo>
                        <a:pt x="20840" y="12408"/>
                      </a:lnTo>
                      <a:lnTo>
                        <a:pt x="20631" y="12408"/>
                      </a:lnTo>
                      <a:lnTo>
                        <a:pt x="20464" y="12304"/>
                      </a:lnTo>
                      <a:lnTo>
                        <a:pt x="20338" y="12325"/>
                      </a:lnTo>
                      <a:lnTo>
                        <a:pt x="20296" y="12220"/>
                      </a:lnTo>
                      <a:lnTo>
                        <a:pt x="20401" y="12136"/>
                      </a:lnTo>
                      <a:lnTo>
                        <a:pt x="20401" y="12053"/>
                      </a:lnTo>
                      <a:lnTo>
                        <a:pt x="20296" y="11990"/>
                      </a:lnTo>
                      <a:lnTo>
                        <a:pt x="20296" y="11885"/>
                      </a:lnTo>
                      <a:lnTo>
                        <a:pt x="20108" y="11718"/>
                      </a:lnTo>
                      <a:lnTo>
                        <a:pt x="20024" y="11592"/>
                      </a:lnTo>
                      <a:lnTo>
                        <a:pt x="20087" y="11425"/>
                      </a:lnTo>
                      <a:lnTo>
                        <a:pt x="19982" y="11278"/>
                      </a:lnTo>
                      <a:lnTo>
                        <a:pt x="19982" y="11006"/>
                      </a:lnTo>
                      <a:lnTo>
                        <a:pt x="19836" y="10881"/>
                      </a:lnTo>
                      <a:lnTo>
                        <a:pt x="19836" y="10693"/>
                      </a:lnTo>
                      <a:lnTo>
                        <a:pt x="19794" y="10651"/>
                      </a:lnTo>
                      <a:lnTo>
                        <a:pt x="19710" y="10630"/>
                      </a:lnTo>
                      <a:lnTo>
                        <a:pt x="19689" y="10462"/>
                      </a:lnTo>
                      <a:lnTo>
                        <a:pt x="19522" y="10337"/>
                      </a:lnTo>
                      <a:lnTo>
                        <a:pt x="19459" y="10379"/>
                      </a:lnTo>
                      <a:lnTo>
                        <a:pt x="19689" y="10860"/>
                      </a:lnTo>
                      <a:lnTo>
                        <a:pt x="19752" y="11174"/>
                      </a:lnTo>
                      <a:lnTo>
                        <a:pt x="19710" y="11425"/>
                      </a:lnTo>
                      <a:lnTo>
                        <a:pt x="19522" y="11676"/>
                      </a:lnTo>
                      <a:lnTo>
                        <a:pt x="19396" y="11802"/>
                      </a:lnTo>
                      <a:lnTo>
                        <a:pt x="19396" y="11885"/>
                      </a:lnTo>
                      <a:lnTo>
                        <a:pt x="19480" y="11948"/>
                      </a:lnTo>
                      <a:lnTo>
                        <a:pt x="19501" y="12136"/>
                      </a:lnTo>
                      <a:lnTo>
                        <a:pt x="19417" y="12346"/>
                      </a:lnTo>
                      <a:lnTo>
                        <a:pt x="19417" y="12471"/>
                      </a:lnTo>
                      <a:lnTo>
                        <a:pt x="19627" y="12618"/>
                      </a:lnTo>
                      <a:lnTo>
                        <a:pt x="19899" y="12848"/>
                      </a:lnTo>
                      <a:lnTo>
                        <a:pt x="19940" y="12994"/>
                      </a:lnTo>
                      <a:lnTo>
                        <a:pt x="20108" y="12994"/>
                      </a:lnTo>
                      <a:lnTo>
                        <a:pt x="20233" y="13141"/>
                      </a:lnTo>
                      <a:lnTo>
                        <a:pt x="20338" y="13371"/>
                      </a:lnTo>
                      <a:lnTo>
                        <a:pt x="20317" y="13727"/>
                      </a:lnTo>
                      <a:lnTo>
                        <a:pt x="20275" y="13894"/>
                      </a:lnTo>
                      <a:lnTo>
                        <a:pt x="20422" y="14103"/>
                      </a:lnTo>
                      <a:lnTo>
                        <a:pt x="20380" y="14354"/>
                      </a:lnTo>
                      <a:lnTo>
                        <a:pt x="20464" y="14501"/>
                      </a:lnTo>
                      <a:lnTo>
                        <a:pt x="20673" y="14731"/>
                      </a:lnTo>
                      <a:lnTo>
                        <a:pt x="20715" y="14856"/>
                      </a:lnTo>
                      <a:lnTo>
                        <a:pt x="20673" y="15024"/>
                      </a:lnTo>
                      <a:lnTo>
                        <a:pt x="20736" y="15087"/>
                      </a:lnTo>
                      <a:lnTo>
                        <a:pt x="20882" y="15149"/>
                      </a:lnTo>
                      <a:lnTo>
                        <a:pt x="21070" y="15045"/>
                      </a:lnTo>
                      <a:lnTo>
                        <a:pt x="21280" y="15087"/>
                      </a:lnTo>
                      <a:lnTo>
                        <a:pt x="21363" y="15045"/>
                      </a:lnTo>
                      <a:lnTo>
                        <a:pt x="21384" y="14877"/>
                      </a:lnTo>
                      <a:lnTo>
                        <a:pt x="21510" y="14752"/>
                      </a:lnTo>
                      <a:lnTo>
                        <a:pt x="21677" y="14815"/>
                      </a:lnTo>
                      <a:lnTo>
                        <a:pt x="21782" y="14773"/>
                      </a:lnTo>
                      <a:lnTo>
                        <a:pt x="21991" y="14919"/>
                      </a:lnTo>
                      <a:lnTo>
                        <a:pt x="22116" y="14856"/>
                      </a:lnTo>
                      <a:lnTo>
                        <a:pt x="22200" y="14982"/>
                      </a:lnTo>
                      <a:lnTo>
                        <a:pt x="22451" y="15087"/>
                      </a:lnTo>
                      <a:lnTo>
                        <a:pt x="22640" y="15087"/>
                      </a:lnTo>
                      <a:lnTo>
                        <a:pt x="22765" y="15275"/>
                      </a:lnTo>
                      <a:lnTo>
                        <a:pt x="22765" y="15379"/>
                      </a:lnTo>
                      <a:lnTo>
                        <a:pt x="22953" y="15484"/>
                      </a:lnTo>
                      <a:lnTo>
                        <a:pt x="23016" y="15589"/>
                      </a:lnTo>
                      <a:lnTo>
                        <a:pt x="23037" y="15610"/>
                      </a:lnTo>
                      <a:lnTo>
                        <a:pt x="23058" y="15693"/>
                      </a:lnTo>
                      <a:lnTo>
                        <a:pt x="23142" y="15777"/>
                      </a:lnTo>
                      <a:lnTo>
                        <a:pt x="23058" y="15861"/>
                      </a:lnTo>
                      <a:lnTo>
                        <a:pt x="22953" y="15882"/>
                      </a:lnTo>
                      <a:lnTo>
                        <a:pt x="22953" y="16070"/>
                      </a:lnTo>
                      <a:lnTo>
                        <a:pt x="23037" y="16216"/>
                      </a:lnTo>
                      <a:lnTo>
                        <a:pt x="23121" y="16279"/>
                      </a:lnTo>
                      <a:lnTo>
                        <a:pt x="23079" y="16384"/>
                      </a:lnTo>
                      <a:lnTo>
                        <a:pt x="23163" y="16488"/>
                      </a:lnTo>
                      <a:lnTo>
                        <a:pt x="23288" y="16488"/>
                      </a:lnTo>
                      <a:lnTo>
                        <a:pt x="23372" y="16593"/>
                      </a:lnTo>
                      <a:lnTo>
                        <a:pt x="23518" y="16593"/>
                      </a:lnTo>
                      <a:lnTo>
                        <a:pt x="23602" y="16426"/>
                      </a:lnTo>
                      <a:lnTo>
                        <a:pt x="23665" y="16509"/>
                      </a:lnTo>
                      <a:lnTo>
                        <a:pt x="23769" y="16488"/>
                      </a:lnTo>
                      <a:lnTo>
                        <a:pt x="23832" y="16509"/>
                      </a:lnTo>
                      <a:lnTo>
                        <a:pt x="23790" y="16530"/>
                      </a:lnTo>
                      <a:lnTo>
                        <a:pt x="23728" y="16593"/>
                      </a:lnTo>
                      <a:lnTo>
                        <a:pt x="23560" y="16614"/>
                      </a:lnTo>
                      <a:lnTo>
                        <a:pt x="23456" y="16635"/>
                      </a:lnTo>
                      <a:lnTo>
                        <a:pt x="23288" y="16656"/>
                      </a:lnTo>
                      <a:lnTo>
                        <a:pt x="23142" y="16551"/>
                      </a:lnTo>
                      <a:lnTo>
                        <a:pt x="22995" y="16551"/>
                      </a:lnTo>
                      <a:lnTo>
                        <a:pt x="22932" y="16426"/>
                      </a:lnTo>
                      <a:lnTo>
                        <a:pt x="22974" y="16384"/>
                      </a:lnTo>
                      <a:lnTo>
                        <a:pt x="22953" y="16237"/>
                      </a:lnTo>
                      <a:lnTo>
                        <a:pt x="22849" y="16112"/>
                      </a:lnTo>
                      <a:lnTo>
                        <a:pt x="22828" y="15986"/>
                      </a:lnTo>
                      <a:lnTo>
                        <a:pt x="22723" y="15923"/>
                      </a:lnTo>
                      <a:lnTo>
                        <a:pt x="22744" y="15798"/>
                      </a:lnTo>
                      <a:lnTo>
                        <a:pt x="22619" y="15610"/>
                      </a:lnTo>
                      <a:lnTo>
                        <a:pt x="22556" y="15610"/>
                      </a:lnTo>
                      <a:lnTo>
                        <a:pt x="22430" y="15526"/>
                      </a:lnTo>
                      <a:lnTo>
                        <a:pt x="22242" y="15421"/>
                      </a:lnTo>
                      <a:lnTo>
                        <a:pt x="22242" y="15254"/>
                      </a:lnTo>
                      <a:lnTo>
                        <a:pt x="22054" y="15066"/>
                      </a:lnTo>
                      <a:lnTo>
                        <a:pt x="21907" y="15066"/>
                      </a:lnTo>
                      <a:lnTo>
                        <a:pt x="21677" y="15317"/>
                      </a:lnTo>
                      <a:lnTo>
                        <a:pt x="21510" y="15338"/>
                      </a:lnTo>
                      <a:lnTo>
                        <a:pt x="21405" y="15463"/>
                      </a:lnTo>
                      <a:lnTo>
                        <a:pt x="21217" y="15589"/>
                      </a:lnTo>
                      <a:lnTo>
                        <a:pt x="21259" y="15944"/>
                      </a:lnTo>
                      <a:lnTo>
                        <a:pt x="21321" y="16049"/>
                      </a:lnTo>
                      <a:lnTo>
                        <a:pt x="21572" y="16175"/>
                      </a:lnTo>
                      <a:lnTo>
                        <a:pt x="21761" y="16593"/>
                      </a:lnTo>
                      <a:lnTo>
                        <a:pt x="21719" y="16698"/>
                      </a:lnTo>
                      <a:lnTo>
                        <a:pt x="21531" y="17012"/>
                      </a:lnTo>
                      <a:lnTo>
                        <a:pt x="21510" y="17179"/>
                      </a:lnTo>
                      <a:lnTo>
                        <a:pt x="21614" y="17367"/>
                      </a:lnTo>
                      <a:lnTo>
                        <a:pt x="21510" y="17639"/>
                      </a:lnTo>
                      <a:lnTo>
                        <a:pt x="21510" y="17744"/>
                      </a:lnTo>
                      <a:lnTo>
                        <a:pt x="21363" y="17890"/>
                      </a:lnTo>
                      <a:lnTo>
                        <a:pt x="21363" y="17974"/>
                      </a:lnTo>
                      <a:lnTo>
                        <a:pt x="21259" y="18016"/>
                      </a:lnTo>
                      <a:lnTo>
                        <a:pt x="21175" y="18120"/>
                      </a:lnTo>
                      <a:lnTo>
                        <a:pt x="21175" y="18267"/>
                      </a:lnTo>
                      <a:lnTo>
                        <a:pt x="21259" y="18330"/>
                      </a:lnTo>
                      <a:lnTo>
                        <a:pt x="21259" y="18434"/>
                      </a:lnTo>
                      <a:lnTo>
                        <a:pt x="21070" y="18539"/>
                      </a:lnTo>
                      <a:lnTo>
                        <a:pt x="20840" y="18497"/>
                      </a:lnTo>
                      <a:lnTo>
                        <a:pt x="20798" y="18434"/>
                      </a:lnTo>
                      <a:lnTo>
                        <a:pt x="20589" y="18434"/>
                      </a:lnTo>
                      <a:lnTo>
                        <a:pt x="20380" y="18476"/>
                      </a:lnTo>
                      <a:lnTo>
                        <a:pt x="20212" y="18413"/>
                      </a:lnTo>
                      <a:lnTo>
                        <a:pt x="19794" y="18330"/>
                      </a:lnTo>
                      <a:lnTo>
                        <a:pt x="19627" y="18183"/>
                      </a:lnTo>
                      <a:lnTo>
                        <a:pt x="19585" y="18079"/>
                      </a:lnTo>
                      <a:lnTo>
                        <a:pt x="19396" y="18100"/>
                      </a:lnTo>
                      <a:lnTo>
                        <a:pt x="19334" y="18204"/>
                      </a:lnTo>
                      <a:lnTo>
                        <a:pt x="19313" y="18162"/>
                      </a:lnTo>
                      <a:lnTo>
                        <a:pt x="19229" y="18120"/>
                      </a:lnTo>
                      <a:lnTo>
                        <a:pt x="19313" y="17974"/>
                      </a:lnTo>
                      <a:lnTo>
                        <a:pt x="19480" y="17953"/>
                      </a:lnTo>
                      <a:lnTo>
                        <a:pt x="19794" y="17890"/>
                      </a:lnTo>
                      <a:lnTo>
                        <a:pt x="19836" y="17807"/>
                      </a:lnTo>
                      <a:lnTo>
                        <a:pt x="20108" y="17974"/>
                      </a:lnTo>
                      <a:lnTo>
                        <a:pt x="20171" y="17974"/>
                      </a:lnTo>
                      <a:lnTo>
                        <a:pt x="20212" y="17890"/>
                      </a:lnTo>
                      <a:lnTo>
                        <a:pt x="20338" y="17890"/>
                      </a:lnTo>
                      <a:lnTo>
                        <a:pt x="20338" y="17974"/>
                      </a:lnTo>
                      <a:lnTo>
                        <a:pt x="20150" y="18079"/>
                      </a:lnTo>
                      <a:lnTo>
                        <a:pt x="20254" y="18183"/>
                      </a:lnTo>
                      <a:lnTo>
                        <a:pt x="20464" y="18162"/>
                      </a:lnTo>
                      <a:lnTo>
                        <a:pt x="20547" y="18058"/>
                      </a:lnTo>
                      <a:lnTo>
                        <a:pt x="20673" y="17995"/>
                      </a:lnTo>
                      <a:lnTo>
                        <a:pt x="20673" y="17911"/>
                      </a:lnTo>
                      <a:lnTo>
                        <a:pt x="20568" y="17786"/>
                      </a:lnTo>
                      <a:lnTo>
                        <a:pt x="20568" y="17702"/>
                      </a:lnTo>
                      <a:lnTo>
                        <a:pt x="20694" y="17786"/>
                      </a:lnTo>
                      <a:lnTo>
                        <a:pt x="20756" y="17702"/>
                      </a:lnTo>
                      <a:lnTo>
                        <a:pt x="20756" y="17472"/>
                      </a:lnTo>
                      <a:lnTo>
                        <a:pt x="20882" y="17388"/>
                      </a:lnTo>
                      <a:lnTo>
                        <a:pt x="20861" y="17325"/>
                      </a:lnTo>
                      <a:lnTo>
                        <a:pt x="20777" y="17346"/>
                      </a:lnTo>
                      <a:lnTo>
                        <a:pt x="20756" y="17284"/>
                      </a:lnTo>
                      <a:lnTo>
                        <a:pt x="20882" y="17242"/>
                      </a:lnTo>
                      <a:lnTo>
                        <a:pt x="20882" y="17012"/>
                      </a:lnTo>
                      <a:lnTo>
                        <a:pt x="20840" y="16928"/>
                      </a:lnTo>
                      <a:lnTo>
                        <a:pt x="20903" y="16823"/>
                      </a:lnTo>
                      <a:lnTo>
                        <a:pt x="20903" y="16760"/>
                      </a:lnTo>
                      <a:lnTo>
                        <a:pt x="21008" y="16698"/>
                      </a:lnTo>
                      <a:lnTo>
                        <a:pt x="20987" y="16509"/>
                      </a:lnTo>
                      <a:lnTo>
                        <a:pt x="20861" y="16384"/>
                      </a:lnTo>
                      <a:lnTo>
                        <a:pt x="20777" y="16175"/>
                      </a:lnTo>
                      <a:lnTo>
                        <a:pt x="20798" y="16007"/>
                      </a:lnTo>
                      <a:lnTo>
                        <a:pt x="20798" y="15882"/>
                      </a:lnTo>
                      <a:lnTo>
                        <a:pt x="20861" y="15903"/>
                      </a:lnTo>
                      <a:lnTo>
                        <a:pt x="20861" y="15819"/>
                      </a:lnTo>
                      <a:lnTo>
                        <a:pt x="20673" y="15651"/>
                      </a:lnTo>
                      <a:lnTo>
                        <a:pt x="20589" y="15610"/>
                      </a:lnTo>
                      <a:lnTo>
                        <a:pt x="20526" y="15505"/>
                      </a:lnTo>
                      <a:lnTo>
                        <a:pt x="20338" y="15463"/>
                      </a:lnTo>
                      <a:lnTo>
                        <a:pt x="20108" y="15170"/>
                      </a:lnTo>
                      <a:lnTo>
                        <a:pt x="20045" y="14940"/>
                      </a:lnTo>
                      <a:lnTo>
                        <a:pt x="20003" y="14877"/>
                      </a:lnTo>
                      <a:lnTo>
                        <a:pt x="20045" y="14794"/>
                      </a:lnTo>
                      <a:lnTo>
                        <a:pt x="19919" y="14710"/>
                      </a:lnTo>
                      <a:lnTo>
                        <a:pt x="19836" y="14563"/>
                      </a:lnTo>
                      <a:lnTo>
                        <a:pt x="19899" y="14417"/>
                      </a:lnTo>
                      <a:lnTo>
                        <a:pt x="19710" y="14145"/>
                      </a:lnTo>
                      <a:lnTo>
                        <a:pt x="19710" y="13978"/>
                      </a:lnTo>
                      <a:lnTo>
                        <a:pt x="19585" y="13831"/>
                      </a:lnTo>
                      <a:lnTo>
                        <a:pt x="19606" y="13768"/>
                      </a:lnTo>
                      <a:lnTo>
                        <a:pt x="19606" y="13685"/>
                      </a:lnTo>
                      <a:lnTo>
                        <a:pt x="19501" y="13580"/>
                      </a:lnTo>
                      <a:lnTo>
                        <a:pt x="19438" y="13224"/>
                      </a:lnTo>
                      <a:lnTo>
                        <a:pt x="19375" y="13078"/>
                      </a:lnTo>
                      <a:lnTo>
                        <a:pt x="19229" y="12973"/>
                      </a:lnTo>
                      <a:lnTo>
                        <a:pt x="19292" y="12910"/>
                      </a:lnTo>
                      <a:lnTo>
                        <a:pt x="19250" y="12848"/>
                      </a:lnTo>
                      <a:lnTo>
                        <a:pt x="19166" y="12869"/>
                      </a:lnTo>
                      <a:lnTo>
                        <a:pt x="19166" y="12848"/>
                      </a:lnTo>
                      <a:lnTo>
                        <a:pt x="19041" y="12806"/>
                      </a:lnTo>
                      <a:lnTo>
                        <a:pt x="18957" y="12638"/>
                      </a:lnTo>
                      <a:lnTo>
                        <a:pt x="18831" y="12534"/>
                      </a:lnTo>
                      <a:lnTo>
                        <a:pt x="18769" y="12408"/>
                      </a:lnTo>
                      <a:lnTo>
                        <a:pt x="18852" y="12387"/>
                      </a:lnTo>
                      <a:lnTo>
                        <a:pt x="18873" y="12283"/>
                      </a:lnTo>
                      <a:lnTo>
                        <a:pt x="18831" y="12178"/>
                      </a:lnTo>
                      <a:lnTo>
                        <a:pt x="18852" y="12094"/>
                      </a:lnTo>
                      <a:lnTo>
                        <a:pt x="18790" y="11990"/>
                      </a:lnTo>
                      <a:lnTo>
                        <a:pt x="18852" y="11676"/>
                      </a:lnTo>
                      <a:lnTo>
                        <a:pt x="18769" y="11488"/>
                      </a:lnTo>
                      <a:lnTo>
                        <a:pt x="18769" y="11278"/>
                      </a:lnTo>
                      <a:lnTo>
                        <a:pt x="18727" y="11195"/>
                      </a:lnTo>
                      <a:lnTo>
                        <a:pt x="18727" y="11069"/>
                      </a:lnTo>
                      <a:lnTo>
                        <a:pt x="18643" y="10944"/>
                      </a:lnTo>
                      <a:lnTo>
                        <a:pt x="18748" y="10881"/>
                      </a:lnTo>
                      <a:lnTo>
                        <a:pt x="18685" y="10776"/>
                      </a:lnTo>
                      <a:lnTo>
                        <a:pt x="18559" y="10755"/>
                      </a:lnTo>
                      <a:lnTo>
                        <a:pt x="18413" y="10755"/>
                      </a:lnTo>
                      <a:lnTo>
                        <a:pt x="18057" y="10630"/>
                      </a:lnTo>
                      <a:lnTo>
                        <a:pt x="17932" y="10630"/>
                      </a:lnTo>
                      <a:lnTo>
                        <a:pt x="17890" y="10672"/>
                      </a:lnTo>
                      <a:lnTo>
                        <a:pt x="17785" y="10630"/>
                      </a:lnTo>
                      <a:lnTo>
                        <a:pt x="17681" y="10630"/>
                      </a:lnTo>
                      <a:lnTo>
                        <a:pt x="17534" y="10714"/>
                      </a:lnTo>
                      <a:lnTo>
                        <a:pt x="17388" y="10714"/>
                      </a:lnTo>
                      <a:lnTo>
                        <a:pt x="17262" y="10755"/>
                      </a:lnTo>
                      <a:lnTo>
                        <a:pt x="17220" y="10714"/>
                      </a:lnTo>
                      <a:lnTo>
                        <a:pt x="17262" y="10651"/>
                      </a:lnTo>
                      <a:lnTo>
                        <a:pt x="17158" y="10609"/>
                      </a:lnTo>
                      <a:lnTo>
                        <a:pt x="17053" y="10630"/>
                      </a:lnTo>
                      <a:lnTo>
                        <a:pt x="17074" y="10860"/>
                      </a:lnTo>
                      <a:lnTo>
                        <a:pt x="17053" y="11069"/>
                      </a:lnTo>
                      <a:lnTo>
                        <a:pt x="17158" y="11195"/>
                      </a:lnTo>
                      <a:lnTo>
                        <a:pt x="17116" y="11258"/>
                      </a:lnTo>
                      <a:lnTo>
                        <a:pt x="17074" y="11467"/>
                      </a:lnTo>
                      <a:lnTo>
                        <a:pt x="17158" y="11550"/>
                      </a:lnTo>
                      <a:lnTo>
                        <a:pt x="17158" y="11676"/>
                      </a:lnTo>
                      <a:lnTo>
                        <a:pt x="17199" y="11760"/>
                      </a:lnTo>
                      <a:lnTo>
                        <a:pt x="17158" y="11822"/>
                      </a:lnTo>
                      <a:lnTo>
                        <a:pt x="17158" y="12011"/>
                      </a:lnTo>
                      <a:lnTo>
                        <a:pt x="17220" y="12136"/>
                      </a:lnTo>
                      <a:lnTo>
                        <a:pt x="17158" y="12304"/>
                      </a:lnTo>
                      <a:lnTo>
                        <a:pt x="17158" y="12408"/>
                      </a:lnTo>
                      <a:lnTo>
                        <a:pt x="17199" y="12534"/>
                      </a:lnTo>
                      <a:lnTo>
                        <a:pt x="17178" y="12618"/>
                      </a:lnTo>
                      <a:lnTo>
                        <a:pt x="17053" y="12701"/>
                      </a:lnTo>
                      <a:lnTo>
                        <a:pt x="16844" y="13015"/>
                      </a:lnTo>
                      <a:lnTo>
                        <a:pt x="16760" y="13057"/>
                      </a:lnTo>
                      <a:lnTo>
                        <a:pt x="16781" y="13162"/>
                      </a:lnTo>
                      <a:lnTo>
                        <a:pt x="16865" y="13266"/>
                      </a:lnTo>
                      <a:lnTo>
                        <a:pt x="16802" y="13371"/>
                      </a:lnTo>
                      <a:lnTo>
                        <a:pt x="16781" y="13559"/>
                      </a:lnTo>
                      <a:lnTo>
                        <a:pt x="16906" y="13685"/>
                      </a:lnTo>
                      <a:lnTo>
                        <a:pt x="16990" y="13643"/>
                      </a:lnTo>
                      <a:lnTo>
                        <a:pt x="17074" y="13706"/>
                      </a:lnTo>
                      <a:lnTo>
                        <a:pt x="17158" y="13915"/>
                      </a:lnTo>
                      <a:lnTo>
                        <a:pt x="17283" y="13915"/>
                      </a:lnTo>
                      <a:lnTo>
                        <a:pt x="17388" y="14019"/>
                      </a:lnTo>
                      <a:lnTo>
                        <a:pt x="17304" y="13999"/>
                      </a:lnTo>
                      <a:lnTo>
                        <a:pt x="17220" y="14103"/>
                      </a:lnTo>
                      <a:lnTo>
                        <a:pt x="17220" y="14271"/>
                      </a:lnTo>
                      <a:lnTo>
                        <a:pt x="17409" y="14396"/>
                      </a:lnTo>
                      <a:lnTo>
                        <a:pt x="17409" y="14522"/>
                      </a:lnTo>
                      <a:lnTo>
                        <a:pt x="17325" y="14605"/>
                      </a:lnTo>
                      <a:lnTo>
                        <a:pt x="17262" y="14543"/>
                      </a:lnTo>
                      <a:lnTo>
                        <a:pt x="17262" y="14626"/>
                      </a:lnTo>
                      <a:lnTo>
                        <a:pt x="17367" y="14898"/>
                      </a:lnTo>
                      <a:lnTo>
                        <a:pt x="17430" y="14961"/>
                      </a:lnTo>
                      <a:lnTo>
                        <a:pt x="17492" y="15149"/>
                      </a:lnTo>
                      <a:lnTo>
                        <a:pt x="17534" y="15066"/>
                      </a:lnTo>
                      <a:lnTo>
                        <a:pt x="17639" y="15149"/>
                      </a:lnTo>
                      <a:lnTo>
                        <a:pt x="17764" y="15149"/>
                      </a:lnTo>
                      <a:lnTo>
                        <a:pt x="17911" y="15233"/>
                      </a:lnTo>
                      <a:lnTo>
                        <a:pt x="18015" y="15066"/>
                      </a:lnTo>
                      <a:lnTo>
                        <a:pt x="18057" y="15128"/>
                      </a:lnTo>
                      <a:lnTo>
                        <a:pt x="18057" y="15338"/>
                      </a:lnTo>
                      <a:lnTo>
                        <a:pt x="18141" y="15442"/>
                      </a:lnTo>
                      <a:lnTo>
                        <a:pt x="18183" y="15463"/>
                      </a:lnTo>
                      <a:lnTo>
                        <a:pt x="18434" y="15756"/>
                      </a:lnTo>
                      <a:lnTo>
                        <a:pt x="18559" y="15777"/>
                      </a:lnTo>
                      <a:lnTo>
                        <a:pt x="18643" y="15735"/>
                      </a:lnTo>
                      <a:lnTo>
                        <a:pt x="18748" y="15735"/>
                      </a:lnTo>
                      <a:lnTo>
                        <a:pt x="18769" y="15777"/>
                      </a:lnTo>
                      <a:lnTo>
                        <a:pt x="18873" y="15777"/>
                      </a:lnTo>
                      <a:lnTo>
                        <a:pt x="18769" y="15861"/>
                      </a:lnTo>
                      <a:lnTo>
                        <a:pt x="18769" y="16175"/>
                      </a:lnTo>
                      <a:lnTo>
                        <a:pt x="18748" y="16258"/>
                      </a:lnTo>
                      <a:lnTo>
                        <a:pt x="18811" y="16384"/>
                      </a:lnTo>
                      <a:lnTo>
                        <a:pt x="18790" y="16426"/>
                      </a:lnTo>
                      <a:lnTo>
                        <a:pt x="18706" y="16426"/>
                      </a:lnTo>
                      <a:lnTo>
                        <a:pt x="18748" y="16593"/>
                      </a:lnTo>
                      <a:lnTo>
                        <a:pt x="18748" y="16677"/>
                      </a:lnTo>
                      <a:lnTo>
                        <a:pt x="18601" y="16635"/>
                      </a:lnTo>
                      <a:lnTo>
                        <a:pt x="18476" y="16384"/>
                      </a:lnTo>
                      <a:lnTo>
                        <a:pt x="18329" y="16258"/>
                      </a:lnTo>
                      <a:lnTo>
                        <a:pt x="18141" y="16216"/>
                      </a:lnTo>
                      <a:lnTo>
                        <a:pt x="18057" y="16070"/>
                      </a:lnTo>
                      <a:lnTo>
                        <a:pt x="17932" y="15965"/>
                      </a:lnTo>
                      <a:lnTo>
                        <a:pt x="17618" y="15944"/>
                      </a:lnTo>
                      <a:lnTo>
                        <a:pt x="17304" y="15756"/>
                      </a:lnTo>
                      <a:lnTo>
                        <a:pt x="17116" y="15735"/>
                      </a:lnTo>
                      <a:lnTo>
                        <a:pt x="17095" y="15631"/>
                      </a:lnTo>
                      <a:lnTo>
                        <a:pt x="17011" y="15631"/>
                      </a:lnTo>
                      <a:lnTo>
                        <a:pt x="16906" y="15547"/>
                      </a:lnTo>
                      <a:lnTo>
                        <a:pt x="16760" y="15589"/>
                      </a:lnTo>
                      <a:lnTo>
                        <a:pt x="16655" y="15693"/>
                      </a:lnTo>
                      <a:lnTo>
                        <a:pt x="16593" y="15568"/>
                      </a:lnTo>
                      <a:lnTo>
                        <a:pt x="16614" y="15526"/>
                      </a:lnTo>
                      <a:lnTo>
                        <a:pt x="16593" y="15442"/>
                      </a:lnTo>
                      <a:lnTo>
                        <a:pt x="16237" y="15317"/>
                      </a:lnTo>
                      <a:lnTo>
                        <a:pt x="16070" y="15212"/>
                      </a:lnTo>
                      <a:lnTo>
                        <a:pt x="15526" y="15170"/>
                      </a:lnTo>
                      <a:lnTo>
                        <a:pt x="15086" y="15233"/>
                      </a:lnTo>
                      <a:lnTo>
                        <a:pt x="14982" y="15191"/>
                      </a:lnTo>
                      <a:lnTo>
                        <a:pt x="14877" y="15233"/>
                      </a:lnTo>
                      <a:lnTo>
                        <a:pt x="14772" y="15170"/>
                      </a:lnTo>
                      <a:lnTo>
                        <a:pt x="14710" y="15212"/>
                      </a:lnTo>
                      <a:lnTo>
                        <a:pt x="14605" y="15170"/>
                      </a:lnTo>
                      <a:lnTo>
                        <a:pt x="14521" y="15233"/>
                      </a:lnTo>
                      <a:lnTo>
                        <a:pt x="14584" y="15359"/>
                      </a:lnTo>
                      <a:lnTo>
                        <a:pt x="14584" y="15463"/>
                      </a:lnTo>
                      <a:lnTo>
                        <a:pt x="14458" y="15505"/>
                      </a:lnTo>
                      <a:lnTo>
                        <a:pt x="14458" y="15568"/>
                      </a:lnTo>
                      <a:lnTo>
                        <a:pt x="14521" y="15693"/>
                      </a:lnTo>
                      <a:lnTo>
                        <a:pt x="14605" y="15756"/>
                      </a:lnTo>
                      <a:lnTo>
                        <a:pt x="14668" y="15965"/>
                      </a:lnTo>
                      <a:lnTo>
                        <a:pt x="14710" y="16070"/>
                      </a:lnTo>
                      <a:lnTo>
                        <a:pt x="14751" y="15965"/>
                      </a:lnTo>
                      <a:lnTo>
                        <a:pt x="14814" y="15965"/>
                      </a:lnTo>
                      <a:lnTo>
                        <a:pt x="14919" y="16133"/>
                      </a:lnTo>
                      <a:lnTo>
                        <a:pt x="14919" y="16237"/>
                      </a:lnTo>
                      <a:lnTo>
                        <a:pt x="15044" y="16279"/>
                      </a:lnTo>
                      <a:lnTo>
                        <a:pt x="15212" y="16447"/>
                      </a:lnTo>
                      <a:lnTo>
                        <a:pt x="15044" y="16426"/>
                      </a:lnTo>
                      <a:lnTo>
                        <a:pt x="15002" y="16384"/>
                      </a:lnTo>
                      <a:lnTo>
                        <a:pt x="14919" y="16384"/>
                      </a:lnTo>
                      <a:lnTo>
                        <a:pt x="14877" y="16551"/>
                      </a:lnTo>
                      <a:lnTo>
                        <a:pt x="14772" y="16635"/>
                      </a:lnTo>
                      <a:lnTo>
                        <a:pt x="14605" y="16551"/>
                      </a:lnTo>
                      <a:lnTo>
                        <a:pt x="14521" y="16614"/>
                      </a:lnTo>
                      <a:lnTo>
                        <a:pt x="14521" y="16656"/>
                      </a:lnTo>
                      <a:lnTo>
                        <a:pt x="14668" y="16823"/>
                      </a:lnTo>
                      <a:lnTo>
                        <a:pt x="14710" y="16865"/>
                      </a:lnTo>
                      <a:lnTo>
                        <a:pt x="14710" y="16949"/>
                      </a:lnTo>
                      <a:lnTo>
                        <a:pt x="14668" y="17032"/>
                      </a:lnTo>
                      <a:lnTo>
                        <a:pt x="14375" y="17032"/>
                      </a:lnTo>
                      <a:lnTo>
                        <a:pt x="14291" y="16949"/>
                      </a:lnTo>
                      <a:lnTo>
                        <a:pt x="14312" y="16865"/>
                      </a:lnTo>
                      <a:lnTo>
                        <a:pt x="14270" y="16760"/>
                      </a:lnTo>
                      <a:lnTo>
                        <a:pt x="14375" y="16698"/>
                      </a:lnTo>
                      <a:lnTo>
                        <a:pt x="14375" y="16635"/>
                      </a:lnTo>
                      <a:lnTo>
                        <a:pt x="14270" y="16530"/>
                      </a:lnTo>
                      <a:lnTo>
                        <a:pt x="14186" y="16509"/>
                      </a:lnTo>
                      <a:lnTo>
                        <a:pt x="14270" y="16405"/>
                      </a:lnTo>
                      <a:lnTo>
                        <a:pt x="14249" y="16384"/>
                      </a:lnTo>
                      <a:lnTo>
                        <a:pt x="14165" y="16426"/>
                      </a:lnTo>
                      <a:lnTo>
                        <a:pt x="14103" y="16426"/>
                      </a:lnTo>
                      <a:lnTo>
                        <a:pt x="13956" y="16593"/>
                      </a:lnTo>
                      <a:lnTo>
                        <a:pt x="13873" y="16614"/>
                      </a:lnTo>
                      <a:lnTo>
                        <a:pt x="13768" y="16719"/>
                      </a:lnTo>
                      <a:lnTo>
                        <a:pt x="13768" y="16760"/>
                      </a:lnTo>
                      <a:lnTo>
                        <a:pt x="13642" y="16760"/>
                      </a:lnTo>
                      <a:lnTo>
                        <a:pt x="13580" y="16844"/>
                      </a:lnTo>
                      <a:lnTo>
                        <a:pt x="13580" y="16928"/>
                      </a:lnTo>
                      <a:lnTo>
                        <a:pt x="13517" y="16970"/>
                      </a:lnTo>
                      <a:lnTo>
                        <a:pt x="13245" y="16970"/>
                      </a:lnTo>
                      <a:lnTo>
                        <a:pt x="13161" y="16949"/>
                      </a:lnTo>
                      <a:lnTo>
                        <a:pt x="13119" y="16970"/>
                      </a:lnTo>
                      <a:lnTo>
                        <a:pt x="13036" y="16970"/>
                      </a:lnTo>
                      <a:lnTo>
                        <a:pt x="12952" y="16928"/>
                      </a:lnTo>
                      <a:lnTo>
                        <a:pt x="12805" y="17032"/>
                      </a:lnTo>
                      <a:lnTo>
                        <a:pt x="12785" y="17074"/>
                      </a:lnTo>
                      <a:lnTo>
                        <a:pt x="12680" y="17116"/>
                      </a:lnTo>
                      <a:lnTo>
                        <a:pt x="12575" y="17221"/>
                      </a:lnTo>
                      <a:lnTo>
                        <a:pt x="12575" y="17263"/>
                      </a:lnTo>
                      <a:lnTo>
                        <a:pt x="12638" y="17325"/>
                      </a:lnTo>
                      <a:lnTo>
                        <a:pt x="12617" y="17388"/>
                      </a:lnTo>
                      <a:lnTo>
                        <a:pt x="12638" y="17472"/>
                      </a:lnTo>
                      <a:lnTo>
                        <a:pt x="12617" y="17535"/>
                      </a:lnTo>
                      <a:lnTo>
                        <a:pt x="12513" y="17451"/>
                      </a:lnTo>
                      <a:lnTo>
                        <a:pt x="12471" y="17367"/>
                      </a:lnTo>
                      <a:lnTo>
                        <a:pt x="12408" y="17367"/>
                      </a:lnTo>
                      <a:lnTo>
                        <a:pt x="12282" y="17493"/>
                      </a:lnTo>
                      <a:lnTo>
                        <a:pt x="12220" y="17639"/>
                      </a:lnTo>
                      <a:lnTo>
                        <a:pt x="12220" y="17493"/>
                      </a:lnTo>
                      <a:lnTo>
                        <a:pt x="12094" y="17451"/>
                      </a:lnTo>
                      <a:lnTo>
                        <a:pt x="12010" y="17493"/>
                      </a:lnTo>
                      <a:lnTo>
                        <a:pt x="11948" y="17493"/>
                      </a:lnTo>
                      <a:lnTo>
                        <a:pt x="11864" y="17535"/>
                      </a:lnTo>
                      <a:lnTo>
                        <a:pt x="11759" y="17493"/>
                      </a:lnTo>
                      <a:lnTo>
                        <a:pt x="11738" y="17388"/>
                      </a:lnTo>
                      <a:lnTo>
                        <a:pt x="11864" y="17284"/>
                      </a:lnTo>
                      <a:lnTo>
                        <a:pt x="11969" y="17284"/>
                      </a:lnTo>
                      <a:lnTo>
                        <a:pt x="12010" y="17221"/>
                      </a:lnTo>
                      <a:lnTo>
                        <a:pt x="11948" y="17074"/>
                      </a:lnTo>
                      <a:lnTo>
                        <a:pt x="11969" y="17032"/>
                      </a:lnTo>
                      <a:lnTo>
                        <a:pt x="12052" y="16970"/>
                      </a:lnTo>
                      <a:lnTo>
                        <a:pt x="11906" y="16844"/>
                      </a:lnTo>
                      <a:lnTo>
                        <a:pt x="11864" y="16865"/>
                      </a:lnTo>
                      <a:lnTo>
                        <a:pt x="11780" y="16844"/>
                      </a:lnTo>
                      <a:lnTo>
                        <a:pt x="11759" y="16802"/>
                      </a:lnTo>
                      <a:lnTo>
                        <a:pt x="11969" y="16698"/>
                      </a:lnTo>
                      <a:lnTo>
                        <a:pt x="12052" y="16698"/>
                      </a:lnTo>
                      <a:lnTo>
                        <a:pt x="12157" y="16635"/>
                      </a:lnTo>
                      <a:lnTo>
                        <a:pt x="12115" y="16593"/>
                      </a:lnTo>
                      <a:lnTo>
                        <a:pt x="11906" y="16614"/>
                      </a:lnTo>
                      <a:lnTo>
                        <a:pt x="11592" y="16740"/>
                      </a:lnTo>
                      <a:lnTo>
                        <a:pt x="11529" y="16823"/>
                      </a:lnTo>
                      <a:lnTo>
                        <a:pt x="11571" y="16886"/>
                      </a:lnTo>
                      <a:lnTo>
                        <a:pt x="11592" y="16970"/>
                      </a:lnTo>
                      <a:lnTo>
                        <a:pt x="11655" y="17053"/>
                      </a:lnTo>
                      <a:lnTo>
                        <a:pt x="11592" y="17137"/>
                      </a:lnTo>
                      <a:lnTo>
                        <a:pt x="11529" y="17158"/>
                      </a:lnTo>
                      <a:lnTo>
                        <a:pt x="11425" y="17053"/>
                      </a:lnTo>
                      <a:lnTo>
                        <a:pt x="11445" y="17012"/>
                      </a:lnTo>
                      <a:lnTo>
                        <a:pt x="11487" y="16991"/>
                      </a:lnTo>
                      <a:lnTo>
                        <a:pt x="11466" y="16907"/>
                      </a:lnTo>
                      <a:lnTo>
                        <a:pt x="11445" y="16907"/>
                      </a:lnTo>
                      <a:lnTo>
                        <a:pt x="11236" y="17116"/>
                      </a:lnTo>
                      <a:lnTo>
                        <a:pt x="11236" y="17158"/>
                      </a:lnTo>
                      <a:lnTo>
                        <a:pt x="11320" y="17242"/>
                      </a:lnTo>
                      <a:lnTo>
                        <a:pt x="11383" y="17263"/>
                      </a:lnTo>
                      <a:lnTo>
                        <a:pt x="11383" y="17346"/>
                      </a:lnTo>
                      <a:lnTo>
                        <a:pt x="11257" y="17472"/>
                      </a:lnTo>
                      <a:lnTo>
                        <a:pt x="11215" y="17430"/>
                      </a:lnTo>
                      <a:lnTo>
                        <a:pt x="11257" y="17346"/>
                      </a:lnTo>
                      <a:lnTo>
                        <a:pt x="11236" y="17263"/>
                      </a:lnTo>
                      <a:lnTo>
                        <a:pt x="11173" y="17263"/>
                      </a:lnTo>
                      <a:lnTo>
                        <a:pt x="11173" y="17200"/>
                      </a:lnTo>
                      <a:lnTo>
                        <a:pt x="10943" y="17263"/>
                      </a:lnTo>
                      <a:lnTo>
                        <a:pt x="10922" y="17346"/>
                      </a:lnTo>
                      <a:lnTo>
                        <a:pt x="10755" y="17430"/>
                      </a:lnTo>
                      <a:lnTo>
                        <a:pt x="10629" y="17409"/>
                      </a:lnTo>
                      <a:lnTo>
                        <a:pt x="10546" y="17430"/>
                      </a:lnTo>
                      <a:lnTo>
                        <a:pt x="10546" y="17472"/>
                      </a:lnTo>
                      <a:lnTo>
                        <a:pt x="10316" y="17765"/>
                      </a:lnTo>
                      <a:lnTo>
                        <a:pt x="10274" y="17786"/>
                      </a:lnTo>
                      <a:lnTo>
                        <a:pt x="10064" y="18058"/>
                      </a:lnTo>
                      <a:lnTo>
                        <a:pt x="9960" y="18100"/>
                      </a:lnTo>
                      <a:lnTo>
                        <a:pt x="9876" y="18037"/>
                      </a:lnTo>
                      <a:lnTo>
                        <a:pt x="9813" y="18037"/>
                      </a:lnTo>
                      <a:lnTo>
                        <a:pt x="9876" y="18141"/>
                      </a:lnTo>
                      <a:lnTo>
                        <a:pt x="10023" y="18246"/>
                      </a:lnTo>
                      <a:lnTo>
                        <a:pt x="10064" y="18309"/>
                      </a:lnTo>
                      <a:lnTo>
                        <a:pt x="10064" y="18309"/>
                      </a:lnTo>
                      <a:lnTo>
                        <a:pt x="9876" y="18246"/>
                      </a:lnTo>
                      <a:lnTo>
                        <a:pt x="9813" y="18288"/>
                      </a:lnTo>
                      <a:lnTo>
                        <a:pt x="9500" y="18309"/>
                      </a:lnTo>
                      <a:lnTo>
                        <a:pt x="9458" y="18372"/>
                      </a:lnTo>
                      <a:lnTo>
                        <a:pt x="9541" y="18476"/>
                      </a:lnTo>
                      <a:lnTo>
                        <a:pt x="9541" y="18581"/>
                      </a:lnTo>
                      <a:lnTo>
                        <a:pt x="9458" y="18706"/>
                      </a:lnTo>
                      <a:lnTo>
                        <a:pt x="9500" y="18895"/>
                      </a:lnTo>
                      <a:lnTo>
                        <a:pt x="9458" y="19020"/>
                      </a:lnTo>
                      <a:lnTo>
                        <a:pt x="9248" y="19104"/>
                      </a:lnTo>
                      <a:lnTo>
                        <a:pt x="9228" y="19146"/>
                      </a:lnTo>
                      <a:lnTo>
                        <a:pt x="9081" y="19146"/>
                      </a:lnTo>
                      <a:lnTo>
                        <a:pt x="9039" y="19229"/>
                      </a:lnTo>
                      <a:lnTo>
                        <a:pt x="8956" y="19104"/>
                      </a:lnTo>
                      <a:lnTo>
                        <a:pt x="8809" y="19208"/>
                      </a:lnTo>
                      <a:lnTo>
                        <a:pt x="8579" y="19208"/>
                      </a:lnTo>
                      <a:lnTo>
                        <a:pt x="8328" y="18916"/>
                      </a:lnTo>
                      <a:lnTo>
                        <a:pt x="8098" y="18706"/>
                      </a:lnTo>
                      <a:lnTo>
                        <a:pt x="8014" y="18644"/>
                      </a:lnTo>
                      <a:lnTo>
                        <a:pt x="8014" y="18476"/>
                      </a:lnTo>
                      <a:lnTo>
                        <a:pt x="8056" y="18413"/>
                      </a:lnTo>
                      <a:lnTo>
                        <a:pt x="8098" y="18455"/>
                      </a:lnTo>
                      <a:lnTo>
                        <a:pt x="8160" y="18372"/>
                      </a:lnTo>
                      <a:lnTo>
                        <a:pt x="8119" y="18309"/>
                      </a:lnTo>
                      <a:lnTo>
                        <a:pt x="8181" y="18267"/>
                      </a:lnTo>
                      <a:lnTo>
                        <a:pt x="8370" y="18267"/>
                      </a:lnTo>
                      <a:lnTo>
                        <a:pt x="8412" y="18183"/>
                      </a:lnTo>
                      <a:lnTo>
                        <a:pt x="8621" y="18183"/>
                      </a:lnTo>
                      <a:lnTo>
                        <a:pt x="8642" y="18100"/>
                      </a:lnTo>
                      <a:lnTo>
                        <a:pt x="8495" y="17890"/>
                      </a:lnTo>
                      <a:lnTo>
                        <a:pt x="8474" y="17807"/>
                      </a:lnTo>
                      <a:lnTo>
                        <a:pt x="8328" y="17786"/>
                      </a:lnTo>
                      <a:lnTo>
                        <a:pt x="8202" y="17660"/>
                      </a:lnTo>
                      <a:lnTo>
                        <a:pt x="8202" y="17556"/>
                      </a:lnTo>
                      <a:lnTo>
                        <a:pt x="8077" y="17451"/>
                      </a:lnTo>
                      <a:lnTo>
                        <a:pt x="7763" y="17430"/>
                      </a:lnTo>
                      <a:lnTo>
                        <a:pt x="7554" y="17451"/>
                      </a:lnTo>
                      <a:lnTo>
                        <a:pt x="7449" y="17493"/>
                      </a:lnTo>
                      <a:lnTo>
                        <a:pt x="7323" y="17493"/>
                      </a:lnTo>
                      <a:lnTo>
                        <a:pt x="7072" y="17346"/>
                      </a:lnTo>
                      <a:lnTo>
                        <a:pt x="6947" y="17346"/>
                      </a:lnTo>
                      <a:lnTo>
                        <a:pt x="6947" y="17388"/>
                      </a:lnTo>
                      <a:lnTo>
                        <a:pt x="7240" y="17639"/>
                      </a:lnTo>
                      <a:lnTo>
                        <a:pt x="7386" y="17744"/>
                      </a:lnTo>
                      <a:lnTo>
                        <a:pt x="7470" y="17974"/>
                      </a:lnTo>
                      <a:lnTo>
                        <a:pt x="7470" y="18100"/>
                      </a:lnTo>
                      <a:lnTo>
                        <a:pt x="7533" y="18183"/>
                      </a:lnTo>
                      <a:lnTo>
                        <a:pt x="7470" y="18225"/>
                      </a:lnTo>
                      <a:lnTo>
                        <a:pt x="7470" y="18330"/>
                      </a:lnTo>
                      <a:lnTo>
                        <a:pt x="7491" y="18413"/>
                      </a:lnTo>
                      <a:lnTo>
                        <a:pt x="7449" y="18434"/>
                      </a:lnTo>
                      <a:lnTo>
                        <a:pt x="7449" y="18706"/>
                      </a:lnTo>
                      <a:lnTo>
                        <a:pt x="7386" y="18853"/>
                      </a:lnTo>
                      <a:lnTo>
                        <a:pt x="7449" y="18999"/>
                      </a:lnTo>
                      <a:lnTo>
                        <a:pt x="7595" y="18999"/>
                      </a:lnTo>
                      <a:lnTo>
                        <a:pt x="7742" y="19062"/>
                      </a:lnTo>
                      <a:lnTo>
                        <a:pt x="7805" y="19167"/>
                      </a:lnTo>
                      <a:lnTo>
                        <a:pt x="7784" y="19229"/>
                      </a:lnTo>
                      <a:lnTo>
                        <a:pt x="7805" y="19313"/>
                      </a:lnTo>
                      <a:lnTo>
                        <a:pt x="7784" y="19355"/>
                      </a:lnTo>
                      <a:lnTo>
                        <a:pt x="7784" y="19418"/>
                      </a:lnTo>
                      <a:lnTo>
                        <a:pt x="7847" y="19460"/>
                      </a:lnTo>
                      <a:lnTo>
                        <a:pt x="7784" y="19543"/>
                      </a:lnTo>
                      <a:lnTo>
                        <a:pt x="7784" y="19794"/>
                      </a:lnTo>
                      <a:lnTo>
                        <a:pt x="7742" y="19857"/>
                      </a:lnTo>
                      <a:lnTo>
                        <a:pt x="7805" y="20004"/>
                      </a:lnTo>
                      <a:lnTo>
                        <a:pt x="7847" y="20213"/>
                      </a:lnTo>
                      <a:lnTo>
                        <a:pt x="7763" y="20171"/>
                      </a:lnTo>
                      <a:lnTo>
                        <a:pt x="7700" y="20045"/>
                      </a:lnTo>
                      <a:lnTo>
                        <a:pt x="7575" y="19941"/>
                      </a:lnTo>
                      <a:lnTo>
                        <a:pt x="7449" y="20066"/>
                      </a:lnTo>
                      <a:lnTo>
                        <a:pt x="7470" y="19941"/>
                      </a:lnTo>
                      <a:lnTo>
                        <a:pt x="7428" y="19857"/>
                      </a:lnTo>
                      <a:lnTo>
                        <a:pt x="7240" y="19836"/>
                      </a:lnTo>
                      <a:lnTo>
                        <a:pt x="7072" y="19857"/>
                      </a:lnTo>
                      <a:lnTo>
                        <a:pt x="6968" y="19773"/>
                      </a:lnTo>
                      <a:lnTo>
                        <a:pt x="6821" y="19753"/>
                      </a:lnTo>
                      <a:lnTo>
                        <a:pt x="6738" y="19794"/>
                      </a:lnTo>
                      <a:lnTo>
                        <a:pt x="6612" y="20087"/>
                      </a:lnTo>
                      <a:lnTo>
                        <a:pt x="6424" y="20255"/>
                      </a:lnTo>
                      <a:lnTo>
                        <a:pt x="6298" y="20276"/>
                      </a:lnTo>
                      <a:lnTo>
                        <a:pt x="6194" y="20380"/>
                      </a:lnTo>
                      <a:lnTo>
                        <a:pt x="6173" y="20527"/>
                      </a:lnTo>
                      <a:lnTo>
                        <a:pt x="6026" y="20694"/>
                      </a:lnTo>
                      <a:lnTo>
                        <a:pt x="5963" y="20757"/>
                      </a:lnTo>
                      <a:lnTo>
                        <a:pt x="5963" y="20841"/>
                      </a:lnTo>
                      <a:lnTo>
                        <a:pt x="6005" y="21029"/>
                      </a:lnTo>
                      <a:lnTo>
                        <a:pt x="6277" y="21301"/>
                      </a:lnTo>
                      <a:lnTo>
                        <a:pt x="6424" y="21531"/>
                      </a:lnTo>
                      <a:lnTo>
                        <a:pt x="6340" y="21636"/>
                      </a:lnTo>
                      <a:lnTo>
                        <a:pt x="6277" y="21636"/>
                      </a:lnTo>
                      <a:lnTo>
                        <a:pt x="6277" y="21761"/>
                      </a:lnTo>
                      <a:lnTo>
                        <a:pt x="6173" y="21845"/>
                      </a:lnTo>
                      <a:lnTo>
                        <a:pt x="6110" y="21949"/>
                      </a:lnTo>
                      <a:lnTo>
                        <a:pt x="5963" y="21782"/>
                      </a:lnTo>
                      <a:lnTo>
                        <a:pt x="5587" y="21615"/>
                      </a:lnTo>
                      <a:lnTo>
                        <a:pt x="5461" y="21615"/>
                      </a:lnTo>
                      <a:lnTo>
                        <a:pt x="5398" y="21531"/>
                      </a:lnTo>
                      <a:lnTo>
                        <a:pt x="5189" y="21531"/>
                      </a:lnTo>
                      <a:lnTo>
                        <a:pt x="5085" y="21447"/>
                      </a:lnTo>
                      <a:lnTo>
                        <a:pt x="5022" y="21322"/>
                      </a:lnTo>
                      <a:lnTo>
                        <a:pt x="4854" y="21301"/>
                      </a:lnTo>
                      <a:lnTo>
                        <a:pt x="4729" y="21217"/>
                      </a:lnTo>
                      <a:lnTo>
                        <a:pt x="4603" y="21217"/>
                      </a:lnTo>
                      <a:lnTo>
                        <a:pt x="4562" y="21301"/>
                      </a:lnTo>
                      <a:lnTo>
                        <a:pt x="4603" y="21364"/>
                      </a:lnTo>
                      <a:lnTo>
                        <a:pt x="4562" y="21426"/>
                      </a:lnTo>
                      <a:lnTo>
                        <a:pt x="4603" y="21468"/>
                      </a:lnTo>
                      <a:lnTo>
                        <a:pt x="4520" y="21552"/>
                      </a:lnTo>
                      <a:lnTo>
                        <a:pt x="4415" y="21552"/>
                      </a:lnTo>
                      <a:lnTo>
                        <a:pt x="4499" y="21719"/>
                      </a:lnTo>
                      <a:lnTo>
                        <a:pt x="4520" y="21845"/>
                      </a:lnTo>
                      <a:lnTo>
                        <a:pt x="4666" y="21929"/>
                      </a:lnTo>
                      <a:lnTo>
                        <a:pt x="4771" y="22054"/>
                      </a:lnTo>
                      <a:lnTo>
                        <a:pt x="4917" y="22138"/>
                      </a:lnTo>
                      <a:lnTo>
                        <a:pt x="5022" y="22075"/>
                      </a:lnTo>
                      <a:lnTo>
                        <a:pt x="5085" y="22075"/>
                      </a:lnTo>
                      <a:lnTo>
                        <a:pt x="5168" y="22033"/>
                      </a:lnTo>
                      <a:lnTo>
                        <a:pt x="5189" y="22096"/>
                      </a:lnTo>
                      <a:lnTo>
                        <a:pt x="5336" y="22159"/>
                      </a:lnTo>
                      <a:lnTo>
                        <a:pt x="5336" y="22201"/>
                      </a:lnTo>
                      <a:lnTo>
                        <a:pt x="5273" y="22263"/>
                      </a:lnTo>
                      <a:lnTo>
                        <a:pt x="5357" y="22347"/>
                      </a:lnTo>
                      <a:lnTo>
                        <a:pt x="5357" y="22514"/>
                      </a:lnTo>
                      <a:lnTo>
                        <a:pt x="5273" y="22556"/>
                      </a:lnTo>
                      <a:lnTo>
                        <a:pt x="5168" y="22556"/>
                      </a:lnTo>
                      <a:lnTo>
                        <a:pt x="5043" y="22682"/>
                      </a:lnTo>
                      <a:lnTo>
                        <a:pt x="4980" y="22682"/>
                      </a:lnTo>
                      <a:lnTo>
                        <a:pt x="4875" y="22577"/>
                      </a:lnTo>
                      <a:lnTo>
                        <a:pt x="4729" y="22577"/>
                      </a:lnTo>
                      <a:lnTo>
                        <a:pt x="4645" y="22514"/>
                      </a:lnTo>
                      <a:lnTo>
                        <a:pt x="4457" y="22514"/>
                      </a:lnTo>
                      <a:lnTo>
                        <a:pt x="4415" y="22473"/>
                      </a:lnTo>
                      <a:lnTo>
                        <a:pt x="4415" y="22347"/>
                      </a:lnTo>
                      <a:lnTo>
                        <a:pt x="4310" y="22284"/>
                      </a:lnTo>
                      <a:lnTo>
                        <a:pt x="4227" y="22180"/>
                      </a:lnTo>
                      <a:lnTo>
                        <a:pt x="4185" y="22180"/>
                      </a:lnTo>
                      <a:lnTo>
                        <a:pt x="4080" y="22263"/>
                      </a:lnTo>
                      <a:lnTo>
                        <a:pt x="3829" y="22180"/>
                      </a:lnTo>
                      <a:lnTo>
                        <a:pt x="3787" y="22075"/>
                      </a:lnTo>
                      <a:lnTo>
                        <a:pt x="3725" y="22033"/>
                      </a:lnTo>
                      <a:lnTo>
                        <a:pt x="3787" y="21949"/>
                      </a:lnTo>
                      <a:lnTo>
                        <a:pt x="3766" y="21824"/>
                      </a:lnTo>
                      <a:lnTo>
                        <a:pt x="3766" y="21719"/>
                      </a:lnTo>
                      <a:lnTo>
                        <a:pt x="3662" y="21636"/>
                      </a:lnTo>
                      <a:lnTo>
                        <a:pt x="3662" y="21531"/>
                      </a:lnTo>
                      <a:lnTo>
                        <a:pt x="3494" y="21385"/>
                      </a:lnTo>
                      <a:lnTo>
                        <a:pt x="3494" y="21238"/>
                      </a:lnTo>
                      <a:lnTo>
                        <a:pt x="3411" y="21217"/>
                      </a:lnTo>
                      <a:lnTo>
                        <a:pt x="3453" y="21113"/>
                      </a:lnTo>
                      <a:lnTo>
                        <a:pt x="3515" y="21092"/>
                      </a:lnTo>
                      <a:lnTo>
                        <a:pt x="3557" y="20903"/>
                      </a:lnTo>
                      <a:lnTo>
                        <a:pt x="3557" y="20799"/>
                      </a:lnTo>
                      <a:lnTo>
                        <a:pt x="3515" y="20778"/>
                      </a:lnTo>
                      <a:lnTo>
                        <a:pt x="3515" y="20694"/>
                      </a:lnTo>
                      <a:lnTo>
                        <a:pt x="3578" y="20610"/>
                      </a:lnTo>
                      <a:lnTo>
                        <a:pt x="3515" y="20589"/>
                      </a:lnTo>
                      <a:lnTo>
                        <a:pt x="3390" y="20401"/>
                      </a:lnTo>
                      <a:lnTo>
                        <a:pt x="3139" y="20297"/>
                      </a:lnTo>
                      <a:lnTo>
                        <a:pt x="3055" y="20359"/>
                      </a:lnTo>
                      <a:lnTo>
                        <a:pt x="2992" y="20297"/>
                      </a:lnTo>
                      <a:lnTo>
                        <a:pt x="2930" y="20297"/>
                      </a:lnTo>
                      <a:lnTo>
                        <a:pt x="2867" y="20338"/>
                      </a:lnTo>
                      <a:lnTo>
                        <a:pt x="2741" y="20297"/>
                      </a:lnTo>
                      <a:lnTo>
                        <a:pt x="2783" y="20255"/>
                      </a:lnTo>
                      <a:lnTo>
                        <a:pt x="2888" y="20234"/>
                      </a:lnTo>
                      <a:lnTo>
                        <a:pt x="2930" y="20150"/>
                      </a:lnTo>
                      <a:lnTo>
                        <a:pt x="2783" y="20108"/>
                      </a:lnTo>
                      <a:lnTo>
                        <a:pt x="2783" y="20087"/>
                      </a:lnTo>
                      <a:lnTo>
                        <a:pt x="2867" y="20066"/>
                      </a:lnTo>
                      <a:lnTo>
                        <a:pt x="2783" y="20004"/>
                      </a:lnTo>
                      <a:lnTo>
                        <a:pt x="2720" y="20066"/>
                      </a:lnTo>
                      <a:lnTo>
                        <a:pt x="2532" y="20108"/>
                      </a:lnTo>
                      <a:lnTo>
                        <a:pt x="2511" y="20087"/>
                      </a:lnTo>
                      <a:lnTo>
                        <a:pt x="2553" y="20004"/>
                      </a:lnTo>
                      <a:lnTo>
                        <a:pt x="2658" y="19962"/>
                      </a:lnTo>
                      <a:lnTo>
                        <a:pt x="2637" y="19941"/>
                      </a:lnTo>
                      <a:lnTo>
                        <a:pt x="2448" y="19899"/>
                      </a:lnTo>
                      <a:lnTo>
                        <a:pt x="2427" y="19836"/>
                      </a:lnTo>
                      <a:lnTo>
                        <a:pt x="2302" y="19753"/>
                      </a:lnTo>
                      <a:lnTo>
                        <a:pt x="2260" y="19585"/>
                      </a:lnTo>
                      <a:lnTo>
                        <a:pt x="2134" y="19522"/>
                      </a:lnTo>
                      <a:lnTo>
                        <a:pt x="2155" y="19481"/>
                      </a:lnTo>
                      <a:lnTo>
                        <a:pt x="2260" y="19481"/>
                      </a:lnTo>
                      <a:lnTo>
                        <a:pt x="2302" y="19522"/>
                      </a:lnTo>
                      <a:lnTo>
                        <a:pt x="2448" y="19543"/>
                      </a:lnTo>
                      <a:lnTo>
                        <a:pt x="2469" y="19648"/>
                      </a:lnTo>
                      <a:lnTo>
                        <a:pt x="2720" y="19857"/>
                      </a:lnTo>
                      <a:lnTo>
                        <a:pt x="2783" y="19857"/>
                      </a:lnTo>
                      <a:lnTo>
                        <a:pt x="2825" y="19794"/>
                      </a:lnTo>
                      <a:lnTo>
                        <a:pt x="2950" y="19878"/>
                      </a:lnTo>
                      <a:lnTo>
                        <a:pt x="3139" y="19878"/>
                      </a:lnTo>
                      <a:lnTo>
                        <a:pt x="3160" y="19836"/>
                      </a:lnTo>
                      <a:lnTo>
                        <a:pt x="3243" y="19899"/>
                      </a:lnTo>
                      <a:lnTo>
                        <a:pt x="3160" y="19962"/>
                      </a:lnTo>
                      <a:lnTo>
                        <a:pt x="3202" y="19983"/>
                      </a:lnTo>
                      <a:lnTo>
                        <a:pt x="3202" y="20045"/>
                      </a:lnTo>
                      <a:lnTo>
                        <a:pt x="3306" y="20045"/>
                      </a:lnTo>
                      <a:lnTo>
                        <a:pt x="3369" y="19983"/>
                      </a:lnTo>
                      <a:lnTo>
                        <a:pt x="3557" y="19983"/>
                      </a:lnTo>
                      <a:lnTo>
                        <a:pt x="3494" y="20004"/>
                      </a:lnTo>
                      <a:lnTo>
                        <a:pt x="3599" y="20004"/>
                      </a:lnTo>
                      <a:lnTo>
                        <a:pt x="3704" y="19983"/>
                      </a:lnTo>
                      <a:lnTo>
                        <a:pt x="3704" y="20066"/>
                      </a:lnTo>
                      <a:lnTo>
                        <a:pt x="3871" y="20192"/>
                      </a:lnTo>
                      <a:lnTo>
                        <a:pt x="3934" y="20150"/>
                      </a:lnTo>
                      <a:lnTo>
                        <a:pt x="4038" y="20171"/>
                      </a:lnTo>
                      <a:lnTo>
                        <a:pt x="4080" y="20213"/>
                      </a:lnTo>
                      <a:lnTo>
                        <a:pt x="4227" y="20213"/>
                      </a:lnTo>
                      <a:lnTo>
                        <a:pt x="4331" y="20255"/>
                      </a:lnTo>
                      <a:lnTo>
                        <a:pt x="4415" y="20192"/>
                      </a:lnTo>
                      <a:lnTo>
                        <a:pt x="4541" y="20297"/>
                      </a:lnTo>
                      <a:lnTo>
                        <a:pt x="4729" y="20359"/>
                      </a:lnTo>
                      <a:lnTo>
                        <a:pt x="5064" y="20380"/>
                      </a:lnTo>
                      <a:lnTo>
                        <a:pt x="5336" y="20359"/>
                      </a:lnTo>
                      <a:lnTo>
                        <a:pt x="5357" y="20297"/>
                      </a:lnTo>
                      <a:lnTo>
                        <a:pt x="5545" y="20297"/>
                      </a:lnTo>
                      <a:lnTo>
                        <a:pt x="5608" y="20255"/>
                      </a:lnTo>
                      <a:lnTo>
                        <a:pt x="5796" y="20213"/>
                      </a:lnTo>
                      <a:lnTo>
                        <a:pt x="5963" y="20150"/>
                      </a:lnTo>
                      <a:lnTo>
                        <a:pt x="6173" y="19857"/>
                      </a:lnTo>
                      <a:lnTo>
                        <a:pt x="6194" y="19773"/>
                      </a:lnTo>
                      <a:lnTo>
                        <a:pt x="6319" y="19627"/>
                      </a:lnTo>
                      <a:lnTo>
                        <a:pt x="6319" y="19543"/>
                      </a:lnTo>
                      <a:lnTo>
                        <a:pt x="6340" y="19460"/>
                      </a:lnTo>
                      <a:lnTo>
                        <a:pt x="6382" y="19313"/>
                      </a:lnTo>
                      <a:lnTo>
                        <a:pt x="6382" y="19167"/>
                      </a:lnTo>
                      <a:lnTo>
                        <a:pt x="6382" y="19041"/>
                      </a:lnTo>
                      <a:lnTo>
                        <a:pt x="6319" y="18999"/>
                      </a:lnTo>
                      <a:lnTo>
                        <a:pt x="6277" y="18999"/>
                      </a:lnTo>
                      <a:lnTo>
                        <a:pt x="6173" y="18832"/>
                      </a:lnTo>
                      <a:lnTo>
                        <a:pt x="6089" y="18790"/>
                      </a:lnTo>
                      <a:lnTo>
                        <a:pt x="6068" y="18644"/>
                      </a:lnTo>
                      <a:lnTo>
                        <a:pt x="5963" y="18392"/>
                      </a:lnTo>
                      <a:lnTo>
                        <a:pt x="5859" y="18372"/>
                      </a:lnTo>
                      <a:lnTo>
                        <a:pt x="5817" y="18413"/>
                      </a:lnTo>
                      <a:lnTo>
                        <a:pt x="5691" y="18372"/>
                      </a:lnTo>
                      <a:lnTo>
                        <a:pt x="5691" y="18288"/>
                      </a:lnTo>
                      <a:lnTo>
                        <a:pt x="5461" y="18120"/>
                      </a:lnTo>
                      <a:lnTo>
                        <a:pt x="5461" y="18016"/>
                      </a:lnTo>
                      <a:lnTo>
                        <a:pt x="5336" y="17890"/>
                      </a:lnTo>
                      <a:lnTo>
                        <a:pt x="5273" y="17890"/>
                      </a:lnTo>
                      <a:lnTo>
                        <a:pt x="5294" y="17953"/>
                      </a:lnTo>
                      <a:lnTo>
                        <a:pt x="5378" y="18079"/>
                      </a:lnTo>
                      <a:lnTo>
                        <a:pt x="5294" y="18100"/>
                      </a:lnTo>
                      <a:lnTo>
                        <a:pt x="5168" y="17974"/>
                      </a:lnTo>
                      <a:lnTo>
                        <a:pt x="5085" y="17974"/>
                      </a:lnTo>
                      <a:lnTo>
                        <a:pt x="4938" y="17807"/>
                      </a:lnTo>
                      <a:lnTo>
                        <a:pt x="4875" y="17807"/>
                      </a:lnTo>
                      <a:lnTo>
                        <a:pt x="4875" y="17869"/>
                      </a:lnTo>
                      <a:lnTo>
                        <a:pt x="4917" y="17911"/>
                      </a:lnTo>
                      <a:lnTo>
                        <a:pt x="4834" y="17890"/>
                      </a:lnTo>
                      <a:lnTo>
                        <a:pt x="4708" y="17681"/>
                      </a:lnTo>
                      <a:lnTo>
                        <a:pt x="4603" y="17660"/>
                      </a:lnTo>
                      <a:lnTo>
                        <a:pt x="4520" y="17556"/>
                      </a:lnTo>
                      <a:lnTo>
                        <a:pt x="4122" y="17284"/>
                      </a:lnTo>
                      <a:lnTo>
                        <a:pt x="3515" y="16970"/>
                      </a:lnTo>
                      <a:lnTo>
                        <a:pt x="3390" y="16928"/>
                      </a:lnTo>
                      <a:lnTo>
                        <a:pt x="3369" y="16970"/>
                      </a:lnTo>
                      <a:lnTo>
                        <a:pt x="3243" y="16907"/>
                      </a:lnTo>
                      <a:lnTo>
                        <a:pt x="3097" y="16865"/>
                      </a:lnTo>
                      <a:lnTo>
                        <a:pt x="3097" y="16928"/>
                      </a:lnTo>
                      <a:lnTo>
                        <a:pt x="3034" y="16970"/>
                      </a:lnTo>
                      <a:lnTo>
                        <a:pt x="2930" y="16928"/>
                      </a:lnTo>
                      <a:lnTo>
                        <a:pt x="2762" y="16928"/>
                      </a:lnTo>
                      <a:lnTo>
                        <a:pt x="2678" y="16823"/>
                      </a:lnTo>
                      <a:lnTo>
                        <a:pt x="2574" y="16760"/>
                      </a:lnTo>
                      <a:lnTo>
                        <a:pt x="2574" y="16802"/>
                      </a:lnTo>
                      <a:lnTo>
                        <a:pt x="2637" y="16865"/>
                      </a:lnTo>
                      <a:lnTo>
                        <a:pt x="2616" y="16928"/>
                      </a:lnTo>
                      <a:lnTo>
                        <a:pt x="2532" y="16865"/>
                      </a:lnTo>
                      <a:lnTo>
                        <a:pt x="2406" y="16907"/>
                      </a:lnTo>
                      <a:lnTo>
                        <a:pt x="2344" y="16949"/>
                      </a:lnTo>
                      <a:lnTo>
                        <a:pt x="2365" y="17032"/>
                      </a:lnTo>
                      <a:lnTo>
                        <a:pt x="2302" y="17158"/>
                      </a:lnTo>
                      <a:lnTo>
                        <a:pt x="2155" y="17158"/>
                      </a:lnTo>
                      <a:lnTo>
                        <a:pt x="2239" y="17053"/>
                      </a:lnTo>
                      <a:lnTo>
                        <a:pt x="2323" y="17012"/>
                      </a:lnTo>
                      <a:lnTo>
                        <a:pt x="2260" y="16949"/>
                      </a:lnTo>
                      <a:lnTo>
                        <a:pt x="2197" y="16949"/>
                      </a:lnTo>
                      <a:lnTo>
                        <a:pt x="2218" y="16907"/>
                      </a:lnTo>
                      <a:lnTo>
                        <a:pt x="2239" y="16844"/>
                      </a:lnTo>
                      <a:lnTo>
                        <a:pt x="2197" y="16823"/>
                      </a:lnTo>
                      <a:lnTo>
                        <a:pt x="2134" y="16886"/>
                      </a:lnTo>
                      <a:lnTo>
                        <a:pt x="2030" y="17012"/>
                      </a:lnTo>
                      <a:lnTo>
                        <a:pt x="2030" y="16928"/>
                      </a:lnTo>
                      <a:lnTo>
                        <a:pt x="2030" y="16886"/>
                      </a:lnTo>
                      <a:lnTo>
                        <a:pt x="2009" y="16844"/>
                      </a:lnTo>
                      <a:lnTo>
                        <a:pt x="1946" y="16928"/>
                      </a:lnTo>
                      <a:lnTo>
                        <a:pt x="1925" y="16928"/>
                      </a:lnTo>
                      <a:lnTo>
                        <a:pt x="1925" y="16844"/>
                      </a:lnTo>
                      <a:lnTo>
                        <a:pt x="1821" y="16823"/>
                      </a:lnTo>
                      <a:lnTo>
                        <a:pt x="1716" y="16907"/>
                      </a:lnTo>
                      <a:lnTo>
                        <a:pt x="1695" y="16802"/>
                      </a:lnTo>
                      <a:lnTo>
                        <a:pt x="1632" y="16760"/>
                      </a:lnTo>
                      <a:lnTo>
                        <a:pt x="1569" y="16844"/>
                      </a:lnTo>
                      <a:lnTo>
                        <a:pt x="1528" y="16740"/>
                      </a:lnTo>
                      <a:lnTo>
                        <a:pt x="1528" y="16614"/>
                      </a:lnTo>
                      <a:lnTo>
                        <a:pt x="1590" y="16530"/>
                      </a:lnTo>
                      <a:lnTo>
                        <a:pt x="1590" y="16614"/>
                      </a:lnTo>
                      <a:lnTo>
                        <a:pt x="1674" y="16698"/>
                      </a:lnTo>
                      <a:lnTo>
                        <a:pt x="1800" y="16656"/>
                      </a:lnTo>
                      <a:lnTo>
                        <a:pt x="1883" y="16719"/>
                      </a:lnTo>
                      <a:lnTo>
                        <a:pt x="1988" y="16635"/>
                      </a:lnTo>
                      <a:lnTo>
                        <a:pt x="1988" y="16593"/>
                      </a:lnTo>
                      <a:lnTo>
                        <a:pt x="1904" y="16530"/>
                      </a:lnTo>
                      <a:lnTo>
                        <a:pt x="1883" y="16509"/>
                      </a:lnTo>
                      <a:lnTo>
                        <a:pt x="1800" y="16488"/>
                      </a:lnTo>
                      <a:lnTo>
                        <a:pt x="1737" y="16530"/>
                      </a:lnTo>
                      <a:lnTo>
                        <a:pt x="1695" y="16488"/>
                      </a:lnTo>
                      <a:lnTo>
                        <a:pt x="1632" y="16405"/>
                      </a:lnTo>
                      <a:lnTo>
                        <a:pt x="1528" y="16342"/>
                      </a:lnTo>
                      <a:lnTo>
                        <a:pt x="1423" y="16342"/>
                      </a:lnTo>
                      <a:lnTo>
                        <a:pt x="1402" y="16384"/>
                      </a:lnTo>
                      <a:lnTo>
                        <a:pt x="1465" y="16426"/>
                      </a:lnTo>
                      <a:lnTo>
                        <a:pt x="1486" y="16426"/>
                      </a:lnTo>
                      <a:lnTo>
                        <a:pt x="1486" y="16488"/>
                      </a:lnTo>
                      <a:lnTo>
                        <a:pt x="1402" y="16509"/>
                      </a:lnTo>
                      <a:lnTo>
                        <a:pt x="1360" y="16509"/>
                      </a:lnTo>
                      <a:lnTo>
                        <a:pt x="1360" y="16551"/>
                      </a:lnTo>
                      <a:lnTo>
                        <a:pt x="1465" y="16635"/>
                      </a:lnTo>
                      <a:lnTo>
                        <a:pt x="1402" y="16656"/>
                      </a:lnTo>
                      <a:lnTo>
                        <a:pt x="1318" y="16656"/>
                      </a:lnTo>
                      <a:lnTo>
                        <a:pt x="1277" y="16740"/>
                      </a:lnTo>
                      <a:lnTo>
                        <a:pt x="1256" y="16886"/>
                      </a:lnTo>
                      <a:lnTo>
                        <a:pt x="1193" y="16802"/>
                      </a:lnTo>
                      <a:lnTo>
                        <a:pt x="1193" y="16698"/>
                      </a:lnTo>
                      <a:lnTo>
                        <a:pt x="1151" y="16635"/>
                      </a:lnTo>
                      <a:lnTo>
                        <a:pt x="1005" y="16614"/>
                      </a:lnTo>
                      <a:lnTo>
                        <a:pt x="1005" y="16740"/>
                      </a:lnTo>
                      <a:lnTo>
                        <a:pt x="942" y="16823"/>
                      </a:lnTo>
                      <a:lnTo>
                        <a:pt x="795" y="16781"/>
                      </a:lnTo>
                      <a:lnTo>
                        <a:pt x="691" y="16781"/>
                      </a:lnTo>
                      <a:lnTo>
                        <a:pt x="691" y="16928"/>
                      </a:lnTo>
                      <a:lnTo>
                        <a:pt x="628" y="17053"/>
                      </a:lnTo>
                      <a:lnTo>
                        <a:pt x="481" y="17095"/>
                      </a:lnTo>
                      <a:lnTo>
                        <a:pt x="335" y="17242"/>
                      </a:lnTo>
                      <a:lnTo>
                        <a:pt x="335" y="17451"/>
                      </a:lnTo>
                      <a:lnTo>
                        <a:pt x="251" y="17451"/>
                      </a:lnTo>
                      <a:lnTo>
                        <a:pt x="105" y="17514"/>
                      </a:lnTo>
                      <a:lnTo>
                        <a:pt x="0" y="17556"/>
                      </a:lnTo>
                      <a:lnTo>
                        <a:pt x="105" y="17576"/>
                      </a:lnTo>
                      <a:lnTo>
                        <a:pt x="63" y="17744"/>
                      </a:lnTo>
                      <a:lnTo>
                        <a:pt x="21" y="17932"/>
                      </a:lnTo>
                      <a:lnTo>
                        <a:pt x="105" y="18037"/>
                      </a:lnTo>
                      <a:lnTo>
                        <a:pt x="209" y="18288"/>
                      </a:lnTo>
                      <a:lnTo>
                        <a:pt x="272" y="18288"/>
                      </a:lnTo>
                      <a:lnTo>
                        <a:pt x="440" y="18372"/>
                      </a:lnTo>
                      <a:lnTo>
                        <a:pt x="523" y="18497"/>
                      </a:lnTo>
                      <a:lnTo>
                        <a:pt x="565" y="18602"/>
                      </a:lnTo>
                      <a:lnTo>
                        <a:pt x="837" y="18769"/>
                      </a:lnTo>
                      <a:lnTo>
                        <a:pt x="900" y="18832"/>
                      </a:lnTo>
                      <a:lnTo>
                        <a:pt x="858" y="19020"/>
                      </a:lnTo>
                      <a:lnTo>
                        <a:pt x="753" y="19208"/>
                      </a:lnTo>
                      <a:lnTo>
                        <a:pt x="649" y="19460"/>
                      </a:lnTo>
                      <a:lnTo>
                        <a:pt x="774" y="19627"/>
                      </a:lnTo>
                      <a:lnTo>
                        <a:pt x="837" y="19773"/>
                      </a:lnTo>
                      <a:lnTo>
                        <a:pt x="1067" y="20234"/>
                      </a:lnTo>
                      <a:lnTo>
                        <a:pt x="1318" y="20820"/>
                      </a:lnTo>
                      <a:lnTo>
                        <a:pt x="1214" y="20861"/>
                      </a:lnTo>
                      <a:lnTo>
                        <a:pt x="1193" y="21217"/>
                      </a:lnTo>
                      <a:lnTo>
                        <a:pt x="1193" y="21322"/>
                      </a:lnTo>
                      <a:lnTo>
                        <a:pt x="1297" y="21343"/>
                      </a:lnTo>
                      <a:lnTo>
                        <a:pt x="1214" y="21447"/>
                      </a:lnTo>
                      <a:lnTo>
                        <a:pt x="1214" y="21636"/>
                      </a:lnTo>
                      <a:lnTo>
                        <a:pt x="1297" y="21740"/>
                      </a:lnTo>
                      <a:lnTo>
                        <a:pt x="1423" y="21761"/>
                      </a:lnTo>
                      <a:lnTo>
                        <a:pt x="1486" y="21866"/>
                      </a:lnTo>
                      <a:lnTo>
                        <a:pt x="1423" y="21929"/>
                      </a:lnTo>
                      <a:lnTo>
                        <a:pt x="1423" y="22138"/>
                      </a:lnTo>
                      <a:lnTo>
                        <a:pt x="1486" y="22263"/>
                      </a:lnTo>
                      <a:lnTo>
                        <a:pt x="1674" y="22389"/>
                      </a:lnTo>
                      <a:lnTo>
                        <a:pt x="1674" y="22577"/>
                      </a:lnTo>
                      <a:lnTo>
                        <a:pt x="1569" y="22745"/>
                      </a:lnTo>
                      <a:lnTo>
                        <a:pt x="1507" y="22912"/>
                      </a:lnTo>
                      <a:lnTo>
                        <a:pt x="1779" y="23289"/>
                      </a:lnTo>
                      <a:lnTo>
                        <a:pt x="1925" y="23330"/>
                      </a:lnTo>
                      <a:lnTo>
                        <a:pt x="2197" y="23623"/>
                      </a:lnTo>
                      <a:lnTo>
                        <a:pt x="2218" y="23812"/>
                      </a:lnTo>
                      <a:lnTo>
                        <a:pt x="2051" y="24230"/>
                      </a:lnTo>
                      <a:lnTo>
                        <a:pt x="1821" y="24628"/>
                      </a:lnTo>
                      <a:lnTo>
                        <a:pt x="1695" y="24900"/>
                      </a:lnTo>
                      <a:lnTo>
                        <a:pt x="1528" y="25151"/>
                      </a:lnTo>
                      <a:lnTo>
                        <a:pt x="1381" y="25402"/>
                      </a:lnTo>
                      <a:lnTo>
                        <a:pt x="1256" y="25486"/>
                      </a:lnTo>
                      <a:lnTo>
                        <a:pt x="984" y="25737"/>
                      </a:lnTo>
                      <a:lnTo>
                        <a:pt x="1005" y="25904"/>
                      </a:lnTo>
                      <a:cubicBezTo>
                        <a:pt x="1005" y="25883"/>
                        <a:pt x="1046" y="25883"/>
                        <a:pt x="1046" y="25883"/>
                      </a:cubicBezTo>
                      <a:cubicBezTo>
                        <a:pt x="1067" y="25883"/>
                        <a:pt x="1193" y="25799"/>
                        <a:pt x="1193" y="25799"/>
                      </a:cubicBezTo>
                      <a:lnTo>
                        <a:pt x="1318" y="25779"/>
                      </a:lnTo>
                      <a:lnTo>
                        <a:pt x="1256" y="25841"/>
                      </a:lnTo>
                      <a:lnTo>
                        <a:pt x="1297" y="25925"/>
                      </a:lnTo>
                      <a:lnTo>
                        <a:pt x="1297" y="26030"/>
                      </a:lnTo>
                      <a:lnTo>
                        <a:pt x="1172" y="25925"/>
                      </a:lnTo>
                      <a:lnTo>
                        <a:pt x="1151" y="26009"/>
                      </a:lnTo>
                      <a:lnTo>
                        <a:pt x="1277" y="26155"/>
                      </a:lnTo>
                      <a:lnTo>
                        <a:pt x="1402" y="26155"/>
                      </a:lnTo>
                      <a:lnTo>
                        <a:pt x="1486" y="26260"/>
                      </a:lnTo>
                      <a:lnTo>
                        <a:pt x="1611" y="26260"/>
                      </a:lnTo>
                      <a:lnTo>
                        <a:pt x="1674" y="26239"/>
                      </a:lnTo>
                      <a:lnTo>
                        <a:pt x="1779" y="26239"/>
                      </a:lnTo>
                      <a:lnTo>
                        <a:pt x="1883" y="26364"/>
                      </a:lnTo>
                      <a:lnTo>
                        <a:pt x="1800" y="26448"/>
                      </a:lnTo>
                      <a:lnTo>
                        <a:pt x="1611" y="26406"/>
                      </a:lnTo>
                      <a:lnTo>
                        <a:pt x="1528" y="26427"/>
                      </a:lnTo>
                      <a:lnTo>
                        <a:pt x="1507" y="26532"/>
                      </a:lnTo>
                      <a:lnTo>
                        <a:pt x="1381" y="26636"/>
                      </a:lnTo>
                      <a:lnTo>
                        <a:pt x="1277" y="26553"/>
                      </a:lnTo>
                      <a:lnTo>
                        <a:pt x="1214" y="26615"/>
                      </a:lnTo>
                      <a:lnTo>
                        <a:pt x="1214" y="26720"/>
                      </a:lnTo>
                      <a:lnTo>
                        <a:pt x="1109" y="26741"/>
                      </a:lnTo>
                      <a:lnTo>
                        <a:pt x="1067" y="26636"/>
                      </a:lnTo>
                      <a:lnTo>
                        <a:pt x="1005" y="26657"/>
                      </a:lnTo>
                      <a:lnTo>
                        <a:pt x="1005" y="26720"/>
                      </a:lnTo>
                      <a:lnTo>
                        <a:pt x="1067" y="26783"/>
                      </a:lnTo>
                      <a:lnTo>
                        <a:pt x="1046" y="26929"/>
                      </a:lnTo>
                      <a:lnTo>
                        <a:pt x="1088" y="26992"/>
                      </a:lnTo>
                      <a:lnTo>
                        <a:pt x="1088" y="27034"/>
                      </a:lnTo>
                      <a:lnTo>
                        <a:pt x="1067" y="27055"/>
                      </a:lnTo>
                      <a:lnTo>
                        <a:pt x="984" y="27159"/>
                      </a:lnTo>
                      <a:lnTo>
                        <a:pt x="942" y="27306"/>
                      </a:lnTo>
                      <a:lnTo>
                        <a:pt x="858" y="27369"/>
                      </a:lnTo>
                      <a:lnTo>
                        <a:pt x="795" y="27808"/>
                      </a:lnTo>
                      <a:lnTo>
                        <a:pt x="1067" y="28289"/>
                      </a:lnTo>
                      <a:lnTo>
                        <a:pt x="1067" y="28394"/>
                      </a:lnTo>
                      <a:lnTo>
                        <a:pt x="984" y="28457"/>
                      </a:lnTo>
                      <a:lnTo>
                        <a:pt x="1005" y="28561"/>
                      </a:lnTo>
                      <a:lnTo>
                        <a:pt x="942" y="28708"/>
                      </a:lnTo>
                      <a:lnTo>
                        <a:pt x="1046" y="28729"/>
                      </a:lnTo>
                      <a:lnTo>
                        <a:pt x="1067" y="28833"/>
                      </a:lnTo>
                      <a:lnTo>
                        <a:pt x="1046" y="28875"/>
                      </a:lnTo>
                      <a:lnTo>
                        <a:pt x="1088" y="28938"/>
                      </a:lnTo>
                      <a:lnTo>
                        <a:pt x="1109" y="29043"/>
                      </a:lnTo>
                      <a:lnTo>
                        <a:pt x="1088" y="29126"/>
                      </a:lnTo>
                      <a:lnTo>
                        <a:pt x="1172" y="29252"/>
                      </a:lnTo>
                      <a:lnTo>
                        <a:pt x="1193" y="29294"/>
                      </a:lnTo>
                      <a:lnTo>
                        <a:pt x="1256" y="29461"/>
                      </a:lnTo>
                      <a:lnTo>
                        <a:pt x="1318" y="29566"/>
                      </a:lnTo>
                      <a:lnTo>
                        <a:pt x="1360" y="29712"/>
                      </a:lnTo>
                      <a:lnTo>
                        <a:pt x="1402" y="29712"/>
                      </a:lnTo>
                      <a:lnTo>
                        <a:pt x="1507" y="29796"/>
                      </a:lnTo>
                      <a:lnTo>
                        <a:pt x="1632" y="29712"/>
                      </a:lnTo>
                      <a:lnTo>
                        <a:pt x="1737" y="29900"/>
                      </a:lnTo>
                      <a:lnTo>
                        <a:pt x="1883" y="29817"/>
                      </a:lnTo>
                      <a:lnTo>
                        <a:pt x="2009" y="29859"/>
                      </a:lnTo>
                      <a:lnTo>
                        <a:pt x="2113" y="30026"/>
                      </a:lnTo>
                      <a:lnTo>
                        <a:pt x="2260" y="29921"/>
                      </a:lnTo>
                      <a:lnTo>
                        <a:pt x="2427" y="29880"/>
                      </a:lnTo>
                      <a:lnTo>
                        <a:pt x="2511" y="29963"/>
                      </a:lnTo>
                      <a:lnTo>
                        <a:pt x="2574" y="29963"/>
                      </a:lnTo>
                      <a:lnTo>
                        <a:pt x="2846" y="30026"/>
                      </a:lnTo>
                      <a:lnTo>
                        <a:pt x="2867" y="30172"/>
                      </a:lnTo>
                      <a:lnTo>
                        <a:pt x="2825" y="30319"/>
                      </a:lnTo>
                      <a:lnTo>
                        <a:pt x="2930" y="30424"/>
                      </a:lnTo>
                      <a:lnTo>
                        <a:pt x="2930" y="30612"/>
                      </a:lnTo>
                      <a:lnTo>
                        <a:pt x="3055" y="30737"/>
                      </a:lnTo>
                      <a:lnTo>
                        <a:pt x="3139" y="30905"/>
                      </a:lnTo>
                      <a:lnTo>
                        <a:pt x="3285" y="31114"/>
                      </a:lnTo>
                      <a:lnTo>
                        <a:pt x="3390" y="31177"/>
                      </a:lnTo>
                      <a:lnTo>
                        <a:pt x="3453" y="31365"/>
                      </a:lnTo>
                      <a:lnTo>
                        <a:pt x="3620" y="31428"/>
                      </a:lnTo>
                      <a:lnTo>
                        <a:pt x="3829" y="31595"/>
                      </a:lnTo>
                      <a:lnTo>
                        <a:pt x="3871" y="31700"/>
                      </a:lnTo>
                      <a:lnTo>
                        <a:pt x="4018" y="31805"/>
                      </a:lnTo>
                      <a:lnTo>
                        <a:pt x="3934" y="31867"/>
                      </a:lnTo>
                      <a:lnTo>
                        <a:pt x="3829" y="32056"/>
                      </a:lnTo>
                      <a:lnTo>
                        <a:pt x="3557" y="32097"/>
                      </a:lnTo>
                      <a:lnTo>
                        <a:pt x="3411" y="31993"/>
                      </a:lnTo>
                      <a:lnTo>
                        <a:pt x="3369" y="32097"/>
                      </a:lnTo>
                      <a:lnTo>
                        <a:pt x="3369" y="32223"/>
                      </a:lnTo>
                      <a:lnTo>
                        <a:pt x="3474" y="32411"/>
                      </a:lnTo>
                      <a:lnTo>
                        <a:pt x="3453" y="32579"/>
                      </a:lnTo>
                      <a:lnTo>
                        <a:pt x="3578" y="32725"/>
                      </a:lnTo>
                      <a:lnTo>
                        <a:pt x="3578" y="32893"/>
                      </a:lnTo>
                      <a:lnTo>
                        <a:pt x="3683" y="32913"/>
                      </a:lnTo>
                      <a:lnTo>
                        <a:pt x="3808" y="32893"/>
                      </a:lnTo>
                      <a:lnTo>
                        <a:pt x="3808" y="32746"/>
                      </a:lnTo>
                      <a:lnTo>
                        <a:pt x="3892" y="32683"/>
                      </a:lnTo>
                      <a:lnTo>
                        <a:pt x="4185" y="32788"/>
                      </a:lnTo>
                      <a:lnTo>
                        <a:pt x="4457" y="32788"/>
                      </a:lnTo>
                      <a:lnTo>
                        <a:pt x="4624" y="32704"/>
                      </a:lnTo>
                      <a:lnTo>
                        <a:pt x="4750" y="32704"/>
                      </a:lnTo>
                      <a:lnTo>
                        <a:pt x="4834" y="32955"/>
                      </a:lnTo>
                      <a:lnTo>
                        <a:pt x="4959" y="33060"/>
                      </a:lnTo>
                      <a:lnTo>
                        <a:pt x="4875" y="33206"/>
                      </a:lnTo>
                      <a:lnTo>
                        <a:pt x="5043" y="33416"/>
                      </a:lnTo>
                      <a:lnTo>
                        <a:pt x="5357" y="33353"/>
                      </a:lnTo>
                      <a:lnTo>
                        <a:pt x="5461" y="33457"/>
                      </a:lnTo>
                      <a:lnTo>
                        <a:pt x="5482" y="33583"/>
                      </a:lnTo>
                      <a:lnTo>
                        <a:pt x="5587" y="33625"/>
                      </a:lnTo>
                      <a:lnTo>
                        <a:pt x="5587" y="33771"/>
                      </a:lnTo>
                      <a:lnTo>
                        <a:pt x="5650" y="33960"/>
                      </a:lnTo>
                      <a:lnTo>
                        <a:pt x="5901" y="34211"/>
                      </a:lnTo>
                      <a:lnTo>
                        <a:pt x="6005" y="34106"/>
                      </a:lnTo>
                      <a:lnTo>
                        <a:pt x="6173" y="34190"/>
                      </a:lnTo>
                      <a:lnTo>
                        <a:pt x="6298" y="34169"/>
                      </a:lnTo>
                      <a:lnTo>
                        <a:pt x="6424" y="34190"/>
                      </a:lnTo>
                      <a:lnTo>
                        <a:pt x="6612" y="34043"/>
                      </a:lnTo>
                      <a:lnTo>
                        <a:pt x="6696" y="34043"/>
                      </a:lnTo>
                      <a:lnTo>
                        <a:pt x="6821" y="34315"/>
                      </a:lnTo>
                      <a:lnTo>
                        <a:pt x="7010" y="34420"/>
                      </a:lnTo>
                      <a:lnTo>
                        <a:pt x="7051" y="34525"/>
                      </a:lnTo>
                      <a:lnTo>
                        <a:pt x="7135" y="34462"/>
                      </a:lnTo>
                      <a:lnTo>
                        <a:pt x="7344" y="34504"/>
                      </a:lnTo>
                      <a:lnTo>
                        <a:pt x="7491" y="34504"/>
                      </a:lnTo>
                      <a:lnTo>
                        <a:pt x="7595" y="34587"/>
                      </a:lnTo>
                      <a:lnTo>
                        <a:pt x="7742" y="34566"/>
                      </a:lnTo>
                      <a:lnTo>
                        <a:pt x="7888" y="34671"/>
                      </a:lnTo>
                      <a:lnTo>
                        <a:pt x="8077" y="34692"/>
                      </a:lnTo>
                      <a:lnTo>
                        <a:pt x="8160" y="34608"/>
                      </a:lnTo>
                      <a:lnTo>
                        <a:pt x="8202" y="34734"/>
                      </a:lnTo>
                      <a:lnTo>
                        <a:pt x="8286" y="34797"/>
                      </a:lnTo>
                      <a:lnTo>
                        <a:pt x="8286" y="34943"/>
                      </a:lnTo>
                      <a:lnTo>
                        <a:pt x="8181" y="35090"/>
                      </a:lnTo>
                      <a:lnTo>
                        <a:pt x="8056" y="35110"/>
                      </a:lnTo>
                      <a:lnTo>
                        <a:pt x="8014" y="35362"/>
                      </a:lnTo>
                      <a:lnTo>
                        <a:pt x="8181" y="35466"/>
                      </a:lnTo>
                      <a:lnTo>
                        <a:pt x="8202" y="35634"/>
                      </a:lnTo>
                      <a:lnTo>
                        <a:pt x="8119" y="35843"/>
                      </a:lnTo>
                      <a:lnTo>
                        <a:pt x="8160" y="35989"/>
                      </a:lnTo>
                      <a:lnTo>
                        <a:pt x="8056" y="36073"/>
                      </a:lnTo>
                      <a:lnTo>
                        <a:pt x="7763" y="36094"/>
                      </a:lnTo>
                      <a:lnTo>
                        <a:pt x="7637" y="36303"/>
                      </a:lnTo>
                      <a:lnTo>
                        <a:pt x="7554" y="36345"/>
                      </a:lnTo>
                      <a:lnTo>
                        <a:pt x="7533" y="36596"/>
                      </a:lnTo>
                      <a:lnTo>
                        <a:pt x="7554" y="36596"/>
                      </a:lnTo>
                      <a:lnTo>
                        <a:pt x="7658" y="36617"/>
                      </a:lnTo>
                      <a:lnTo>
                        <a:pt x="7784" y="36554"/>
                      </a:lnTo>
                      <a:lnTo>
                        <a:pt x="7951" y="36512"/>
                      </a:lnTo>
                      <a:lnTo>
                        <a:pt x="7972" y="36575"/>
                      </a:lnTo>
                      <a:lnTo>
                        <a:pt x="7951" y="36659"/>
                      </a:lnTo>
                      <a:lnTo>
                        <a:pt x="7637" y="36805"/>
                      </a:lnTo>
                      <a:lnTo>
                        <a:pt x="7491" y="36889"/>
                      </a:lnTo>
                      <a:lnTo>
                        <a:pt x="7554" y="36931"/>
                      </a:lnTo>
                      <a:lnTo>
                        <a:pt x="7637" y="36931"/>
                      </a:lnTo>
                      <a:lnTo>
                        <a:pt x="7554" y="37014"/>
                      </a:lnTo>
                      <a:lnTo>
                        <a:pt x="7428" y="36994"/>
                      </a:lnTo>
                      <a:lnTo>
                        <a:pt x="7240" y="37014"/>
                      </a:lnTo>
                      <a:lnTo>
                        <a:pt x="7323" y="37203"/>
                      </a:lnTo>
                      <a:lnTo>
                        <a:pt x="7386" y="37286"/>
                      </a:lnTo>
                      <a:lnTo>
                        <a:pt x="7449" y="37224"/>
                      </a:lnTo>
                      <a:lnTo>
                        <a:pt x="7470" y="37286"/>
                      </a:lnTo>
                      <a:lnTo>
                        <a:pt x="7575" y="37307"/>
                      </a:lnTo>
                      <a:lnTo>
                        <a:pt x="7575" y="37349"/>
                      </a:lnTo>
                      <a:lnTo>
                        <a:pt x="7491" y="37391"/>
                      </a:lnTo>
                      <a:lnTo>
                        <a:pt x="7449" y="37454"/>
                      </a:lnTo>
                      <a:lnTo>
                        <a:pt x="7365" y="37454"/>
                      </a:lnTo>
                      <a:lnTo>
                        <a:pt x="7323" y="37517"/>
                      </a:lnTo>
                      <a:lnTo>
                        <a:pt x="7323" y="37559"/>
                      </a:lnTo>
                      <a:lnTo>
                        <a:pt x="7177" y="37705"/>
                      </a:lnTo>
                      <a:lnTo>
                        <a:pt x="7177" y="37831"/>
                      </a:lnTo>
                      <a:lnTo>
                        <a:pt x="7240" y="37851"/>
                      </a:lnTo>
                      <a:lnTo>
                        <a:pt x="7219" y="38019"/>
                      </a:lnTo>
                      <a:lnTo>
                        <a:pt x="7114" y="37977"/>
                      </a:lnTo>
                      <a:lnTo>
                        <a:pt x="7072" y="38019"/>
                      </a:lnTo>
                      <a:lnTo>
                        <a:pt x="6968" y="37935"/>
                      </a:lnTo>
                      <a:lnTo>
                        <a:pt x="6842" y="37914"/>
                      </a:lnTo>
                      <a:lnTo>
                        <a:pt x="6842" y="37956"/>
                      </a:lnTo>
                      <a:lnTo>
                        <a:pt x="6905" y="38040"/>
                      </a:lnTo>
                      <a:lnTo>
                        <a:pt x="6821" y="38061"/>
                      </a:lnTo>
                      <a:lnTo>
                        <a:pt x="6738" y="38144"/>
                      </a:lnTo>
                      <a:lnTo>
                        <a:pt x="6863" y="38165"/>
                      </a:lnTo>
                      <a:lnTo>
                        <a:pt x="6947" y="38165"/>
                      </a:lnTo>
                      <a:lnTo>
                        <a:pt x="7114" y="38291"/>
                      </a:lnTo>
                      <a:lnTo>
                        <a:pt x="7114" y="38375"/>
                      </a:lnTo>
                      <a:lnTo>
                        <a:pt x="7240" y="38500"/>
                      </a:lnTo>
                      <a:lnTo>
                        <a:pt x="7449" y="38479"/>
                      </a:lnTo>
                      <a:lnTo>
                        <a:pt x="7679" y="38605"/>
                      </a:lnTo>
                      <a:lnTo>
                        <a:pt x="7847" y="38647"/>
                      </a:lnTo>
                      <a:lnTo>
                        <a:pt x="8202" y="38898"/>
                      </a:lnTo>
                      <a:lnTo>
                        <a:pt x="8286" y="39023"/>
                      </a:lnTo>
                      <a:lnTo>
                        <a:pt x="8391" y="39065"/>
                      </a:lnTo>
                      <a:lnTo>
                        <a:pt x="8412" y="39128"/>
                      </a:lnTo>
                      <a:lnTo>
                        <a:pt x="8516" y="39211"/>
                      </a:lnTo>
                      <a:lnTo>
                        <a:pt x="8600" y="39211"/>
                      </a:lnTo>
                      <a:lnTo>
                        <a:pt x="8621" y="39295"/>
                      </a:lnTo>
                      <a:lnTo>
                        <a:pt x="8725" y="39337"/>
                      </a:lnTo>
                      <a:lnTo>
                        <a:pt x="8788" y="39337"/>
                      </a:lnTo>
                      <a:lnTo>
                        <a:pt x="8893" y="39483"/>
                      </a:lnTo>
                      <a:lnTo>
                        <a:pt x="8997" y="39504"/>
                      </a:lnTo>
                      <a:lnTo>
                        <a:pt x="9039" y="39525"/>
                      </a:lnTo>
                      <a:lnTo>
                        <a:pt x="9102" y="39504"/>
                      </a:lnTo>
                      <a:lnTo>
                        <a:pt x="9248" y="39630"/>
                      </a:lnTo>
                      <a:lnTo>
                        <a:pt x="9248" y="39714"/>
                      </a:lnTo>
                      <a:lnTo>
                        <a:pt x="9374" y="39735"/>
                      </a:lnTo>
                      <a:lnTo>
                        <a:pt x="9520" y="39923"/>
                      </a:lnTo>
                      <a:lnTo>
                        <a:pt x="9583" y="40007"/>
                      </a:lnTo>
                      <a:lnTo>
                        <a:pt x="9625" y="40237"/>
                      </a:lnTo>
                      <a:lnTo>
                        <a:pt x="9730" y="40425"/>
                      </a:lnTo>
                      <a:lnTo>
                        <a:pt x="9688" y="40488"/>
                      </a:lnTo>
                      <a:lnTo>
                        <a:pt x="9730" y="40572"/>
                      </a:lnTo>
                      <a:cubicBezTo>
                        <a:pt x="9939" y="40572"/>
                        <a:pt x="10483" y="40572"/>
                        <a:pt x="10462" y="40446"/>
                      </a:cubicBezTo>
                      <a:lnTo>
                        <a:pt x="10420" y="40279"/>
                      </a:lnTo>
                      <a:lnTo>
                        <a:pt x="11090" y="40258"/>
                      </a:lnTo>
                      <a:cubicBezTo>
                        <a:pt x="11090" y="40258"/>
                        <a:pt x="11215" y="40383"/>
                        <a:pt x="11320" y="40383"/>
                      </a:cubicBezTo>
                      <a:cubicBezTo>
                        <a:pt x="11425" y="40383"/>
                        <a:pt x="11948" y="40153"/>
                        <a:pt x="11948" y="40153"/>
                      </a:cubicBezTo>
                      <a:cubicBezTo>
                        <a:pt x="11948" y="40153"/>
                        <a:pt x="12073" y="40174"/>
                        <a:pt x="12136" y="40279"/>
                      </a:cubicBezTo>
                      <a:cubicBezTo>
                        <a:pt x="12159" y="40337"/>
                        <a:pt x="12208" y="40350"/>
                        <a:pt x="12254" y="40350"/>
                      </a:cubicBezTo>
                      <a:cubicBezTo>
                        <a:pt x="12291" y="40350"/>
                        <a:pt x="12327" y="40341"/>
                        <a:pt x="12345" y="40341"/>
                      </a:cubicBezTo>
                      <a:lnTo>
                        <a:pt x="12345" y="40320"/>
                      </a:lnTo>
                      <a:lnTo>
                        <a:pt x="12492" y="40341"/>
                      </a:lnTo>
                      <a:lnTo>
                        <a:pt x="12764" y="40551"/>
                      </a:lnTo>
                      <a:lnTo>
                        <a:pt x="12826" y="40676"/>
                      </a:lnTo>
                      <a:lnTo>
                        <a:pt x="13098" y="40697"/>
                      </a:lnTo>
                      <a:lnTo>
                        <a:pt x="13140" y="40592"/>
                      </a:lnTo>
                      <a:lnTo>
                        <a:pt x="13308" y="40488"/>
                      </a:lnTo>
                      <a:lnTo>
                        <a:pt x="13496" y="40258"/>
                      </a:lnTo>
                      <a:lnTo>
                        <a:pt x="13433" y="40237"/>
                      </a:lnTo>
                      <a:lnTo>
                        <a:pt x="13119" y="39965"/>
                      </a:lnTo>
                      <a:lnTo>
                        <a:pt x="12910" y="39714"/>
                      </a:lnTo>
                      <a:lnTo>
                        <a:pt x="12889" y="39546"/>
                      </a:lnTo>
                      <a:lnTo>
                        <a:pt x="12805" y="39442"/>
                      </a:lnTo>
                      <a:lnTo>
                        <a:pt x="12805" y="39295"/>
                      </a:lnTo>
                      <a:lnTo>
                        <a:pt x="12785" y="39211"/>
                      </a:lnTo>
                      <a:lnTo>
                        <a:pt x="12764" y="39170"/>
                      </a:lnTo>
                      <a:lnTo>
                        <a:pt x="12680" y="39170"/>
                      </a:lnTo>
                      <a:lnTo>
                        <a:pt x="12680" y="39065"/>
                      </a:lnTo>
                      <a:lnTo>
                        <a:pt x="12722" y="39086"/>
                      </a:lnTo>
                      <a:lnTo>
                        <a:pt x="12764" y="38981"/>
                      </a:lnTo>
                      <a:lnTo>
                        <a:pt x="12805" y="38877"/>
                      </a:lnTo>
                      <a:lnTo>
                        <a:pt x="12722" y="38877"/>
                      </a:lnTo>
                      <a:lnTo>
                        <a:pt x="12680" y="38919"/>
                      </a:lnTo>
                      <a:lnTo>
                        <a:pt x="12554" y="38856"/>
                      </a:lnTo>
                      <a:lnTo>
                        <a:pt x="12554" y="38667"/>
                      </a:lnTo>
                      <a:lnTo>
                        <a:pt x="12450" y="38647"/>
                      </a:lnTo>
                      <a:lnTo>
                        <a:pt x="12366" y="38563"/>
                      </a:lnTo>
                      <a:lnTo>
                        <a:pt x="12282" y="38584"/>
                      </a:lnTo>
                      <a:lnTo>
                        <a:pt x="12178" y="38584"/>
                      </a:lnTo>
                      <a:lnTo>
                        <a:pt x="12136" y="38375"/>
                      </a:lnTo>
                      <a:lnTo>
                        <a:pt x="12157" y="38270"/>
                      </a:lnTo>
                      <a:lnTo>
                        <a:pt x="12199" y="38228"/>
                      </a:lnTo>
                      <a:lnTo>
                        <a:pt x="12199" y="38019"/>
                      </a:lnTo>
                      <a:lnTo>
                        <a:pt x="12261" y="37914"/>
                      </a:lnTo>
                      <a:lnTo>
                        <a:pt x="12282" y="37768"/>
                      </a:lnTo>
                      <a:lnTo>
                        <a:pt x="12345" y="37726"/>
                      </a:lnTo>
                      <a:lnTo>
                        <a:pt x="12366" y="37600"/>
                      </a:lnTo>
                      <a:lnTo>
                        <a:pt x="12408" y="37517"/>
                      </a:lnTo>
                      <a:lnTo>
                        <a:pt x="12408" y="37433"/>
                      </a:lnTo>
                      <a:lnTo>
                        <a:pt x="12471" y="37454"/>
                      </a:lnTo>
                      <a:lnTo>
                        <a:pt x="12513" y="37517"/>
                      </a:lnTo>
                      <a:lnTo>
                        <a:pt x="12575" y="37496"/>
                      </a:lnTo>
                      <a:lnTo>
                        <a:pt x="12596" y="37412"/>
                      </a:lnTo>
                      <a:lnTo>
                        <a:pt x="12659" y="37454"/>
                      </a:lnTo>
                      <a:lnTo>
                        <a:pt x="12701" y="37412"/>
                      </a:lnTo>
                      <a:lnTo>
                        <a:pt x="12785" y="37412"/>
                      </a:lnTo>
                      <a:lnTo>
                        <a:pt x="12868" y="37349"/>
                      </a:lnTo>
                      <a:lnTo>
                        <a:pt x="12826" y="37307"/>
                      </a:lnTo>
                      <a:lnTo>
                        <a:pt x="12764" y="37286"/>
                      </a:lnTo>
                      <a:lnTo>
                        <a:pt x="12805" y="37286"/>
                      </a:lnTo>
                      <a:cubicBezTo>
                        <a:pt x="12805" y="37286"/>
                        <a:pt x="12826" y="37307"/>
                        <a:pt x="12868" y="37307"/>
                      </a:cubicBezTo>
                      <a:cubicBezTo>
                        <a:pt x="12889" y="37307"/>
                        <a:pt x="12931" y="37286"/>
                        <a:pt x="12931" y="37286"/>
                      </a:cubicBezTo>
                      <a:lnTo>
                        <a:pt x="12994" y="37328"/>
                      </a:lnTo>
                      <a:lnTo>
                        <a:pt x="13036" y="37307"/>
                      </a:lnTo>
                      <a:lnTo>
                        <a:pt x="13015" y="37245"/>
                      </a:lnTo>
                      <a:lnTo>
                        <a:pt x="12847" y="37140"/>
                      </a:lnTo>
                      <a:lnTo>
                        <a:pt x="12931" y="37119"/>
                      </a:lnTo>
                      <a:lnTo>
                        <a:pt x="13036" y="37140"/>
                      </a:lnTo>
                      <a:lnTo>
                        <a:pt x="13098" y="37119"/>
                      </a:lnTo>
                      <a:lnTo>
                        <a:pt x="13161" y="37140"/>
                      </a:lnTo>
                      <a:lnTo>
                        <a:pt x="13161" y="37077"/>
                      </a:lnTo>
                      <a:lnTo>
                        <a:pt x="13119" y="37035"/>
                      </a:lnTo>
                      <a:lnTo>
                        <a:pt x="13161" y="37035"/>
                      </a:lnTo>
                      <a:lnTo>
                        <a:pt x="13161" y="36994"/>
                      </a:lnTo>
                      <a:lnTo>
                        <a:pt x="13119" y="36931"/>
                      </a:lnTo>
                      <a:lnTo>
                        <a:pt x="13203" y="36910"/>
                      </a:lnTo>
                      <a:lnTo>
                        <a:pt x="13203" y="36868"/>
                      </a:lnTo>
                      <a:lnTo>
                        <a:pt x="13203" y="36805"/>
                      </a:lnTo>
                      <a:lnTo>
                        <a:pt x="13057" y="36722"/>
                      </a:lnTo>
                      <a:lnTo>
                        <a:pt x="12910" y="36784"/>
                      </a:lnTo>
                      <a:lnTo>
                        <a:pt x="12701" y="36659"/>
                      </a:lnTo>
                      <a:lnTo>
                        <a:pt x="12701" y="36554"/>
                      </a:lnTo>
                      <a:lnTo>
                        <a:pt x="12910" y="36554"/>
                      </a:lnTo>
                      <a:lnTo>
                        <a:pt x="12680" y="36157"/>
                      </a:lnTo>
                      <a:lnTo>
                        <a:pt x="12408" y="35885"/>
                      </a:lnTo>
                      <a:lnTo>
                        <a:pt x="12052" y="35780"/>
                      </a:lnTo>
                      <a:lnTo>
                        <a:pt x="11989" y="35864"/>
                      </a:lnTo>
                      <a:lnTo>
                        <a:pt x="11822" y="35717"/>
                      </a:lnTo>
                      <a:lnTo>
                        <a:pt x="11843" y="35634"/>
                      </a:lnTo>
                      <a:lnTo>
                        <a:pt x="11738" y="35466"/>
                      </a:lnTo>
                      <a:lnTo>
                        <a:pt x="11508" y="35403"/>
                      </a:lnTo>
                      <a:lnTo>
                        <a:pt x="11571" y="35194"/>
                      </a:lnTo>
                      <a:lnTo>
                        <a:pt x="11634" y="34818"/>
                      </a:lnTo>
                      <a:lnTo>
                        <a:pt x="11550" y="34734"/>
                      </a:lnTo>
                      <a:lnTo>
                        <a:pt x="11529" y="34462"/>
                      </a:lnTo>
                      <a:lnTo>
                        <a:pt x="11634" y="34399"/>
                      </a:lnTo>
                      <a:lnTo>
                        <a:pt x="11780" y="34211"/>
                      </a:lnTo>
                      <a:lnTo>
                        <a:pt x="11780" y="34064"/>
                      </a:lnTo>
                      <a:lnTo>
                        <a:pt x="11864" y="33960"/>
                      </a:lnTo>
                      <a:lnTo>
                        <a:pt x="12178" y="34253"/>
                      </a:lnTo>
                      <a:lnTo>
                        <a:pt x="12199" y="34357"/>
                      </a:lnTo>
                      <a:lnTo>
                        <a:pt x="12387" y="34462"/>
                      </a:lnTo>
                      <a:lnTo>
                        <a:pt x="12575" y="34420"/>
                      </a:lnTo>
                      <a:lnTo>
                        <a:pt x="12554" y="34253"/>
                      </a:lnTo>
                      <a:lnTo>
                        <a:pt x="12617" y="34190"/>
                      </a:lnTo>
                      <a:lnTo>
                        <a:pt x="12492" y="33729"/>
                      </a:lnTo>
                      <a:lnTo>
                        <a:pt x="12680" y="33688"/>
                      </a:lnTo>
                      <a:lnTo>
                        <a:pt x="12868" y="33688"/>
                      </a:lnTo>
                      <a:lnTo>
                        <a:pt x="12868" y="33562"/>
                      </a:lnTo>
                      <a:lnTo>
                        <a:pt x="12785" y="33457"/>
                      </a:lnTo>
                      <a:lnTo>
                        <a:pt x="12805" y="33332"/>
                      </a:lnTo>
                      <a:lnTo>
                        <a:pt x="12994" y="33227"/>
                      </a:lnTo>
                      <a:lnTo>
                        <a:pt x="13077" y="33227"/>
                      </a:lnTo>
                      <a:lnTo>
                        <a:pt x="13119" y="33060"/>
                      </a:lnTo>
                      <a:lnTo>
                        <a:pt x="13203" y="32997"/>
                      </a:lnTo>
                      <a:lnTo>
                        <a:pt x="13329" y="33018"/>
                      </a:lnTo>
                      <a:lnTo>
                        <a:pt x="13349" y="32913"/>
                      </a:lnTo>
                      <a:lnTo>
                        <a:pt x="13329" y="32809"/>
                      </a:lnTo>
                      <a:lnTo>
                        <a:pt x="13349" y="32725"/>
                      </a:lnTo>
                      <a:lnTo>
                        <a:pt x="13538" y="32830"/>
                      </a:lnTo>
                      <a:lnTo>
                        <a:pt x="13663" y="32893"/>
                      </a:lnTo>
                      <a:lnTo>
                        <a:pt x="13642" y="32955"/>
                      </a:lnTo>
                      <a:lnTo>
                        <a:pt x="13559" y="33060"/>
                      </a:lnTo>
                      <a:lnTo>
                        <a:pt x="13621" y="33123"/>
                      </a:lnTo>
                      <a:lnTo>
                        <a:pt x="13726" y="33060"/>
                      </a:lnTo>
                      <a:lnTo>
                        <a:pt x="13747" y="32997"/>
                      </a:lnTo>
                      <a:lnTo>
                        <a:pt x="13831" y="32934"/>
                      </a:lnTo>
                      <a:lnTo>
                        <a:pt x="13831" y="33039"/>
                      </a:lnTo>
                      <a:lnTo>
                        <a:pt x="13914" y="32955"/>
                      </a:lnTo>
                      <a:lnTo>
                        <a:pt x="13935" y="32893"/>
                      </a:lnTo>
                      <a:lnTo>
                        <a:pt x="14040" y="32893"/>
                      </a:lnTo>
                      <a:lnTo>
                        <a:pt x="14165" y="32809"/>
                      </a:lnTo>
                      <a:lnTo>
                        <a:pt x="14270" y="32809"/>
                      </a:lnTo>
                      <a:lnTo>
                        <a:pt x="14312" y="32955"/>
                      </a:lnTo>
                      <a:lnTo>
                        <a:pt x="14458" y="33039"/>
                      </a:lnTo>
                      <a:lnTo>
                        <a:pt x="14668" y="32955"/>
                      </a:lnTo>
                      <a:lnTo>
                        <a:pt x="14772" y="32955"/>
                      </a:lnTo>
                      <a:lnTo>
                        <a:pt x="14814" y="33039"/>
                      </a:lnTo>
                      <a:lnTo>
                        <a:pt x="14898" y="33039"/>
                      </a:lnTo>
                      <a:lnTo>
                        <a:pt x="15002" y="33206"/>
                      </a:lnTo>
                      <a:lnTo>
                        <a:pt x="15128" y="33206"/>
                      </a:lnTo>
                      <a:lnTo>
                        <a:pt x="15233" y="33332"/>
                      </a:lnTo>
                      <a:lnTo>
                        <a:pt x="15400" y="33457"/>
                      </a:lnTo>
                      <a:lnTo>
                        <a:pt x="15463" y="33457"/>
                      </a:lnTo>
                      <a:lnTo>
                        <a:pt x="15526" y="33541"/>
                      </a:lnTo>
                      <a:lnTo>
                        <a:pt x="15526" y="33667"/>
                      </a:lnTo>
                      <a:lnTo>
                        <a:pt x="15609" y="33688"/>
                      </a:lnTo>
                      <a:lnTo>
                        <a:pt x="15672" y="33583"/>
                      </a:lnTo>
                      <a:lnTo>
                        <a:pt x="15672" y="33437"/>
                      </a:lnTo>
                      <a:lnTo>
                        <a:pt x="15777" y="33353"/>
                      </a:lnTo>
                      <a:lnTo>
                        <a:pt x="15860" y="33457"/>
                      </a:lnTo>
                      <a:lnTo>
                        <a:pt x="16070" y="33478"/>
                      </a:lnTo>
                      <a:lnTo>
                        <a:pt x="16153" y="33583"/>
                      </a:lnTo>
                      <a:lnTo>
                        <a:pt x="16258" y="33625"/>
                      </a:lnTo>
                      <a:lnTo>
                        <a:pt x="16383" y="33520"/>
                      </a:lnTo>
                      <a:lnTo>
                        <a:pt x="16383" y="33311"/>
                      </a:lnTo>
                      <a:lnTo>
                        <a:pt x="16509" y="33311"/>
                      </a:lnTo>
                      <a:lnTo>
                        <a:pt x="16509" y="33206"/>
                      </a:lnTo>
                      <a:lnTo>
                        <a:pt x="16614" y="33165"/>
                      </a:lnTo>
                      <a:lnTo>
                        <a:pt x="16697" y="33248"/>
                      </a:lnTo>
                      <a:lnTo>
                        <a:pt x="16760" y="33144"/>
                      </a:lnTo>
                      <a:lnTo>
                        <a:pt x="16886" y="33123"/>
                      </a:lnTo>
                      <a:lnTo>
                        <a:pt x="17032" y="33269"/>
                      </a:lnTo>
                      <a:lnTo>
                        <a:pt x="17074" y="33332"/>
                      </a:lnTo>
                      <a:lnTo>
                        <a:pt x="17220" y="33311"/>
                      </a:lnTo>
                      <a:lnTo>
                        <a:pt x="17199" y="33165"/>
                      </a:lnTo>
                      <a:lnTo>
                        <a:pt x="17283" y="33144"/>
                      </a:lnTo>
                      <a:lnTo>
                        <a:pt x="17409" y="33144"/>
                      </a:lnTo>
                      <a:lnTo>
                        <a:pt x="17451" y="33060"/>
                      </a:lnTo>
                      <a:lnTo>
                        <a:pt x="17597" y="33144"/>
                      </a:lnTo>
                      <a:lnTo>
                        <a:pt x="17660" y="33206"/>
                      </a:lnTo>
                      <a:lnTo>
                        <a:pt x="17639" y="33269"/>
                      </a:lnTo>
                      <a:lnTo>
                        <a:pt x="17555" y="33332"/>
                      </a:lnTo>
                      <a:lnTo>
                        <a:pt x="17660" y="33457"/>
                      </a:lnTo>
                      <a:lnTo>
                        <a:pt x="17764" y="33478"/>
                      </a:lnTo>
                      <a:lnTo>
                        <a:pt x="17827" y="33457"/>
                      </a:lnTo>
                      <a:lnTo>
                        <a:pt x="17911" y="33520"/>
                      </a:lnTo>
                      <a:lnTo>
                        <a:pt x="18078" y="33520"/>
                      </a:lnTo>
                      <a:lnTo>
                        <a:pt x="18287" y="33625"/>
                      </a:lnTo>
                      <a:lnTo>
                        <a:pt x="18434" y="33583"/>
                      </a:lnTo>
                      <a:lnTo>
                        <a:pt x="18476" y="33457"/>
                      </a:lnTo>
                      <a:lnTo>
                        <a:pt x="18476" y="33353"/>
                      </a:lnTo>
                      <a:lnTo>
                        <a:pt x="18539" y="33311"/>
                      </a:lnTo>
                      <a:lnTo>
                        <a:pt x="18706" y="33416"/>
                      </a:lnTo>
                      <a:lnTo>
                        <a:pt x="18873" y="33437"/>
                      </a:lnTo>
                      <a:lnTo>
                        <a:pt x="19062" y="33353"/>
                      </a:lnTo>
                      <a:lnTo>
                        <a:pt x="19103" y="33248"/>
                      </a:lnTo>
                      <a:lnTo>
                        <a:pt x="19083" y="32809"/>
                      </a:lnTo>
                      <a:lnTo>
                        <a:pt x="19020" y="32746"/>
                      </a:lnTo>
                      <a:lnTo>
                        <a:pt x="18852" y="32746"/>
                      </a:lnTo>
                      <a:lnTo>
                        <a:pt x="18748" y="32683"/>
                      </a:lnTo>
                      <a:lnTo>
                        <a:pt x="18706" y="32621"/>
                      </a:lnTo>
                      <a:lnTo>
                        <a:pt x="18580" y="32600"/>
                      </a:lnTo>
                      <a:lnTo>
                        <a:pt x="18497" y="32516"/>
                      </a:lnTo>
                      <a:lnTo>
                        <a:pt x="18371" y="32516"/>
                      </a:lnTo>
                      <a:lnTo>
                        <a:pt x="18371" y="32432"/>
                      </a:lnTo>
                      <a:lnTo>
                        <a:pt x="18350" y="32369"/>
                      </a:lnTo>
                      <a:lnTo>
                        <a:pt x="18371" y="32307"/>
                      </a:lnTo>
                      <a:lnTo>
                        <a:pt x="18476" y="32307"/>
                      </a:lnTo>
                      <a:lnTo>
                        <a:pt x="18497" y="32181"/>
                      </a:lnTo>
                      <a:lnTo>
                        <a:pt x="18580" y="32077"/>
                      </a:lnTo>
                      <a:lnTo>
                        <a:pt x="18559" y="31951"/>
                      </a:lnTo>
                      <a:lnTo>
                        <a:pt x="18476" y="31951"/>
                      </a:lnTo>
                      <a:lnTo>
                        <a:pt x="18476" y="31805"/>
                      </a:lnTo>
                      <a:lnTo>
                        <a:pt x="18601" y="31637"/>
                      </a:lnTo>
                      <a:lnTo>
                        <a:pt x="18748" y="31491"/>
                      </a:lnTo>
                      <a:lnTo>
                        <a:pt x="18978" y="31470"/>
                      </a:lnTo>
                      <a:lnTo>
                        <a:pt x="19083" y="31491"/>
                      </a:lnTo>
                      <a:lnTo>
                        <a:pt x="19166" y="31449"/>
                      </a:lnTo>
                      <a:lnTo>
                        <a:pt x="19166" y="31344"/>
                      </a:lnTo>
                      <a:lnTo>
                        <a:pt x="19062" y="31323"/>
                      </a:lnTo>
                      <a:lnTo>
                        <a:pt x="18978" y="31219"/>
                      </a:lnTo>
                      <a:lnTo>
                        <a:pt x="18873" y="31219"/>
                      </a:lnTo>
                      <a:lnTo>
                        <a:pt x="18790" y="31260"/>
                      </a:lnTo>
                      <a:lnTo>
                        <a:pt x="18685" y="31219"/>
                      </a:lnTo>
                      <a:lnTo>
                        <a:pt x="18539" y="31219"/>
                      </a:lnTo>
                      <a:lnTo>
                        <a:pt x="18539" y="31135"/>
                      </a:lnTo>
                      <a:lnTo>
                        <a:pt x="18580" y="31072"/>
                      </a:lnTo>
                      <a:lnTo>
                        <a:pt x="18748" y="31072"/>
                      </a:lnTo>
                      <a:lnTo>
                        <a:pt x="18685" y="30947"/>
                      </a:lnTo>
                      <a:lnTo>
                        <a:pt x="18539" y="30968"/>
                      </a:lnTo>
                      <a:lnTo>
                        <a:pt x="18434" y="30947"/>
                      </a:lnTo>
                      <a:lnTo>
                        <a:pt x="18476" y="30905"/>
                      </a:lnTo>
                      <a:lnTo>
                        <a:pt x="18434" y="30758"/>
                      </a:lnTo>
                      <a:lnTo>
                        <a:pt x="18476" y="30737"/>
                      </a:lnTo>
                      <a:lnTo>
                        <a:pt x="18601" y="30737"/>
                      </a:lnTo>
                      <a:lnTo>
                        <a:pt x="18664" y="30654"/>
                      </a:lnTo>
                      <a:lnTo>
                        <a:pt x="18748" y="30654"/>
                      </a:lnTo>
                      <a:lnTo>
                        <a:pt x="18769" y="30716"/>
                      </a:lnTo>
                      <a:lnTo>
                        <a:pt x="18894" y="30696"/>
                      </a:lnTo>
                      <a:lnTo>
                        <a:pt x="18999" y="30758"/>
                      </a:lnTo>
                      <a:lnTo>
                        <a:pt x="19062" y="30716"/>
                      </a:lnTo>
                      <a:lnTo>
                        <a:pt x="19062" y="30633"/>
                      </a:lnTo>
                      <a:lnTo>
                        <a:pt x="19166" y="30591"/>
                      </a:lnTo>
                      <a:lnTo>
                        <a:pt x="19271" y="30591"/>
                      </a:lnTo>
                      <a:lnTo>
                        <a:pt x="19334" y="30696"/>
                      </a:lnTo>
                      <a:lnTo>
                        <a:pt x="19396" y="30612"/>
                      </a:lnTo>
                      <a:lnTo>
                        <a:pt x="19396" y="30528"/>
                      </a:lnTo>
                      <a:lnTo>
                        <a:pt x="19606" y="30486"/>
                      </a:lnTo>
                      <a:lnTo>
                        <a:pt x="19731" y="30486"/>
                      </a:lnTo>
                      <a:lnTo>
                        <a:pt x="19899" y="30403"/>
                      </a:lnTo>
                      <a:lnTo>
                        <a:pt x="20045" y="30403"/>
                      </a:lnTo>
                      <a:lnTo>
                        <a:pt x="20066" y="30340"/>
                      </a:lnTo>
                      <a:lnTo>
                        <a:pt x="20233" y="30235"/>
                      </a:lnTo>
                      <a:lnTo>
                        <a:pt x="20359" y="30235"/>
                      </a:lnTo>
                      <a:lnTo>
                        <a:pt x="20443" y="30193"/>
                      </a:lnTo>
                      <a:lnTo>
                        <a:pt x="20526" y="30193"/>
                      </a:lnTo>
                      <a:lnTo>
                        <a:pt x="20589" y="30214"/>
                      </a:lnTo>
                      <a:lnTo>
                        <a:pt x="20652" y="30172"/>
                      </a:lnTo>
                      <a:lnTo>
                        <a:pt x="20652" y="30026"/>
                      </a:lnTo>
                      <a:lnTo>
                        <a:pt x="20736" y="29984"/>
                      </a:lnTo>
                      <a:lnTo>
                        <a:pt x="20861" y="29984"/>
                      </a:lnTo>
                      <a:lnTo>
                        <a:pt x="20882" y="29900"/>
                      </a:lnTo>
                      <a:lnTo>
                        <a:pt x="20966" y="29859"/>
                      </a:lnTo>
                      <a:lnTo>
                        <a:pt x="21008" y="29900"/>
                      </a:lnTo>
                      <a:lnTo>
                        <a:pt x="21091" y="29921"/>
                      </a:lnTo>
                      <a:lnTo>
                        <a:pt x="21196" y="29880"/>
                      </a:lnTo>
                      <a:lnTo>
                        <a:pt x="21321" y="29817"/>
                      </a:lnTo>
                      <a:lnTo>
                        <a:pt x="21572" y="29670"/>
                      </a:lnTo>
                      <a:lnTo>
                        <a:pt x="21614" y="29670"/>
                      </a:lnTo>
                      <a:lnTo>
                        <a:pt x="21677" y="29649"/>
                      </a:lnTo>
                      <a:lnTo>
                        <a:pt x="21803" y="29608"/>
                      </a:lnTo>
                      <a:lnTo>
                        <a:pt x="21886" y="29503"/>
                      </a:lnTo>
                      <a:lnTo>
                        <a:pt x="21949" y="29545"/>
                      </a:lnTo>
                      <a:lnTo>
                        <a:pt x="22116" y="29503"/>
                      </a:lnTo>
                      <a:lnTo>
                        <a:pt x="22116" y="29440"/>
                      </a:lnTo>
                      <a:lnTo>
                        <a:pt x="22054" y="29356"/>
                      </a:lnTo>
                      <a:lnTo>
                        <a:pt x="22116" y="29336"/>
                      </a:lnTo>
                      <a:lnTo>
                        <a:pt x="22284" y="29336"/>
                      </a:lnTo>
                      <a:lnTo>
                        <a:pt x="22305" y="29231"/>
                      </a:lnTo>
                      <a:lnTo>
                        <a:pt x="22409" y="29168"/>
                      </a:lnTo>
                      <a:lnTo>
                        <a:pt x="22472" y="29168"/>
                      </a:lnTo>
                      <a:lnTo>
                        <a:pt x="22556" y="29147"/>
                      </a:lnTo>
                      <a:lnTo>
                        <a:pt x="22681" y="29189"/>
                      </a:lnTo>
                      <a:lnTo>
                        <a:pt x="22849" y="29168"/>
                      </a:lnTo>
                      <a:lnTo>
                        <a:pt x="22974" y="29273"/>
                      </a:lnTo>
                      <a:lnTo>
                        <a:pt x="23100" y="29273"/>
                      </a:lnTo>
                      <a:lnTo>
                        <a:pt x="23246" y="29210"/>
                      </a:lnTo>
                      <a:lnTo>
                        <a:pt x="23372" y="29210"/>
                      </a:lnTo>
                      <a:lnTo>
                        <a:pt x="23414" y="29356"/>
                      </a:lnTo>
                      <a:lnTo>
                        <a:pt x="23477" y="29377"/>
                      </a:lnTo>
                      <a:lnTo>
                        <a:pt x="23539" y="29503"/>
                      </a:lnTo>
                      <a:lnTo>
                        <a:pt x="23602" y="29608"/>
                      </a:lnTo>
                      <a:lnTo>
                        <a:pt x="23686" y="29670"/>
                      </a:lnTo>
                      <a:lnTo>
                        <a:pt x="23686" y="29712"/>
                      </a:lnTo>
                      <a:lnTo>
                        <a:pt x="23665" y="29817"/>
                      </a:lnTo>
                      <a:lnTo>
                        <a:pt x="23686" y="29921"/>
                      </a:lnTo>
                      <a:lnTo>
                        <a:pt x="23686" y="29984"/>
                      </a:lnTo>
                      <a:lnTo>
                        <a:pt x="23602" y="30005"/>
                      </a:lnTo>
                      <a:lnTo>
                        <a:pt x="23665" y="30110"/>
                      </a:lnTo>
                      <a:lnTo>
                        <a:pt x="23749" y="30152"/>
                      </a:lnTo>
                      <a:lnTo>
                        <a:pt x="23874" y="30089"/>
                      </a:lnTo>
                      <a:lnTo>
                        <a:pt x="23937" y="30152"/>
                      </a:lnTo>
                      <a:lnTo>
                        <a:pt x="24000" y="30131"/>
                      </a:lnTo>
                      <a:lnTo>
                        <a:pt x="24021" y="30026"/>
                      </a:lnTo>
                      <a:lnTo>
                        <a:pt x="24104" y="30005"/>
                      </a:lnTo>
                      <a:lnTo>
                        <a:pt x="24125" y="30110"/>
                      </a:lnTo>
                      <a:lnTo>
                        <a:pt x="24209" y="30110"/>
                      </a:lnTo>
                      <a:lnTo>
                        <a:pt x="24230" y="30026"/>
                      </a:lnTo>
                      <a:lnTo>
                        <a:pt x="24188" y="29921"/>
                      </a:lnTo>
                      <a:lnTo>
                        <a:pt x="24209" y="29900"/>
                      </a:lnTo>
                      <a:lnTo>
                        <a:pt x="24418" y="30026"/>
                      </a:lnTo>
                      <a:lnTo>
                        <a:pt x="24439" y="30214"/>
                      </a:lnTo>
                      <a:lnTo>
                        <a:pt x="24523" y="30340"/>
                      </a:lnTo>
                      <a:lnTo>
                        <a:pt x="24606" y="30340"/>
                      </a:lnTo>
                      <a:lnTo>
                        <a:pt x="24669" y="30256"/>
                      </a:lnTo>
                      <a:lnTo>
                        <a:pt x="24627" y="30235"/>
                      </a:lnTo>
                      <a:lnTo>
                        <a:pt x="24606" y="30193"/>
                      </a:lnTo>
                      <a:lnTo>
                        <a:pt x="24732" y="30152"/>
                      </a:lnTo>
                      <a:lnTo>
                        <a:pt x="24941" y="30256"/>
                      </a:lnTo>
                      <a:lnTo>
                        <a:pt x="25025" y="30256"/>
                      </a:lnTo>
                      <a:lnTo>
                        <a:pt x="25088" y="30193"/>
                      </a:lnTo>
                      <a:lnTo>
                        <a:pt x="25150" y="30214"/>
                      </a:lnTo>
                      <a:lnTo>
                        <a:pt x="25088" y="30319"/>
                      </a:lnTo>
                      <a:lnTo>
                        <a:pt x="25025" y="30361"/>
                      </a:lnTo>
                      <a:lnTo>
                        <a:pt x="25025" y="30528"/>
                      </a:lnTo>
                      <a:lnTo>
                        <a:pt x="25088" y="30633"/>
                      </a:lnTo>
                      <a:lnTo>
                        <a:pt x="25171" y="30633"/>
                      </a:lnTo>
                      <a:lnTo>
                        <a:pt x="25255" y="30549"/>
                      </a:lnTo>
                      <a:lnTo>
                        <a:pt x="25381" y="30528"/>
                      </a:lnTo>
                      <a:lnTo>
                        <a:pt x="25611" y="30570"/>
                      </a:lnTo>
                      <a:lnTo>
                        <a:pt x="25673" y="30612"/>
                      </a:lnTo>
                      <a:lnTo>
                        <a:pt x="25757" y="30549"/>
                      </a:lnTo>
                      <a:lnTo>
                        <a:pt x="25715" y="30424"/>
                      </a:lnTo>
                      <a:lnTo>
                        <a:pt x="25820" y="30361"/>
                      </a:lnTo>
                      <a:lnTo>
                        <a:pt x="25987" y="30340"/>
                      </a:lnTo>
                      <a:lnTo>
                        <a:pt x="26092" y="30256"/>
                      </a:lnTo>
                      <a:lnTo>
                        <a:pt x="26134" y="30152"/>
                      </a:lnTo>
                      <a:lnTo>
                        <a:pt x="26217" y="30089"/>
                      </a:lnTo>
                      <a:lnTo>
                        <a:pt x="26217" y="30005"/>
                      </a:lnTo>
                      <a:lnTo>
                        <a:pt x="26343" y="29880"/>
                      </a:lnTo>
                      <a:lnTo>
                        <a:pt x="26448" y="29838"/>
                      </a:lnTo>
                      <a:lnTo>
                        <a:pt x="26531" y="29733"/>
                      </a:lnTo>
                      <a:lnTo>
                        <a:pt x="26657" y="29712"/>
                      </a:lnTo>
                      <a:lnTo>
                        <a:pt x="26824" y="29670"/>
                      </a:lnTo>
                      <a:lnTo>
                        <a:pt x="26866" y="29712"/>
                      </a:lnTo>
                      <a:lnTo>
                        <a:pt x="26866" y="29817"/>
                      </a:lnTo>
                      <a:lnTo>
                        <a:pt x="27138" y="29900"/>
                      </a:lnTo>
                      <a:lnTo>
                        <a:pt x="27054" y="29921"/>
                      </a:lnTo>
                      <a:lnTo>
                        <a:pt x="27117" y="30005"/>
                      </a:lnTo>
                      <a:lnTo>
                        <a:pt x="28163" y="30800"/>
                      </a:lnTo>
                      <a:lnTo>
                        <a:pt x="29565" y="32579"/>
                      </a:lnTo>
                      <a:lnTo>
                        <a:pt x="29712" y="32537"/>
                      </a:lnTo>
                      <a:lnTo>
                        <a:pt x="29816" y="32495"/>
                      </a:lnTo>
                      <a:lnTo>
                        <a:pt x="29837" y="32411"/>
                      </a:lnTo>
                      <a:lnTo>
                        <a:pt x="29816" y="32390"/>
                      </a:lnTo>
                      <a:lnTo>
                        <a:pt x="29816" y="32265"/>
                      </a:lnTo>
                      <a:lnTo>
                        <a:pt x="29879" y="32202"/>
                      </a:lnTo>
                      <a:lnTo>
                        <a:pt x="30047" y="32286"/>
                      </a:lnTo>
                      <a:lnTo>
                        <a:pt x="30026" y="32369"/>
                      </a:lnTo>
                      <a:lnTo>
                        <a:pt x="30026" y="32432"/>
                      </a:lnTo>
                      <a:lnTo>
                        <a:pt x="30151" y="32474"/>
                      </a:lnTo>
                      <a:lnTo>
                        <a:pt x="30214" y="32537"/>
                      </a:lnTo>
                      <a:lnTo>
                        <a:pt x="30319" y="32537"/>
                      </a:lnTo>
                      <a:lnTo>
                        <a:pt x="30402" y="32495"/>
                      </a:lnTo>
                      <a:lnTo>
                        <a:pt x="30507" y="32474"/>
                      </a:lnTo>
                      <a:lnTo>
                        <a:pt x="30674" y="32537"/>
                      </a:lnTo>
                      <a:lnTo>
                        <a:pt x="30800" y="32495"/>
                      </a:lnTo>
                      <a:lnTo>
                        <a:pt x="30904" y="32516"/>
                      </a:lnTo>
                      <a:lnTo>
                        <a:pt x="31009" y="32474"/>
                      </a:lnTo>
                      <a:lnTo>
                        <a:pt x="31030" y="32411"/>
                      </a:lnTo>
                      <a:lnTo>
                        <a:pt x="31009" y="32369"/>
                      </a:lnTo>
                      <a:lnTo>
                        <a:pt x="31030" y="32307"/>
                      </a:lnTo>
                      <a:lnTo>
                        <a:pt x="31218" y="32286"/>
                      </a:lnTo>
                      <a:lnTo>
                        <a:pt x="31427" y="32286"/>
                      </a:lnTo>
                      <a:lnTo>
                        <a:pt x="31616" y="32328"/>
                      </a:lnTo>
                      <a:lnTo>
                        <a:pt x="31783" y="32474"/>
                      </a:lnTo>
                      <a:lnTo>
                        <a:pt x="31888" y="32621"/>
                      </a:lnTo>
                      <a:lnTo>
                        <a:pt x="31951" y="32746"/>
                      </a:lnTo>
                      <a:lnTo>
                        <a:pt x="32013" y="32746"/>
                      </a:lnTo>
                      <a:lnTo>
                        <a:pt x="32139" y="32788"/>
                      </a:lnTo>
                      <a:lnTo>
                        <a:pt x="32264" y="32851"/>
                      </a:lnTo>
                      <a:lnTo>
                        <a:pt x="32327" y="32851"/>
                      </a:lnTo>
                      <a:lnTo>
                        <a:pt x="32390" y="32913"/>
                      </a:lnTo>
                      <a:lnTo>
                        <a:pt x="32390" y="32997"/>
                      </a:lnTo>
                      <a:lnTo>
                        <a:pt x="32369" y="33039"/>
                      </a:lnTo>
                      <a:lnTo>
                        <a:pt x="32369" y="33144"/>
                      </a:lnTo>
                      <a:lnTo>
                        <a:pt x="32390" y="33227"/>
                      </a:lnTo>
                      <a:lnTo>
                        <a:pt x="32453" y="33269"/>
                      </a:lnTo>
                      <a:lnTo>
                        <a:pt x="32474" y="33311"/>
                      </a:lnTo>
                      <a:lnTo>
                        <a:pt x="32536" y="33311"/>
                      </a:lnTo>
                      <a:lnTo>
                        <a:pt x="32641" y="33353"/>
                      </a:lnTo>
                      <a:lnTo>
                        <a:pt x="32704" y="33416"/>
                      </a:lnTo>
                      <a:lnTo>
                        <a:pt x="32746" y="33353"/>
                      </a:lnTo>
                      <a:lnTo>
                        <a:pt x="32850" y="33311"/>
                      </a:lnTo>
                      <a:lnTo>
                        <a:pt x="33101" y="33269"/>
                      </a:lnTo>
                      <a:lnTo>
                        <a:pt x="33227" y="33248"/>
                      </a:lnTo>
                      <a:lnTo>
                        <a:pt x="33290" y="33144"/>
                      </a:lnTo>
                      <a:lnTo>
                        <a:pt x="33394" y="33102"/>
                      </a:lnTo>
                      <a:lnTo>
                        <a:pt x="33436" y="33123"/>
                      </a:lnTo>
                      <a:lnTo>
                        <a:pt x="33394" y="33248"/>
                      </a:lnTo>
                      <a:lnTo>
                        <a:pt x="33415" y="33353"/>
                      </a:lnTo>
                      <a:lnTo>
                        <a:pt x="33499" y="33374"/>
                      </a:lnTo>
                      <a:lnTo>
                        <a:pt x="33624" y="33478"/>
                      </a:lnTo>
                      <a:lnTo>
                        <a:pt x="33792" y="33541"/>
                      </a:lnTo>
                      <a:lnTo>
                        <a:pt x="33813" y="33562"/>
                      </a:lnTo>
                      <a:lnTo>
                        <a:pt x="33896" y="33562"/>
                      </a:lnTo>
                      <a:lnTo>
                        <a:pt x="34001" y="33625"/>
                      </a:lnTo>
                      <a:lnTo>
                        <a:pt x="34043" y="33625"/>
                      </a:lnTo>
                      <a:lnTo>
                        <a:pt x="34043" y="33583"/>
                      </a:lnTo>
                      <a:lnTo>
                        <a:pt x="34127" y="33374"/>
                      </a:lnTo>
                      <a:lnTo>
                        <a:pt x="34231" y="33332"/>
                      </a:lnTo>
                      <a:lnTo>
                        <a:pt x="34482" y="33332"/>
                      </a:lnTo>
                      <a:lnTo>
                        <a:pt x="34524" y="33269"/>
                      </a:lnTo>
                      <a:lnTo>
                        <a:pt x="34629" y="33165"/>
                      </a:lnTo>
                      <a:lnTo>
                        <a:pt x="34796" y="33102"/>
                      </a:lnTo>
                      <a:lnTo>
                        <a:pt x="34796" y="32997"/>
                      </a:lnTo>
                      <a:lnTo>
                        <a:pt x="34859" y="32893"/>
                      </a:lnTo>
                      <a:lnTo>
                        <a:pt x="35005" y="32809"/>
                      </a:lnTo>
                      <a:lnTo>
                        <a:pt x="35005" y="32725"/>
                      </a:lnTo>
                      <a:lnTo>
                        <a:pt x="35110" y="32621"/>
                      </a:lnTo>
                      <a:lnTo>
                        <a:pt x="35215" y="32600"/>
                      </a:lnTo>
                      <a:lnTo>
                        <a:pt x="35298" y="32495"/>
                      </a:lnTo>
                      <a:lnTo>
                        <a:pt x="35361" y="32432"/>
                      </a:lnTo>
                      <a:lnTo>
                        <a:pt x="35298" y="32390"/>
                      </a:lnTo>
                      <a:lnTo>
                        <a:pt x="35298" y="32307"/>
                      </a:lnTo>
                      <a:lnTo>
                        <a:pt x="35319" y="32265"/>
                      </a:lnTo>
                      <a:lnTo>
                        <a:pt x="35508" y="32307"/>
                      </a:lnTo>
                      <a:lnTo>
                        <a:pt x="35591" y="32265"/>
                      </a:lnTo>
                      <a:lnTo>
                        <a:pt x="35633" y="32097"/>
                      </a:lnTo>
                      <a:lnTo>
                        <a:pt x="35717" y="32077"/>
                      </a:lnTo>
                      <a:lnTo>
                        <a:pt x="35926" y="32056"/>
                      </a:lnTo>
                      <a:lnTo>
                        <a:pt x="36031" y="32014"/>
                      </a:lnTo>
                      <a:lnTo>
                        <a:pt x="36261" y="32014"/>
                      </a:lnTo>
                      <a:lnTo>
                        <a:pt x="36345" y="31972"/>
                      </a:lnTo>
                      <a:lnTo>
                        <a:pt x="36365" y="31972"/>
                      </a:lnTo>
                      <a:lnTo>
                        <a:pt x="36449" y="32077"/>
                      </a:lnTo>
                      <a:lnTo>
                        <a:pt x="36449" y="32160"/>
                      </a:lnTo>
                      <a:lnTo>
                        <a:pt x="36533" y="32223"/>
                      </a:lnTo>
                      <a:lnTo>
                        <a:pt x="36658" y="32223"/>
                      </a:lnTo>
                      <a:lnTo>
                        <a:pt x="36700" y="32202"/>
                      </a:lnTo>
                      <a:lnTo>
                        <a:pt x="36805" y="32202"/>
                      </a:lnTo>
                      <a:lnTo>
                        <a:pt x="36889" y="32160"/>
                      </a:lnTo>
                      <a:lnTo>
                        <a:pt x="37077" y="32160"/>
                      </a:lnTo>
                      <a:lnTo>
                        <a:pt x="37098" y="32223"/>
                      </a:lnTo>
                      <a:lnTo>
                        <a:pt x="37119" y="32328"/>
                      </a:lnTo>
                      <a:lnTo>
                        <a:pt x="37161" y="32411"/>
                      </a:lnTo>
                      <a:lnTo>
                        <a:pt x="37453" y="32579"/>
                      </a:lnTo>
                      <a:lnTo>
                        <a:pt x="37537" y="32641"/>
                      </a:lnTo>
                      <a:lnTo>
                        <a:pt x="37746" y="32746"/>
                      </a:lnTo>
                      <a:lnTo>
                        <a:pt x="37830" y="32704"/>
                      </a:lnTo>
                      <a:lnTo>
                        <a:pt x="37935" y="32641"/>
                      </a:lnTo>
                      <a:lnTo>
                        <a:pt x="38060" y="32579"/>
                      </a:lnTo>
                      <a:lnTo>
                        <a:pt x="38165" y="32579"/>
                      </a:lnTo>
                      <a:lnTo>
                        <a:pt x="38269" y="32600"/>
                      </a:lnTo>
                      <a:lnTo>
                        <a:pt x="38353" y="32641"/>
                      </a:lnTo>
                      <a:lnTo>
                        <a:pt x="38437" y="32621"/>
                      </a:lnTo>
                      <a:lnTo>
                        <a:pt x="38688" y="32621"/>
                      </a:lnTo>
                      <a:lnTo>
                        <a:pt x="38793" y="32683"/>
                      </a:lnTo>
                      <a:lnTo>
                        <a:pt x="38897" y="32683"/>
                      </a:lnTo>
                      <a:lnTo>
                        <a:pt x="38939" y="32641"/>
                      </a:lnTo>
                      <a:lnTo>
                        <a:pt x="39044" y="32683"/>
                      </a:lnTo>
                      <a:lnTo>
                        <a:pt x="39211" y="32641"/>
                      </a:lnTo>
                      <a:lnTo>
                        <a:pt x="39316" y="32474"/>
                      </a:lnTo>
                      <a:lnTo>
                        <a:pt x="39274" y="32390"/>
                      </a:lnTo>
                      <a:lnTo>
                        <a:pt x="39169" y="32307"/>
                      </a:lnTo>
                      <a:lnTo>
                        <a:pt x="39169" y="32118"/>
                      </a:lnTo>
                      <a:lnTo>
                        <a:pt x="39190" y="31951"/>
                      </a:lnTo>
                      <a:lnTo>
                        <a:pt x="39169" y="31867"/>
                      </a:lnTo>
                      <a:lnTo>
                        <a:pt x="39065" y="31846"/>
                      </a:lnTo>
                      <a:lnTo>
                        <a:pt x="39002" y="31763"/>
                      </a:lnTo>
                      <a:lnTo>
                        <a:pt x="38834" y="31700"/>
                      </a:lnTo>
                      <a:lnTo>
                        <a:pt x="38772" y="31574"/>
                      </a:lnTo>
                      <a:lnTo>
                        <a:pt x="38772" y="31281"/>
                      </a:lnTo>
                      <a:lnTo>
                        <a:pt x="38876" y="31156"/>
                      </a:lnTo>
                      <a:lnTo>
                        <a:pt x="38876" y="31072"/>
                      </a:lnTo>
                      <a:lnTo>
                        <a:pt x="38939" y="30968"/>
                      </a:lnTo>
                      <a:lnTo>
                        <a:pt x="39044" y="30947"/>
                      </a:lnTo>
                      <a:lnTo>
                        <a:pt x="39086" y="30968"/>
                      </a:lnTo>
                      <a:lnTo>
                        <a:pt x="39148" y="30863"/>
                      </a:lnTo>
                      <a:lnTo>
                        <a:pt x="39106" y="30758"/>
                      </a:lnTo>
                      <a:lnTo>
                        <a:pt x="39148" y="30696"/>
                      </a:lnTo>
                      <a:lnTo>
                        <a:pt x="39211" y="30633"/>
                      </a:lnTo>
                      <a:lnTo>
                        <a:pt x="39316" y="30633"/>
                      </a:lnTo>
                      <a:lnTo>
                        <a:pt x="39399" y="30696"/>
                      </a:lnTo>
                      <a:lnTo>
                        <a:pt x="39567" y="30737"/>
                      </a:lnTo>
                      <a:lnTo>
                        <a:pt x="39713" y="30821"/>
                      </a:lnTo>
                      <a:lnTo>
                        <a:pt x="39734" y="30863"/>
                      </a:lnTo>
                      <a:lnTo>
                        <a:pt x="39881" y="30926"/>
                      </a:lnTo>
                      <a:lnTo>
                        <a:pt x="40236" y="30926"/>
                      </a:lnTo>
                      <a:lnTo>
                        <a:pt x="40320" y="30968"/>
                      </a:lnTo>
                      <a:lnTo>
                        <a:pt x="40362" y="31030"/>
                      </a:lnTo>
                      <a:lnTo>
                        <a:pt x="40529" y="31051"/>
                      </a:lnTo>
                      <a:lnTo>
                        <a:pt x="40613" y="31114"/>
                      </a:lnTo>
                      <a:lnTo>
                        <a:pt x="40718" y="31135"/>
                      </a:lnTo>
                      <a:lnTo>
                        <a:pt x="40948" y="31135"/>
                      </a:lnTo>
                      <a:lnTo>
                        <a:pt x="41031" y="31156"/>
                      </a:lnTo>
                      <a:lnTo>
                        <a:pt x="41073" y="31240"/>
                      </a:lnTo>
                      <a:lnTo>
                        <a:pt x="41073" y="31323"/>
                      </a:lnTo>
                      <a:lnTo>
                        <a:pt x="41136" y="31386"/>
                      </a:lnTo>
                      <a:lnTo>
                        <a:pt x="41136" y="31470"/>
                      </a:lnTo>
                      <a:lnTo>
                        <a:pt x="41178" y="31533"/>
                      </a:lnTo>
                      <a:lnTo>
                        <a:pt x="41241" y="31658"/>
                      </a:lnTo>
                      <a:lnTo>
                        <a:pt x="41241" y="31763"/>
                      </a:lnTo>
                      <a:lnTo>
                        <a:pt x="41303" y="31805"/>
                      </a:lnTo>
                      <a:lnTo>
                        <a:pt x="41387" y="31805"/>
                      </a:lnTo>
                      <a:lnTo>
                        <a:pt x="41492" y="31909"/>
                      </a:lnTo>
                      <a:lnTo>
                        <a:pt x="41513" y="31972"/>
                      </a:lnTo>
                      <a:lnTo>
                        <a:pt x="41680" y="32014"/>
                      </a:lnTo>
                      <a:lnTo>
                        <a:pt x="41868" y="32118"/>
                      </a:lnTo>
                      <a:lnTo>
                        <a:pt x="41931" y="32118"/>
                      </a:lnTo>
                      <a:lnTo>
                        <a:pt x="41994" y="32077"/>
                      </a:lnTo>
                      <a:lnTo>
                        <a:pt x="42182" y="32077"/>
                      </a:lnTo>
                      <a:lnTo>
                        <a:pt x="42245" y="32014"/>
                      </a:lnTo>
                      <a:lnTo>
                        <a:pt x="42329" y="32014"/>
                      </a:lnTo>
                      <a:lnTo>
                        <a:pt x="42412" y="32056"/>
                      </a:lnTo>
                      <a:lnTo>
                        <a:pt x="42496" y="32014"/>
                      </a:lnTo>
                      <a:lnTo>
                        <a:pt x="42601" y="31909"/>
                      </a:lnTo>
                      <a:lnTo>
                        <a:pt x="42747" y="31867"/>
                      </a:lnTo>
                      <a:lnTo>
                        <a:pt x="42977" y="31846"/>
                      </a:lnTo>
                      <a:lnTo>
                        <a:pt x="43124" y="31763"/>
                      </a:lnTo>
                      <a:lnTo>
                        <a:pt x="43270" y="31763"/>
                      </a:lnTo>
                      <a:lnTo>
                        <a:pt x="43396" y="31700"/>
                      </a:lnTo>
                      <a:lnTo>
                        <a:pt x="43542" y="31784"/>
                      </a:lnTo>
                      <a:lnTo>
                        <a:pt x="43710" y="31805"/>
                      </a:lnTo>
                      <a:lnTo>
                        <a:pt x="43961" y="31805"/>
                      </a:lnTo>
                      <a:lnTo>
                        <a:pt x="44065" y="31972"/>
                      </a:lnTo>
                      <a:lnTo>
                        <a:pt x="44275" y="32056"/>
                      </a:lnTo>
                      <a:lnTo>
                        <a:pt x="44421" y="32056"/>
                      </a:lnTo>
                      <a:lnTo>
                        <a:pt x="44547" y="32014"/>
                      </a:lnTo>
                      <a:lnTo>
                        <a:pt x="44609" y="32077"/>
                      </a:lnTo>
                      <a:lnTo>
                        <a:pt x="44651" y="32265"/>
                      </a:lnTo>
                      <a:lnTo>
                        <a:pt x="44756" y="32328"/>
                      </a:lnTo>
                      <a:lnTo>
                        <a:pt x="44840" y="32390"/>
                      </a:lnTo>
                      <a:lnTo>
                        <a:pt x="44923" y="32411"/>
                      </a:lnTo>
                      <a:lnTo>
                        <a:pt x="45028" y="32516"/>
                      </a:lnTo>
                      <a:lnTo>
                        <a:pt x="45112" y="32516"/>
                      </a:lnTo>
                      <a:lnTo>
                        <a:pt x="45363" y="32495"/>
                      </a:lnTo>
                      <a:lnTo>
                        <a:pt x="45593" y="32579"/>
                      </a:lnTo>
                      <a:lnTo>
                        <a:pt x="45948" y="32579"/>
                      </a:lnTo>
                      <a:lnTo>
                        <a:pt x="46095" y="32537"/>
                      </a:lnTo>
                      <a:lnTo>
                        <a:pt x="46158" y="32495"/>
                      </a:lnTo>
                      <a:lnTo>
                        <a:pt x="46283" y="32495"/>
                      </a:lnTo>
                      <a:lnTo>
                        <a:pt x="46388" y="32537"/>
                      </a:lnTo>
                      <a:lnTo>
                        <a:pt x="46472" y="32537"/>
                      </a:lnTo>
                      <a:lnTo>
                        <a:pt x="46534" y="32411"/>
                      </a:lnTo>
                      <a:lnTo>
                        <a:pt x="46744" y="32286"/>
                      </a:lnTo>
                      <a:lnTo>
                        <a:pt x="46890" y="32286"/>
                      </a:lnTo>
                      <a:lnTo>
                        <a:pt x="46953" y="32181"/>
                      </a:lnTo>
                      <a:lnTo>
                        <a:pt x="47329" y="32181"/>
                      </a:lnTo>
                      <a:lnTo>
                        <a:pt x="47434" y="32077"/>
                      </a:lnTo>
                      <a:lnTo>
                        <a:pt x="47455" y="31972"/>
                      </a:lnTo>
                      <a:lnTo>
                        <a:pt x="47455" y="31909"/>
                      </a:lnTo>
                      <a:lnTo>
                        <a:pt x="47539" y="31805"/>
                      </a:lnTo>
                      <a:lnTo>
                        <a:pt x="47664" y="31763"/>
                      </a:lnTo>
                      <a:lnTo>
                        <a:pt x="47748" y="31679"/>
                      </a:lnTo>
                      <a:lnTo>
                        <a:pt x="47790" y="31553"/>
                      </a:lnTo>
                      <a:lnTo>
                        <a:pt x="47873" y="31470"/>
                      </a:lnTo>
                      <a:lnTo>
                        <a:pt x="47978" y="31470"/>
                      </a:lnTo>
                      <a:lnTo>
                        <a:pt x="47999" y="31491"/>
                      </a:lnTo>
                      <a:lnTo>
                        <a:pt x="48187" y="31449"/>
                      </a:lnTo>
                      <a:lnTo>
                        <a:pt x="48292" y="31449"/>
                      </a:lnTo>
                      <a:lnTo>
                        <a:pt x="48417" y="31533"/>
                      </a:lnTo>
                      <a:lnTo>
                        <a:pt x="48501" y="31637"/>
                      </a:lnTo>
                      <a:lnTo>
                        <a:pt x="48585" y="31658"/>
                      </a:lnTo>
                      <a:lnTo>
                        <a:pt x="48689" y="31595"/>
                      </a:lnTo>
                      <a:lnTo>
                        <a:pt x="48731" y="31658"/>
                      </a:lnTo>
                      <a:lnTo>
                        <a:pt x="48836" y="31658"/>
                      </a:lnTo>
                      <a:lnTo>
                        <a:pt x="48982" y="31574"/>
                      </a:lnTo>
                      <a:lnTo>
                        <a:pt x="48982" y="31533"/>
                      </a:lnTo>
                      <a:lnTo>
                        <a:pt x="49150" y="31491"/>
                      </a:lnTo>
                      <a:lnTo>
                        <a:pt x="49359" y="31574"/>
                      </a:lnTo>
                      <a:lnTo>
                        <a:pt x="49422" y="31637"/>
                      </a:lnTo>
                      <a:lnTo>
                        <a:pt x="49464" y="31595"/>
                      </a:lnTo>
                      <a:lnTo>
                        <a:pt x="49547" y="31595"/>
                      </a:lnTo>
                      <a:lnTo>
                        <a:pt x="49568" y="31658"/>
                      </a:lnTo>
                      <a:lnTo>
                        <a:pt x="49673" y="31637"/>
                      </a:lnTo>
                      <a:lnTo>
                        <a:pt x="49840" y="31658"/>
                      </a:lnTo>
                      <a:lnTo>
                        <a:pt x="49924" y="31742"/>
                      </a:lnTo>
                      <a:lnTo>
                        <a:pt x="49966" y="31742"/>
                      </a:lnTo>
                      <a:lnTo>
                        <a:pt x="50259" y="31470"/>
                      </a:lnTo>
                      <a:lnTo>
                        <a:pt x="50384" y="31365"/>
                      </a:lnTo>
                      <a:lnTo>
                        <a:pt x="50594" y="31344"/>
                      </a:lnTo>
                      <a:lnTo>
                        <a:pt x="50677" y="31260"/>
                      </a:lnTo>
                      <a:lnTo>
                        <a:pt x="50698" y="31156"/>
                      </a:lnTo>
                      <a:lnTo>
                        <a:pt x="50677" y="31030"/>
                      </a:lnTo>
                      <a:lnTo>
                        <a:pt x="50614" y="31009"/>
                      </a:lnTo>
                      <a:lnTo>
                        <a:pt x="50573" y="31030"/>
                      </a:lnTo>
                      <a:lnTo>
                        <a:pt x="50510" y="31009"/>
                      </a:lnTo>
                      <a:lnTo>
                        <a:pt x="50468" y="31009"/>
                      </a:lnTo>
                      <a:lnTo>
                        <a:pt x="50468" y="30842"/>
                      </a:lnTo>
                      <a:lnTo>
                        <a:pt x="50489" y="30800"/>
                      </a:lnTo>
                      <a:lnTo>
                        <a:pt x="50489" y="30633"/>
                      </a:lnTo>
                      <a:lnTo>
                        <a:pt x="50447" y="30528"/>
                      </a:lnTo>
                      <a:lnTo>
                        <a:pt x="50468" y="30444"/>
                      </a:lnTo>
                      <a:lnTo>
                        <a:pt x="50552" y="30424"/>
                      </a:lnTo>
                      <a:lnTo>
                        <a:pt x="50552" y="30319"/>
                      </a:lnTo>
                      <a:lnTo>
                        <a:pt x="50468" y="30235"/>
                      </a:lnTo>
                      <a:lnTo>
                        <a:pt x="50447" y="30110"/>
                      </a:lnTo>
                      <a:lnTo>
                        <a:pt x="50468" y="30068"/>
                      </a:lnTo>
                      <a:lnTo>
                        <a:pt x="50405" y="29963"/>
                      </a:lnTo>
                      <a:lnTo>
                        <a:pt x="50405" y="29859"/>
                      </a:lnTo>
                      <a:lnTo>
                        <a:pt x="50489" y="29754"/>
                      </a:lnTo>
                      <a:lnTo>
                        <a:pt x="50573" y="29691"/>
                      </a:lnTo>
                      <a:lnTo>
                        <a:pt x="50594" y="29566"/>
                      </a:lnTo>
                      <a:lnTo>
                        <a:pt x="50677" y="29461"/>
                      </a:lnTo>
                      <a:lnTo>
                        <a:pt x="50761" y="29398"/>
                      </a:lnTo>
                      <a:lnTo>
                        <a:pt x="50761" y="29273"/>
                      </a:lnTo>
                      <a:lnTo>
                        <a:pt x="50719" y="29189"/>
                      </a:lnTo>
                      <a:lnTo>
                        <a:pt x="50719" y="29126"/>
                      </a:lnTo>
                      <a:lnTo>
                        <a:pt x="50656" y="29064"/>
                      </a:lnTo>
                      <a:lnTo>
                        <a:pt x="50594" y="28959"/>
                      </a:lnTo>
                      <a:lnTo>
                        <a:pt x="50510" y="28833"/>
                      </a:lnTo>
                      <a:lnTo>
                        <a:pt x="50447" y="28812"/>
                      </a:lnTo>
                      <a:lnTo>
                        <a:pt x="50363" y="28833"/>
                      </a:lnTo>
                      <a:lnTo>
                        <a:pt x="50238" y="28917"/>
                      </a:lnTo>
                      <a:lnTo>
                        <a:pt x="50175" y="28917"/>
                      </a:lnTo>
                      <a:lnTo>
                        <a:pt x="50154" y="28854"/>
                      </a:lnTo>
                      <a:lnTo>
                        <a:pt x="50154" y="28603"/>
                      </a:lnTo>
                      <a:lnTo>
                        <a:pt x="50175" y="28540"/>
                      </a:lnTo>
                      <a:lnTo>
                        <a:pt x="50175" y="28499"/>
                      </a:lnTo>
                      <a:lnTo>
                        <a:pt x="50238" y="28436"/>
                      </a:lnTo>
                      <a:lnTo>
                        <a:pt x="50259" y="28331"/>
                      </a:lnTo>
                      <a:lnTo>
                        <a:pt x="50342" y="28227"/>
                      </a:lnTo>
                      <a:lnTo>
                        <a:pt x="50342" y="28143"/>
                      </a:lnTo>
                      <a:lnTo>
                        <a:pt x="50384" y="28101"/>
                      </a:lnTo>
                      <a:lnTo>
                        <a:pt x="50552" y="28080"/>
                      </a:lnTo>
                      <a:lnTo>
                        <a:pt x="50614" y="28038"/>
                      </a:lnTo>
                      <a:lnTo>
                        <a:pt x="50698" y="28038"/>
                      </a:lnTo>
                      <a:lnTo>
                        <a:pt x="50719" y="28017"/>
                      </a:lnTo>
                      <a:lnTo>
                        <a:pt x="50803" y="28017"/>
                      </a:lnTo>
                      <a:lnTo>
                        <a:pt x="50886" y="27996"/>
                      </a:lnTo>
                      <a:lnTo>
                        <a:pt x="50928" y="27913"/>
                      </a:lnTo>
                      <a:lnTo>
                        <a:pt x="51033" y="27913"/>
                      </a:lnTo>
                      <a:lnTo>
                        <a:pt x="51117" y="27829"/>
                      </a:lnTo>
                      <a:lnTo>
                        <a:pt x="51242" y="27871"/>
                      </a:lnTo>
                      <a:lnTo>
                        <a:pt x="51451" y="27871"/>
                      </a:lnTo>
                      <a:lnTo>
                        <a:pt x="51514" y="27808"/>
                      </a:lnTo>
                      <a:lnTo>
                        <a:pt x="51556" y="27808"/>
                      </a:lnTo>
                      <a:lnTo>
                        <a:pt x="51598" y="27724"/>
                      </a:lnTo>
                      <a:lnTo>
                        <a:pt x="51744" y="27703"/>
                      </a:lnTo>
                      <a:lnTo>
                        <a:pt x="51765" y="27683"/>
                      </a:lnTo>
                      <a:lnTo>
                        <a:pt x="51849" y="27703"/>
                      </a:lnTo>
                      <a:lnTo>
                        <a:pt x="51933" y="27703"/>
                      </a:lnTo>
                      <a:lnTo>
                        <a:pt x="52016" y="27745"/>
                      </a:lnTo>
                      <a:lnTo>
                        <a:pt x="52184" y="27787"/>
                      </a:lnTo>
                      <a:lnTo>
                        <a:pt x="52267" y="27829"/>
                      </a:lnTo>
                      <a:lnTo>
                        <a:pt x="52288" y="27892"/>
                      </a:lnTo>
                      <a:lnTo>
                        <a:pt x="52435" y="27892"/>
                      </a:lnTo>
                      <a:lnTo>
                        <a:pt x="52498" y="27850"/>
                      </a:lnTo>
                      <a:lnTo>
                        <a:pt x="52539" y="27892"/>
                      </a:lnTo>
                      <a:lnTo>
                        <a:pt x="52644" y="27934"/>
                      </a:lnTo>
                      <a:lnTo>
                        <a:pt x="52686" y="27913"/>
                      </a:lnTo>
                      <a:lnTo>
                        <a:pt x="52686" y="27829"/>
                      </a:lnTo>
                      <a:lnTo>
                        <a:pt x="52749" y="27808"/>
                      </a:lnTo>
                      <a:lnTo>
                        <a:pt x="52790" y="27829"/>
                      </a:lnTo>
                      <a:lnTo>
                        <a:pt x="52874" y="27829"/>
                      </a:lnTo>
                      <a:lnTo>
                        <a:pt x="52916" y="27808"/>
                      </a:lnTo>
                      <a:lnTo>
                        <a:pt x="52979" y="27892"/>
                      </a:lnTo>
                      <a:lnTo>
                        <a:pt x="53021" y="27892"/>
                      </a:lnTo>
                      <a:lnTo>
                        <a:pt x="53104" y="27913"/>
                      </a:lnTo>
                      <a:lnTo>
                        <a:pt x="53125" y="27955"/>
                      </a:lnTo>
                      <a:lnTo>
                        <a:pt x="53104" y="28017"/>
                      </a:lnTo>
                      <a:lnTo>
                        <a:pt x="53125" y="28059"/>
                      </a:lnTo>
                      <a:lnTo>
                        <a:pt x="53188" y="28059"/>
                      </a:lnTo>
                      <a:lnTo>
                        <a:pt x="53209" y="28122"/>
                      </a:lnTo>
                      <a:lnTo>
                        <a:pt x="53272" y="28059"/>
                      </a:lnTo>
                      <a:lnTo>
                        <a:pt x="53335" y="28101"/>
                      </a:lnTo>
                      <a:lnTo>
                        <a:pt x="53376" y="28143"/>
                      </a:lnTo>
                      <a:lnTo>
                        <a:pt x="53335" y="28206"/>
                      </a:lnTo>
                      <a:lnTo>
                        <a:pt x="53376" y="28247"/>
                      </a:lnTo>
                      <a:lnTo>
                        <a:pt x="53481" y="28268"/>
                      </a:lnTo>
                      <a:lnTo>
                        <a:pt x="53523" y="28268"/>
                      </a:lnTo>
                      <a:lnTo>
                        <a:pt x="53586" y="28310"/>
                      </a:lnTo>
                      <a:lnTo>
                        <a:pt x="53586" y="28352"/>
                      </a:lnTo>
                      <a:lnTo>
                        <a:pt x="53627" y="28373"/>
                      </a:lnTo>
                      <a:lnTo>
                        <a:pt x="53690" y="28457"/>
                      </a:lnTo>
                      <a:lnTo>
                        <a:pt x="53690" y="28540"/>
                      </a:lnTo>
                      <a:lnTo>
                        <a:pt x="53711" y="28624"/>
                      </a:lnTo>
                      <a:lnTo>
                        <a:pt x="53711" y="28666"/>
                      </a:lnTo>
                      <a:lnTo>
                        <a:pt x="53732" y="28687"/>
                      </a:lnTo>
                      <a:lnTo>
                        <a:pt x="53899" y="28687"/>
                      </a:lnTo>
                      <a:lnTo>
                        <a:pt x="53920" y="28750"/>
                      </a:lnTo>
                      <a:lnTo>
                        <a:pt x="53899" y="28833"/>
                      </a:lnTo>
                      <a:lnTo>
                        <a:pt x="53899" y="28875"/>
                      </a:lnTo>
                      <a:lnTo>
                        <a:pt x="54025" y="28959"/>
                      </a:lnTo>
                      <a:lnTo>
                        <a:pt x="54067" y="29064"/>
                      </a:lnTo>
                      <a:lnTo>
                        <a:pt x="54151" y="29147"/>
                      </a:lnTo>
                      <a:lnTo>
                        <a:pt x="54171" y="29210"/>
                      </a:lnTo>
                      <a:lnTo>
                        <a:pt x="54234" y="29252"/>
                      </a:lnTo>
                      <a:lnTo>
                        <a:pt x="54255" y="29356"/>
                      </a:lnTo>
                      <a:lnTo>
                        <a:pt x="54339" y="29398"/>
                      </a:lnTo>
                      <a:lnTo>
                        <a:pt x="54339" y="29461"/>
                      </a:lnTo>
                      <a:lnTo>
                        <a:pt x="54318" y="29503"/>
                      </a:lnTo>
                      <a:lnTo>
                        <a:pt x="54339" y="29524"/>
                      </a:lnTo>
                      <a:lnTo>
                        <a:pt x="54381" y="29503"/>
                      </a:lnTo>
                      <a:lnTo>
                        <a:pt x="54443" y="29587"/>
                      </a:lnTo>
                      <a:lnTo>
                        <a:pt x="54464" y="29670"/>
                      </a:lnTo>
                      <a:lnTo>
                        <a:pt x="54569" y="29817"/>
                      </a:lnTo>
                      <a:lnTo>
                        <a:pt x="54778" y="29963"/>
                      </a:lnTo>
                      <a:lnTo>
                        <a:pt x="54799" y="30047"/>
                      </a:lnTo>
                      <a:lnTo>
                        <a:pt x="54841" y="30152"/>
                      </a:lnTo>
                      <a:lnTo>
                        <a:pt x="54883" y="30193"/>
                      </a:lnTo>
                      <a:lnTo>
                        <a:pt x="54883" y="30298"/>
                      </a:lnTo>
                      <a:lnTo>
                        <a:pt x="54967" y="30319"/>
                      </a:lnTo>
                      <a:lnTo>
                        <a:pt x="55008" y="30319"/>
                      </a:lnTo>
                      <a:lnTo>
                        <a:pt x="55050" y="30424"/>
                      </a:lnTo>
                      <a:lnTo>
                        <a:pt x="55050" y="30507"/>
                      </a:lnTo>
                      <a:lnTo>
                        <a:pt x="55092" y="30612"/>
                      </a:lnTo>
                      <a:lnTo>
                        <a:pt x="55218" y="30737"/>
                      </a:lnTo>
                      <a:lnTo>
                        <a:pt x="55322" y="30758"/>
                      </a:lnTo>
                      <a:lnTo>
                        <a:pt x="55385" y="30842"/>
                      </a:lnTo>
                      <a:lnTo>
                        <a:pt x="55469" y="30842"/>
                      </a:lnTo>
                      <a:lnTo>
                        <a:pt x="55511" y="30821"/>
                      </a:lnTo>
                      <a:lnTo>
                        <a:pt x="55573" y="30842"/>
                      </a:lnTo>
                      <a:lnTo>
                        <a:pt x="55615" y="30821"/>
                      </a:lnTo>
                      <a:lnTo>
                        <a:pt x="55741" y="30842"/>
                      </a:lnTo>
                      <a:lnTo>
                        <a:pt x="55803" y="30779"/>
                      </a:lnTo>
                      <a:lnTo>
                        <a:pt x="55887" y="30779"/>
                      </a:lnTo>
                      <a:lnTo>
                        <a:pt x="55887" y="30821"/>
                      </a:lnTo>
                      <a:lnTo>
                        <a:pt x="55824" y="30863"/>
                      </a:lnTo>
                      <a:lnTo>
                        <a:pt x="55845" y="30905"/>
                      </a:lnTo>
                      <a:lnTo>
                        <a:pt x="55992" y="30905"/>
                      </a:lnTo>
                      <a:lnTo>
                        <a:pt x="56034" y="30926"/>
                      </a:lnTo>
                      <a:lnTo>
                        <a:pt x="56055" y="30968"/>
                      </a:lnTo>
                      <a:lnTo>
                        <a:pt x="56138" y="31030"/>
                      </a:lnTo>
                      <a:lnTo>
                        <a:pt x="56159" y="30968"/>
                      </a:lnTo>
                      <a:lnTo>
                        <a:pt x="56222" y="30947"/>
                      </a:lnTo>
                      <a:lnTo>
                        <a:pt x="56264" y="30968"/>
                      </a:lnTo>
                      <a:lnTo>
                        <a:pt x="56306" y="30905"/>
                      </a:lnTo>
                      <a:lnTo>
                        <a:pt x="56348" y="30905"/>
                      </a:lnTo>
                      <a:lnTo>
                        <a:pt x="56410" y="30947"/>
                      </a:lnTo>
                      <a:lnTo>
                        <a:pt x="56431" y="31009"/>
                      </a:lnTo>
                      <a:lnTo>
                        <a:pt x="56473" y="31072"/>
                      </a:lnTo>
                      <a:lnTo>
                        <a:pt x="56536" y="31072"/>
                      </a:lnTo>
                      <a:lnTo>
                        <a:pt x="56557" y="31135"/>
                      </a:lnTo>
                      <a:lnTo>
                        <a:pt x="56620" y="31177"/>
                      </a:lnTo>
                      <a:lnTo>
                        <a:pt x="56640" y="31177"/>
                      </a:lnTo>
                      <a:lnTo>
                        <a:pt x="56682" y="31240"/>
                      </a:lnTo>
                      <a:lnTo>
                        <a:pt x="56724" y="31281"/>
                      </a:lnTo>
                      <a:lnTo>
                        <a:pt x="56850" y="31344"/>
                      </a:lnTo>
                      <a:lnTo>
                        <a:pt x="56871" y="31365"/>
                      </a:lnTo>
                      <a:lnTo>
                        <a:pt x="56933" y="31365"/>
                      </a:lnTo>
                      <a:lnTo>
                        <a:pt x="56975" y="31407"/>
                      </a:lnTo>
                      <a:lnTo>
                        <a:pt x="57059" y="31449"/>
                      </a:lnTo>
                      <a:lnTo>
                        <a:pt x="57122" y="31407"/>
                      </a:lnTo>
                      <a:lnTo>
                        <a:pt x="57184" y="31407"/>
                      </a:lnTo>
                      <a:lnTo>
                        <a:pt x="57247" y="31365"/>
                      </a:lnTo>
                      <a:lnTo>
                        <a:pt x="57289" y="31365"/>
                      </a:lnTo>
                      <a:lnTo>
                        <a:pt x="57352" y="31386"/>
                      </a:lnTo>
                      <a:lnTo>
                        <a:pt x="57352" y="31470"/>
                      </a:lnTo>
                      <a:lnTo>
                        <a:pt x="57289" y="31553"/>
                      </a:lnTo>
                      <a:lnTo>
                        <a:pt x="57289" y="31637"/>
                      </a:lnTo>
                      <a:lnTo>
                        <a:pt x="57289" y="31700"/>
                      </a:lnTo>
                      <a:lnTo>
                        <a:pt x="57394" y="31700"/>
                      </a:lnTo>
                      <a:lnTo>
                        <a:pt x="57436" y="31805"/>
                      </a:lnTo>
                      <a:lnTo>
                        <a:pt x="57456" y="31909"/>
                      </a:lnTo>
                      <a:lnTo>
                        <a:pt x="57436" y="32014"/>
                      </a:lnTo>
                      <a:lnTo>
                        <a:pt x="57394" y="32056"/>
                      </a:lnTo>
                      <a:lnTo>
                        <a:pt x="57394" y="32118"/>
                      </a:lnTo>
                      <a:lnTo>
                        <a:pt x="57498" y="32265"/>
                      </a:lnTo>
                      <a:lnTo>
                        <a:pt x="57561" y="32286"/>
                      </a:lnTo>
                      <a:lnTo>
                        <a:pt x="57645" y="32390"/>
                      </a:lnTo>
                      <a:lnTo>
                        <a:pt x="57666" y="32432"/>
                      </a:lnTo>
                      <a:lnTo>
                        <a:pt x="57749" y="32411"/>
                      </a:lnTo>
                      <a:lnTo>
                        <a:pt x="57812" y="32369"/>
                      </a:lnTo>
                      <a:lnTo>
                        <a:pt x="57896" y="32369"/>
                      </a:lnTo>
                      <a:lnTo>
                        <a:pt x="57938" y="32432"/>
                      </a:lnTo>
                      <a:lnTo>
                        <a:pt x="57980" y="32516"/>
                      </a:lnTo>
                      <a:lnTo>
                        <a:pt x="58042" y="32495"/>
                      </a:lnTo>
                      <a:lnTo>
                        <a:pt x="58105" y="32432"/>
                      </a:lnTo>
                      <a:lnTo>
                        <a:pt x="58189" y="32474"/>
                      </a:lnTo>
                      <a:lnTo>
                        <a:pt x="58231" y="32432"/>
                      </a:lnTo>
                      <a:lnTo>
                        <a:pt x="58398" y="32411"/>
                      </a:lnTo>
                      <a:lnTo>
                        <a:pt x="58461" y="32328"/>
                      </a:lnTo>
                      <a:lnTo>
                        <a:pt x="58524" y="32307"/>
                      </a:lnTo>
                      <a:lnTo>
                        <a:pt x="58524" y="32244"/>
                      </a:lnTo>
                      <a:lnTo>
                        <a:pt x="58544" y="32160"/>
                      </a:lnTo>
                      <a:lnTo>
                        <a:pt x="58628" y="32097"/>
                      </a:lnTo>
                      <a:lnTo>
                        <a:pt x="58628" y="31993"/>
                      </a:lnTo>
                      <a:lnTo>
                        <a:pt x="58649" y="31909"/>
                      </a:lnTo>
                      <a:lnTo>
                        <a:pt x="58837" y="31909"/>
                      </a:lnTo>
                      <a:lnTo>
                        <a:pt x="58858" y="31805"/>
                      </a:lnTo>
                      <a:lnTo>
                        <a:pt x="58921" y="31805"/>
                      </a:lnTo>
                      <a:lnTo>
                        <a:pt x="58963" y="31784"/>
                      </a:lnTo>
                      <a:lnTo>
                        <a:pt x="59005" y="31700"/>
                      </a:lnTo>
                      <a:lnTo>
                        <a:pt x="59047" y="31658"/>
                      </a:lnTo>
                      <a:lnTo>
                        <a:pt x="59151" y="31658"/>
                      </a:lnTo>
                      <a:lnTo>
                        <a:pt x="59214" y="31595"/>
                      </a:lnTo>
                      <a:lnTo>
                        <a:pt x="59319" y="31658"/>
                      </a:lnTo>
                      <a:lnTo>
                        <a:pt x="59361" y="31700"/>
                      </a:lnTo>
                      <a:lnTo>
                        <a:pt x="59465" y="31700"/>
                      </a:lnTo>
                      <a:lnTo>
                        <a:pt x="59486" y="31763"/>
                      </a:lnTo>
                      <a:lnTo>
                        <a:pt x="59549" y="31867"/>
                      </a:lnTo>
                      <a:lnTo>
                        <a:pt x="59486" y="31909"/>
                      </a:lnTo>
                      <a:lnTo>
                        <a:pt x="59528" y="31972"/>
                      </a:lnTo>
                      <a:lnTo>
                        <a:pt x="59633" y="32077"/>
                      </a:lnTo>
                      <a:lnTo>
                        <a:pt x="59633" y="32139"/>
                      </a:lnTo>
                      <a:lnTo>
                        <a:pt x="59674" y="32202"/>
                      </a:lnTo>
                      <a:lnTo>
                        <a:pt x="59758" y="32244"/>
                      </a:lnTo>
                      <a:lnTo>
                        <a:pt x="59737" y="32390"/>
                      </a:lnTo>
                      <a:lnTo>
                        <a:pt x="59737" y="32495"/>
                      </a:lnTo>
                      <a:lnTo>
                        <a:pt x="59695" y="32537"/>
                      </a:lnTo>
                      <a:lnTo>
                        <a:pt x="59633" y="32558"/>
                      </a:lnTo>
                      <a:lnTo>
                        <a:pt x="59549" y="32662"/>
                      </a:lnTo>
                      <a:lnTo>
                        <a:pt x="59549" y="32725"/>
                      </a:lnTo>
                      <a:lnTo>
                        <a:pt x="59591" y="32809"/>
                      </a:lnTo>
                      <a:lnTo>
                        <a:pt x="59633" y="32830"/>
                      </a:lnTo>
                      <a:lnTo>
                        <a:pt x="59633" y="32934"/>
                      </a:lnTo>
                      <a:lnTo>
                        <a:pt x="59591" y="33018"/>
                      </a:lnTo>
                      <a:lnTo>
                        <a:pt x="59633" y="33060"/>
                      </a:lnTo>
                      <a:lnTo>
                        <a:pt x="59674" y="33081"/>
                      </a:lnTo>
                      <a:lnTo>
                        <a:pt x="59674" y="33144"/>
                      </a:lnTo>
                      <a:lnTo>
                        <a:pt x="59695" y="33185"/>
                      </a:lnTo>
                      <a:lnTo>
                        <a:pt x="59695" y="33248"/>
                      </a:lnTo>
                      <a:lnTo>
                        <a:pt x="59674" y="33269"/>
                      </a:lnTo>
                      <a:lnTo>
                        <a:pt x="59653" y="33290"/>
                      </a:lnTo>
                      <a:lnTo>
                        <a:pt x="59653" y="33437"/>
                      </a:lnTo>
                      <a:lnTo>
                        <a:pt x="59695" y="33562"/>
                      </a:lnTo>
                      <a:lnTo>
                        <a:pt x="59737" y="33604"/>
                      </a:lnTo>
                      <a:lnTo>
                        <a:pt x="59737" y="33667"/>
                      </a:lnTo>
                      <a:lnTo>
                        <a:pt x="59674" y="33709"/>
                      </a:lnTo>
                      <a:lnTo>
                        <a:pt x="59653" y="33792"/>
                      </a:lnTo>
                      <a:lnTo>
                        <a:pt x="59674" y="33855"/>
                      </a:lnTo>
                      <a:lnTo>
                        <a:pt x="59674" y="33897"/>
                      </a:lnTo>
                      <a:lnTo>
                        <a:pt x="59695" y="33960"/>
                      </a:lnTo>
                      <a:lnTo>
                        <a:pt x="59633" y="34001"/>
                      </a:lnTo>
                      <a:lnTo>
                        <a:pt x="59591" y="34022"/>
                      </a:lnTo>
                      <a:lnTo>
                        <a:pt x="59633" y="34085"/>
                      </a:lnTo>
                      <a:lnTo>
                        <a:pt x="59653" y="34169"/>
                      </a:lnTo>
                      <a:lnTo>
                        <a:pt x="59633" y="34211"/>
                      </a:lnTo>
                      <a:lnTo>
                        <a:pt x="59570" y="34315"/>
                      </a:lnTo>
                      <a:lnTo>
                        <a:pt x="59591" y="34378"/>
                      </a:lnTo>
                      <a:lnTo>
                        <a:pt x="59633" y="34420"/>
                      </a:lnTo>
                      <a:lnTo>
                        <a:pt x="59591" y="34483"/>
                      </a:lnTo>
                      <a:lnTo>
                        <a:pt x="59591" y="34525"/>
                      </a:lnTo>
                      <a:lnTo>
                        <a:pt x="59633" y="34587"/>
                      </a:lnTo>
                      <a:lnTo>
                        <a:pt x="59653" y="34650"/>
                      </a:lnTo>
                      <a:lnTo>
                        <a:pt x="59591" y="34713"/>
                      </a:lnTo>
                      <a:lnTo>
                        <a:pt x="59549" y="34713"/>
                      </a:lnTo>
                      <a:lnTo>
                        <a:pt x="59486" y="34692"/>
                      </a:lnTo>
                      <a:lnTo>
                        <a:pt x="59130" y="34608"/>
                      </a:lnTo>
                      <a:lnTo>
                        <a:pt x="59047" y="34587"/>
                      </a:lnTo>
                      <a:lnTo>
                        <a:pt x="58942" y="34546"/>
                      </a:lnTo>
                      <a:lnTo>
                        <a:pt x="58900" y="34546"/>
                      </a:lnTo>
                      <a:lnTo>
                        <a:pt x="58796" y="34713"/>
                      </a:lnTo>
                      <a:lnTo>
                        <a:pt x="58754" y="34797"/>
                      </a:lnTo>
                      <a:lnTo>
                        <a:pt x="58712" y="34859"/>
                      </a:lnTo>
                      <a:lnTo>
                        <a:pt x="58628" y="34859"/>
                      </a:lnTo>
                      <a:lnTo>
                        <a:pt x="58544" y="34922"/>
                      </a:lnTo>
                      <a:lnTo>
                        <a:pt x="58524" y="34964"/>
                      </a:lnTo>
                      <a:lnTo>
                        <a:pt x="58586" y="35069"/>
                      </a:lnTo>
                      <a:lnTo>
                        <a:pt x="58712" y="35278"/>
                      </a:lnTo>
                      <a:lnTo>
                        <a:pt x="58733" y="35362"/>
                      </a:lnTo>
                      <a:lnTo>
                        <a:pt x="58754" y="35445"/>
                      </a:lnTo>
                      <a:lnTo>
                        <a:pt x="58837" y="35550"/>
                      </a:lnTo>
                      <a:lnTo>
                        <a:pt x="58837" y="35654"/>
                      </a:lnTo>
                      <a:lnTo>
                        <a:pt x="58837" y="35780"/>
                      </a:lnTo>
                      <a:lnTo>
                        <a:pt x="58837" y="35885"/>
                      </a:lnTo>
                      <a:lnTo>
                        <a:pt x="58837" y="36094"/>
                      </a:lnTo>
                      <a:lnTo>
                        <a:pt x="58921" y="36157"/>
                      </a:lnTo>
                      <a:lnTo>
                        <a:pt x="58921" y="36261"/>
                      </a:lnTo>
                      <a:lnTo>
                        <a:pt x="58921" y="36366"/>
                      </a:lnTo>
                      <a:lnTo>
                        <a:pt x="58900" y="36408"/>
                      </a:lnTo>
                      <a:lnTo>
                        <a:pt x="58900" y="36491"/>
                      </a:lnTo>
                      <a:lnTo>
                        <a:pt x="58921" y="36533"/>
                      </a:lnTo>
                      <a:lnTo>
                        <a:pt x="58921" y="36638"/>
                      </a:lnTo>
                      <a:lnTo>
                        <a:pt x="58858" y="36638"/>
                      </a:lnTo>
                      <a:lnTo>
                        <a:pt x="58733" y="36617"/>
                      </a:lnTo>
                      <a:lnTo>
                        <a:pt x="58649" y="36680"/>
                      </a:lnTo>
                      <a:lnTo>
                        <a:pt x="58649" y="36722"/>
                      </a:lnTo>
                      <a:lnTo>
                        <a:pt x="58691" y="36826"/>
                      </a:lnTo>
                      <a:lnTo>
                        <a:pt x="58733" y="36847"/>
                      </a:lnTo>
                      <a:lnTo>
                        <a:pt x="58733" y="36931"/>
                      </a:lnTo>
                      <a:lnTo>
                        <a:pt x="58733" y="36952"/>
                      </a:lnTo>
                      <a:lnTo>
                        <a:pt x="58837" y="37098"/>
                      </a:lnTo>
                      <a:lnTo>
                        <a:pt x="58858" y="37098"/>
                      </a:lnTo>
                      <a:lnTo>
                        <a:pt x="58921" y="36931"/>
                      </a:lnTo>
                      <a:lnTo>
                        <a:pt x="59068" y="36910"/>
                      </a:lnTo>
                      <a:lnTo>
                        <a:pt x="59130" y="36952"/>
                      </a:lnTo>
                      <a:lnTo>
                        <a:pt x="59172" y="36784"/>
                      </a:lnTo>
                      <a:lnTo>
                        <a:pt x="59256" y="36722"/>
                      </a:lnTo>
                      <a:lnTo>
                        <a:pt x="59256" y="36512"/>
                      </a:lnTo>
                      <a:lnTo>
                        <a:pt x="59361" y="36429"/>
                      </a:lnTo>
                      <a:lnTo>
                        <a:pt x="59361" y="36324"/>
                      </a:lnTo>
                      <a:lnTo>
                        <a:pt x="59381" y="36282"/>
                      </a:lnTo>
                      <a:lnTo>
                        <a:pt x="59528" y="36366"/>
                      </a:lnTo>
                      <a:lnTo>
                        <a:pt x="59653" y="36303"/>
                      </a:lnTo>
                      <a:lnTo>
                        <a:pt x="59695" y="36366"/>
                      </a:lnTo>
                      <a:lnTo>
                        <a:pt x="59695" y="36575"/>
                      </a:lnTo>
                      <a:lnTo>
                        <a:pt x="59884" y="36617"/>
                      </a:lnTo>
                      <a:lnTo>
                        <a:pt x="60072" y="36722"/>
                      </a:lnTo>
                      <a:lnTo>
                        <a:pt x="60114" y="36680"/>
                      </a:lnTo>
                      <a:lnTo>
                        <a:pt x="60197" y="36742"/>
                      </a:lnTo>
                      <a:lnTo>
                        <a:pt x="60323" y="36617"/>
                      </a:lnTo>
                      <a:lnTo>
                        <a:pt x="60490" y="36596"/>
                      </a:lnTo>
                      <a:lnTo>
                        <a:pt x="60511" y="36512"/>
                      </a:lnTo>
                      <a:lnTo>
                        <a:pt x="60595" y="36512"/>
                      </a:lnTo>
                      <a:lnTo>
                        <a:pt x="60679" y="36366"/>
                      </a:lnTo>
                      <a:lnTo>
                        <a:pt x="60846" y="36115"/>
                      </a:lnTo>
                      <a:lnTo>
                        <a:pt x="60825" y="36073"/>
                      </a:lnTo>
                      <a:lnTo>
                        <a:pt x="60951" y="36010"/>
                      </a:lnTo>
                      <a:lnTo>
                        <a:pt x="60951" y="35926"/>
                      </a:lnTo>
                      <a:lnTo>
                        <a:pt x="60909" y="35780"/>
                      </a:lnTo>
                      <a:lnTo>
                        <a:pt x="60993" y="35822"/>
                      </a:lnTo>
                      <a:lnTo>
                        <a:pt x="60993" y="35843"/>
                      </a:lnTo>
                      <a:lnTo>
                        <a:pt x="61118" y="35654"/>
                      </a:lnTo>
                      <a:lnTo>
                        <a:pt x="61055" y="35550"/>
                      </a:lnTo>
                      <a:lnTo>
                        <a:pt x="61118" y="35529"/>
                      </a:lnTo>
                      <a:lnTo>
                        <a:pt x="61118" y="35341"/>
                      </a:lnTo>
                      <a:lnTo>
                        <a:pt x="61223" y="35299"/>
                      </a:lnTo>
                      <a:lnTo>
                        <a:pt x="61223" y="35194"/>
                      </a:lnTo>
                      <a:lnTo>
                        <a:pt x="61369" y="35090"/>
                      </a:lnTo>
                      <a:lnTo>
                        <a:pt x="61411" y="35027"/>
                      </a:lnTo>
                      <a:lnTo>
                        <a:pt x="61348" y="34985"/>
                      </a:lnTo>
                      <a:lnTo>
                        <a:pt x="61369" y="34838"/>
                      </a:lnTo>
                      <a:lnTo>
                        <a:pt x="61453" y="34818"/>
                      </a:lnTo>
                      <a:lnTo>
                        <a:pt x="61557" y="34315"/>
                      </a:lnTo>
                      <a:lnTo>
                        <a:pt x="61683" y="34169"/>
                      </a:lnTo>
                      <a:lnTo>
                        <a:pt x="61683" y="34064"/>
                      </a:lnTo>
                      <a:lnTo>
                        <a:pt x="61829" y="33960"/>
                      </a:lnTo>
                      <a:lnTo>
                        <a:pt x="61850" y="33834"/>
                      </a:lnTo>
                      <a:lnTo>
                        <a:pt x="61976" y="33667"/>
                      </a:lnTo>
                      <a:lnTo>
                        <a:pt x="61976" y="33541"/>
                      </a:lnTo>
                      <a:lnTo>
                        <a:pt x="61934" y="33520"/>
                      </a:lnTo>
                      <a:lnTo>
                        <a:pt x="61892" y="33353"/>
                      </a:lnTo>
                      <a:lnTo>
                        <a:pt x="62039" y="33227"/>
                      </a:lnTo>
                      <a:lnTo>
                        <a:pt x="61976" y="32955"/>
                      </a:lnTo>
                      <a:lnTo>
                        <a:pt x="62081" y="32830"/>
                      </a:lnTo>
                      <a:lnTo>
                        <a:pt x="62081" y="32746"/>
                      </a:lnTo>
                      <a:lnTo>
                        <a:pt x="62039" y="32746"/>
                      </a:lnTo>
                      <a:lnTo>
                        <a:pt x="62101" y="32579"/>
                      </a:lnTo>
                      <a:lnTo>
                        <a:pt x="62101" y="32411"/>
                      </a:lnTo>
                      <a:lnTo>
                        <a:pt x="62206" y="32307"/>
                      </a:lnTo>
                      <a:lnTo>
                        <a:pt x="62206" y="32118"/>
                      </a:lnTo>
                      <a:lnTo>
                        <a:pt x="62185" y="32097"/>
                      </a:lnTo>
                      <a:lnTo>
                        <a:pt x="62164" y="31909"/>
                      </a:lnTo>
                      <a:lnTo>
                        <a:pt x="62248" y="31742"/>
                      </a:lnTo>
                      <a:lnTo>
                        <a:pt x="62248" y="31574"/>
                      </a:lnTo>
                      <a:lnTo>
                        <a:pt x="62394" y="31386"/>
                      </a:lnTo>
                      <a:lnTo>
                        <a:pt x="62394" y="31240"/>
                      </a:lnTo>
                      <a:lnTo>
                        <a:pt x="62353" y="31135"/>
                      </a:lnTo>
                      <a:lnTo>
                        <a:pt x="62353" y="30947"/>
                      </a:lnTo>
                      <a:lnTo>
                        <a:pt x="62394" y="30905"/>
                      </a:lnTo>
                      <a:lnTo>
                        <a:pt x="62394" y="30758"/>
                      </a:lnTo>
                      <a:lnTo>
                        <a:pt x="62311" y="30758"/>
                      </a:lnTo>
                      <a:lnTo>
                        <a:pt x="62269" y="30486"/>
                      </a:lnTo>
                      <a:lnTo>
                        <a:pt x="62269" y="30403"/>
                      </a:lnTo>
                      <a:lnTo>
                        <a:pt x="62248" y="30319"/>
                      </a:lnTo>
                      <a:lnTo>
                        <a:pt x="62248" y="30110"/>
                      </a:lnTo>
                      <a:lnTo>
                        <a:pt x="62081" y="29921"/>
                      </a:lnTo>
                      <a:lnTo>
                        <a:pt x="62039" y="29921"/>
                      </a:lnTo>
                      <a:lnTo>
                        <a:pt x="61976" y="29817"/>
                      </a:lnTo>
                      <a:lnTo>
                        <a:pt x="62039" y="29775"/>
                      </a:lnTo>
                      <a:lnTo>
                        <a:pt x="62101" y="29608"/>
                      </a:lnTo>
                      <a:lnTo>
                        <a:pt x="62101" y="29566"/>
                      </a:lnTo>
                      <a:lnTo>
                        <a:pt x="61997" y="29649"/>
                      </a:lnTo>
                      <a:lnTo>
                        <a:pt x="61892" y="29608"/>
                      </a:lnTo>
                      <a:lnTo>
                        <a:pt x="61788" y="29231"/>
                      </a:lnTo>
                      <a:lnTo>
                        <a:pt x="61788" y="29126"/>
                      </a:lnTo>
                      <a:lnTo>
                        <a:pt x="61767" y="29043"/>
                      </a:lnTo>
                      <a:lnTo>
                        <a:pt x="61746" y="28833"/>
                      </a:lnTo>
                      <a:lnTo>
                        <a:pt x="61788" y="28750"/>
                      </a:lnTo>
                      <a:lnTo>
                        <a:pt x="61683" y="28457"/>
                      </a:lnTo>
                      <a:lnTo>
                        <a:pt x="61767" y="28394"/>
                      </a:lnTo>
                      <a:lnTo>
                        <a:pt x="61725" y="28352"/>
                      </a:lnTo>
                      <a:lnTo>
                        <a:pt x="61746" y="28310"/>
                      </a:lnTo>
                      <a:lnTo>
                        <a:pt x="61746" y="28227"/>
                      </a:lnTo>
                      <a:lnTo>
                        <a:pt x="61683" y="28185"/>
                      </a:lnTo>
                      <a:lnTo>
                        <a:pt x="61746" y="28080"/>
                      </a:lnTo>
                      <a:lnTo>
                        <a:pt x="61683" y="27975"/>
                      </a:lnTo>
                      <a:lnTo>
                        <a:pt x="61683" y="27892"/>
                      </a:lnTo>
                      <a:lnTo>
                        <a:pt x="61767" y="27829"/>
                      </a:lnTo>
                      <a:lnTo>
                        <a:pt x="61662" y="27766"/>
                      </a:lnTo>
                      <a:lnTo>
                        <a:pt x="61641" y="27620"/>
                      </a:lnTo>
                      <a:lnTo>
                        <a:pt x="61683" y="27557"/>
                      </a:lnTo>
                      <a:lnTo>
                        <a:pt x="61662" y="27452"/>
                      </a:lnTo>
                      <a:lnTo>
                        <a:pt x="61578" y="27515"/>
                      </a:lnTo>
                      <a:lnTo>
                        <a:pt x="61474" y="27494"/>
                      </a:lnTo>
                      <a:lnTo>
                        <a:pt x="61348" y="27390"/>
                      </a:lnTo>
                      <a:lnTo>
                        <a:pt x="61348" y="27264"/>
                      </a:lnTo>
                      <a:lnTo>
                        <a:pt x="61411" y="27180"/>
                      </a:lnTo>
                      <a:lnTo>
                        <a:pt x="61411" y="27076"/>
                      </a:lnTo>
                      <a:lnTo>
                        <a:pt x="61244" y="26887"/>
                      </a:lnTo>
                      <a:lnTo>
                        <a:pt x="61160" y="26887"/>
                      </a:lnTo>
                      <a:lnTo>
                        <a:pt x="61055" y="26762"/>
                      </a:lnTo>
                      <a:lnTo>
                        <a:pt x="61139" y="26720"/>
                      </a:lnTo>
                      <a:lnTo>
                        <a:pt x="61139" y="26615"/>
                      </a:lnTo>
                      <a:lnTo>
                        <a:pt x="61202" y="26511"/>
                      </a:lnTo>
                      <a:lnTo>
                        <a:pt x="61097" y="26323"/>
                      </a:lnTo>
                      <a:lnTo>
                        <a:pt x="61013" y="26323"/>
                      </a:lnTo>
                      <a:lnTo>
                        <a:pt x="60930" y="26239"/>
                      </a:lnTo>
                      <a:lnTo>
                        <a:pt x="60825" y="26218"/>
                      </a:lnTo>
                      <a:lnTo>
                        <a:pt x="60804" y="26134"/>
                      </a:lnTo>
                      <a:lnTo>
                        <a:pt x="60532" y="26051"/>
                      </a:lnTo>
                      <a:lnTo>
                        <a:pt x="60490" y="25988"/>
                      </a:lnTo>
                      <a:lnTo>
                        <a:pt x="60323" y="25946"/>
                      </a:lnTo>
                      <a:lnTo>
                        <a:pt x="60260" y="25904"/>
                      </a:lnTo>
                      <a:lnTo>
                        <a:pt x="60197" y="25779"/>
                      </a:lnTo>
                      <a:lnTo>
                        <a:pt x="60114" y="25695"/>
                      </a:lnTo>
                      <a:lnTo>
                        <a:pt x="59988" y="25695"/>
                      </a:lnTo>
                      <a:lnTo>
                        <a:pt x="59863" y="25590"/>
                      </a:lnTo>
                      <a:lnTo>
                        <a:pt x="59737" y="25695"/>
                      </a:lnTo>
                      <a:lnTo>
                        <a:pt x="59633" y="25695"/>
                      </a:lnTo>
                      <a:lnTo>
                        <a:pt x="59570" y="25779"/>
                      </a:lnTo>
                      <a:lnTo>
                        <a:pt x="59486" y="25779"/>
                      </a:lnTo>
                      <a:lnTo>
                        <a:pt x="59444" y="25716"/>
                      </a:lnTo>
                      <a:lnTo>
                        <a:pt x="59444" y="25674"/>
                      </a:lnTo>
                      <a:lnTo>
                        <a:pt x="59340" y="25611"/>
                      </a:lnTo>
                      <a:lnTo>
                        <a:pt x="59235" y="25611"/>
                      </a:lnTo>
                      <a:lnTo>
                        <a:pt x="59277" y="25799"/>
                      </a:lnTo>
                      <a:lnTo>
                        <a:pt x="59381" y="25904"/>
                      </a:lnTo>
                      <a:lnTo>
                        <a:pt x="59340" y="26009"/>
                      </a:lnTo>
                      <a:lnTo>
                        <a:pt x="59381" y="26197"/>
                      </a:lnTo>
                      <a:lnTo>
                        <a:pt x="59340" y="26343"/>
                      </a:lnTo>
                      <a:lnTo>
                        <a:pt x="59256" y="26406"/>
                      </a:lnTo>
                      <a:lnTo>
                        <a:pt x="59256" y="26239"/>
                      </a:lnTo>
                      <a:lnTo>
                        <a:pt x="59277" y="26113"/>
                      </a:lnTo>
                      <a:lnTo>
                        <a:pt x="59214" y="25946"/>
                      </a:lnTo>
                      <a:lnTo>
                        <a:pt x="59151" y="26030"/>
                      </a:lnTo>
                      <a:lnTo>
                        <a:pt x="59172" y="26134"/>
                      </a:lnTo>
                      <a:lnTo>
                        <a:pt x="59130" y="26323"/>
                      </a:lnTo>
                      <a:lnTo>
                        <a:pt x="59005" y="26406"/>
                      </a:lnTo>
                      <a:lnTo>
                        <a:pt x="58733" y="26427"/>
                      </a:lnTo>
                      <a:lnTo>
                        <a:pt x="58712" y="26364"/>
                      </a:lnTo>
                      <a:lnTo>
                        <a:pt x="58816" y="26302"/>
                      </a:lnTo>
                      <a:lnTo>
                        <a:pt x="58858" y="26302"/>
                      </a:lnTo>
                      <a:lnTo>
                        <a:pt x="58858" y="26134"/>
                      </a:lnTo>
                      <a:lnTo>
                        <a:pt x="58921" y="26051"/>
                      </a:lnTo>
                      <a:lnTo>
                        <a:pt x="58963" y="26009"/>
                      </a:lnTo>
                      <a:lnTo>
                        <a:pt x="58837" y="26009"/>
                      </a:lnTo>
                      <a:lnTo>
                        <a:pt x="58796" y="26051"/>
                      </a:lnTo>
                      <a:lnTo>
                        <a:pt x="58733" y="26009"/>
                      </a:lnTo>
                      <a:lnTo>
                        <a:pt x="58649" y="26030"/>
                      </a:lnTo>
                      <a:lnTo>
                        <a:pt x="58607" y="26134"/>
                      </a:lnTo>
                      <a:lnTo>
                        <a:pt x="58524" y="26197"/>
                      </a:lnTo>
                      <a:lnTo>
                        <a:pt x="58503" y="26197"/>
                      </a:lnTo>
                      <a:lnTo>
                        <a:pt x="58419" y="26302"/>
                      </a:lnTo>
                      <a:lnTo>
                        <a:pt x="58272" y="26155"/>
                      </a:lnTo>
                      <a:lnTo>
                        <a:pt x="58293" y="26009"/>
                      </a:lnTo>
                      <a:lnTo>
                        <a:pt x="58231" y="25820"/>
                      </a:lnTo>
                      <a:lnTo>
                        <a:pt x="58105" y="25632"/>
                      </a:lnTo>
                      <a:lnTo>
                        <a:pt x="58105" y="25339"/>
                      </a:lnTo>
                      <a:lnTo>
                        <a:pt x="57980" y="25381"/>
                      </a:lnTo>
                      <a:lnTo>
                        <a:pt x="57917" y="25381"/>
                      </a:lnTo>
                      <a:lnTo>
                        <a:pt x="57812" y="25423"/>
                      </a:lnTo>
                      <a:lnTo>
                        <a:pt x="57749" y="25465"/>
                      </a:lnTo>
                      <a:lnTo>
                        <a:pt x="57603" y="25548"/>
                      </a:lnTo>
                      <a:lnTo>
                        <a:pt x="57498" y="25548"/>
                      </a:lnTo>
                      <a:lnTo>
                        <a:pt x="57394" y="25486"/>
                      </a:lnTo>
                      <a:lnTo>
                        <a:pt x="57289" y="25527"/>
                      </a:lnTo>
                      <a:lnTo>
                        <a:pt x="57184" y="25444"/>
                      </a:lnTo>
                      <a:lnTo>
                        <a:pt x="57143" y="25339"/>
                      </a:lnTo>
                      <a:lnTo>
                        <a:pt x="57184" y="25255"/>
                      </a:lnTo>
                      <a:lnTo>
                        <a:pt x="57226" y="25109"/>
                      </a:lnTo>
                      <a:lnTo>
                        <a:pt x="57331" y="24942"/>
                      </a:lnTo>
                      <a:lnTo>
                        <a:pt x="57477" y="24774"/>
                      </a:lnTo>
                      <a:lnTo>
                        <a:pt x="57477" y="24586"/>
                      </a:lnTo>
                      <a:lnTo>
                        <a:pt x="57666" y="24439"/>
                      </a:lnTo>
                      <a:lnTo>
                        <a:pt x="57666" y="24272"/>
                      </a:lnTo>
                      <a:lnTo>
                        <a:pt x="57708" y="24251"/>
                      </a:lnTo>
                      <a:lnTo>
                        <a:pt x="57708" y="24188"/>
                      </a:lnTo>
                      <a:lnTo>
                        <a:pt x="57812" y="24021"/>
                      </a:lnTo>
                      <a:lnTo>
                        <a:pt x="57854" y="23874"/>
                      </a:lnTo>
                      <a:lnTo>
                        <a:pt x="57917" y="23749"/>
                      </a:lnTo>
                      <a:lnTo>
                        <a:pt x="57875" y="23623"/>
                      </a:lnTo>
                      <a:lnTo>
                        <a:pt x="57917" y="23540"/>
                      </a:lnTo>
                      <a:lnTo>
                        <a:pt x="57917" y="23330"/>
                      </a:lnTo>
                      <a:lnTo>
                        <a:pt x="57980" y="23038"/>
                      </a:lnTo>
                      <a:lnTo>
                        <a:pt x="58021" y="23038"/>
                      </a:lnTo>
                      <a:lnTo>
                        <a:pt x="58063" y="22828"/>
                      </a:lnTo>
                      <a:lnTo>
                        <a:pt x="58168" y="22786"/>
                      </a:lnTo>
                      <a:lnTo>
                        <a:pt x="58126" y="22661"/>
                      </a:lnTo>
                      <a:lnTo>
                        <a:pt x="58293" y="22473"/>
                      </a:lnTo>
                      <a:lnTo>
                        <a:pt x="58314" y="22305"/>
                      </a:lnTo>
                      <a:lnTo>
                        <a:pt x="58419" y="22242"/>
                      </a:lnTo>
                      <a:lnTo>
                        <a:pt x="58377" y="22033"/>
                      </a:lnTo>
                      <a:lnTo>
                        <a:pt x="58419" y="21970"/>
                      </a:lnTo>
                      <a:lnTo>
                        <a:pt x="58419" y="21845"/>
                      </a:lnTo>
                      <a:lnTo>
                        <a:pt x="58503" y="21782"/>
                      </a:lnTo>
                      <a:lnTo>
                        <a:pt x="58544" y="21782"/>
                      </a:lnTo>
                      <a:lnTo>
                        <a:pt x="58544" y="21657"/>
                      </a:lnTo>
                      <a:lnTo>
                        <a:pt x="58503" y="21573"/>
                      </a:lnTo>
                      <a:lnTo>
                        <a:pt x="58503" y="21343"/>
                      </a:lnTo>
                      <a:lnTo>
                        <a:pt x="58482" y="21217"/>
                      </a:lnTo>
                      <a:lnTo>
                        <a:pt x="58544" y="21029"/>
                      </a:lnTo>
                      <a:lnTo>
                        <a:pt x="58712" y="20841"/>
                      </a:lnTo>
                      <a:lnTo>
                        <a:pt x="58754" y="20631"/>
                      </a:lnTo>
                      <a:lnTo>
                        <a:pt x="58607" y="20401"/>
                      </a:lnTo>
                      <a:lnTo>
                        <a:pt x="58628" y="20276"/>
                      </a:lnTo>
                      <a:lnTo>
                        <a:pt x="58733" y="20171"/>
                      </a:lnTo>
                      <a:lnTo>
                        <a:pt x="58754" y="20045"/>
                      </a:lnTo>
                      <a:lnTo>
                        <a:pt x="58963" y="19878"/>
                      </a:lnTo>
                      <a:lnTo>
                        <a:pt x="59005" y="19773"/>
                      </a:lnTo>
                      <a:lnTo>
                        <a:pt x="59068" y="19773"/>
                      </a:lnTo>
                      <a:lnTo>
                        <a:pt x="59151" y="19857"/>
                      </a:lnTo>
                      <a:lnTo>
                        <a:pt x="59277" y="19836"/>
                      </a:lnTo>
                      <a:lnTo>
                        <a:pt x="59486" y="19669"/>
                      </a:lnTo>
                      <a:lnTo>
                        <a:pt x="59674" y="19669"/>
                      </a:lnTo>
                      <a:lnTo>
                        <a:pt x="59842" y="19564"/>
                      </a:lnTo>
                      <a:lnTo>
                        <a:pt x="59967" y="19564"/>
                      </a:lnTo>
                      <a:lnTo>
                        <a:pt x="60072" y="19481"/>
                      </a:lnTo>
                      <a:lnTo>
                        <a:pt x="60177" y="19481"/>
                      </a:lnTo>
                      <a:lnTo>
                        <a:pt x="60281" y="19460"/>
                      </a:lnTo>
                      <a:lnTo>
                        <a:pt x="60323" y="19376"/>
                      </a:lnTo>
                      <a:lnTo>
                        <a:pt x="60428" y="19460"/>
                      </a:lnTo>
                      <a:lnTo>
                        <a:pt x="60386" y="19585"/>
                      </a:lnTo>
                      <a:lnTo>
                        <a:pt x="60469" y="19627"/>
                      </a:lnTo>
                      <a:lnTo>
                        <a:pt x="60574" y="19732"/>
                      </a:lnTo>
                      <a:lnTo>
                        <a:pt x="60616" y="19627"/>
                      </a:lnTo>
                      <a:lnTo>
                        <a:pt x="60721" y="19543"/>
                      </a:lnTo>
                      <a:lnTo>
                        <a:pt x="60574" y="19418"/>
                      </a:lnTo>
                      <a:lnTo>
                        <a:pt x="60574" y="19355"/>
                      </a:lnTo>
                      <a:lnTo>
                        <a:pt x="60700" y="19271"/>
                      </a:lnTo>
                      <a:lnTo>
                        <a:pt x="60909" y="19313"/>
                      </a:lnTo>
                      <a:lnTo>
                        <a:pt x="61013" y="19250"/>
                      </a:lnTo>
                      <a:lnTo>
                        <a:pt x="61244" y="19250"/>
                      </a:lnTo>
                      <a:lnTo>
                        <a:pt x="61306" y="19334"/>
                      </a:lnTo>
                      <a:lnTo>
                        <a:pt x="61348" y="19334"/>
                      </a:lnTo>
                      <a:lnTo>
                        <a:pt x="61432" y="19250"/>
                      </a:lnTo>
                      <a:lnTo>
                        <a:pt x="61516" y="19250"/>
                      </a:lnTo>
                      <a:lnTo>
                        <a:pt x="61474" y="19146"/>
                      </a:lnTo>
                      <a:lnTo>
                        <a:pt x="61557" y="19104"/>
                      </a:lnTo>
                      <a:lnTo>
                        <a:pt x="61746" y="19104"/>
                      </a:lnTo>
                      <a:lnTo>
                        <a:pt x="61829" y="19208"/>
                      </a:lnTo>
                      <a:lnTo>
                        <a:pt x="62039" y="19125"/>
                      </a:lnTo>
                      <a:lnTo>
                        <a:pt x="62039" y="19041"/>
                      </a:lnTo>
                      <a:lnTo>
                        <a:pt x="61955" y="18999"/>
                      </a:lnTo>
                      <a:lnTo>
                        <a:pt x="61892" y="19041"/>
                      </a:lnTo>
                      <a:lnTo>
                        <a:pt x="61767" y="18957"/>
                      </a:lnTo>
                      <a:lnTo>
                        <a:pt x="61850" y="18832"/>
                      </a:lnTo>
                      <a:lnTo>
                        <a:pt x="61871" y="18916"/>
                      </a:lnTo>
                      <a:lnTo>
                        <a:pt x="62039" y="18853"/>
                      </a:lnTo>
                      <a:lnTo>
                        <a:pt x="61871" y="18748"/>
                      </a:lnTo>
                      <a:lnTo>
                        <a:pt x="61871" y="18685"/>
                      </a:lnTo>
                      <a:lnTo>
                        <a:pt x="61955" y="18685"/>
                      </a:lnTo>
                      <a:lnTo>
                        <a:pt x="62101" y="18497"/>
                      </a:lnTo>
                      <a:lnTo>
                        <a:pt x="62269" y="18497"/>
                      </a:lnTo>
                      <a:lnTo>
                        <a:pt x="62353" y="18581"/>
                      </a:lnTo>
                      <a:lnTo>
                        <a:pt x="62457" y="18518"/>
                      </a:lnTo>
                      <a:lnTo>
                        <a:pt x="62666" y="18581"/>
                      </a:lnTo>
                      <a:lnTo>
                        <a:pt x="62813" y="18581"/>
                      </a:lnTo>
                      <a:lnTo>
                        <a:pt x="62813" y="18623"/>
                      </a:lnTo>
                      <a:lnTo>
                        <a:pt x="62897" y="18685"/>
                      </a:lnTo>
                      <a:lnTo>
                        <a:pt x="62959" y="18644"/>
                      </a:lnTo>
                      <a:lnTo>
                        <a:pt x="62918" y="18581"/>
                      </a:lnTo>
                      <a:lnTo>
                        <a:pt x="63106" y="18581"/>
                      </a:lnTo>
                      <a:lnTo>
                        <a:pt x="63252" y="18602"/>
                      </a:lnTo>
                      <a:lnTo>
                        <a:pt x="63357" y="18602"/>
                      </a:lnTo>
                      <a:lnTo>
                        <a:pt x="63462" y="18685"/>
                      </a:lnTo>
                      <a:lnTo>
                        <a:pt x="63462" y="18727"/>
                      </a:lnTo>
                      <a:lnTo>
                        <a:pt x="63629" y="18748"/>
                      </a:lnTo>
                      <a:lnTo>
                        <a:pt x="63734" y="18664"/>
                      </a:lnTo>
                      <a:lnTo>
                        <a:pt x="63796" y="18685"/>
                      </a:lnTo>
                      <a:lnTo>
                        <a:pt x="63838" y="18769"/>
                      </a:lnTo>
                      <a:lnTo>
                        <a:pt x="63629" y="18916"/>
                      </a:lnTo>
                      <a:lnTo>
                        <a:pt x="63441" y="18916"/>
                      </a:lnTo>
                      <a:lnTo>
                        <a:pt x="63378" y="18978"/>
                      </a:lnTo>
                      <a:lnTo>
                        <a:pt x="63378" y="19083"/>
                      </a:lnTo>
                      <a:lnTo>
                        <a:pt x="63273" y="19083"/>
                      </a:lnTo>
                      <a:lnTo>
                        <a:pt x="63252" y="19125"/>
                      </a:lnTo>
                      <a:lnTo>
                        <a:pt x="63315" y="19146"/>
                      </a:lnTo>
                      <a:lnTo>
                        <a:pt x="63378" y="19146"/>
                      </a:lnTo>
                      <a:lnTo>
                        <a:pt x="63545" y="19355"/>
                      </a:lnTo>
                      <a:lnTo>
                        <a:pt x="63587" y="19313"/>
                      </a:lnTo>
                      <a:lnTo>
                        <a:pt x="63775" y="19250"/>
                      </a:lnTo>
                      <a:lnTo>
                        <a:pt x="63859" y="19146"/>
                      </a:lnTo>
                      <a:lnTo>
                        <a:pt x="63838" y="19104"/>
                      </a:lnTo>
                      <a:lnTo>
                        <a:pt x="63964" y="19041"/>
                      </a:lnTo>
                      <a:lnTo>
                        <a:pt x="63880" y="18916"/>
                      </a:lnTo>
                      <a:lnTo>
                        <a:pt x="63964" y="18916"/>
                      </a:lnTo>
                      <a:lnTo>
                        <a:pt x="64089" y="19083"/>
                      </a:lnTo>
                      <a:lnTo>
                        <a:pt x="64173" y="19104"/>
                      </a:lnTo>
                      <a:lnTo>
                        <a:pt x="64215" y="19020"/>
                      </a:lnTo>
                      <a:lnTo>
                        <a:pt x="64173" y="18978"/>
                      </a:lnTo>
                      <a:lnTo>
                        <a:pt x="64257" y="18916"/>
                      </a:lnTo>
                      <a:lnTo>
                        <a:pt x="64298" y="18832"/>
                      </a:lnTo>
                      <a:lnTo>
                        <a:pt x="64319" y="18832"/>
                      </a:lnTo>
                      <a:lnTo>
                        <a:pt x="64319" y="18727"/>
                      </a:lnTo>
                      <a:lnTo>
                        <a:pt x="64298" y="18664"/>
                      </a:lnTo>
                      <a:lnTo>
                        <a:pt x="64382" y="18623"/>
                      </a:lnTo>
                      <a:lnTo>
                        <a:pt x="64466" y="18685"/>
                      </a:lnTo>
                      <a:lnTo>
                        <a:pt x="64529" y="18623"/>
                      </a:lnTo>
                      <a:lnTo>
                        <a:pt x="64591" y="18685"/>
                      </a:lnTo>
                      <a:lnTo>
                        <a:pt x="64612" y="18769"/>
                      </a:lnTo>
                      <a:lnTo>
                        <a:pt x="64696" y="18811"/>
                      </a:lnTo>
                      <a:lnTo>
                        <a:pt x="64842" y="18664"/>
                      </a:lnTo>
                      <a:lnTo>
                        <a:pt x="64780" y="18602"/>
                      </a:lnTo>
                      <a:lnTo>
                        <a:pt x="64780" y="18581"/>
                      </a:lnTo>
                      <a:lnTo>
                        <a:pt x="64842" y="18518"/>
                      </a:lnTo>
                      <a:lnTo>
                        <a:pt x="64926" y="18560"/>
                      </a:lnTo>
                      <a:lnTo>
                        <a:pt x="65010" y="18497"/>
                      </a:lnTo>
                      <a:lnTo>
                        <a:pt x="65094" y="18497"/>
                      </a:lnTo>
                      <a:lnTo>
                        <a:pt x="65114" y="18455"/>
                      </a:lnTo>
                      <a:lnTo>
                        <a:pt x="65010" y="18351"/>
                      </a:lnTo>
                      <a:lnTo>
                        <a:pt x="65031" y="18288"/>
                      </a:lnTo>
                      <a:lnTo>
                        <a:pt x="65031" y="18246"/>
                      </a:lnTo>
                      <a:lnTo>
                        <a:pt x="64926" y="18183"/>
                      </a:lnTo>
                      <a:lnTo>
                        <a:pt x="64884" y="18141"/>
                      </a:lnTo>
                      <a:lnTo>
                        <a:pt x="64884" y="18162"/>
                      </a:lnTo>
                      <a:lnTo>
                        <a:pt x="64884" y="18204"/>
                      </a:lnTo>
                      <a:lnTo>
                        <a:pt x="64822" y="18204"/>
                      </a:lnTo>
                      <a:lnTo>
                        <a:pt x="64717" y="18162"/>
                      </a:lnTo>
                      <a:lnTo>
                        <a:pt x="64696" y="18183"/>
                      </a:lnTo>
                      <a:lnTo>
                        <a:pt x="64696" y="18246"/>
                      </a:lnTo>
                      <a:lnTo>
                        <a:pt x="64591" y="18246"/>
                      </a:lnTo>
                      <a:lnTo>
                        <a:pt x="64529" y="18288"/>
                      </a:lnTo>
                      <a:lnTo>
                        <a:pt x="64466" y="18246"/>
                      </a:lnTo>
                      <a:lnTo>
                        <a:pt x="64487" y="18141"/>
                      </a:lnTo>
                      <a:lnTo>
                        <a:pt x="64529" y="18100"/>
                      </a:lnTo>
                      <a:lnTo>
                        <a:pt x="64382" y="17890"/>
                      </a:lnTo>
                      <a:lnTo>
                        <a:pt x="64487" y="17828"/>
                      </a:lnTo>
                      <a:lnTo>
                        <a:pt x="64382" y="17660"/>
                      </a:lnTo>
                      <a:lnTo>
                        <a:pt x="64424" y="17451"/>
                      </a:lnTo>
                      <a:lnTo>
                        <a:pt x="64424" y="17325"/>
                      </a:lnTo>
                      <a:lnTo>
                        <a:pt x="64508" y="17221"/>
                      </a:lnTo>
                      <a:lnTo>
                        <a:pt x="64508" y="17032"/>
                      </a:lnTo>
                      <a:lnTo>
                        <a:pt x="64612" y="16928"/>
                      </a:lnTo>
                      <a:lnTo>
                        <a:pt x="64612" y="16802"/>
                      </a:lnTo>
                      <a:lnTo>
                        <a:pt x="64591" y="16781"/>
                      </a:lnTo>
                      <a:lnTo>
                        <a:pt x="64717" y="16719"/>
                      </a:lnTo>
                      <a:lnTo>
                        <a:pt x="64591" y="16572"/>
                      </a:lnTo>
                      <a:lnTo>
                        <a:pt x="64633" y="16175"/>
                      </a:lnTo>
                      <a:lnTo>
                        <a:pt x="64738" y="16091"/>
                      </a:lnTo>
                      <a:lnTo>
                        <a:pt x="64633" y="15944"/>
                      </a:lnTo>
                      <a:lnTo>
                        <a:pt x="64612" y="15777"/>
                      </a:lnTo>
                      <a:lnTo>
                        <a:pt x="64529" y="15735"/>
                      </a:lnTo>
                      <a:lnTo>
                        <a:pt x="64529" y="15672"/>
                      </a:lnTo>
                      <a:lnTo>
                        <a:pt x="64633" y="15589"/>
                      </a:lnTo>
                      <a:lnTo>
                        <a:pt x="64612" y="15442"/>
                      </a:lnTo>
                      <a:lnTo>
                        <a:pt x="64696" y="15379"/>
                      </a:lnTo>
                      <a:lnTo>
                        <a:pt x="64822" y="15170"/>
                      </a:lnTo>
                      <a:lnTo>
                        <a:pt x="64947" y="15212"/>
                      </a:lnTo>
                      <a:lnTo>
                        <a:pt x="65031" y="15149"/>
                      </a:lnTo>
                      <a:lnTo>
                        <a:pt x="65114" y="15170"/>
                      </a:lnTo>
                      <a:lnTo>
                        <a:pt x="65156" y="15107"/>
                      </a:lnTo>
                      <a:lnTo>
                        <a:pt x="65366" y="15107"/>
                      </a:lnTo>
                      <a:lnTo>
                        <a:pt x="65407" y="15045"/>
                      </a:lnTo>
                      <a:lnTo>
                        <a:pt x="65470" y="15024"/>
                      </a:lnTo>
                      <a:lnTo>
                        <a:pt x="65512" y="14919"/>
                      </a:lnTo>
                      <a:lnTo>
                        <a:pt x="65554" y="14919"/>
                      </a:lnTo>
                      <a:lnTo>
                        <a:pt x="65617" y="14898"/>
                      </a:lnTo>
                      <a:lnTo>
                        <a:pt x="65742" y="14898"/>
                      </a:lnTo>
                      <a:lnTo>
                        <a:pt x="65763" y="15003"/>
                      </a:lnTo>
                      <a:lnTo>
                        <a:pt x="65826" y="14961"/>
                      </a:lnTo>
                      <a:lnTo>
                        <a:pt x="65868" y="14961"/>
                      </a:lnTo>
                      <a:lnTo>
                        <a:pt x="65951" y="15107"/>
                      </a:lnTo>
                      <a:lnTo>
                        <a:pt x="65993" y="15107"/>
                      </a:lnTo>
                      <a:lnTo>
                        <a:pt x="66098" y="14961"/>
                      </a:lnTo>
                      <a:lnTo>
                        <a:pt x="66098" y="14835"/>
                      </a:lnTo>
                      <a:lnTo>
                        <a:pt x="66182" y="14815"/>
                      </a:lnTo>
                      <a:lnTo>
                        <a:pt x="66203" y="14689"/>
                      </a:lnTo>
                      <a:lnTo>
                        <a:pt x="66265" y="14689"/>
                      </a:lnTo>
                      <a:lnTo>
                        <a:pt x="66286" y="14794"/>
                      </a:lnTo>
                      <a:lnTo>
                        <a:pt x="66412" y="14856"/>
                      </a:lnTo>
                      <a:lnTo>
                        <a:pt x="66412" y="15003"/>
                      </a:lnTo>
                      <a:lnTo>
                        <a:pt x="66391" y="15045"/>
                      </a:lnTo>
                      <a:lnTo>
                        <a:pt x="66454" y="15107"/>
                      </a:lnTo>
                      <a:lnTo>
                        <a:pt x="66475" y="15212"/>
                      </a:lnTo>
                      <a:lnTo>
                        <a:pt x="66391" y="15275"/>
                      </a:lnTo>
                      <a:lnTo>
                        <a:pt x="66454" y="15317"/>
                      </a:lnTo>
                      <a:lnTo>
                        <a:pt x="66475" y="15442"/>
                      </a:lnTo>
                      <a:lnTo>
                        <a:pt x="66454" y="15442"/>
                      </a:lnTo>
                      <a:lnTo>
                        <a:pt x="66454" y="15526"/>
                      </a:lnTo>
                      <a:lnTo>
                        <a:pt x="66475" y="15568"/>
                      </a:lnTo>
                      <a:lnTo>
                        <a:pt x="66412" y="15651"/>
                      </a:lnTo>
                      <a:lnTo>
                        <a:pt x="66391" y="15693"/>
                      </a:lnTo>
                      <a:lnTo>
                        <a:pt x="66412" y="15756"/>
                      </a:lnTo>
                      <a:lnTo>
                        <a:pt x="66516" y="15651"/>
                      </a:lnTo>
                      <a:lnTo>
                        <a:pt x="66558" y="15735"/>
                      </a:lnTo>
                      <a:lnTo>
                        <a:pt x="66663" y="15756"/>
                      </a:lnTo>
                      <a:lnTo>
                        <a:pt x="66684" y="15965"/>
                      </a:lnTo>
                      <a:lnTo>
                        <a:pt x="66726" y="15903"/>
                      </a:lnTo>
                      <a:lnTo>
                        <a:pt x="66726" y="15840"/>
                      </a:lnTo>
                      <a:lnTo>
                        <a:pt x="66830" y="15735"/>
                      </a:lnTo>
                      <a:lnTo>
                        <a:pt x="66914" y="15735"/>
                      </a:lnTo>
                      <a:lnTo>
                        <a:pt x="66977" y="15777"/>
                      </a:lnTo>
                      <a:lnTo>
                        <a:pt x="66872" y="15944"/>
                      </a:lnTo>
                      <a:lnTo>
                        <a:pt x="66977" y="16049"/>
                      </a:lnTo>
                      <a:lnTo>
                        <a:pt x="66998" y="16175"/>
                      </a:lnTo>
                      <a:lnTo>
                        <a:pt x="67081" y="15986"/>
                      </a:lnTo>
                      <a:lnTo>
                        <a:pt x="67144" y="15944"/>
                      </a:lnTo>
                      <a:lnTo>
                        <a:pt x="67144" y="15861"/>
                      </a:lnTo>
                      <a:lnTo>
                        <a:pt x="67207" y="15777"/>
                      </a:lnTo>
                      <a:lnTo>
                        <a:pt x="67207" y="15484"/>
                      </a:lnTo>
                      <a:lnTo>
                        <a:pt x="67291" y="15421"/>
                      </a:lnTo>
                      <a:lnTo>
                        <a:pt x="67207" y="15338"/>
                      </a:lnTo>
                      <a:lnTo>
                        <a:pt x="67311" y="15254"/>
                      </a:lnTo>
                      <a:lnTo>
                        <a:pt x="67311" y="15149"/>
                      </a:lnTo>
                      <a:lnTo>
                        <a:pt x="67249" y="15128"/>
                      </a:lnTo>
                      <a:lnTo>
                        <a:pt x="67249" y="15066"/>
                      </a:lnTo>
                      <a:lnTo>
                        <a:pt x="67311" y="15045"/>
                      </a:lnTo>
                      <a:lnTo>
                        <a:pt x="67332" y="14856"/>
                      </a:lnTo>
                      <a:lnTo>
                        <a:pt x="67249" y="14794"/>
                      </a:lnTo>
                      <a:lnTo>
                        <a:pt x="67311" y="14605"/>
                      </a:lnTo>
                      <a:lnTo>
                        <a:pt x="67395" y="14522"/>
                      </a:lnTo>
                      <a:lnTo>
                        <a:pt x="67542" y="14501"/>
                      </a:lnTo>
                      <a:lnTo>
                        <a:pt x="67604" y="14584"/>
                      </a:lnTo>
                      <a:lnTo>
                        <a:pt x="67667" y="14647"/>
                      </a:lnTo>
                      <a:lnTo>
                        <a:pt x="67730" y="14584"/>
                      </a:lnTo>
                      <a:lnTo>
                        <a:pt x="67646" y="14501"/>
                      </a:lnTo>
                      <a:lnTo>
                        <a:pt x="67688" y="14375"/>
                      </a:lnTo>
                      <a:lnTo>
                        <a:pt x="67521" y="14291"/>
                      </a:lnTo>
                      <a:lnTo>
                        <a:pt x="67479" y="14061"/>
                      </a:lnTo>
                      <a:lnTo>
                        <a:pt x="67395" y="13999"/>
                      </a:lnTo>
                      <a:lnTo>
                        <a:pt x="67395" y="13957"/>
                      </a:lnTo>
                      <a:lnTo>
                        <a:pt x="67291" y="13873"/>
                      </a:lnTo>
                      <a:lnTo>
                        <a:pt x="67270" y="13706"/>
                      </a:lnTo>
                      <a:lnTo>
                        <a:pt x="67311" y="13664"/>
                      </a:lnTo>
                      <a:lnTo>
                        <a:pt x="67291" y="13538"/>
                      </a:lnTo>
                      <a:lnTo>
                        <a:pt x="67165" y="13434"/>
                      </a:lnTo>
                      <a:lnTo>
                        <a:pt x="67186" y="13329"/>
                      </a:lnTo>
                      <a:lnTo>
                        <a:pt x="67123" y="13266"/>
                      </a:lnTo>
                      <a:lnTo>
                        <a:pt x="67291" y="13141"/>
                      </a:lnTo>
                      <a:lnTo>
                        <a:pt x="67416" y="13141"/>
                      </a:lnTo>
                      <a:lnTo>
                        <a:pt x="67521" y="13015"/>
                      </a:lnTo>
                      <a:lnTo>
                        <a:pt x="67688" y="13015"/>
                      </a:lnTo>
                      <a:lnTo>
                        <a:pt x="67730" y="12952"/>
                      </a:lnTo>
                      <a:lnTo>
                        <a:pt x="67897" y="13078"/>
                      </a:lnTo>
                      <a:lnTo>
                        <a:pt x="68044" y="13078"/>
                      </a:lnTo>
                      <a:lnTo>
                        <a:pt x="68107" y="13120"/>
                      </a:lnTo>
                      <a:lnTo>
                        <a:pt x="68211" y="13141"/>
                      </a:lnTo>
                      <a:lnTo>
                        <a:pt x="68274" y="13120"/>
                      </a:lnTo>
                      <a:lnTo>
                        <a:pt x="68127" y="13182"/>
                      </a:lnTo>
                      <a:lnTo>
                        <a:pt x="68211" y="13245"/>
                      </a:lnTo>
                      <a:lnTo>
                        <a:pt x="68065" y="13287"/>
                      </a:lnTo>
                      <a:lnTo>
                        <a:pt x="67939" y="13266"/>
                      </a:lnTo>
                      <a:lnTo>
                        <a:pt x="67793" y="13434"/>
                      </a:lnTo>
                      <a:lnTo>
                        <a:pt x="67793" y="13496"/>
                      </a:lnTo>
                      <a:lnTo>
                        <a:pt x="67835" y="13643"/>
                      </a:lnTo>
                      <a:lnTo>
                        <a:pt x="67835" y="13768"/>
                      </a:lnTo>
                      <a:lnTo>
                        <a:pt x="67918" y="13810"/>
                      </a:lnTo>
                      <a:lnTo>
                        <a:pt x="67939" y="13894"/>
                      </a:lnTo>
                      <a:lnTo>
                        <a:pt x="68065" y="14061"/>
                      </a:lnTo>
                      <a:lnTo>
                        <a:pt x="68065" y="14103"/>
                      </a:lnTo>
                      <a:lnTo>
                        <a:pt x="68107" y="14103"/>
                      </a:lnTo>
                      <a:lnTo>
                        <a:pt x="68065" y="14166"/>
                      </a:lnTo>
                      <a:lnTo>
                        <a:pt x="68211" y="14208"/>
                      </a:lnTo>
                      <a:lnTo>
                        <a:pt x="68232" y="14333"/>
                      </a:lnTo>
                      <a:lnTo>
                        <a:pt x="68232" y="14396"/>
                      </a:lnTo>
                      <a:lnTo>
                        <a:pt x="68169" y="14438"/>
                      </a:lnTo>
                      <a:lnTo>
                        <a:pt x="68211" y="14710"/>
                      </a:lnTo>
                      <a:lnTo>
                        <a:pt x="68253" y="14731"/>
                      </a:lnTo>
                      <a:lnTo>
                        <a:pt x="68316" y="14647"/>
                      </a:lnTo>
                      <a:lnTo>
                        <a:pt x="68358" y="14647"/>
                      </a:lnTo>
                      <a:lnTo>
                        <a:pt x="68441" y="14752"/>
                      </a:lnTo>
                      <a:lnTo>
                        <a:pt x="68483" y="14835"/>
                      </a:lnTo>
                      <a:lnTo>
                        <a:pt x="68420" y="15024"/>
                      </a:lnTo>
                      <a:lnTo>
                        <a:pt x="68420" y="15233"/>
                      </a:lnTo>
                      <a:lnTo>
                        <a:pt x="68483" y="15317"/>
                      </a:lnTo>
                      <a:lnTo>
                        <a:pt x="68567" y="15254"/>
                      </a:lnTo>
                      <a:lnTo>
                        <a:pt x="68672" y="15275"/>
                      </a:lnTo>
                      <a:lnTo>
                        <a:pt x="68692" y="15338"/>
                      </a:lnTo>
                      <a:lnTo>
                        <a:pt x="68672" y="15421"/>
                      </a:lnTo>
                      <a:lnTo>
                        <a:pt x="68588" y="15421"/>
                      </a:lnTo>
                      <a:lnTo>
                        <a:pt x="68483" y="15484"/>
                      </a:lnTo>
                      <a:lnTo>
                        <a:pt x="68462" y="15484"/>
                      </a:lnTo>
                      <a:lnTo>
                        <a:pt x="68337" y="15631"/>
                      </a:lnTo>
                      <a:lnTo>
                        <a:pt x="68316" y="15735"/>
                      </a:lnTo>
                      <a:lnTo>
                        <a:pt x="68169" y="15798"/>
                      </a:lnTo>
                      <a:lnTo>
                        <a:pt x="68148" y="15861"/>
                      </a:lnTo>
                      <a:lnTo>
                        <a:pt x="68065" y="15882"/>
                      </a:lnTo>
                      <a:lnTo>
                        <a:pt x="68065" y="15986"/>
                      </a:lnTo>
                      <a:lnTo>
                        <a:pt x="68023" y="16070"/>
                      </a:lnTo>
                      <a:lnTo>
                        <a:pt x="68065" y="16195"/>
                      </a:lnTo>
                      <a:lnTo>
                        <a:pt x="68148" y="16175"/>
                      </a:lnTo>
                      <a:lnTo>
                        <a:pt x="68148" y="16321"/>
                      </a:lnTo>
                      <a:lnTo>
                        <a:pt x="68044" y="16509"/>
                      </a:lnTo>
                      <a:lnTo>
                        <a:pt x="68065" y="16593"/>
                      </a:lnTo>
                      <a:lnTo>
                        <a:pt x="68127" y="16614"/>
                      </a:lnTo>
                      <a:lnTo>
                        <a:pt x="68107" y="16844"/>
                      </a:lnTo>
                      <a:lnTo>
                        <a:pt x="68127" y="17032"/>
                      </a:lnTo>
                      <a:lnTo>
                        <a:pt x="68065" y="17116"/>
                      </a:lnTo>
                      <a:lnTo>
                        <a:pt x="67939" y="17158"/>
                      </a:lnTo>
                      <a:lnTo>
                        <a:pt x="67918" y="17263"/>
                      </a:lnTo>
                      <a:lnTo>
                        <a:pt x="67960" y="17325"/>
                      </a:lnTo>
                      <a:lnTo>
                        <a:pt x="67939" y="17535"/>
                      </a:lnTo>
                      <a:lnTo>
                        <a:pt x="67918" y="17576"/>
                      </a:lnTo>
                      <a:lnTo>
                        <a:pt x="67939" y="17660"/>
                      </a:lnTo>
                      <a:lnTo>
                        <a:pt x="68044" y="17765"/>
                      </a:lnTo>
                      <a:lnTo>
                        <a:pt x="67960" y="17765"/>
                      </a:lnTo>
                      <a:lnTo>
                        <a:pt x="67939" y="17953"/>
                      </a:lnTo>
                      <a:lnTo>
                        <a:pt x="67960" y="17995"/>
                      </a:lnTo>
                      <a:lnTo>
                        <a:pt x="67960" y="18141"/>
                      </a:lnTo>
                      <a:lnTo>
                        <a:pt x="67855" y="18246"/>
                      </a:lnTo>
                      <a:lnTo>
                        <a:pt x="67939" y="18372"/>
                      </a:lnTo>
                      <a:lnTo>
                        <a:pt x="67939" y="18602"/>
                      </a:lnTo>
                      <a:lnTo>
                        <a:pt x="68023" y="18811"/>
                      </a:lnTo>
                      <a:lnTo>
                        <a:pt x="67835" y="19146"/>
                      </a:lnTo>
                      <a:lnTo>
                        <a:pt x="67939" y="19292"/>
                      </a:lnTo>
                      <a:lnTo>
                        <a:pt x="67835" y="19250"/>
                      </a:lnTo>
                      <a:lnTo>
                        <a:pt x="67625" y="19292"/>
                      </a:lnTo>
                      <a:lnTo>
                        <a:pt x="67625" y="19501"/>
                      </a:lnTo>
                      <a:lnTo>
                        <a:pt x="67646" y="19564"/>
                      </a:lnTo>
                      <a:lnTo>
                        <a:pt x="67521" y="19711"/>
                      </a:lnTo>
                      <a:lnTo>
                        <a:pt x="67291" y="19606"/>
                      </a:lnTo>
                      <a:lnTo>
                        <a:pt x="67186" y="19711"/>
                      </a:lnTo>
                      <a:lnTo>
                        <a:pt x="67186" y="19773"/>
                      </a:lnTo>
                      <a:lnTo>
                        <a:pt x="67332" y="19773"/>
                      </a:lnTo>
                      <a:lnTo>
                        <a:pt x="67542" y="20087"/>
                      </a:lnTo>
                      <a:lnTo>
                        <a:pt x="67542" y="20380"/>
                      </a:lnTo>
                      <a:lnTo>
                        <a:pt x="67500" y="20464"/>
                      </a:lnTo>
                      <a:lnTo>
                        <a:pt x="67542" y="20548"/>
                      </a:lnTo>
                      <a:lnTo>
                        <a:pt x="67437" y="20569"/>
                      </a:lnTo>
                      <a:lnTo>
                        <a:pt x="67416" y="20778"/>
                      </a:lnTo>
                      <a:lnTo>
                        <a:pt x="67291" y="20924"/>
                      </a:lnTo>
                      <a:lnTo>
                        <a:pt x="67270" y="21175"/>
                      </a:lnTo>
                      <a:lnTo>
                        <a:pt x="67374" y="21385"/>
                      </a:lnTo>
                      <a:lnTo>
                        <a:pt x="67416" y="21761"/>
                      </a:lnTo>
                      <a:lnTo>
                        <a:pt x="67583" y="22033"/>
                      </a:lnTo>
                      <a:lnTo>
                        <a:pt x="67583" y="22242"/>
                      </a:lnTo>
                      <a:lnTo>
                        <a:pt x="67835" y="22807"/>
                      </a:lnTo>
                      <a:lnTo>
                        <a:pt x="68148" y="23414"/>
                      </a:lnTo>
                      <a:lnTo>
                        <a:pt x="68462" y="23916"/>
                      </a:lnTo>
                      <a:lnTo>
                        <a:pt x="68630" y="24063"/>
                      </a:lnTo>
                      <a:lnTo>
                        <a:pt x="68630" y="24251"/>
                      </a:lnTo>
                      <a:lnTo>
                        <a:pt x="69048" y="24732"/>
                      </a:lnTo>
                      <a:lnTo>
                        <a:pt x="69488" y="25527"/>
                      </a:lnTo>
                      <a:lnTo>
                        <a:pt x="69697" y="25632"/>
                      </a:lnTo>
                      <a:lnTo>
                        <a:pt x="69843" y="25632"/>
                      </a:lnTo>
                      <a:lnTo>
                        <a:pt x="69927" y="25590"/>
                      </a:lnTo>
                      <a:lnTo>
                        <a:pt x="69927" y="25590"/>
                      </a:lnTo>
                      <a:lnTo>
                        <a:pt x="69885" y="25695"/>
                      </a:lnTo>
                      <a:lnTo>
                        <a:pt x="69780" y="25737"/>
                      </a:lnTo>
                      <a:lnTo>
                        <a:pt x="69697" y="25737"/>
                      </a:lnTo>
                      <a:lnTo>
                        <a:pt x="69843" y="25988"/>
                      </a:lnTo>
                      <a:lnTo>
                        <a:pt x="70052" y="26469"/>
                      </a:lnTo>
                      <a:lnTo>
                        <a:pt x="70094" y="26678"/>
                      </a:lnTo>
                      <a:lnTo>
                        <a:pt x="70220" y="26867"/>
                      </a:lnTo>
                      <a:lnTo>
                        <a:pt x="70450" y="26887"/>
                      </a:lnTo>
                      <a:lnTo>
                        <a:pt x="70471" y="26971"/>
                      </a:lnTo>
                      <a:lnTo>
                        <a:pt x="70471" y="27076"/>
                      </a:lnTo>
                      <a:lnTo>
                        <a:pt x="70513" y="27159"/>
                      </a:lnTo>
                      <a:lnTo>
                        <a:pt x="70471" y="27285"/>
                      </a:lnTo>
                      <a:lnTo>
                        <a:pt x="70617" y="27034"/>
                      </a:lnTo>
                      <a:lnTo>
                        <a:pt x="70659" y="26762"/>
                      </a:lnTo>
                      <a:lnTo>
                        <a:pt x="70680" y="26741"/>
                      </a:lnTo>
                      <a:lnTo>
                        <a:pt x="70680" y="26636"/>
                      </a:lnTo>
                      <a:lnTo>
                        <a:pt x="70827" y="26511"/>
                      </a:lnTo>
                      <a:lnTo>
                        <a:pt x="70848" y="26406"/>
                      </a:lnTo>
                      <a:lnTo>
                        <a:pt x="70827" y="26343"/>
                      </a:lnTo>
                      <a:lnTo>
                        <a:pt x="70868" y="26239"/>
                      </a:lnTo>
                      <a:lnTo>
                        <a:pt x="70931" y="25988"/>
                      </a:lnTo>
                      <a:lnTo>
                        <a:pt x="70868" y="25883"/>
                      </a:lnTo>
                      <a:lnTo>
                        <a:pt x="70889" y="25695"/>
                      </a:lnTo>
                      <a:lnTo>
                        <a:pt x="70994" y="25611"/>
                      </a:lnTo>
                      <a:lnTo>
                        <a:pt x="70889" y="25507"/>
                      </a:lnTo>
                      <a:lnTo>
                        <a:pt x="70848" y="25527"/>
                      </a:lnTo>
                      <a:lnTo>
                        <a:pt x="70764" y="25507"/>
                      </a:lnTo>
                      <a:lnTo>
                        <a:pt x="70827" y="25423"/>
                      </a:lnTo>
                      <a:lnTo>
                        <a:pt x="70743" y="25276"/>
                      </a:lnTo>
                      <a:lnTo>
                        <a:pt x="70785" y="25297"/>
                      </a:lnTo>
                      <a:lnTo>
                        <a:pt x="70848" y="25255"/>
                      </a:lnTo>
                      <a:lnTo>
                        <a:pt x="70743" y="25151"/>
                      </a:lnTo>
                      <a:lnTo>
                        <a:pt x="70764" y="25067"/>
                      </a:lnTo>
                      <a:lnTo>
                        <a:pt x="70785" y="24942"/>
                      </a:lnTo>
                      <a:lnTo>
                        <a:pt x="70659" y="24942"/>
                      </a:lnTo>
                      <a:lnTo>
                        <a:pt x="70576" y="24879"/>
                      </a:lnTo>
                      <a:lnTo>
                        <a:pt x="70638" y="24774"/>
                      </a:lnTo>
                      <a:lnTo>
                        <a:pt x="70743" y="24879"/>
                      </a:lnTo>
                      <a:lnTo>
                        <a:pt x="70889" y="24732"/>
                      </a:lnTo>
                      <a:lnTo>
                        <a:pt x="70973" y="24753"/>
                      </a:lnTo>
                      <a:lnTo>
                        <a:pt x="71078" y="24649"/>
                      </a:lnTo>
                      <a:lnTo>
                        <a:pt x="71182" y="24565"/>
                      </a:lnTo>
                      <a:lnTo>
                        <a:pt x="71203" y="24586"/>
                      </a:lnTo>
                      <a:lnTo>
                        <a:pt x="71350" y="24628"/>
                      </a:lnTo>
                      <a:lnTo>
                        <a:pt x="71266" y="24523"/>
                      </a:lnTo>
                      <a:lnTo>
                        <a:pt x="71099" y="24439"/>
                      </a:lnTo>
                      <a:lnTo>
                        <a:pt x="71099" y="24314"/>
                      </a:lnTo>
                      <a:lnTo>
                        <a:pt x="70952" y="24230"/>
                      </a:lnTo>
                      <a:lnTo>
                        <a:pt x="70848" y="23895"/>
                      </a:lnTo>
                      <a:lnTo>
                        <a:pt x="70931" y="23602"/>
                      </a:lnTo>
                      <a:lnTo>
                        <a:pt x="70827" y="23498"/>
                      </a:lnTo>
                      <a:lnTo>
                        <a:pt x="70889" y="23414"/>
                      </a:lnTo>
                      <a:lnTo>
                        <a:pt x="70931" y="23268"/>
                      </a:lnTo>
                      <a:lnTo>
                        <a:pt x="71036" y="23058"/>
                      </a:lnTo>
                      <a:lnTo>
                        <a:pt x="71078" y="23372"/>
                      </a:lnTo>
                      <a:lnTo>
                        <a:pt x="71161" y="23393"/>
                      </a:lnTo>
                      <a:lnTo>
                        <a:pt x="71350" y="23289"/>
                      </a:lnTo>
                      <a:lnTo>
                        <a:pt x="71371" y="23330"/>
                      </a:lnTo>
                      <a:lnTo>
                        <a:pt x="71705" y="23205"/>
                      </a:lnTo>
                      <a:lnTo>
                        <a:pt x="71705" y="23058"/>
                      </a:lnTo>
                      <a:lnTo>
                        <a:pt x="71789" y="22975"/>
                      </a:lnTo>
                      <a:lnTo>
                        <a:pt x="71664" y="22891"/>
                      </a:lnTo>
                      <a:lnTo>
                        <a:pt x="71454" y="22598"/>
                      </a:lnTo>
                      <a:lnTo>
                        <a:pt x="71371" y="22598"/>
                      </a:lnTo>
                      <a:lnTo>
                        <a:pt x="71078" y="22159"/>
                      </a:lnTo>
                      <a:lnTo>
                        <a:pt x="71078" y="22054"/>
                      </a:lnTo>
                      <a:lnTo>
                        <a:pt x="70994" y="21970"/>
                      </a:lnTo>
                      <a:lnTo>
                        <a:pt x="70973" y="21594"/>
                      </a:lnTo>
                      <a:lnTo>
                        <a:pt x="70994" y="21531"/>
                      </a:lnTo>
                      <a:lnTo>
                        <a:pt x="70952" y="21343"/>
                      </a:lnTo>
                      <a:lnTo>
                        <a:pt x="71036" y="21217"/>
                      </a:lnTo>
                      <a:lnTo>
                        <a:pt x="71036" y="21092"/>
                      </a:lnTo>
                      <a:lnTo>
                        <a:pt x="70889" y="21113"/>
                      </a:lnTo>
                      <a:lnTo>
                        <a:pt x="70868" y="21029"/>
                      </a:lnTo>
                      <a:lnTo>
                        <a:pt x="70973" y="20882"/>
                      </a:lnTo>
                      <a:lnTo>
                        <a:pt x="71078" y="20841"/>
                      </a:lnTo>
                      <a:lnTo>
                        <a:pt x="71078" y="20778"/>
                      </a:lnTo>
                      <a:lnTo>
                        <a:pt x="71078" y="20757"/>
                      </a:lnTo>
                      <a:lnTo>
                        <a:pt x="71161" y="20673"/>
                      </a:lnTo>
                      <a:lnTo>
                        <a:pt x="71182" y="20778"/>
                      </a:lnTo>
                      <a:lnTo>
                        <a:pt x="71182" y="20903"/>
                      </a:lnTo>
                      <a:lnTo>
                        <a:pt x="71140" y="21029"/>
                      </a:lnTo>
                      <a:lnTo>
                        <a:pt x="71140" y="21196"/>
                      </a:lnTo>
                      <a:lnTo>
                        <a:pt x="71308" y="21238"/>
                      </a:lnTo>
                      <a:lnTo>
                        <a:pt x="71475" y="21343"/>
                      </a:lnTo>
                      <a:lnTo>
                        <a:pt x="71559" y="21322"/>
                      </a:lnTo>
                      <a:lnTo>
                        <a:pt x="71559" y="21154"/>
                      </a:lnTo>
                      <a:lnTo>
                        <a:pt x="71601" y="21092"/>
                      </a:lnTo>
                      <a:lnTo>
                        <a:pt x="71496" y="20903"/>
                      </a:lnTo>
                      <a:lnTo>
                        <a:pt x="71245" y="20673"/>
                      </a:lnTo>
                      <a:lnTo>
                        <a:pt x="71245" y="20401"/>
                      </a:lnTo>
                      <a:lnTo>
                        <a:pt x="71099" y="20359"/>
                      </a:lnTo>
                      <a:lnTo>
                        <a:pt x="71078" y="20317"/>
                      </a:lnTo>
                      <a:lnTo>
                        <a:pt x="71057" y="20380"/>
                      </a:lnTo>
                      <a:lnTo>
                        <a:pt x="70973" y="20464"/>
                      </a:lnTo>
                      <a:lnTo>
                        <a:pt x="70973" y="20506"/>
                      </a:lnTo>
                      <a:lnTo>
                        <a:pt x="70931" y="20569"/>
                      </a:lnTo>
                      <a:lnTo>
                        <a:pt x="70785" y="20485"/>
                      </a:lnTo>
                      <a:lnTo>
                        <a:pt x="70785" y="20276"/>
                      </a:lnTo>
                      <a:lnTo>
                        <a:pt x="70722" y="20150"/>
                      </a:lnTo>
                      <a:lnTo>
                        <a:pt x="70617" y="19941"/>
                      </a:lnTo>
                      <a:lnTo>
                        <a:pt x="70680" y="19836"/>
                      </a:lnTo>
                      <a:lnTo>
                        <a:pt x="70743" y="19794"/>
                      </a:lnTo>
                      <a:lnTo>
                        <a:pt x="70722" y="19690"/>
                      </a:lnTo>
                      <a:lnTo>
                        <a:pt x="70785" y="19585"/>
                      </a:lnTo>
                      <a:lnTo>
                        <a:pt x="70722" y="19522"/>
                      </a:lnTo>
                      <a:lnTo>
                        <a:pt x="70743" y="19439"/>
                      </a:lnTo>
                      <a:lnTo>
                        <a:pt x="70743" y="19334"/>
                      </a:lnTo>
                      <a:lnTo>
                        <a:pt x="70659" y="19271"/>
                      </a:lnTo>
                      <a:lnTo>
                        <a:pt x="70555" y="19313"/>
                      </a:lnTo>
                      <a:lnTo>
                        <a:pt x="70366" y="19146"/>
                      </a:lnTo>
                      <a:lnTo>
                        <a:pt x="70241" y="19146"/>
                      </a:lnTo>
                      <a:lnTo>
                        <a:pt x="70157" y="19229"/>
                      </a:lnTo>
                      <a:lnTo>
                        <a:pt x="70157" y="19313"/>
                      </a:lnTo>
                      <a:lnTo>
                        <a:pt x="70304" y="19460"/>
                      </a:lnTo>
                      <a:lnTo>
                        <a:pt x="70262" y="19564"/>
                      </a:lnTo>
                      <a:lnTo>
                        <a:pt x="70220" y="19627"/>
                      </a:lnTo>
                      <a:lnTo>
                        <a:pt x="70094" y="19564"/>
                      </a:lnTo>
                      <a:lnTo>
                        <a:pt x="69927" y="19355"/>
                      </a:lnTo>
                      <a:lnTo>
                        <a:pt x="69822" y="19250"/>
                      </a:lnTo>
                      <a:lnTo>
                        <a:pt x="69739" y="19208"/>
                      </a:lnTo>
                      <a:lnTo>
                        <a:pt x="69801" y="19146"/>
                      </a:lnTo>
                      <a:lnTo>
                        <a:pt x="69697" y="18936"/>
                      </a:lnTo>
                      <a:lnTo>
                        <a:pt x="69697" y="18811"/>
                      </a:lnTo>
                      <a:lnTo>
                        <a:pt x="69697" y="18727"/>
                      </a:lnTo>
                      <a:lnTo>
                        <a:pt x="69634" y="18623"/>
                      </a:lnTo>
                      <a:lnTo>
                        <a:pt x="69697" y="18539"/>
                      </a:lnTo>
                      <a:lnTo>
                        <a:pt x="69634" y="18372"/>
                      </a:lnTo>
                      <a:lnTo>
                        <a:pt x="69718" y="18267"/>
                      </a:lnTo>
                      <a:lnTo>
                        <a:pt x="69718" y="18162"/>
                      </a:lnTo>
                      <a:lnTo>
                        <a:pt x="69739" y="18037"/>
                      </a:lnTo>
                      <a:lnTo>
                        <a:pt x="69739" y="17890"/>
                      </a:lnTo>
                      <a:lnTo>
                        <a:pt x="69697" y="17932"/>
                      </a:lnTo>
                      <a:lnTo>
                        <a:pt x="69592" y="17786"/>
                      </a:lnTo>
                      <a:lnTo>
                        <a:pt x="69613" y="17744"/>
                      </a:lnTo>
                      <a:lnTo>
                        <a:pt x="69697" y="17723"/>
                      </a:lnTo>
                      <a:lnTo>
                        <a:pt x="69801" y="17786"/>
                      </a:lnTo>
                      <a:lnTo>
                        <a:pt x="69801" y="17744"/>
                      </a:lnTo>
                      <a:lnTo>
                        <a:pt x="69718" y="17660"/>
                      </a:lnTo>
                      <a:lnTo>
                        <a:pt x="69634" y="17576"/>
                      </a:lnTo>
                      <a:lnTo>
                        <a:pt x="69676" y="17514"/>
                      </a:lnTo>
                      <a:lnTo>
                        <a:pt x="69718" y="17514"/>
                      </a:lnTo>
                      <a:lnTo>
                        <a:pt x="69697" y="17430"/>
                      </a:lnTo>
                      <a:lnTo>
                        <a:pt x="69613" y="17346"/>
                      </a:lnTo>
                      <a:lnTo>
                        <a:pt x="69488" y="17325"/>
                      </a:lnTo>
                      <a:lnTo>
                        <a:pt x="69467" y="17242"/>
                      </a:lnTo>
                      <a:lnTo>
                        <a:pt x="69508" y="17221"/>
                      </a:lnTo>
                      <a:lnTo>
                        <a:pt x="69488" y="17074"/>
                      </a:lnTo>
                      <a:lnTo>
                        <a:pt x="69383" y="16970"/>
                      </a:lnTo>
                      <a:lnTo>
                        <a:pt x="69404" y="16886"/>
                      </a:lnTo>
                      <a:lnTo>
                        <a:pt x="69425" y="16781"/>
                      </a:lnTo>
                      <a:lnTo>
                        <a:pt x="69488" y="16719"/>
                      </a:lnTo>
                      <a:lnTo>
                        <a:pt x="69404" y="16614"/>
                      </a:lnTo>
                      <a:lnTo>
                        <a:pt x="69425" y="16530"/>
                      </a:lnTo>
                      <a:lnTo>
                        <a:pt x="69508" y="16530"/>
                      </a:lnTo>
                      <a:lnTo>
                        <a:pt x="69613" y="16593"/>
                      </a:lnTo>
                      <a:lnTo>
                        <a:pt x="69697" y="16572"/>
                      </a:lnTo>
                      <a:lnTo>
                        <a:pt x="69739" y="16405"/>
                      </a:lnTo>
                      <a:lnTo>
                        <a:pt x="69822" y="16405"/>
                      </a:lnTo>
                      <a:lnTo>
                        <a:pt x="69885" y="16488"/>
                      </a:lnTo>
                      <a:lnTo>
                        <a:pt x="69927" y="16488"/>
                      </a:lnTo>
                      <a:lnTo>
                        <a:pt x="70011" y="16614"/>
                      </a:lnTo>
                      <a:lnTo>
                        <a:pt x="70136" y="16363"/>
                      </a:lnTo>
                      <a:lnTo>
                        <a:pt x="70011" y="16300"/>
                      </a:lnTo>
                      <a:lnTo>
                        <a:pt x="70032" y="16195"/>
                      </a:lnTo>
                      <a:lnTo>
                        <a:pt x="70115" y="16154"/>
                      </a:lnTo>
                      <a:lnTo>
                        <a:pt x="70241" y="15903"/>
                      </a:lnTo>
                      <a:lnTo>
                        <a:pt x="70241" y="15777"/>
                      </a:lnTo>
                      <a:lnTo>
                        <a:pt x="70324" y="15882"/>
                      </a:lnTo>
                      <a:lnTo>
                        <a:pt x="70429" y="15944"/>
                      </a:lnTo>
                      <a:lnTo>
                        <a:pt x="70429" y="16070"/>
                      </a:lnTo>
                      <a:lnTo>
                        <a:pt x="70555" y="16426"/>
                      </a:lnTo>
                      <a:lnTo>
                        <a:pt x="70638" y="16509"/>
                      </a:lnTo>
                      <a:lnTo>
                        <a:pt x="70680" y="16468"/>
                      </a:lnTo>
                      <a:lnTo>
                        <a:pt x="70722" y="16154"/>
                      </a:lnTo>
                      <a:lnTo>
                        <a:pt x="70743" y="16049"/>
                      </a:lnTo>
                      <a:lnTo>
                        <a:pt x="70722" y="15903"/>
                      </a:lnTo>
                      <a:lnTo>
                        <a:pt x="70785" y="15798"/>
                      </a:lnTo>
                      <a:lnTo>
                        <a:pt x="70722" y="15651"/>
                      </a:lnTo>
                      <a:lnTo>
                        <a:pt x="70827" y="15693"/>
                      </a:lnTo>
                      <a:lnTo>
                        <a:pt x="70889" y="15631"/>
                      </a:lnTo>
                      <a:lnTo>
                        <a:pt x="70952" y="15421"/>
                      </a:lnTo>
                      <a:lnTo>
                        <a:pt x="71057" y="15421"/>
                      </a:lnTo>
                      <a:lnTo>
                        <a:pt x="71182" y="15254"/>
                      </a:lnTo>
                      <a:lnTo>
                        <a:pt x="71308" y="15233"/>
                      </a:lnTo>
                      <a:lnTo>
                        <a:pt x="71371" y="15275"/>
                      </a:lnTo>
                      <a:lnTo>
                        <a:pt x="71559" y="15149"/>
                      </a:lnTo>
                      <a:lnTo>
                        <a:pt x="71705" y="15170"/>
                      </a:lnTo>
                      <a:lnTo>
                        <a:pt x="72019" y="15359"/>
                      </a:lnTo>
                      <a:lnTo>
                        <a:pt x="72040" y="15463"/>
                      </a:lnTo>
                      <a:lnTo>
                        <a:pt x="72124" y="15484"/>
                      </a:lnTo>
                      <a:lnTo>
                        <a:pt x="72229" y="15463"/>
                      </a:lnTo>
                      <a:lnTo>
                        <a:pt x="72291" y="15484"/>
                      </a:lnTo>
                      <a:lnTo>
                        <a:pt x="72229" y="15547"/>
                      </a:lnTo>
                      <a:lnTo>
                        <a:pt x="72396" y="15714"/>
                      </a:lnTo>
                      <a:lnTo>
                        <a:pt x="72438" y="15672"/>
                      </a:lnTo>
                      <a:lnTo>
                        <a:pt x="72542" y="15777"/>
                      </a:lnTo>
                      <a:lnTo>
                        <a:pt x="72668" y="15756"/>
                      </a:lnTo>
                      <a:lnTo>
                        <a:pt x="72752" y="15777"/>
                      </a:lnTo>
                      <a:lnTo>
                        <a:pt x="72752" y="15672"/>
                      </a:lnTo>
                      <a:lnTo>
                        <a:pt x="72647" y="15526"/>
                      </a:lnTo>
                      <a:lnTo>
                        <a:pt x="72710" y="15442"/>
                      </a:lnTo>
                      <a:lnTo>
                        <a:pt x="72668" y="15359"/>
                      </a:lnTo>
                      <a:lnTo>
                        <a:pt x="72605" y="15338"/>
                      </a:lnTo>
                      <a:lnTo>
                        <a:pt x="72605" y="15233"/>
                      </a:lnTo>
                      <a:lnTo>
                        <a:pt x="72668" y="15128"/>
                      </a:lnTo>
                      <a:lnTo>
                        <a:pt x="72731" y="14856"/>
                      </a:lnTo>
                      <a:lnTo>
                        <a:pt x="72814" y="14647"/>
                      </a:lnTo>
                      <a:lnTo>
                        <a:pt x="72773" y="14543"/>
                      </a:lnTo>
                      <a:lnTo>
                        <a:pt x="72919" y="14375"/>
                      </a:lnTo>
                      <a:lnTo>
                        <a:pt x="72856" y="14291"/>
                      </a:lnTo>
                      <a:lnTo>
                        <a:pt x="72940" y="14229"/>
                      </a:lnTo>
                      <a:lnTo>
                        <a:pt x="72856" y="14061"/>
                      </a:lnTo>
                      <a:lnTo>
                        <a:pt x="72773" y="13999"/>
                      </a:lnTo>
                      <a:lnTo>
                        <a:pt x="72773" y="13957"/>
                      </a:lnTo>
                      <a:lnTo>
                        <a:pt x="72940" y="13957"/>
                      </a:lnTo>
                      <a:lnTo>
                        <a:pt x="72982" y="13810"/>
                      </a:lnTo>
                      <a:lnTo>
                        <a:pt x="72814" y="13747"/>
                      </a:lnTo>
                      <a:lnTo>
                        <a:pt x="72752" y="13643"/>
                      </a:lnTo>
                      <a:lnTo>
                        <a:pt x="72835" y="13601"/>
                      </a:lnTo>
                      <a:lnTo>
                        <a:pt x="72877" y="13664"/>
                      </a:lnTo>
                      <a:lnTo>
                        <a:pt x="72961" y="13643"/>
                      </a:lnTo>
                      <a:lnTo>
                        <a:pt x="72982" y="13559"/>
                      </a:lnTo>
                      <a:lnTo>
                        <a:pt x="72940" y="13475"/>
                      </a:lnTo>
                      <a:lnTo>
                        <a:pt x="73065" y="13371"/>
                      </a:lnTo>
                      <a:lnTo>
                        <a:pt x="73065" y="13287"/>
                      </a:lnTo>
                      <a:lnTo>
                        <a:pt x="72982" y="13224"/>
                      </a:lnTo>
                      <a:lnTo>
                        <a:pt x="73065" y="13162"/>
                      </a:lnTo>
                      <a:lnTo>
                        <a:pt x="73149" y="13182"/>
                      </a:lnTo>
                      <a:lnTo>
                        <a:pt x="73191" y="13078"/>
                      </a:lnTo>
                      <a:lnTo>
                        <a:pt x="73233" y="13036"/>
                      </a:lnTo>
                      <a:lnTo>
                        <a:pt x="73170" y="12973"/>
                      </a:lnTo>
                      <a:lnTo>
                        <a:pt x="73275" y="12952"/>
                      </a:lnTo>
                      <a:lnTo>
                        <a:pt x="73400" y="12827"/>
                      </a:lnTo>
                      <a:lnTo>
                        <a:pt x="73358" y="12743"/>
                      </a:lnTo>
                      <a:lnTo>
                        <a:pt x="73379" y="12638"/>
                      </a:lnTo>
                      <a:lnTo>
                        <a:pt x="73421" y="12722"/>
                      </a:lnTo>
                      <a:lnTo>
                        <a:pt x="73526" y="12618"/>
                      </a:lnTo>
                      <a:lnTo>
                        <a:pt x="73463" y="12450"/>
                      </a:lnTo>
                      <a:lnTo>
                        <a:pt x="73463" y="12304"/>
                      </a:lnTo>
                      <a:lnTo>
                        <a:pt x="73568" y="12304"/>
                      </a:lnTo>
                      <a:lnTo>
                        <a:pt x="73589" y="12325"/>
                      </a:lnTo>
                      <a:lnTo>
                        <a:pt x="73651" y="12283"/>
                      </a:lnTo>
                      <a:lnTo>
                        <a:pt x="73819" y="12074"/>
                      </a:lnTo>
                      <a:lnTo>
                        <a:pt x="73756" y="12032"/>
                      </a:lnTo>
                      <a:lnTo>
                        <a:pt x="73756" y="11927"/>
                      </a:lnTo>
                      <a:lnTo>
                        <a:pt x="73861" y="11927"/>
                      </a:lnTo>
                      <a:lnTo>
                        <a:pt x="74070" y="11760"/>
                      </a:lnTo>
                      <a:lnTo>
                        <a:pt x="73986" y="11697"/>
                      </a:lnTo>
                      <a:lnTo>
                        <a:pt x="74028" y="11655"/>
                      </a:lnTo>
                      <a:lnTo>
                        <a:pt x="74174" y="11655"/>
                      </a:lnTo>
                      <a:lnTo>
                        <a:pt x="74342" y="11550"/>
                      </a:lnTo>
                      <a:lnTo>
                        <a:pt x="74300" y="11467"/>
                      </a:lnTo>
                      <a:lnTo>
                        <a:pt x="74321" y="11404"/>
                      </a:lnTo>
                      <a:lnTo>
                        <a:pt x="74405" y="11467"/>
                      </a:lnTo>
                      <a:lnTo>
                        <a:pt x="74426" y="11571"/>
                      </a:lnTo>
                      <a:lnTo>
                        <a:pt x="74530" y="11592"/>
                      </a:lnTo>
                      <a:lnTo>
                        <a:pt x="74614" y="11550"/>
                      </a:lnTo>
                      <a:lnTo>
                        <a:pt x="74739" y="11613"/>
                      </a:lnTo>
                      <a:lnTo>
                        <a:pt x="75158" y="11613"/>
                      </a:lnTo>
                      <a:lnTo>
                        <a:pt x="75242" y="11676"/>
                      </a:lnTo>
                      <a:lnTo>
                        <a:pt x="75283" y="11655"/>
                      </a:lnTo>
                      <a:lnTo>
                        <a:pt x="75242" y="11488"/>
                      </a:lnTo>
                      <a:lnTo>
                        <a:pt x="75137" y="11404"/>
                      </a:lnTo>
                      <a:lnTo>
                        <a:pt x="75137" y="11362"/>
                      </a:lnTo>
                      <a:lnTo>
                        <a:pt x="75221" y="11341"/>
                      </a:lnTo>
                      <a:lnTo>
                        <a:pt x="75221" y="10986"/>
                      </a:lnTo>
                      <a:lnTo>
                        <a:pt x="75053" y="10755"/>
                      </a:lnTo>
                      <a:lnTo>
                        <a:pt x="74928" y="10734"/>
                      </a:lnTo>
                      <a:lnTo>
                        <a:pt x="74760" y="10525"/>
                      </a:lnTo>
                      <a:lnTo>
                        <a:pt x="74844" y="10442"/>
                      </a:lnTo>
                      <a:lnTo>
                        <a:pt x="74677" y="10316"/>
                      </a:lnTo>
                      <a:lnTo>
                        <a:pt x="74426" y="10253"/>
                      </a:lnTo>
                      <a:lnTo>
                        <a:pt x="74153" y="10086"/>
                      </a:lnTo>
                      <a:lnTo>
                        <a:pt x="74049" y="9918"/>
                      </a:lnTo>
                      <a:lnTo>
                        <a:pt x="74028" y="10023"/>
                      </a:lnTo>
                      <a:lnTo>
                        <a:pt x="73944" y="10002"/>
                      </a:lnTo>
                      <a:lnTo>
                        <a:pt x="73902" y="10023"/>
                      </a:lnTo>
                      <a:lnTo>
                        <a:pt x="73881" y="10149"/>
                      </a:lnTo>
                      <a:lnTo>
                        <a:pt x="73735" y="10190"/>
                      </a:lnTo>
                      <a:lnTo>
                        <a:pt x="73693" y="10107"/>
                      </a:lnTo>
                      <a:lnTo>
                        <a:pt x="73693" y="9981"/>
                      </a:lnTo>
                      <a:lnTo>
                        <a:pt x="73819" y="9897"/>
                      </a:lnTo>
                      <a:lnTo>
                        <a:pt x="73735" y="9793"/>
                      </a:lnTo>
                      <a:lnTo>
                        <a:pt x="73777" y="9730"/>
                      </a:lnTo>
                      <a:lnTo>
                        <a:pt x="73840" y="9730"/>
                      </a:lnTo>
                      <a:lnTo>
                        <a:pt x="73923" y="9814"/>
                      </a:lnTo>
                      <a:lnTo>
                        <a:pt x="73693" y="9458"/>
                      </a:lnTo>
                      <a:lnTo>
                        <a:pt x="73526" y="9312"/>
                      </a:lnTo>
                      <a:lnTo>
                        <a:pt x="73526" y="9479"/>
                      </a:lnTo>
                      <a:lnTo>
                        <a:pt x="73526" y="9521"/>
                      </a:lnTo>
                      <a:lnTo>
                        <a:pt x="73463" y="9521"/>
                      </a:lnTo>
                      <a:lnTo>
                        <a:pt x="73254" y="9312"/>
                      </a:lnTo>
                      <a:lnTo>
                        <a:pt x="73254" y="9207"/>
                      </a:lnTo>
                      <a:lnTo>
                        <a:pt x="73358" y="9249"/>
                      </a:lnTo>
                      <a:lnTo>
                        <a:pt x="73296" y="9144"/>
                      </a:lnTo>
                      <a:lnTo>
                        <a:pt x="73003" y="8893"/>
                      </a:lnTo>
                      <a:lnTo>
                        <a:pt x="72961" y="8893"/>
                      </a:lnTo>
                      <a:lnTo>
                        <a:pt x="72982" y="8977"/>
                      </a:lnTo>
                      <a:lnTo>
                        <a:pt x="72940" y="9081"/>
                      </a:lnTo>
                      <a:lnTo>
                        <a:pt x="72773" y="9102"/>
                      </a:lnTo>
                      <a:lnTo>
                        <a:pt x="72647" y="8977"/>
                      </a:lnTo>
                      <a:lnTo>
                        <a:pt x="72521" y="8956"/>
                      </a:lnTo>
                      <a:lnTo>
                        <a:pt x="72375" y="8726"/>
                      </a:lnTo>
                      <a:lnTo>
                        <a:pt x="72375" y="8642"/>
                      </a:lnTo>
                      <a:lnTo>
                        <a:pt x="72312" y="8579"/>
                      </a:lnTo>
                      <a:lnTo>
                        <a:pt x="72208" y="8621"/>
                      </a:lnTo>
                      <a:lnTo>
                        <a:pt x="72019" y="8768"/>
                      </a:lnTo>
                      <a:lnTo>
                        <a:pt x="72019" y="8830"/>
                      </a:lnTo>
                      <a:lnTo>
                        <a:pt x="71915" y="8789"/>
                      </a:lnTo>
                      <a:lnTo>
                        <a:pt x="71831" y="8851"/>
                      </a:lnTo>
                      <a:lnTo>
                        <a:pt x="71831" y="9081"/>
                      </a:lnTo>
                      <a:lnTo>
                        <a:pt x="71894" y="9144"/>
                      </a:lnTo>
                      <a:lnTo>
                        <a:pt x="71894" y="9144"/>
                      </a:lnTo>
                      <a:lnTo>
                        <a:pt x="71789" y="9081"/>
                      </a:lnTo>
                      <a:lnTo>
                        <a:pt x="71705" y="8872"/>
                      </a:lnTo>
                      <a:lnTo>
                        <a:pt x="71747" y="8726"/>
                      </a:lnTo>
                      <a:lnTo>
                        <a:pt x="71580" y="8621"/>
                      </a:lnTo>
                      <a:lnTo>
                        <a:pt x="71517" y="8454"/>
                      </a:lnTo>
                      <a:lnTo>
                        <a:pt x="71475" y="8454"/>
                      </a:lnTo>
                      <a:lnTo>
                        <a:pt x="71580" y="8433"/>
                      </a:lnTo>
                      <a:lnTo>
                        <a:pt x="71685" y="8558"/>
                      </a:lnTo>
                      <a:lnTo>
                        <a:pt x="71685" y="8433"/>
                      </a:lnTo>
                      <a:lnTo>
                        <a:pt x="71810" y="8433"/>
                      </a:lnTo>
                      <a:lnTo>
                        <a:pt x="71915" y="8475"/>
                      </a:lnTo>
                      <a:lnTo>
                        <a:pt x="72061" y="8370"/>
                      </a:lnTo>
                      <a:lnTo>
                        <a:pt x="72019" y="8265"/>
                      </a:lnTo>
                      <a:lnTo>
                        <a:pt x="71705" y="8140"/>
                      </a:lnTo>
                      <a:lnTo>
                        <a:pt x="71622" y="8265"/>
                      </a:lnTo>
                      <a:lnTo>
                        <a:pt x="71475" y="8265"/>
                      </a:lnTo>
                      <a:lnTo>
                        <a:pt x="71329" y="8224"/>
                      </a:lnTo>
                      <a:lnTo>
                        <a:pt x="71475" y="8224"/>
                      </a:lnTo>
                      <a:lnTo>
                        <a:pt x="71580" y="8098"/>
                      </a:lnTo>
                      <a:lnTo>
                        <a:pt x="71685" y="8056"/>
                      </a:lnTo>
                      <a:lnTo>
                        <a:pt x="71789" y="8119"/>
                      </a:lnTo>
                      <a:lnTo>
                        <a:pt x="71936" y="8140"/>
                      </a:lnTo>
                      <a:lnTo>
                        <a:pt x="72061" y="8245"/>
                      </a:lnTo>
                      <a:lnTo>
                        <a:pt x="72229" y="8433"/>
                      </a:lnTo>
                      <a:lnTo>
                        <a:pt x="72354" y="8433"/>
                      </a:lnTo>
                      <a:lnTo>
                        <a:pt x="72417" y="8537"/>
                      </a:lnTo>
                      <a:lnTo>
                        <a:pt x="72480" y="8558"/>
                      </a:lnTo>
                      <a:lnTo>
                        <a:pt x="72626" y="8475"/>
                      </a:lnTo>
                      <a:lnTo>
                        <a:pt x="72668" y="8558"/>
                      </a:lnTo>
                      <a:lnTo>
                        <a:pt x="72940" y="8349"/>
                      </a:lnTo>
                      <a:lnTo>
                        <a:pt x="72961" y="8391"/>
                      </a:lnTo>
                      <a:lnTo>
                        <a:pt x="72940" y="8496"/>
                      </a:lnTo>
                      <a:lnTo>
                        <a:pt x="73045" y="8433"/>
                      </a:lnTo>
                      <a:lnTo>
                        <a:pt x="73045" y="8286"/>
                      </a:lnTo>
                      <a:lnTo>
                        <a:pt x="73170" y="8077"/>
                      </a:lnTo>
                      <a:lnTo>
                        <a:pt x="73149" y="8014"/>
                      </a:lnTo>
                      <a:lnTo>
                        <a:pt x="73149" y="7847"/>
                      </a:lnTo>
                      <a:lnTo>
                        <a:pt x="73086" y="7617"/>
                      </a:lnTo>
                      <a:lnTo>
                        <a:pt x="73191" y="7240"/>
                      </a:lnTo>
                      <a:lnTo>
                        <a:pt x="73191" y="7010"/>
                      </a:lnTo>
                      <a:lnTo>
                        <a:pt x="73086" y="6884"/>
                      </a:lnTo>
                      <a:lnTo>
                        <a:pt x="73045" y="6759"/>
                      </a:lnTo>
                      <a:lnTo>
                        <a:pt x="72877" y="6612"/>
                      </a:lnTo>
                      <a:lnTo>
                        <a:pt x="72793" y="6445"/>
                      </a:lnTo>
                      <a:lnTo>
                        <a:pt x="72856" y="6445"/>
                      </a:lnTo>
                      <a:lnTo>
                        <a:pt x="72961" y="6571"/>
                      </a:lnTo>
                      <a:lnTo>
                        <a:pt x="72982" y="6571"/>
                      </a:lnTo>
                      <a:lnTo>
                        <a:pt x="72940" y="6403"/>
                      </a:lnTo>
                      <a:lnTo>
                        <a:pt x="72773" y="6340"/>
                      </a:lnTo>
                      <a:lnTo>
                        <a:pt x="72647" y="6382"/>
                      </a:lnTo>
                      <a:lnTo>
                        <a:pt x="72417" y="6340"/>
                      </a:lnTo>
                      <a:lnTo>
                        <a:pt x="72103" y="5943"/>
                      </a:lnTo>
                      <a:lnTo>
                        <a:pt x="72019" y="5880"/>
                      </a:lnTo>
                      <a:lnTo>
                        <a:pt x="72040" y="5817"/>
                      </a:lnTo>
                      <a:lnTo>
                        <a:pt x="72208" y="5817"/>
                      </a:lnTo>
                      <a:lnTo>
                        <a:pt x="72249" y="5671"/>
                      </a:lnTo>
                      <a:lnTo>
                        <a:pt x="72166" y="5608"/>
                      </a:lnTo>
                      <a:lnTo>
                        <a:pt x="72040" y="5608"/>
                      </a:lnTo>
                      <a:lnTo>
                        <a:pt x="71998" y="5545"/>
                      </a:lnTo>
                      <a:lnTo>
                        <a:pt x="72061" y="5504"/>
                      </a:lnTo>
                      <a:lnTo>
                        <a:pt x="72019" y="5336"/>
                      </a:lnTo>
                      <a:lnTo>
                        <a:pt x="72040" y="5315"/>
                      </a:lnTo>
                      <a:lnTo>
                        <a:pt x="72166" y="5462"/>
                      </a:lnTo>
                      <a:lnTo>
                        <a:pt x="72354" y="5566"/>
                      </a:lnTo>
                      <a:lnTo>
                        <a:pt x="72375" y="5504"/>
                      </a:lnTo>
                      <a:lnTo>
                        <a:pt x="72312" y="5420"/>
                      </a:lnTo>
                      <a:lnTo>
                        <a:pt x="72312" y="5315"/>
                      </a:lnTo>
                      <a:lnTo>
                        <a:pt x="72270" y="5232"/>
                      </a:lnTo>
                      <a:lnTo>
                        <a:pt x="72333" y="5190"/>
                      </a:lnTo>
                      <a:lnTo>
                        <a:pt x="72375" y="5252"/>
                      </a:lnTo>
                      <a:lnTo>
                        <a:pt x="72417" y="5336"/>
                      </a:lnTo>
                      <a:lnTo>
                        <a:pt x="72521" y="5357"/>
                      </a:lnTo>
                      <a:lnTo>
                        <a:pt x="72563" y="5650"/>
                      </a:lnTo>
                      <a:lnTo>
                        <a:pt x="72542" y="5734"/>
                      </a:lnTo>
                      <a:lnTo>
                        <a:pt x="72835" y="5943"/>
                      </a:lnTo>
                      <a:lnTo>
                        <a:pt x="72940" y="5880"/>
                      </a:lnTo>
                      <a:lnTo>
                        <a:pt x="73065" y="5943"/>
                      </a:lnTo>
                      <a:lnTo>
                        <a:pt x="73065" y="6152"/>
                      </a:lnTo>
                      <a:lnTo>
                        <a:pt x="73170" y="6152"/>
                      </a:lnTo>
                      <a:lnTo>
                        <a:pt x="73379" y="5859"/>
                      </a:lnTo>
                      <a:lnTo>
                        <a:pt x="73421" y="5734"/>
                      </a:lnTo>
                      <a:lnTo>
                        <a:pt x="73379" y="5608"/>
                      </a:lnTo>
                      <a:lnTo>
                        <a:pt x="73400" y="5357"/>
                      </a:lnTo>
                      <a:lnTo>
                        <a:pt x="73379" y="5252"/>
                      </a:lnTo>
                      <a:lnTo>
                        <a:pt x="73421" y="5357"/>
                      </a:lnTo>
                      <a:lnTo>
                        <a:pt x="73421" y="5524"/>
                      </a:lnTo>
                      <a:lnTo>
                        <a:pt x="73505" y="5524"/>
                      </a:lnTo>
                      <a:lnTo>
                        <a:pt x="73609" y="5420"/>
                      </a:lnTo>
                      <a:lnTo>
                        <a:pt x="73798" y="5357"/>
                      </a:lnTo>
                      <a:lnTo>
                        <a:pt x="73819" y="5232"/>
                      </a:lnTo>
                      <a:lnTo>
                        <a:pt x="74007" y="5294"/>
                      </a:lnTo>
                      <a:lnTo>
                        <a:pt x="73986" y="5336"/>
                      </a:lnTo>
                      <a:lnTo>
                        <a:pt x="74007" y="5399"/>
                      </a:lnTo>
                      <a:lnTo>
                        <a:pt x="74300" y="5608"/>
                      </a:lnTo>
                      <a:lnTo>
                        <a:pt x="74342" y="5629"/>
                      </a:lnTo>
                      <a:lnTo>
                        <a:pt x="74405" y="5776"/>
                      </a:lnTo>
                      <a:lnTo>
                        <a:pt x="74405" y="5838"/>
                      </a:lnTo>
                      <a:lnTo>
                        <a:pt x="74446" y="5859"/>
                      </a:lnTo>
                      <a:lnTo>
                        <a:pt x="74698" y="5817"/>
                      </a:lnTo>
                      <a:lnTo>
                        <a:pt x="74739" y="5838"/>
                      </a:lnTo>
                      <a:lnTo>
                        <a:pt x="74739" y="5880"/>
                      </a:lnTo>
                      <a:lnTo>
                        <a:pt x="74760" y="5880"/>
                      </a:lnTo>
                      <a:lnTo>
                        <a:pt x="74865" y="5776"/>
                      </a:lnTo>
                      <a:lnTo>
                        <a:pt x="74823" y="5671"/>
                      </a:lnTo>
                      <a:lnTo>
                        <a:pt x="74844" y="5650"/>
                      </a:lnTo>
                      <a:lnTo>
                        <a:pt x="74928" y="5650"/>
                      </a:lnTo>
                      <a:lnTo>
                        <a:pt x="74886" y="5504"/>
                      </a:lnTo>
                      <a:lnTo>
                        <a:pt x="74970" y="5524"/>
                      </a:lnTo>
                      <a:lnTo>
                        <a:pt x="75032" y="5608"/>
                      </a:lnTo>
                      <a:lnTo>
                        <a:pt x="74990" y="5671"/>
                      </a:lnTo>
                      <a:lnTo>
                        <a:pt x="75095" y="5671"/>
                      </a:lnTo>
                      <a:lnTo>
                        <a:pt x="75200" y="5629"/>
                      </a:lnTo>
                      <a:lnTo>
                        <a:pt x="75472" y="5650"/>
                      </a:lnTo>
                      <a:lnTo>
                        <a:pt x="75555" y="5713"/>
                      </a:lnTo>
                      <a:lnTo>
                        <a:pt x="75618" y="5713"/>
                      </a:lnTo>
                      <a:lnTo>
                        <a:pt x="75660" y="5755"/>
                      </a:lnTo>
                      <a:lnTo>
                        <a:pt x="75702" y="5755"/>
                      </a:lnTo>
                      <a:lnTo>
                        <a:pt x="75786" y="5671"/>
                      </a:lnTo>
                      <a:lnTo>
                        <a:pt x="75723" y="5462"/>
                      </a:lnTo>
                      <a:lnTo>
                        <a:pt x="75786" y="5504"/>
                      </a:lnTo>
                      <a:lnTo>
                        <a:pt x="75911" y="5671"/>
                      </a:lnTo>
                      <a:lnTo>
                        <a:pt x="76078" y="5608"/>
                      </a:lnTo>
                      <a:lnTo>
                        <a:pt x="76078" y="5524"/>
                      </a:lnTo>
                      <a:lnTo>
                        <a:pt x="75995" y="5357"/>
                      </a:lnTo>
                      <a:lnTo>
                        <a:pt x="75869" y="5378"/>
                      </a:lnTo>
                      <a:lnTo>
                        <a:pt x="75744" y="5294"/>
                      </a:lnTo>
                      <a:lnTo>
                        <a:pt x="75806" y="5190"/>
                      </a:lnTo>
                      <a:lnTo>
                        <a:pt x="75911" y="5232"/>
                      </a:lnTo>
                      <a:lnTo>
                        <a:pt x="75995" y="5211"/>
                      </a:lnTo>
                      <a:lnTo>
                        <a:pt x="75995" y="5064"/>
                      </a:lnTo>
                      <a:lnTo>
                        <a:pt x="75890" y="5022"/>
                      </a:lnTo>
                      <a:lnTo>
                        <a:pt x="75806" y="4980"/>
                      </a:lnTo>
                      <a:lnTo>
                        <a:pt x="75744" y="5022"/>
                      </a:lnTo>
                      <a:lnTo>
                        <a:pt x="75744" y="5127"/>
                      </a:lnTo>
                      <a:lnTo>
                        <a:pt x="75681" y="5064"/>
                      </a:lnTo>
                      <a:lnTo>
                        <a:pt x="75555" y="5085"/>
                      </a:lnTo>
                      <a:lnTo>
                        <a:pt x="75576" y="4918"/>
                      </a:lnTo>
                      <a:lnTo>
                        <a:pt x="75493" y="4855"/>
                      </a:lnTo>
                      <a:lnTo>
                        <a:pt x="75388" y="4876"/>
                      </a:lnTo>
                      <a:lnTo>
                        <a:pt x="75388" y="4980"/>
                      </a:lnTo>
                      <a:lnTo>
                        <a:pt x="75346" y="4897"/>
                      </a:lnTo>
                      <a:lnTo>
                        <a:pt x="75346" y="4813"/>
                      </a:lnTo>
                      <a:lnTo>
                        <a:pt x="75472" y="4771"/>
                      </a:lnTo>
                      <a:lnTo>
                        <a:pt x="75451" y="4583"/>
                      </a:lnTo>
                      <a:lnTo>
                        <a:pt x="75367" y="4562"/>
                      </a:lnTo>
                      <a:lnTo>
                        <a:pt x="75493" y="4457"/>
                      </a:lnTo>
                      <a:lnTo>
                        <a:pt x="75430" y="4290"/>
                      </a:lnTo>
                      <a:lnTo>
                        <a:pt x="75451" y="4227"/>
                      </a:lnTo>
                      <a:lnTo>
                        <a:pt x="75283" y="4081"/>
                      </a:lnTo>
                      <a:lnTo>
                        <a:pt x="75158" y="4102"/>
                      </a:lnTo>
                      <a:lnTo>
                        <a:pt x="75032" y="4248"/>
                      </a:lnTo>
                      <a:lnTo>
                        <a:pt x="75053" y="4060"/>
                      </a:lnTo>
                      <a:lnTo>
                        <a:pt x="75158" y="4018"/>
                      </a:lnTo>
                      <a:lnTo>
                        <a:pt x="75053" y="3851"/>
                      </a:lnTo>
                      <a:lnTo>
                        <a:pt x="75053" y="3746"/>
                      </a:lnTo>
                      <a:lnTo>
                        <a:pt x="75011" y="3746"/>
                      </a:lnTo>
                      <a:lnTo>
                        <a:pt x="74928" y="3830"/>
                      </a:lnTo>
                      <a:lnTo>
                        <a:pt x="74865" y="3746"/>
                      </a:lnTo>
                      <a:lnTo>
                        <a:pt x="74739" y="3746"/>
                      </a:lnTo>
                      <a:lnTo>
                        <a:pt x="74593" y="3767"/>
                      </a:lnTo>
                      <a:lnTo>
                        <a:pt x="74718" y="3662"/>
                      </a:lnTo>
                      <a:lnTo>
                        <a:pt x="74865" y="3662"/>
                      </a:lnTo>
                      <a:lnTo>
                        <a:pt x="75011" y="3558"/>
                      </a:lnTo>
                      <a:lnTo>
                        <a:pt x="75053" y="3620"/>
                      </a:lnTo>
                      <a:lnTo>
                        <a:pt x="75158" y="3432"/>
                      </a:lnTo>
                      <a:lnTo>
                        <a:pt x="75283" y="3411"/>
                      </a:lnTo>
                      <a:lnTo>
                        <a:pt x="75325" y="3307"/>
                      </a:lnTo>
                      <a:lnTo>
                        <a:pt x="75242" y="3202"/>
                      </a:lnTo>
                      <a:lnTo>
                        <a:pt x="74970" y="3139"/>
                      </a:lnTo>
                      <a:lnTo>
                        <a:pt x="75158" y="3118"/>
                      </a:lnTo>
                      <a:lnTo>
                        <a:pt x="75346" y="3118"/>
                      </a:lnTo>
                      <a:lnTo>
                        <a:pt x="75388" y="3035"/>
                      </a:lnTo>
                      <a:lnTo>
                        <a:pt x="75346" y="2909"/>
                      </a:lnTo>
                      <a:lnTo>
                        <a:pt x="75221" y="2867"/>
                      </a:lnTo>
                      <a:lnTo>
                        <a:pt x="75137" y="2721"/>
                      </a:lnTo>
                      <a:lnTo>
                        <a:pt x="75032" y="2763"/>
                      </a:lnTo>
                      <a:lnTo>
                        <a:pt x="75011" y="2679"/>
                      </a:lnTo>
                      <a:lnTo>
                        <a:pt x="75053" y="2511"/>
                      </a:lnTo>
                      <a:lnTo>
                        <a:pt x="74949" y="2198"/>
                      </a:lnTo>
                      <a:lnTo>
                        <a:pt x="74970" y="2135"/>
                      </a:lnTo>
                      <a:lnTo>
                        <a:pt x="75032" y="2051"/>
                      </a:lnTo>
                      <a:lnTo>
                        <a:pt x="75032" y="1967"/>
                      </a:lnTo>
                      <a:lnTo>
                        <a:pt x="74928" y="1905"/>
                      </a:lnTo>
                      <a:lnTo>
                        <a:pt x="74823" y="2051"/>
                      </a:lnTo>
                      <a:lnTo>
                        <a:pt x="74718" y="2135"/>
                      </a:lnTo>
                      <a:lnTo>
                        <a:pt x="74718" y="1967"/>
                      </a:lnTo>
                      <a:lnTo>
                        <a:pt x="74614" y="1967"/>
                      </a:lnTo>
                      <a:lnTo>
                        <a:pt x="74614" y="2051"/>
                      </a:lnTo>
                      <a:lnTo>
                        <a:pt x="74530" y="2072"/>
                      </a:lnTo>
                      <a:lnTo>
                        <a:pt x="74509" y="2030"/>
                      </a:lnTo>
                      <a:lnTo>
                        <a:pt x="74530" y="1884"/>
                      </a:lnTo>
                      <a:lnTo>
                        <a:pt x="74174" y="1842"/>
                      </a:lnTo>
                      <a:lnTo>
                        <a:pt x="74091" y="1884"/>
                      </a:lnTo>
                      <a:lnTo>
                        <a:pt x="73923" y="1863"/>
                      </a:lnTo>
                      <a:lnTo>
                        <a:pt x="73819" y="1758"/>
                      </a:lnTo>
                      <a:lnTo>
                        <a:pt x="73798" y="1716"/>
                      </a:lnTo>
                      <a:lnTo>
                        <a:pt x="73693" y="1675"/>
                      </a:lnTo>
                      <a:lnTo>
                        <a:pt x="73651" y="1716"/>
                      </a:lnTo>
                      <a:lnTo>
                        <a:pt x="73589" y="1633"/>
                      </a:lnTo>
                      <a:lnTo>
                        <a:pt x="73484" y="1633"/>
                      </a:lnTo>
                      <a:lnTo>
                        <a:pt x="73379" y="1779"/>
                      </a:lnTo>
                      <a:lnTo>
                        <a:pt x="73275" y="1821"/>
                      </a:lnTo>
                      <a:lnTo>
                        <a:pt x="73233" y="1842"/>
                      </a:lnTo>
                      <a:lnTo>
                        <a:pt x="73170" y="1884"/>
                      </a:lnTo>
                      <a:lnTo>
                        <a:pt x="73296" y="1884"/>
                      </a:lnTo>
                      <a:lnTo>
                        <a:pt x="73254" y="1967"/>
                      </a:lnTo>
                      <a:lnTo>
                        <a:pt x="73128" y="2051"/>
                      </a:lnTo>
                      <a:lnTo>
                        <a:pt x="73065" y="2051"/>
                      </a:lnTo>
                      <a:lnTo>
                        <a:pt x="73086" y="2156"/>
                      </a:lnTo>
                      <a:lnTo>
                        <a:pt x="73191" y="2239"/>
                      </a:lnTo>
                      <a:lnTo>
                        <a:pt x="73170" y="2281"/>
                      </a:lnTo>
                      <a:lnTo>
                        <a:pt x="73065" y="2260"/>
                      </a:lnTo>
                      <a:lnTo>
                        <a:pt x="72982" y="2051"/>
                      </a:lnTo>
                      <a:lnTo>
                        <a:pt x="73024" y="1988"/>
                      </a:lnTo>
                      <a:lnTo>
                        <a:pt x="73024" y="1988"/>
                      </a:lnTo>
                      <a:lnTo>
                        <a:pt x="72940" y="2030"/>
                      </a:lnTo>
                      <a:lnTo>
                        <a:pt x="72773" y="2239"/>
                      </a:lnTo>
                      <a:lnTo>
                        <a:pt x="72710" y="2386"/>
                      </a:lnTo>
                      <a:lnTo>
                        <a:pt x="72605" y="2491"/>
                      </a:lnTo>
                      <a:lnTo>
                        <a:pt x="72626" y="2553"/>
                      </a:lnTo>
                      <a:lnTo>
                        <a:pt x="72773" y="2407"/>
                      </a:lnTo>
                      <a:lnTo>
                        <a:pt x="72856" y="2407"/>
                      </a:lnTo>
                      <a:lnTo>
                        <a:pt x="72919" y="2511"/>
                      </a:lnTo>
                      <a:lnTo>
                        <a:pt x="73024" y="2616"/>
                      </a:lnTo>
                      <a:lnTo>
                        <a:pt x="73233" y="2783"/>
                      </a:lnTo>
                      <a:lnTo>
                        <a:pt x="73254" y="2909"/>
                      </a:lnTo>
                      <a:lnTo>
                        <a:pt x="73170" y="2993"/>
                      </a:lnTo>
                      <a:lnTo>
                        <a:pt x="73191" y="3097"/>
                      </a:lnTo>
                      <a:lnTo>
                        <a:pt x="73358" y="3076"/>
                      </a:lnTo>
                      <a:lnTo>
                        <a:pt x="73505" y="2993"/>
                      </a:lnTo>
                      <a:lnTo>
                        <a:pt x="73589" y="3097"/>
                      </a:lnTo>
                      <a:lnTo>
                        <a:pt x="73589" y="3202"/>
                      </a:lnTo>
                      <a:lnTo>
                        <a:pt x="73672" y="3390"/>
                      </a:lnTo>
                      <a:lnTo>
                        <a:pt x="73672" y="3432"/>
                      </a:lnTo>
                      <a:lnTo>
                        <a:pt x="73568" y="3327"/>
                      </a:lnTo>
                      <a:lnTo>
                        <a:pt x="73484" y="3181"/>
                      </a:lnTo>
                      <a:lnTo>
                        <a:pt x="73400" y="3139"/>
                      </a:lnTo>
                      <a:lnTo>
                        <a:pt x="73358" y="3244"/>
                      </a:lnTo>
                      <a:lnTo>
                        <a:pt x="73379" y="3348"/>
                      </a:lnTo>
                      <a:lnTo>
                        <a:pt x="73442" y="3390"/>
                      </a:lnTo>
                      <a:lnTo>
                        <a:pt x="73400" y="3411"/>
                      </a:lnTo>
                      <a:lnTo>
                        <a:pt x="73296" y="3390"/>
                      </a:lnTo>
                      <a:lnTo>
                        <a:pt x="73191" y="3223"/>
                      </a:lnTo>
                      <a:lnTo>
                        <a:pt x="73045" y="3202"/>
                      </a:lnTo>
                      <a:lnTo>
                        <a:pt x="72940" y="3307"/>
                      </a:lnTo>
                      <a:lnTo>
                        <a:pt x="72856" y="3286"/>
                      </a:lnTo>
                      <a:lnTo>
                        <a:pt x="72835" y="3139"/>
                      </a:lnTo>
                      <a:lnTo>
                        <a:pt x="72877" y="3097"/>
                      </a:lnTo>
                      <a:lnTo>
                        <a:pt x="72814" y="2972"/>
                      </a:lnTo>
                      <a:lnTo>
                        <a:pt x="72710" y="2888"/>
                      </a:lnTo>
                      <a:lnTo>
                        <a:pt x="72668" y="2763"/>
                      </a:lnTo>
                      <a:lnTo>
                        <a:pt x="72459" y="2700"/>
                      </a:lnTo>
                      <a:lnTo>
                        <a:pt x="72291" y="2365"/>
                      </a:lnTo>
                      <a:lnTo>
                        <a:pt x="72187" y="2239"/>
                      </a:lnTo>
                      <a:lnTo>
                        <a:pt x="72208" y="2177"/>
                      </a:lnTo>
                      <a:lnTo>
                        <a:pt x="72124" y="2093"/>
                      </a:lnTo>
                      <a:lnTo>
                        <a:pt x="72019" y="2072"/>
                      </a:lnTo>
                      <a:lnTo>
                        <a:pt x="72019" y="2072"/>
                      </a:lnTo>
                      <a:lnTo>
                        <a:pt x="72040" y="2135"/>
                      </a:lnTo>
                      <a:lnTo>
                        <a:pt x="72019" y="2239"/>
                      </a:lnTo>
                      <a:lnTo>
                        <a:pt x="71977" y="2198"/>
                      </a:lnTo>
                      <a:lnTo>
                        <a:pt x="71915" y="2072"/>
                      </a:lnTo>
                      <a:lnTo>
                        <a:pt x="71685" y="1947"/>
                      </a:lnTo>
                      <a:lnTo>
                        <a:pt x="71559" y="1926"/>
                      </a:lnTo>
                      <a:lnTo>
                        <a:pt x="71454" y="1947"/>
                      </a:lnTo>
                      <a:lnTo>
                        <a:pt x="71475" y="2030"/>
                      </a:lnTo>
                      <a:lnTo>
                        <a:pt x="71580" y="2072"/>
                      </a:lnTo>
                      <a:lnTo>
                        <a:pt x="71789" y="2156"/>
                      </a:lnTo>
                      <a:lnTo>
                        <a:pt x="71622" y="2198"/>
                      </a:lnTo>
                      <a:lnTo>
                        <a:pt x="71413" y="2135"/>
                      </a:lnTo>
                      <a:lnTo>
                        <a:pt x="71308" y="2030"/>
                      </a:lnTo>
                      <a:lnTo>
                        <a:pt x="71350" y="1947"/>
                      </a:lnTo>
                      <a:lnTo>
                        <a:pt x="71287" y="1926"/>
                      </a:lnTo>
                      <a:lnTo>
                        <a:pt x="71099" y="1926"/>
                      </a:lnTo>
                      <a:lnTo>
                        <a:pt x="71161" y="1947"/>
                      </a:lnTo>
                      <a:lnTo>
                        <a:pt x="71161" y="1988"/>
                      </a:lnTo>
                      <a:lnTo>
                        <a:pt x="70994" y="2051"/>
                      </a:lnTo>
                      <a:lnTo>
                        <a:pt x="70931" y="1947"/>
                      </a:lnTo>
                      <a:lnTo>
                        <a:pt x="70952" y="1884"/>
                      </a:lnTo>
                      <a:lnTo>
                        <a:pt x="70764" y="1863"/>
                      </a:lnTo>
                      <a:lnTo>
                        <a:pt x="70722" y="1884"/>
                      </a:lnTo>
                      <a:lnTo>
                        <a:pt x="70743" y="1988"/>
                      </a:lnTo>
                      <a:lnTo>
                        <a:pt x="70638" y="1967"/>
                      </a:lnTo>
                      <a:lnTo>
                        <a:pt x="70576" y="1863"/>
                      </a:lnTo>
                      <a:lnTo>
                        <a:pt x="70429" y="1863"/>
                      </a:lnTo>
                      <a:lnTo>
                        <a:pt x="70471" y="1967"/>
                      </a:lnTo>
                      <a:lnTo>
                        <a:pt x="70471" y="1967"/>
                      </a:lnTo>
                      <a:lnTo>
                        <a:pt x="69990" y="1863"/>
                      </a:lnTo>
                      <a:lnTo>
                        <a:pt x="69843" y="1926"/>
                      </a:lnTo>
                      <a:lnTo>
                        <a:pt x="69676" y="1842"/>
                      </a:lnTo>
                      <a:lnTo>
                        <a:pt x="69676" y="1758"/>
                      </a:lnTo>
                      <a:lnTo>
                        <a:pt x="69508" y="1716"/>
                      </a:lnTo>
                      <a:lnTo>
                        <a:pt x="69488" y="1737"/>
                      </a:lnTo>
                      <a:lnTo>
                        <a:pt x="69488" y="1779"/>
                      </a:lnTo>
                      <a:lnTo>
                        <a:pt x="69425" y="1737"/>
                      </a:lnTo>
                      <a:lnTo>
                        <a:pt x="69320" y="1716"/>
                      </a:lnTo>
                      <a:lnTo>
                        <a:pt x="69216" y="1633"/>
                      </a:lnTo>
                      <a:lnTo>
                        <a:pt x="69153" y="1654"/>
                      </a:lnTo>
                      <a:lnTo>
                        <a:pt x="69174" y="1758"/>
                      </a:lnTo>
                      <a:lnTo>
                        <a:pt x="69006" y="1758"/>
                      </a:lnTo>
                      <a:lnTo>
                        <a:pt x="68860" y="1779"/>
                      </a:lnTo>
                      <a:lnTo>
                        <a:pt x="68839" y="1884"/>
                      </a:lnTo>
                      <a:lnTo>
                        <a:pt x="68651" y="1884"/>
                      </a:lnTo>
                      <a:lnTo>
                        <a:pt x="68316" y="1758"/>
                      </a:lnTo>
                      <a:lnTo>
                        <a:pt x="68337" y="1716"/>
                      </a:lnTo>
                      <a:lnTo>
                        <a:pt x="68546" y="1779"/>
                      </a:lnTo>
                      <a:lnTo>
                        <a:pt x="68651" y="1842"/>
                      </a:lnTo>
                      <a:lnTo>
                        <a:pt x="68672" y="1779"/>
                      </a:lnTo>
                      <a:lnTo>
                        <a:pt x="68337" y="1549"/>
                      </a:lnTo>
                      <a:lnTo>
                        <a:pt x="67939" y="1507"/>
                      </a:lnTo>
                      <a:lnTo>
                        <a:pt x="67793" y="1549"/>
                      </a:lnTo>
                      <a:lnTo>
                        <a:pt x="67730" y="1507"/>
                      </a:lnTo>
                      <a:lnTo>
                        <a:pt x="67793" y="1444"/>
                      </a:lnTo>
                      <a:lnTo>
                        <a:pt x="67688" y="1402"/>
                      </a:lnTo>
                      <a:lnTo>
                        <a:pt x="67542" y="1423"/>
                      </a:lnTo>
                      <a:lnTo>
                        <a:pt x="67604" y="1444"/>
                      </a:lnTo>
                      <a:lnTo>
                        <a:pt x="67521" y="1465"/>
                      </a:lnTo>
                      <a:lnTo>
                        <a:pt x="67395" y="1423"/>
                      </a:lnTo>
                      <a:lnTo>
                        <a:pt x="67019" y="1319"/>
                      </a:lnTo>
                      <a:lnTo>
                        <a:pt x="66851" y="1340"/>
                      </a:lnTo>
                      <a:lnTo>
                        <a:pt x="66788" y="1423"/>
                      </a:lnTo>
                      <a:lnTo>
                        <a:pt x="66705" y="1402"/>
                      </a:lnTo>
                      <a:lnTo>
                        <a:pt x="66663" y="1319"/>
                      </a:lnTo>
                      <a:lnTo>
                        <a:pt x="66558" y="1361"/>
                      </a:lnTo>
                      <a:lnTo>
                        <a:pt x="66349" y="1361"/>
                      </a:lnTo>
                      <a:lnTo>
                        <a:pt x="66244" y="1298"/>
                      </a:lnTo>
                      <a:lnTo>
                        <a:pt x="66161" y="1319"/>
                      </a:lnTo>
                      <a:lnTo>
                        <a:pt x="66014" y="1340"/>
                      </a:lnTo>
                      <a:lnTo>
                        <a:pt x="65951" y="1319"/>
                      </a:lnTo>
                      <a:lnTo>
                        <a:pt x="65847" y="1402"/>
                      </a:lnTo>
                      <a:lnTo>
                        <a:pt x="65826" y="1507"/>
                      </a:lnTo>
                      <a:lnTo>
                        <a:pt x="65763" y="1402"/>
                      </a:lnTo>
                      <a:lnTo>
                        <a:pt x="65303" y="1528"/>
                      </a:lnTo>
                      <a:lnTo>
                        <a:pt x="65303" y="1633"/>
                      </a:lnTo>
                      <a:lnTo>
                        <a:pt x="65198" y="1612"/>
                      </a:lnTo>
                      <a:lnTo>
                        <a:pt x="65135" y="1737"/>
                      </a:lnTo>
                      <a:lnTo>
                        <a:pt x="65094" y="1737"/>
                      </a:lnTo>
                      <a:lnTo>
                        <a:pt x="65031" y="1654"/>
                      </a:lnTo>
                      <a:lnTo>
                        <a:pt x="64884" y="1675"/>
                      </a:lnTo>
                      <a:lnTo>
                        <a:pt x="64884" y="1779"/>
                      </a:lnTo>
                      <a:lnTo>
                        <a:pt x="64801" y="1779"/>
                      </a:lnTo>
                      <a:lnTo>
                        <a:pt x="64696" y="1842"/>
                      </a:lnTo>
                      <a:lnTo>
                        <a:pt x="64529" y="1737"/>
                      </a:lnTo>
                      <a:lnTo>
                        <a:pt x="64403" y="1779"/>
                      </a:lnTo>
                      <a:lnTo>
                        <a:pt x="64403" y="1863"/>
                      </a:lnTo>
                      <a:lnTo>
                        <a:pt x="64152" y="1863"/>
                      </a:lnTo>
                      <a:lnTo>
                        <a:pt x="63838" y="1884"/>
                      </a:lnTo>
                      <a:lnTo>
                        <a:pt x="63754" y="1842"/>
                      </a:lnTo>
                      <a:lnTo>
                        <a:pt x="63482" y="1884"/>
                      </a:lnTo>
                      <a:lnTo>
                        <a:pt x="63462" y="1905"/>
                      </a:lnTo>
                      <a:lnTo>
                        <a:pt x="63629" y="2009"/>
                      </a:lnTo>
                      <a:lnTo>
                        <a:pt x="63692" y="2198"/>
                      </a:lnTo>
                      <a:lnTo>
                        <a:pt x="63775" y="2260"/>
                      </a:lnTo>
                      <a:lnTo>
                        <a:pt x="63796" y="2386"/>
                      </a:lnTo>
                      <a:lnTo>
                        <a:pt x="63880" y="2574"/>
                      </a:lnTo>
                      <a:lnTo>
                        <a:pt x="63838" y="2637"/>
                      </a:lnTo>
                      <a:lnTo>
                        <a:pt x="63838" y="2804"/>
                      </a:lnTo>
                      <a:lnTo>
                        <a:pt x="63880" y="2804"/>
                      </a:lnTo>
                      <a:lnTo>
                        <a:pt x="63985" y="2700"/>
                      </a:lnTo>
                      <a:lnTo>
                        <a:pt x="64194" y="2804"/>
                      </a:lnTo>
                      <a:lnTo>
                        <a:pt x="64257" y="2888"/>
                      </a:lnTo>
                      <a:lnTo>
                        <a:pt x="64319" y="2909"/>
                      </a:lnTo>
                      <a:lnTo>
                        <a:pt x="64529" y="3118"/>
                      </a:lnTo>
                      <a:lnTo>
                        <a:pt x="64570" y="3307"/>
                      </a:lnTo>
                      <a:lnTo>
                        <a:pt x="64717" y="3348"/>
                      </a:lnTo>
                      <a:lnTo>
                        <a:pt x="64822" y="3516"/>
                      </a:lnTo>
                      <a:lnTo>
                        <a:pt x="64822" y="3579"/>
                      </a:lnTo>
                      <a:lnTo>
                        <a:pt x="64842" y="3662"/>
                      </a:lnTo>
                      <a:lnTo>
                        <a:pt x="64801" y="3725"/>
                      </a:lnTo>
                      <a:lnTo>
                        <a:pt x="64884" y="3830"/>
                      </a:lnTo>
                      <a:lnTo>
                        <a:pt x="64822" y="3871"/>
                      </a:lnTo>
                      <a:lnTo>
                        <a:pt x="64738" y="3851"/>
                      </a:lnTo>
                      <a:lnTo>
                        <a:pt x="64612" y="3934"/>
                      </a:lnTo>
                      <a:lnTo>
                        <a:pt x="64633" y="4039"/>
                      </a:lnTo>
                      <a:lnTo>
                        <a:pt x="64508" y="4060"/>
                      </a:lnTo>
                      <a:lnTo>
                        <a:pt x="64403" y="4143"/>
                      </a:lnTo>
                      <a:lnTo>
                        <a:pt x="64215" y="4102"/>
                      </a:lnTo>
                      <a:lnTo>
                        <a:pt x="64152" y="4039"/>
                      </a:lnTo>
                      <a:lnTo>
                        <a:pt x="64152" y="3892"/>
                      </a:lnTo>
                      <a:lnTo>
                        <a:pt x="63964" y="3641"/>
                      </a:lnTo>
                      <a:lnTo>
                        <a:pt x="63880" y="3641"/>
                      </a:lnTo>
                      <a:lnTo>
                        <a:pt x="63838" y="3662"/>
                      </a:lnTo>
                      <a:lnTo>
                        <a:pt x="63566" y="3620"/>
                      </a:lnTo>
                      <a:lnTo>
                        <a:pt x="63378" y="3641"/>
                      </a:lnTo>
                      <a:lnTo>
                        <a:pt x="63315" y="3579"/>
                      </a:lnTo>
                      <a:lnTo>
                        <a:pt x="63148" y="3411"/>
                      </a:lnTo>
                      <a:lnTo>
                        <a:pt x="63148" y="3286"/>
                      </a:lnTo>
                      <a:lnTo>
                        <a:pt x="63043" y="3202"/>
                      </a:lnTo>
                      <a:lnTo>
                        <a:pt x="62897" y="3181"/>
                      </a:lnTo>
                      <a:lnTo>
                        <a:pt x="62855" y="3097"/>
                      </a:lnTo>
                      <a:lnTo>
                        <a:pt x="62813" y="2951"/>
                      </a:lnTo>
                      <a:lnTo>
                        <a:pt x="62625" y="2909"/>
                      </a:lnTo>
                      <a:lnTo>
                        <a:pt x="62583" y="2951"/>
                      </a:lnTo>
                      <a:lnTo>
                        <a:pt x="62583" y="3097"/>
                      </a:lnTo>
                      <a:lnTo>
                        <a:pt x="62583" y="3244"/>
                      </a:lnTo>
                      <a:lnTo>
                        <a:pt x="62604" y="3327"/>
                      </a:lnTo>
                      <a:lnTo>
                        <a:pt x="62478" y="3516"/>
                      </a:lnTo>
                      <a:lnTo>
                        <a:pt x="62415" y="3641"/>
                      </a:lnTo>
                      <a:lnTo>
                        <a:pt x="62332" y="3558"/>
                      </a:lnTo>
                      <a:lnTo>
                        <a:pt x="62311" y="3474"/>
                      </a:lnTo>
                      <a:lnTo>
                        <a:pt x="62269" y="3474"/>
                      </a:lnTo>
                      <a:lnTo>
                        <a:pt x="62164" y="3558"/>
                      </a:lnTo>
                      <a:lnTo>
                        <a:pt x="61913" y="3537"/>
                      </a:lnTo>
                      <a:lnTo>
                        <a:pt x="61704" y="3620"/>
                      </a:lnTo>
                      <a:lnTo>
                        <a:pt x="61641" y="3579"/>
                      </a:lnTo>
                      <a:lnTo>
                        <a:pt x="61474" y="3725"/>
                      </a:lnTo>
                      <a:lnTo>
                        <a:pt x="61327" y="3746"/>
                      </a:lnTo>
                      <a:lnTo>
                        <a:pt x="61223" y="3725"/>
                      </a:lnTo>
                      <a:lnTo>
                        <a:pt x="61118" y="3620"/>
                      </a:lnTo>
                      <a:lnTo>
                        <a:pt x="61034" y="3620"/>
                      </a:lnTo>
                      <a:lnTo>
                        <a:pt x="60972" y="3662"/>
                      </a:lnTo>
                      <a:lnTo>
                        <a:pt x="61013" y="3746"/>
                      </a:lnTo>
                      <a:lnTo>
                        <a:pt x="60804" y="3830"/>
                      </a:lnTo>
                      <a:lnTo>
                        <a:pt x="60700" y="3913"/>
                      </a:lnTo>
                      <a:lnTo>
                        <a:pt x="60449" y="3934"/>
                      </a:lnTo>
                      <a:lnTo>
                        <a:pt x="60323" y="4081"/>
                      </a:lnTo>
                      <a:lnTo>
                        <a:pt x="60323" y="4290"/>
                      </a:lnTo>
                      <a:lnTo>
                        <a:pt x="60323" y="4562"/>
                      </a:lnTo>
                      <a:lnTo>
                        <a:pt x="60532" y="4855"/>
                      </a:lnTo>
                      <a:lnTo>
                        <a:pt x="60553" y="5022"/>
                      </a:lnTo>
                      <a:lnTo>
                        <a:pt x="60407" y="4813"/>
                      </a:lnTo>
                      <a:lnTo>
                        <a:pt x="60281" y="4688"/>
                      </a:lnTo>
                      <a:lnTo>
                        <a:pt x="60177" y="4708"/>
                      </a:lnTo>
                      <a:lnTo>
                        <a:pt x="60030" y="4625"/>
                      </a:lnTo>
                      <a:lnTo>
                        <a:pt x="60072" y="4729"/>
                      </a:lnTo>
                      <a:lnTo>
                        <a:pt x="60177" y="4792"/>
                      </a:lnTo>
                      <a:lnTo>
                        <a:pt x="60218" y="4980"/>
                      </a:lnTo>
                      <a:lnTo>
                        <a:pt x="60218" y="5022"/>
                      </a:lnTo>
                      <a:lnTo>
                        <a:pt x="60072" y="4813"/>
                      </a:lnTo>
                      <a:lnTo>
                        <a:pt x="59967" y="4813"/>
                      </a:lnTo>
                      <a:lnTo>
                        <a:pt x="59925" y="4604"/>
                      </a:lnTo>
                      <a:lnTo>
                        <a:pt x="59758" y="4415"/>
                      </a:lnTo>
                      <a:lnTo>
                        <a:pt x="59674" y="4269"/>
                      </a:lnTo>
                      <a:lnTo>
                        <a:pt x="59570" y="4269"/>
                      </a:lnTo>
                      <a:lnTo>
                        <a:pt x="59612" y="4457"/>
                      </a:lnTo>
                      <a:lnTo>
                        <a:pt x="59591" y="4562"/>
                      </a:lnTo>
                      <a:lnTo>
                        <a:pt x="59549" y="4415"/>
                      </a:lnTo>
                      <a:lnTo>
                        <a:pt x="59402" y="4353"/>
                      </a:lnTo>
                      <a:lnTo>
                        <a:pt x="59256" y="4374"/>
                      </a:lnTo>
                      <a:lnTo>
                        <a:pt x="59256" y="4457"/>
                      </a:lnTo>
                      <a:lnTo>
                        <a:pt x="59172" y="4374"/>
                      </a:lnTo>
                      <a:lnTo>
                        <a:pt x="59026" y="4374"/>
                      </a:lnTo>
                      <a:lnTo>
                        <a:pt x="58879" y="4520"/>
                      </a:lnTo>
                      <a:lnTo>
                        <a:pt x="58754" y="4562"/>
                      </a:lnTo>
                      <a:lnTo>
                        <a:pt x="58837" y="4415"/>
                      </a:lnTo>
                      <a:lnTo>
                        <a:pt x="58837" y="4311"/>
                      </a:lnTo>
                      <a:lnTo>
                        <a:pt x="58712" y="4081"/>
                      </a:lnTo>
                      <a:lnTo>
                        <a:pt x="58712" y="3934"/>
                      </a:lnTo>
                      <a:lnTo>
                        <a:pt x="58649" y="3871"/>
                      </a:lnTo>
                      <a:lnTo>
                        <a:pt x="58649" y="3767"/>
                      </a:lnTo>
                      <a:lnTo>
                        <a:pt x="58544" y="3558"/>
                      </a:lnTo>
                      <a:lnTo>
                        <a:pt x="58335" y="3327"/>
                      </a:lnTo>
                      <a:lnTo>
                        <a:pt x="58105" y="3202"/>
                      </a:lnTo>
                      <a:lnTo>
                        <a:pt x="57875" y="2930"/>
                      </a:lnTo>
                      <a:lnTo>
                        <a:pt x="57310" y="2742"/>
                      </a:lnTo>
                      <a:lnTo>
                        <a:pt x="57038" y="2742"/>
                      </a:lnTo>
                      <a:lnTo>
                        <a:pt x="56892" y="2783"/>
                      </a:lnTo>
                      <a:lnTo>
                        <a:pt x="56661" y="2930"/>
                      </a:lnTo>
                      <a:lnTo>
                        <a:pt x="56661" y="2993"/>
                      </a:lnTo>
                      <a:lnTo>
                        <a:pt x="56536" y="2951"/>
                      </a:lnTo>
                      <a:lnTo>
                        <a:pt x="56327" y="3035"/>
                      </a:lnTo>
                      <a:lnTo>
                        <a:pt x="55887" y="3244"/>
                      </a:lnTo>
                      <a:lnTo>
                        <a:pt x="55720" y="3265"/>
                      </a:lnTo>
                      <a:lnTo>
                        <a:pt x="55531" y="3453"/>
                      </a:lnTo>
                      <a:lnTo>
                        <a:pt x="55427" y="3516"/>
                      </a:lnTo>
                      <a:lnTo>
                        <a:pt x="55197" y="3683"/>
                      </a:lnTo>
                      <a:lnTo>
                        <a:pt x="55071" y="3746"/>
                      </a:lnTo>
                      <a:lnTo>
                        <a:pt x="54946" y="3871"/>
                      </a:lnTo>
                      <a:lnTo>
                        <a:pt x="54757" y="3934"/>
                      </a:lnTo>
                      <a:lnTo>
                        <a:pt x="54590" y="3871"/>
                      </a:lnTo>
                      <a:lnTo>
                        <a:pt x="54360" y="3934"/>
                      </a:lnTo>
                      <a:lnTo>
                        <a:pt x="54213" y="3997"/>
                      </a:lnTo>
                      <a:lnTo>
                        <a:pt x="54339" y="3871"/>
                      </a:lnTo>
                      <a:lnTo>
                        <a:pt x="54527" y="3767"/>
                      </a:lnTo>
                      <a:lnTo>
                        <a:pt x="54548" y="3662"/>
                      </a:lnTo>
                      <a:lnTo>
                        <a:pt x="54381" y="3474"/>
                      </a:lnTo>
                      <a:lnTo>
                        <a:pt x="54109" y="3411"/>
                      </a:lnTo>
                      <a:lnTo>
                        <a:pt x="53837" y="3223"/>
                      </a:lnTo>
                      <a:lnTo>
                        <a:pt x="53753" y="3160"/>
                      </a:lnTo>
                      <a:lnTo>
                        <a:pt x="53711" y="3223"/>
                      </a:lnTo>
                      <a:lnTo>
                        <a:pt x="53607" y="3453"/>
                      </a:lnTo>
                      <a:lnTo>
                        <a:pt x="53607" y="3579"/>
                      </a:lnTo>
                      <a:lnTo>
                        <a:pt x="53544" y="3516"/>
                      </a:lnTo>
                      <a:lnTo>
                        <a:pt x="53502" y="3537"/>
                      </a:lnTo>
                      <a:lnTo>
                        <a:pt x="53439" y="3662"/>
                      </a:lnTo>
                      <a:lnTo>
                        <a:pt x="53376" y="3725"/>
                      </a:lnTo>
                      <a:lnTo>
                        <a:pt x="53335" y="3662"/>
                      </a:lnTo>
                      <a:lnTo>
                        <a:pt x="53397" y="3516"/>
                      </a:lnTo>
                      <a:lnTo>
                        <a:pt x="53439" y="3432"/>
                      </a:lnTo>
                      <a:lnTo>
                        <a:pt x="53397" y="3265"/>
                      </a:lnTo>
                      <a:lnTo>
                        <a:pt x="53272" y="3202"/>
                      </a:lnTo>
                      <a:lnTo>
                        <a:pt x="53125" y="3327"/>
                      </a:lnTo>
                      <a:lnTo>
                        <a:pt x="53167" y="3411"/>
                      </a:lnTo>
                      <a:lnTo>
                        <a:pt x="53083" y="3537"/>
                      </a:lnTo>
                      <a:lnTo>
                        <a:pt x="53000" y="3453"/>
                      </a:lnTo>
                      <a:lnTo>
                        <a:pt x="52979" y="3307"/>
                      </a:lnTo>
                      <a:lnTo>
                        <a:pt x="52916" y="3160"/>
                      </a:lnTo>
                      <a:lnTo>
                        <a:pt x="52874" y="3014"/>
                      </a:lnTo>
                      <a:lnTo>
                        <a:pt x="52770" y="3118"/>
                      </a:lnTo>
                      <a:lnTo>
                        <a:pt x="52560" y="3139"/>
                      </a:lnTo>
                      <a:lnTo>
                        <a:pt x="52246" y="3223"/>
                      </a:lnTo>
                      <a:lnTo>
                        <a:pt x="52163" y="3202"/>
                      </a:lnTo>
                      <a:lnTo>
                        <a:pt x="52267" y="3118"/>
                      </a:lnTo>
                      <a:lnTo>
                        <a:pt x="52246" y="3014"/>
                      </a:lnTo>
                      <a:lnTo>
                        <a:pt x="52246" y="2909"/>
                      </a:lnTo>
                      <a:lnTo>
                        <a:pt x="52226" y="2783"/>
                      </a:lnTo>
                      <a:lnTo>
                        <a:pt x="52246" y="2763"/>
                      </a:lnTo>
                      <a:lnTo>
                        <a:pt x="52456" y="2909"/>
                      </a:lnTo>
                      <a:lnTo>
                        <a:pt x="52560" y="2825"/>
                      </a:lnTo>
                      <a:lnTo>
                        <a:pt x="52581" y="2700"/>
                      </a:lnTo>
                      <a:lnTo>
                        <a:pt x="52393" y="2428"/>
                      </a:lnTo>
                      <a:lnTo>
                        <a:pt x="52016" y="2302"/>
                      </a:lnTo>
                      <a:lnTo>
                        <a:pt x="51702" y="2281"/>
                      </a:lnTo>
                      <a:lnTo>
                        <a:pt x="51347" y="2365"/>
                      </a:lnTo>
                      <a:lnTo>
                        <a:pt x="51033" y="2407"/>
                      </a:lnTo>
                      <a:lnTo>
                        <a:pt x="50824" y="2574"/>
                      </a:lnTo>
                      <a:lnTo>
                        <a:pt x="50886" y="3139"/>
                      </a:lnTo>
                      <a:lnTo>
                        <a:pt x="50866" y="3307"/>
                      </a:lnTo>
                      <a:lnTo>
                        <a:pt x="50907" y="3411"/>
                      </a:lnTo>
                      <a:lnTo>
                        <a:pt x="50803" y="3579"/>
                      </a:lnTo>
                      <a:lnTo>
                        <a:pt x="50803" y="3746"/>
                      </a:lnTo>
                      <a:lnTo>
                        <a:pt x="50656" y="3851"/>
                      </a:lnTo>
                      <a:lnTo>
                        <a:pt x="50552" y="3851"/>
                      </a:lnTo>
                      <a:lnTo>
                        <a:pt x="50489" y="3788"/>
                      </a:lnTo>
                      <a:lnTo>
                        <a:pt x="50489" y="3725"/>
                      </a:lnTo>
                      <a:lnTo>
                        <a:pt x="50363" y="3620"/>
                      </a:lnTo>
                      <a:lnTo>
                        <a:pt x="50447" y="3537"/>
                      </a:lnTo>
                      <a:lnTo>
                        <a:pt x="50510" y="3558"/>
                      </a:lnTo>
                      <a:lnTo>
                        <a:pt x="50594" y="3369"/>
                      </a:lnTo>
                      <a:lnTo>
                        <a:pt x="50552" y="3139"/>
                      </a:lnTo>
                      <a:lnTo>
                        <a:pt x="50405" y="3097"/>
                      </a:lnTo>
                      <a:lnTo>
                        <a:pt x="50342" y="2888"/>
                      </a:lnTo>
                      <a:lnTo>
                        <a:pt x="50405" y="2909"/>
                      </a:lnTo>
                      <a:lnTo>
                        <a:pt x="50510" y="2804"/>
                      </a:lnTo>
                      <a:lnTo>
                        <a:pt x="50510" y="2930"/>
                      </a:lnTo>
                      <a:lnTo>
                        <a:pt x="50614" y="3035"/>
                      </a:lnTo>
                      <a:lnTo>
                        <a:pt x="50698" y="3223"/>
                      </a:lnTo>
                      <a:lnTo>
                        <a:pt x="50719" y="3160"/>
                      </a:lnTo>
                      <a:lnTo>
                        <a:pt x="50698" y="2888"/>
                      </a:lnTo>
                      <a:lnTo>
                        <a:pt x="50656" y="2679"/>
                      </a:lnTo>
                      <a:lnTo>
                        <a:pt x="50259" y="2825"/>
                      </a:lnTo>
                      <a:lnTo>
                        <a:pt x="49945" y="3035"/>
                      </a:lnTo>
                      <a:lnTo>
                        <a:pt x="49945" y="3160"/>
                      </a:lnTo>
                      <a:lnTo>
                        <a:pt x="49757" y="3307"/>
                      </a:lnTo>
                      <a:lnTo>
                        <a:pt x="49652" y="3223"/>
                      </a:lnTo>
                      <a:lnTo>
                        <a:pt x="49673" y="3139"/>
                      </a:lnTo>
                      <a:lnTo>
                        <a:pt x="49777" y="3118"/>
                      </a:lnTo>
                      <a:lnTo>
                        <a:pt x="49673" y="2993"/>
                      </a:lnTo>
                      <a:lnTo>
                        <a:pt x="49757" y="2742"/>
                      </a:lnTo>
                      <a:lnTo>
                        <a:pt x="49882" y="2804"/>
                      </a:lnTo>
                      <a:lnTo>
                        <a:pt x="49945" y="2783"/>
                      </a:lnTo>
                      <a:lnTo>
                        <a:pt x="50070" y="2825"/>
                      </a:lnTo>
                      <a:lnTo>
                        <a:pt x="50468" y="2637"/>
                      </a:lnTo>
                      <a:lnTo>
                        <a:pt x="50614" y="2595"/>
                      </a:lnTo>
                      <a:lnTo>
                        <a:pt x="50342" y="2595"/>
                      </a:lnTo>
                      <a:lnTo>
                        <a:pt x="50175" y="2616"/>
                      </a:lnTo>
                      <a:lnTo>
                        <a:pt x="49945" y="2595"/>
                      </a:lnTo>
                      <a:lnTo>
                        <a:pt x="49443" y="2595"/>
                      </a:lnTo>
                      <a:lnTo>
                        <a:pt x="49338" y="2637"/>
                      </a:lnTo>
                      <a:lnTo>
                        <a:pt x="48669" y="2700"/>
                      </a:lnTo>
                      <a:lnTo>
                        <a:pt x="48271" y="2700"/>
                      </a:lnTo>
                      <a:lnTo>
                        <a:pt x="48041" y="2742"/>
                      </a:lnTo>
                      <a:lnTo>
                        <a:pt x="47769" y="2637"/>
                      </a:lnTo>
                      <a:lnTo>
                        <a:pt x="47539" y="2679"/>
                      </a:lnTo>
                      <a:lnTo>
                        <a:pt x="47371" y="2742"/>
                      </a:lnTo>
                      <a:lnTo>
                        <a:pt x="47518" y="2909"/>
                      </a:lnTo>
                      <a:lnTo>
                        <a:pt x="47685" y="2909"/>
                      </a:lnTo>
                      <a:lnTo>
                        <a:pt x="47790" y="2951"/>
                      </a:lnTo>
                      <a:lnTo>
                        <a:pt x="47894" y="2930"/>
                      </a:lnTo>
                      <a:lnTo>
                        <a:pt x="48041" y="3055"/>
                      </a:lnTo>
                      <a:lnTo>
                        <a:pt x="48041" y="3139"/>
                      </a:lnTo>
                      <a:lnTo>
                        <a:pt x="47832" y="3327"/>
                      </a:lnTo>
                      <a:lnTo>
                        <a:pt x="47685" y="3307"/>
                      </a:lnTo>
                      <a:lnTo>
                        <a:pt x="47518" y="3369"/>
                      </a:lnTo>
                      <a:lnTo>
                        <a:pt x="47476" y="3537"/>
                      </a:lnTo>
                      <a:lnTo>
                        <a:pt x="47434" y="3641"/>
                      </a:lnTo>
                      <a:lnTo>
                        <a:pt x="47560" y="3871"/>
                      </a:lnTo>
                      <a:lnTo>
                        <a:pt x="47769" y="3934"/>
                      </a:lnTo>
                      <a:lnTo>
                        <a:pt x="47790" y="3788"/>
                      </a:lnTo>
                      <a:lnTo>
                        <a:pt x="47936" y="3662"/>
                      </a:lnTo>
                      <a:lnTo>
                        <a:pt x="48145" y="3579"/>
                      </a:lnTo>
                      <a:lnTo>
                        <a:pt x="48104" y="3788"/>
                      </a:lnTo>
                      <a:lnTo>
                        <a:pt x="47894" y="3788"/>
                      </a:lnTo>
                      <a:lnTo>
                        <a:pt x="47999" y="3934"/>
                      </a:lnTo>
                      <a:lnTo>
                        <a:pt x="47978" y="3955"/>
                      </a:lnTo>
                      <a:lnTo>
                        <a:pt x="48041" y="4060"/>
                      </a:lnTo>
                      <a:lnTo>
                        <a:pt x="47894" y="4143"/>
                      </a:lnTo>
                      <a:lnTo>
                        <a:pt x="48041" y="4164"/>
                      </a:lnTo>
                      <a:lnTo>
                        <a:pt x="48166" y="4102"/>
                      </a:lnTo>
                      <a:lnTo>
                        <a:pt x="48208" y="4206"/>
                      </a:lnTo>
                      <a:lnTo>
                        <a:pt x="48187" y="4353"/>
                      </a:lnTo>
                      <a:lnTo>
                        <a:pt x="48313" y="4478"/>
                      </a:lnTo>
                      <a:lnTo>
                        <a:pt x="48459" y="4499"/>
                      </a:lnTo>
                      <a:lnTo>
                        <a:pt x="48627" y="4708"/>
                      </a:lnTo>
                      <a:lnTo>
                        <a:pt x="48606" y="4813"/>
                      </a:lnTo>
                      <a:lnTo>
                        <a:pt x="48522" y="4771"/>
                      </a:lnTo>
                      <a:lnTo>
                        <a:pt x="48397" y="4813"/>
                      </a:lnTo>
                      <a:lnTo>
                        <a:pt x="48459" y="4939"/>
                      </a:lnTo>
                      <a:lnTo>
                        <a:pt x="48376" y="5001"/>
                      </a:lnTo>
                      <a:lnTo>
                        <a:pt x="48313" y="4939"/>
                      </a:lnTo>
                      <a:lnTo>
                        <a:pt x="48250" y="4980"/>
                      </a:lnTo>
                      <a:lnTo>
                        <a:pt x="48187" y="4834"/>
                      </a:lnTo>
                      <a:lnTo>
                        <a:pt x="47999" y="4708"/>
                      </a:lnTo>
                      <a:lnTo>
                        <a:pt x="47936" y="4729"/>
                      </a:lnTo>
                      <a:lnTo>
                        <a:pt x="47978" y="4813"/>
                      </a:lnTo>
                      <a:lnTo>
                        <a:pt x="47873" y="4897"/>
                      </a:lnTo>
                      <a:lnTo>
                        <a:pt x="47790" y="4834"/>
                      </a:lnTo>
                      <a:lnTo>
                        <a:pt x="47727" y="4897"/>
                      </a:lnTo>
                      <a:lnTo>
                        <a:pt x="47769" y="5022"/>
                      </a:lnTo>
                      <a:lnTo>
                        <a:pt x="47790" y="5211"/>
                      </a:lnTo>
                      <a:lnTo>
                        <a:pt x="47936" y="5232"/>
                      </a:lnTo>
                      <a:lnTo>
                        <a:pt x="48083" y="5148"/>
                      </a:lnTo>
                      <a:lnTo>
                        <a:pt x="48187" y="5252"/>
                      </a:lnTo>
                      <a:lnTo>
                        <a:pt x="48104" y="5336"/>
                      </a:lnTo>
                      <a:lnTo>
                        <a:pt x="48250" y="5399"/>
                      </a:lnTo>
                      <a:lnTo>
                        <a:pt x="48145" y="5462"/>
                      </a:lnTo>
                      <a:lnTo>
                        <a:pt x="47978" y="5420"/>
                      </a:lnTo>
                      <a:lnTo>
                        <a:pt x="47978" y="5462"/>
                      </a:lnTo>
                      <a:lnTo>
                        <a:pt x="48145" y="5566"/>
                      </a:lnTo>
                      <a:lnTo>
                        <a:pt x="47873" y="5566"/>
                      </a:lnTo>
                      <a:lnTo>
                        <a:pt x="47832" y="5462"/>
                      </a:lnTo>
                      <a:lnTo>
                        <a:pt x="47643" y="5462"/>
                      </a:lnTo>
                      <a:lnTo>
                        <a:pt x="47560" y="5336"/>
                      </a:lnTo>
                      <a:lnTo>
                        <a:pt x="47434" y="5315"/>
                      </a:lnTo>
                      <a:lnTo>
                        <a:pt x="47308" y="5190"/>
                      </a:lnTo>
                      <a:lnTo>
                        <a:pt x="47120" y="5190"/>
                      </a:lnTo>
                      <a:lnTo>
                        <a:pt x="46995" y="5106"/>
                      </a:lnTo>
                      <a:lnTo>
                        <a:pt x="46890" y="5127"/>
                      </a:lnTo>
                      <a:lnTo>
                        <a:pt x="46827" y="5106"/>
                      </a:lnTo>
                      <a:lnTo>
                        <a:pt x="46430" y="5252"/>
                      </a:lnTo>
                      <a:lnTo>
                        <a:pt x="46409" y="5357"/>
                      </a:lnTo>
                      <a:lnTo>
                        <a:pt x="46367" y="5420"/>
                      </a:lnTo>
                      <a:lnTo>
                        <a:pt x="46430" y="5504"/>
                      </a:lnTo>
                      <a:lnTo>
                        <a:pt x="46409" y="5566"/>
                      </a:lnTo>
                      <a:lnTo>
                        <a:pt x="46492" y="5713"/>
                      </a:lnTo>
                      <a:lnTo>
                        <a:pt x="46472" y="5734"/>
                      </a:lnTo>
                      <a:lnTo>
                        <a:pt x="46367" y="5629"/>
                      </a:lnTo>
                      <a:lnTo>
                        <a:pt x="46283" y="5671"/>
                      </a:lnTo>
                      <a:lnTo>
                        <a:pt x="46179" y="5629"/>
                      </a:lnTo>
                      <a:lnTo>
                        <a:pt x="45739" y="5671"/>
                      </a:lnTo>
                      <a:lnTo>
                        <a:pt x="45530" y="5650"/>
                      </a:lnTo>
                      <a:lnTo>
                        <a:pt x="45384" y="5524"/>
                      </a:lnTo>
                      <a:lnTo>
                        <a:pt x="45258" y="5504"/>
                      </a:lnTo>
                      <a:lnTo>
                        <a:pt x="45132" y="5357"/>
                      </a:lnTo>
                      <a:lnTo>
                        <a:pt x="45049" y="5211"/>
                      </a:lnTo>
                      <a:lnTo>
                        <a:pt x="44944" y="5148"/>
                      </a:lnTo>
                      <a:lnTo>
                        <a:pt x="44944" y="5232"/>
                      </a:lnTo>
                      <a:lnTo>
                        <a:pt x="45028" y="5420"/>
                      </a:lnTo>
                      <a:lnTo>
                        <a:pt x="45049" y="5734"/>
                      </a:lnTo>
                      <a:lnTo>
                        <a:pt x="45216" y="6068"/>
                      </a:lnTo>
                      <a:lnTo>
                        <a:pt x="45342" y="6340"/>
                      </a:lnTo>
                      <a:lnTo>
                        <a:pt x="45446" y="6926"/>
                      </a:lnTo>
                      <a:lnTo>
                        <a:pt x="45425" y="7073"/>
                      </a:lnTo>
                      <a:lnTo>
                        <a:pt x="45342" y="7073"/>
                      </a:lnTo>
                      <a:lnTo>
                        <a:pt x="45258" y="6968"/>
                      </a:lnTo>
                      <a:lnTo>
                        <a:pt x="45237" y="6864"/>
                      </a:lnTo>
                      <a:lnTo>
                        <a:pt x="45132" y="6759"/>
                      </a:lnTo>
                      <a:lnTo>
                        <a:pt x="45070" y="6801"/>
                      </a:lnTo>
                      <a:lnTo>
                        <a:pt x="45132" y="6884"/>
                      </a:lnTo>
                      <a:lnTo>
                        <a:pt x="45112" y="6968"/>
                      </a:lnTo>
                      <a:lnTo>
                        <a:pt x="44923" y="6905"/>
                      </a:lnTo>
                      <a:lnTo>
                        <a:pt x="44756" y="6717"/>
                      </a:lnTo>
                      <a:lnTo>
                        <a:pt x="44505" y="6696"/>
                      </a:lnTo>
                      <a:lnTo>
                        <a:pt x="44379" y="6550"/>
                      </a:lnTo>
                      <a:lnTo>
                        <a:pt x="44275" y="6508"/>
                      </a:lnTo>
                      <a:lnTo>
                        <a:pt x="43898" y="6173"/>
                      </a:lnTo>
                      <a:lnTo>
                        <a:pt x="43877" y="6173"/>
                      </a:lnTo>
                      <a:lnTo>
                        <a:pt x="43793" y="6236"/>
                      </a:lnTo>
                      <a:lnTo>
                        <a:pt x="43689" y="6236"/>
                      </a:lnTo>
                      <a:lnTo>
                        <a:pt x="43647" y="6152"/>
                      </a:lnTo>
                      <a:lnTo>
                        <a:pt x="43877" y="5943"/>
                      </a:lnTo>
                      <a:lnTo>
                        <a:pt x="43982" y="5943"/>
                      </a:lnTo>
                      <a:lnTo>
                        <a:pt x="43898" y="5880"/>
                      </a:lnTo>
                      <a:lnTo>
                        <a:pt x="43772" y="5817"/>
                      </a:lnTo>
                      <a:lnTo>
                        <a:pt x="43647" y="5671"/>
                      </a:lnTo>
                      <a:lnTo>
                        <a:pt x="43626" y="5671"/>
                      </a:lnTo>
                      <a:lnTo>
                        <a:pt x="43647" y="5755"/>
                      </a:lnTo>
                      <a:lnTo>
                        <a:pt x="43751" y="5859"/>
                      </a:lnTo>
                      <a:lnTo>
                        <a:pt x="43751" y="5964"/>
                      </a:lnTo>
                      <a:lnTo>
                        <a:pt x="43626" y="6048"/>
                      </a:lnTo>
                      <a:lnTo>
                        <a:pt x="43417" y="5985"/>
                      </a:lnTo>
                      <a:lnTo>
                        <a:pt x="43207" y="5838"/>
                      </a:lnTo>
                      <a:lnTo>
                        <a:pt x="43145" y="5755"/>
                      </a:lnTo>
                      <a:lnTo>
                        <a:pt x="42935" y="5734"/>
                      </a:lnTo>
                      <a:lnTo>
                        <a:pt x="42894" y="5608"/>
                      </a:lnTo>
                      <a:lnTo>
                        <a:pt x="42789" y="5545"/>
                      </a:lnTo>
                      <a:lnTo>
                        <a:pt x="43040" y="5545"/>
                      </a:lnTo>
                      <a:lnTo>
                        <a:pt x="43270" y="5608"/>
                      </a:lnTo>
                      <a:lnTo>
                        <a:pt x="43375" y="5671"/>
                      </a:lnTo>
                      <a:lnTo>
                        <a:pt x="43521" y="5629"/>
                      </a:lnTo>
                      <a:lnTo>
                        <a:pt x="43626" y="5441"/>
                      </a:lnTo>
                      <a:lnTo>
                        <a:pt x="43626" y="5378"/>
                      </a:lnTo>
                      <a:lnTo>
                        <a:pt x="43542" y="5420"/>
                      </a:lnTo>
                      <a:lnTo>
                        <a:pt x="43521" y="5336"/>
                      </a:lnTo>
                      <a:lnTo>
                        <a:pt x="43417" y="5357"/>
                      </a:lnTo>
                      <a:lnTo>
                        <a:pt x="43459" y="5190"/>
                      </a:lnTo>
                      <a:lnTo>
                        <a:pt x="43333" y="5043"/>
                      </a:lnTo>
                      <a:lnTo>
                        <a:pt x="43249" y="5106"/>
                      </a:lnTo>
                      <a:lnTo>
                        <a:pt x="43228" y="5001"/>
                      </a:lnTo>
                      <a:lnTo>
                        <a:pt x="43145" y="4980"/>
                      </a:lnTo>
                      <a:lnTo>
                        <a:pt x="43061" y="5022"/>
                      </a:lnTo>
                      <a:lnTo>
                        <a:pt x="43019" y="5085"/>
                      </a:lnTo>
                      <a:lnTo>
                        <a:pt x="42831" y="5043"/>
                      </a:lnTo>
                      <a:lnTo>
                        <a:pt x="42810" y="4897"/>
                      </a:lnTo>
                      <a:lnTo>
                        <a:pt x="43019" y="4708"/>
                      </a:lnTo>
                      <a:lnTo>
                        <a:pt x="42998" y="4625"/>
                      </a:lnTo>
                      <a:lnTo>
                        <a:pt x="42894" y="4625"/>
                      </a:lnTo>
                      <a:lnTo>
                        <a:pt x="42726" y="4792"/>
                      </a:lnTo>
                      <a:lnTo>
                        <a:pt x="42705" y="4667"/>
                      </a:lnTo>
                      <a:lnTo>
                        <a:pt x="42768" y="4562"/>
                      </a:lnTo>
                      <a:lnTo>
                        <a:pt x="42726" y="4415"/>
                      </a:lnTo>
                      <a:lnTo>
                        <a:pt x="42663" y="4457"/>
                      </a:lnTo>
                      <a:lnTo>
                        <a:pt x="42622" y="4499"/>
                      </a:lnTo>
                      <a:lnTo>
                        <a:pt x="42601" y="4395"/>
                      </a:lnTo>
                      <a:lnTo>
                        <a:pt x="42496" y="4395"/>
                      </a:lnTo>
                      <a:lnTo>
                        <a:pt x="42454" y="4353"/>
                      </a:lnTo>
                      <a:lnTo>
                        <a:pt x="42391" y="4269"/>
                      </a:lnTo>
                      <a:lnTo>
                        <a:pt x="42433" y="4102"/>
                      </a:lnTo>
                      <a:lnTo>
                        <a:pt x="42391" y="4060"/>
                      </a:lnTo>
                      <a:lnTo>
                        <a:pt x="42308" y="4102"/>
                      </a:lnTo>
                      <a:lnTo>
                        <a:pt x="42224" y="4248"/>
                      </a:lnTo>
                      <a:lnTo>
                        <a:pt x="42203" y="4039"/>
                      </a:lnTo>
                      <a:lnTo>
                        <a:pt x="42099" y="3955"/>
                      </a:lnTo>
                      <a:lnTo>
                        <a:pt x="41994" y="4039"/>
                      </a:lnTo>
                      <a:lnTo>
                        <a:pt x="41910" y="4039"/>
                      </a:lnTo>
                      <a:lnTo>
                        <a:pt x="41868" y="3871"/>
                      </a:lnTo>
                      <a:lnTo>
                        <a:pt x="41764" y="3976"/>
                      </a:lnTo>
                      <a:lnTo>
                        <a:pt x="41701" y="3976"/>
                      </a:lnTo>
                      <a:lnTo>
                        <a:pt x="41680" y="4060"/>
                      </a:lnTo>
                      <a:lnTo>
                        <a:pt x="41659" y="3892"/>
                      </a:lnTo>
                      <a:lnTo>
                        <a:pt x="41659" y="3830"/>
                      </a:lnTo>
                      <a:lnTo>
                        <a:pt x="41492" y="3830"/>
                      </a:lnTo>
                      <a:lnTo>
                        <a:pt x="41408" y="3851"/>
                      </a:lnTo>
                      <a:lnTo>
                        <a:pt x="41366" y="3788"/>
                      </a:lnTo>
                      <a:lnTo>
                        <a:pt x="41199" y="3851"/>
                      </a:lnTo>
                      <a:lnTo>
                        <a:pt x="41094" y="3851"/>
                      </a:lnTo>
                      <a:lnTo>
                        <a:pt x="41073" y="3892"/>
                      </a:lnTo>
                      <a:lnTo>
                        <a:pt x="41136" y="3955"/>
                      </a:lnTo>
                      <a:lnTo>
                        <a:pt x="41178" y="4081"/>
                      </a:lnTo>
                      <a:lnTo>
                        <a:pt x="41115" y="4060"/>
                      </a:lnTo>
                      <a:lnTo>
                        <a:pt x="41052" y="4081"/>
                      </a:lnTo>
                      <a:lnTo>
                        <a:pt x="41052" y="4164"/>
                      </a:lnTo>
                      <a:lnTo>
                        <a:pt x="41031" y="4143"/>
                      </a:lnTo>
                      <a:lnTo>
                        <a:pt x="40885" y="4164"/>
                      </a:lnTo>
                      <a:lnTo>
                        <a:pt x="40843" y="4143"/>
                      </a:lnTo>
                      <a:lnTo>
                        <a:pt x="40885" y="4039"/>
                      </a:lnTo>
                      <a:lnTo>
                        <a:pt x="40969" y="3976"/>
                      </a:lnTo>
                      <a:lnTo>
                        <a:pt x="40927" y="3871"/>
                      </a:lnTo>
                      <a:lnTo>
                        <a:pt x="40822" y="3851"/>
                      </a:lnTo>
                      <a:lnTo>
                        <a:pt x="40822" y="3955"/>
                      </a:lnTo>
                      <a:lnTo>
                        <a:pt x="40738" y="3997"/>
                      </a:lnTo>
                      <a:lnTo>
                        <a:pt x="40655" y="3892"/>
                      </a:lnTo>
                      <a:lnTo>
                        <a:pt x="40550" y="3871"/>
                      </a:lnTo>
                      <a:lnTo>
                        <a:pt x="40446" y="3767"/>
                      </a:lnTo>
                      <a:lnTo>
                        <a:pt x="40425" y="3851"/>
                      </a:lnTo>
                      <a:lnTo>
                        <a:pt x="40341" y="3871"/>
                      </a:lnTo>
                      <a:lnTo>
                        <a:pt x="40194" y="3871"/>
                      </a:lnTo>
                      <a:lnTo>
                        <a:pt x="40132" y="3788"/>
                      </a:lnTo>
                      <a:lnTo>
                        <a:pt x="40111" y="3892"/>
                      </a:lnTo>
                      <a:lnTo>
                        <a:pt x="40027" y="3955"/>
                      </a:lnTo>
                      <a:lnTo>
                        <a:pt x="39902" y="3851"/>
                      </a:lnTo>
                      <a:lnTo>
                        <a:pt x="39818" y="3851"/>
                      </a:lnTo>
                      <a:lnTo>
                        <a:pt x="39860" y="3955"/>
                      </a:lnTo>
                      <a:lnTo>
                        <a:pt x="39881" y="3997"/>
                      </a:lnTo>
                      <a:lnTo>
                        <a:pt x="39755" y="4102"/>
                      </a:lnTo>
                      <a:lnTo>
                        <a:pt x="39692" y="4081"/>
                      </a:lnTo>
                      <a:lnTo>
                        <a:pt x="39671" y="3997"/>
                      </a:lnTo>
                      <a:lnTo>
                        <a:pt x="39609" y="4102"/>
                      </a:lnTo>
                      <a:lnTo>
                        <a:pt x="39630" y="4269"/>
                      </a:lnTo>
                      <a:lnTo>
                        <a:pt x="39713" y="4353"/>
                      </a:lnTo>
                      <a:lnTo>
                        <a:pt x="39734" y="4457"/>
                      </a:lnTo>
                      <a:lnTo>
                        <a:pt x="39797" y="4478"/>
                      </a:lnTo>
                      <a:lnTo>
                        <a:pt x="39818" y="4625"/>
                      </a:lnTo>
                      <a:lnTo>
                        <a:pt x="39964" y="4667"/>
                      </a:lnTo>
                      <a:lnTo>
                        <a:pt x="40006" y="4729"/>
                      </a:lnTo>
                      <a:lnTo>
                        <a:pt x="40006" y="4834"/>
                      </a:lnTo>
                      <a:lnTo>
                        <a:pt x="40111" y="4918"/>
                      </a:lnTo>
                      <a:lnTo>
                        <a:pt x="40132" y="5001"/>
                      </a:lnTo>
                      <a:lnTo>
                        <a:pt x="40069" y="5106"/>
                      </a:lnTo>
                      <a:lnTo>
                        <a:pt x="40006" y="5085"/>
                      </a:lnTo>
                      <a:lnTo>
                        <a:pt x="39985" y="5001"/>
                      </a:lnTo>
                      <a:lnTo>
                        <a:pt x="39818" y="5043"/>
                      </a:lnTo>
                      <a:lnTo>
                        <a:pt x="39713" y="5022"/>
                      </a:lnTo>
                      <a:lnTo>
                        <a:pt x="39609" y="5043"/>
                      </a:lnTo>
                      <a:lnTo>
                        <a:pt x="39671" y="5127"/>
                      </a:lnTo>
                      <a:lnTo>
                        <a:pt x="39588" y="5232"/>
                      </a:lnTo>
                      <a:lnTo>
                        <a:pt x="39462" y="5232"/>
                      </a:lnTo>
                      <a:lnTo>
                        <a:pt x="39378" y="5211"/>
                      </a:lnTo>
                      <a:lnTo>
                        <a:pt x="39127" y="5336"/>
                      </a:lnTo>
                      <a:lnTo>
                        <a:pt x="38751" y="5399"/>
                      </a:lnTo>
                      <a:lnTo>
                        <a:pt x="38625" y="5336"/>
                      </a:lnTo>
                      <a:lnTo>
                        <a:pt x="38437" y="5336"/>
                      </a:lnTo>
                      <a:lnTo>
                        <a:pt x="38416" y="5357"/>
                      </a:lnTo>
                      <a:lnTo>
                        <a:pt x="38311" y="5336"/>
                      </a:lnTo>
                      <a:lnTo>
                        <a:pt x="37788" y="5315"/>
                      </a:lnTo>
                      <a:lnTo>
                        <a:pt x="37621" y="5190"/>
                      </a:lnTo>
                      <a:lnTo>
                        <a:pt x="37579" y="4980"/>
                      </a:lnTo>
                      <a:lnTo>
                        <a:pt x="37663" y="4834"/>
                      </a:lnTo>
                      <a:lnTo>
                        <a:pt x="37705" y="4813"/>
                      </a:lnTo>
                      <a:lnTo>
                        <a:pt x="37705" y="4729"/>
                      </a:lnTo>
                      <a:lnTo>
                        <a:pt x="37558" y="4688"/>
                      </a:lnTo>
                      <a:lnTo>
                        <a:pt x="37370" y="4688"/>
                      </a:lnTo>
                      <a:lnTo>
                        <a:pt x="37035" y="4834"/>
                      </a:lnTo>
                      <a:lnTo>
                        <a:pt x="36554" y="4876"/>
                      </a:lnTo>
                      <a:lnTo>
                        <a:pt x="36156" y="4980"/>
                      </a:lnTo>
                      <a:lnTo>
                        <a:pt x="35926" y="5022"/>
                      </a:lnTo>
                      <a:lnTo>
                        <a:pt x="35884" y="5106"/>
                      </a:lnTo>
                      <a:lnTo>
                        <a:pt x="35801" y="5106"/>
                      </a:lnTo>
                      <a:lnTo>
                        <a:pt x="35738" y="5190"/>
                      </a:lnTo>
                      <a:lnTo>
                        <a:pt x="35612" y="5252"/>
                      </a:lnTo>
                      <a:lnTo>
                        <a:pt x="35466" y="5399"/>
                      </a:lnTo>
                      <a:lnTo>
                        <a:pt x="35529" y="5545"/>
                      </a:lnTo>
                      <a:lnTo>
                        <a:pt x="35612" y="5566"/>
                      </a:lnTo>
                      <a:lnTo>
                        <a:pt x="35717" y="5524"/>
                      </a:lnTo>
                      <a:lnTo>
                        <a:pt x="35780" y="5545"/>
                      </a:lnTo>
                      <a:lnTo>
                        <a:pt x="35717" y="5629"/>
                      </a:lnTo>
                      <a:lnTo>
                        <a:pt x="35654" y="5650"/>
                      </a:lnTo>
                      <a:lnTo>
                        <a:pt x="35549" y="5755"/>
                      </a:lnTo>
                      <a:lnTo>
                        <a:pt x="35549" y="5817"/>
                      </a:lnTo>
                      <a:lnTo>
                        <a:pt x="35508" y="5755"/>
                      </a:lnTo>
                      <a:lnTo>
                        <a:pt x="35487" y="5545"/>
                      </a:lnTo>
                      <a:lnTo>
                        <a:pt x="35319" y="5420"/>
                      </a:lnTo>
                      <a:lnTo>
                        <a:pt x="35298" y="5336"/>
                      </a:lnTo>
                      <a:lnTo>
                        <a:pt x="35319" y="5252"/>
                      </a:lnTo>
                      <a:lnTo>
                        <a:pt x="35194" y="5148"/>
                      </a:lnTo>
                      <a:lnTo>
                        <a:pt x="35110" y="5148"/>
                      </a:lnTo>
                      <a:lnTo>
                        <a:pt x="34880" y="4939"/>
                      </a:lnTo>
                      <a:lnTo>
                        <a:pt x="34817" y="4939"/>
                      </a:lnTo>
                      <a:lnTo>
                        <a:pt x="34817" y="5022"/>
                      </a:lnTo>
                      <a:lnTo>
                        <a:pt x="35005" y="5232"/>
                      </a:lnTo>
                      <a:lnTo>
                        <a:pt x="35026" y="5357"/>
                      </a:lnTo>
                      <a:lnTo>
                        <a:pt x="34922" y="5462"/>
                      </a:lnTo>
                      <a:lnTo>
                        <a:pt x="34733" y="5504"/>
                      </a:lnTo>
                      <a:lnTo>
                        <a:pt x="34650" y="5545"/>
                      </a:lnTo>
                      <a:lnTo>
                        <a:pt x="34482" y="5545"/>
                      </a:lnTo>
                      <a:lnTo>
                        <a:pt x="34168" y="5294"/>
                      </a:lnTo>
                      <a:lnTo>
                        <a:pt x="34168" y="5190"/>
                      </a:lnTo>
                      <a:lnTo>
                        <a:pt x="34231" y="5106"/>
                      </a:lnTo>
                      <a:lnTo>
                        <a:pt x="34210" y="5022"/>
                      </a:lnTo>
                      <a:lnTo>
                        <a:pt x="34043" y="5085"/>
                      </a:lnTo>
                      <a:lnTo>
                        <a:pt x="34043" y="5211"/>
                      </a:lnTo>
                      <a:lnTo>
                        <a:pt x="33959" y="5294"/>
                      </a:lnTo>
                      <a:lnTo>
                        <a:pt x="33750" y="5148"/>
                      </a:lnTo>
                      <a:lnTo>
                        <a:pt x="33604" y="5148"/>
                      </a:lnTo>
                      <a:lnTo>
                        <a:pt x="33499" y="5252"/>
                      </a:lnTo>
                      <a:lnTo>
                        <a:pt x="33520" y="5441"/>
                      </a:lnTo>
                      <a:lnTo>
                        <a:pt x="33436" y="5566"/>
                      </a:lnTo>
                      <a:lnTo>
                        <a:pt x="33520" y="5734"/>
                      </a:lnTo>
                      <a:lnTo>
                        <a:pt x="33645" y="5776"/>
                      </a:lnTo>
                      <a:lnTo>
                        <a:pt x="33813" y="5650"/>
                      </a:lnTo>
                      <a:lnTo>
                        <a:pt x="33834" y="5566"/>
                      </a:lnTo>
                      <a:lnTo>
                        <a:pt x="34043" y="5441"/>
                      </a:lnTo>
                      <a:lnTo>
                        <a:pt x="34106" y="5524"/>
                      </a:lnTo>
                      <a:lnTo>
                        <a:pt x="34064" y="5650"/>
                      </a:lnTo>
                      <a:lnTo>
                        <a:pt x="33855" y="5817"/>
                      </a:lnTo>
                      <a:lnTo>
                        <a:pt x="33938" y="5880"/>
                      </a:lnTo>
                      <a:lnTo>
                        <a:pt x="33855" y="6027"/>
                      </a:lnTo>
                      <a:lnTo>
                        <a:pt x="33729" y="6068"/>
                      </a:lnTo>
                      <a:lnTo>
                        <a:pt x="33604" y="5985"/>
                      </a:lnTo>
                      <a:lnTo>
                        <a:pt x="33604" y="6048"/>
                      </a:lnTo>
                      <a:lnTo>
                        <a:pt x="33645" y="6173"/>
                      </a:lnTo>
                      <a:lnTo>
                        <a:pt x="33583" y="6299"/>
                      </a:lnTo>
                      <a:lnTo>
                        <a:pt x="33394" y="6445"/>
                      </a:lnTo>
                      <a:lnTo>
                        <a:pt x="33436" y="6550"/>
                      </a:lnTo>
                      <a:lnTo>
                        <a:pt x="33394" y="6592"/>
                      </a:lnTo>
                      <a:lnTo>
                        <a:pt x="33311" y="6592"/>
                      </a:lnTo>
                      <a:lnTo>
                        <a:pt x="33164" y="6759"/>
                      </a:lnTo>
                      <a:lnTo>
                        <a:pt x="32955" y="6780"/>
                      </a:lnTo>
                      <a:lnTo>
                        <a:pt x="32746" y="6801"/>
                      </a:lnTo>
                      <a:lnTo>
                        <a:pt x="32683" y="6926"/>
                      </a:lnTo>
                      <a:lnTo>
                        <a:pt x="32746" y="7094"/>
                      </a:lnTo>
                      <a:lnTo>
                        <a:pt x="32913" y="7303"/>
                      </a:lnTo>
                      <a:lnTo>
                        <a:pt x="32997" y="7324"/>
                      </a:lnTo>
                      <a:lnTo>
                        <a:pt x="32913" y="7345"/>
                      </a:lnTo>
                      <a:lnTo>
                        <a:pt x="32767" y="7345"/>
                      </a:lnTo>
                      <a:lnTo>
                        <a:pt x="32746" y="7429"/>
                      </a:lnTo>
                      <a:lnTo>
                        <a:pt x="32767" y="7491"/>
                      </a:lnTo>
                      <a:lnTo>
                        <a:pt x="32704" y="7596"/>
                      </a:lnTo>
                      <a:lnTo>
                        <a:pt x="32599" y="7701"/>
                      </a:lnTo>
                      <a:lnTo>
                        <a:pt x="32495" y="7701"/>
                      </a:lnTo>
                      <a:lnTo>
                        <a:pt x="32474" y="7763"/>
                      </a:lnTo>
                      <a:lnTo>
                        <a:pt x="32495" y="7659"/>
                      </a:lnTo>
                      <a:lnTo>
                        <a:pt x="32599" y="7596"/>
                      </a:lnTo>
                      <a:lnTo>
                        <a:pt x="32683" y="7282"/>
                      </a:lnTo>
                      <a:lnTo>
                        <a:pt x="32599" y="7219"/>
                      </a:lnTo>
                      <a:lnTo>
                        <a:pt x="32599" y="7115"/>
                      </a:lnTo>
                      <a:lnTo>
                        <a:pt x="32662" y="7073"/>
                      </a:lnTo>
                      <a:lnTo>
                        <a:pt x="32662" y="6926"/>
                      </a:lnTo>
                      <a:lnTo>
                        <a:pt x="32599" y="6780"/>
                      </a:lnTo>
                      <a:lnTo>
                        <a:pt x="32662" y="6612"/>
                      </a:lnTo>
                      <a:lnTo>
                        <a:pt x="32767" y="6550"/>
                      </a:lnTo>
                      <a:lnTo>
                        <a:pt x="32808" y="6445"/>
                      </a:lnTo>
                      <a:lnTo>
                        <a:pt x="32767" y="6194"/>
                      </a:lnTo>
                      <a:lnTo>
                        <a:pt x="32746" y="6152"/>
                      </a:lnTo>
                      <a:lnTo>
                        <a:pt x="32788" y="6068"/>
                      </a:lnTo>
                      <a:lnTo>
                        <a:pt x="32871" y="6068"/>
                      </a:lnTo>
                      <a:lnTo>
                        <a:pt x="32913" y="6089"/>
                      </a:lnTo>
                      <a:lnTo>
                        <a:pt x="33080" y="6048"/>
                      </a:lnTo>
                      <a:lnTo>
                        <a:pt x="33185" y="5776"/>
                      </a:lnTo>
                      <a:lnTo>
                        <a:pt x="33164" y="5671"/>
                      </a:lnTo>
                      <a:lnTo>
                        <a:pt x="33101" y="5545"/>
                      </a:lnTo>
                      <a:lnTo>
                        <a:pt x="33185" y="5252"/>
                      </a:lnTo>
                      <a:lnTo>
                        <a:pt x="33269" y="5127"/>
                      </a:lnTo>
                      <a:lnTo>
                        <a:pt x="33373" y="4939"/>
                      </a:lnTo>
                      <a:lnTo>
                        <a:pt x="33311" y="4792"/>
                      </a:lnTo>
                      <a:lnTo>
                        <a:pt x="33290" y="4792"/>
                      </a:lnTo>
                      <a:lnTo>
                        <a:pt x="33206" y="4876"/>
                      </a:lnTo>
                      <a:lnTo>
                        <a:pt x="33122" y="4876"/>
                      </a:lnTo>
                      <a:lnTo>
                        <a:pt x="32997" y="4813"/>
                      </a:lnTo>
                      <a:lnTo>
                        <a:pt x="33122" y="4813"/>
                      </a:lnTo>
                      <a:lnTo>
                        <a:pt x="33269" y="4708"/>
                      </a:lnTo>
                      <a:lnTo>
                        <a:pt x="33373" y="4667"/>
                      </a:lnTo>
                      <a:lnTo>
                        <a:pt x="33415" y="4562"/>
                      </a:lnTo>
                      <a:lnTo>
                        <a:pt x="33394" y="4499"/>
                      </a:lnTo>
                      <a:lnTo>
                        <a:pt x="33436" y="4415"/>
                      </a:lnTo>
                      <a:lnTo>
                        <a:pt x="33520" y="4248"/>
                      </a:lnTo>
                      <a:lnTo>
                        <a:pt x="33499" y="4185"/>
                      </a:lnTo>
                      <a:lnTo>
                        <a:pt x="33541" y="4081"/>
                      </a:lnTo>
                      <a:lnTo>
                        <a:pt x="33708" y="3997"/>
                      </a:lnTo>
                      <a:lnTo>
                        <a:pt x="33708" y="3892"/>
                      </a:lnTo>
                      <a:lnTo>
                        <a:pt x="33624" y="3830"/>
                      </a:lnTo>
                      <a:lnTo>
                        <a:pt x="33624" y="3767"/>
                      </a:lnTo>
                      <a:lnTo>
                        <a:pt x="33708" y="3641"/>
                      </a:lnTo>
                      <a:lnTo>
                        <a:pt x="33687" y="3537"/>
                      </a:lnTo>
                      <a:lnTo>
                        <a:pt x="33729" y="3432"/>
                      </a:lnTo>
                      <a:lnTo>
                        <a:pt x="33792" y="3411"/>
                      </a:lnTo>
                      <a:lnTo>
                        <a:pt x="33855" y="3223"/>
                      </a:lnTo>
                      <a:lnTo>
                        <a:pt x="33855" y="3014"/>
                      </a:lnTo>
                      <a:lnTo>
                        <a:pt x="33813" y="2804"/>
                      </a:lnTo>
                      <a:lnTo>
                        <a:pt x="33708" y="2616"/>
                      </a:lnTo>
                      <a:lnTo>
                        <a:pt x="33729" y="2574"/>
                      </a:lnTo>
                      <a:lnTo>
                        <a:pt x="33708" y="2491"/>
                      </a:lnTo>
                      <a:lnTo>
                        <a:pt x="33645" y="2470"/>
                      </a:lnTo>
                      <a:lnTo>
                        <a:pt x="33604" y="2491"/>
                      </a:lnTo>
                      <a:lnTo>
                        <a:pt x="33520" y="2428"/>
                      </a:lnTo>
                      <a:lnTo>
                        <a:pt x="33478" y="2365"/>
                      </a:lnTo>
                      <a:lnTo>
                        <a:pt x="33436" y="2365"/>
                      </a:lnTo>
                      <a:lnTo>
                        <a:pt x="33394" y="2491"/>
                      </a:lnTo>
                      <a:lnTo>
                        <a:pt x="33332" y="2532"/>
                      </a:lnTo>
                      <a:lnTo>
                        <a:pt x="33290" y="2491"/>
                      </a:lnTo>
                      <a:lnTo>
                        <a:pt x="33206" y="2365"/>
                      </a:lnTo>
                      <a:lnTo>
                        <a:pt x="33227" y="2323"/>
                      </a:lnTo>
                      <a:lnTo>
                        <a:pt x="33185" y="2302"/>
                      </a:lnTo>
                      <a:lnTo>
                        <a:pt x="33018" y="2281"/>
                      </a:lnTo>
                      <a:lnTo>
                        <a:pt x="32955" y="2177"/>
                      </a:lnTo>
                      <a:lnTo>
                        <a:pt x="32976" y="2156"/>
                      </a:lnTo>
                      <a:lnTo>
                        <a:pt x="33122" y="2156"/>
                      </a:lnTo>
                      <a:lnTo>
                        <a:pt x="33332" y="2219"/>
                      </a:lnTo>
                      <a:lnTo>
                        <a:pt x="33415" y="2302"/>
                      </a:lnTo>
                      <a:lnTo>
                        <a:pt x="33478" y="2260"/>
                      </a:lnTo>
                      <a:lnTo>
                        <a:pt x="33520" y="2260"/>
                      </a:lnTo>
                      <a:lnTo>
                        <a:pt x="33583" y="2323"/>
                      </a:lnTo>
                      <a:lnTo>
                        <a:pt x="33604" y="2386"/>
                      </a:lnTo>
                      <a:lnTo>
                        <a:pt x="33645" y="2386"/>
                      </a:lnTo>
                      <a:lnTo>
                        <a:pt x="33645" y="2302"/>
                      </a:lnTo>
                      <a:lnTo>
                        <a:pt x="33541" y="2177"/>
                      </a:lnTo>
                      <a:lnTo>
                        <a:pt x="33541" y="2072"/>
                      </a:lnTo>
                      <a:lnTo>
                        <a:pt x="33478" y="1967"/>
                      </a:lnTo>
                      <a:lnTo>
                        <a:pt x="33394" y="1905"/>
                      </a:lnTo>
                      <a:lnTo>
                        <a:pt x="33332" y="1905"/>
                      </a:lnTo>
                      <a:lnTo>
                        <a:pt x="33290" y="1967"/>
                      </a:lnTo>
                      <a:lnTo>
                        <a:pt x="33206" y="1947"/>
                      </a:lnTo>
                      <a:lnTo>
                        <a:pt x="33185" y="1800"/>
                      </a:lnTo>
                      <a:lnTo>
                        <a:pt x="33018" y="1654"/>
                      </a:lnTo>
                      <a:lnTo>
                        <a:pt x="33018" y="1549"/>
                      </a:lnTo>
                      <a:lnTo>
                        <a:pt x="32955" y="1465"/>
                      </a:lnTo>
                      <a:lnTo>
                        <a:pt x="32892" y="1382"/>
                      </a:lnTo>
                      <a:lnTo>
                        <a:pt x="32808" y="1382"/>
                      </a:lnTo>
                      <a:lnTo>
                        <a:pt x="32704" y="1444"/>
                      </a:lnTo>
                      <a:lnTo>
                        <a:pt x="32704" y="1549"/>
                      </a:lnTo>
                      <a:lnTo>
                        <a:pt x="32808" y="1549"/>
                      </a:lnTo>
                      <a:lnTo>
                        <a:pt x="32892" y="1591"/>
                      </a:lnTo>
                      <a:lnTo>
                        <a:pt x="32871" y="1654"/>
                      </a:lnTo>
                      <a:lnTo>
                        <a:pt x="32788" y="1695"/>
                      </a:lnTo>
                      <a:lnTo>
                        <a:pt x="32788" y="1779"/>
                      </a:lnTo>
                      <a:lnTo>
                        <a:pt x="32746" y="1800"/>
                      </a:lnTo>
                      <a:lnTo>
                        <a:pt x="32536" y="1570"/>
                      </a:lnTo>
                      <a:lnTo>
                        <a:pt x="32536" y="1486"/>
                      </a:lnTo>
                      <a:lnTo>
                        <a:pt x="32474" y="1361"/>
                      </a:lnTo>
                      <a:lnTo>
                        <a:pt x="32369" y="1340"/>
                      </a:lnTo>
                      <a:lnTo>
                        <a:pt x="31930" y="1068"/>
                      </a:lnTo>
                      <a:lnTo>
                        <a:pt x="31825" y="1026"/>
                      </a:lnTo>
                      <a:lnTo>
                        <a:pt x="31804" y="1005"/>
                      </a:lnTo>
                      <a:lnTo>
                        <a:pt x="31532" y="1026"/>
                      </a:lnTo>
                      <a:lnTo>
                        <a:pt x="31511" y="921"/>
                      </a:lnTo>
                      <a:lnTo>
                        <a:pt x="31553" y="858"/>
                      </a:lnTo>
                      <a:lnTo>
                        <a:pt x="31532" y="796"/>
                      </a:lnTo>
                      <a:lnTo>
                        <a:pt x="31407" y="817"/>
                      </a:lnTo>
                      <a:lnTo>
                        <a:pt x="31344" y="754"/>
                      </a:lnTo>
                      <a:lnTo>
                        <a:pt x="31218" y="796"/>
                      </a:lnTo>
                      <a:lnTo>
                        <a:pt x="31135" y="858"/>
                      </a:lnTo>
                      <a:lnTo>
                        <a:pt x="31093" y="838"/>
                      </a:lnTo>
                      <a:lnTo>
                        <a:pt x="30988" y="942"/>
                      </a:lnTo>
                      <a:lnTo>
                        <a:pt x="30925" y="1047"/>
                      </a:lnTo>
                      <a:lnTo>
                        <a:pt x="30779" y="1047"/>
                      </a:lnTo>
                      <a:lnTo>
                        <a:pt x="30695" y="1026"/>
                      </a:lnTo>
                      <a:lnTo>
                        <a:pt x="30570" y="1172"/>
                      </a:lnTo>
                      <a:lnTo>
                        <a:pt x="30381" y="1235"/>
                      </a:lnTo>
                      <a:lnTo>
                        <a:pt x="30298" y="1256"/>
                      </a:lnTo>
                      <a:lnTo>
                        <a:pt x="30256" y="1214"/>
                      </a:lnTo>
                      <a:lnTo>
                        <a:pt x="30172" y="1214"/>
                      </a:lnTo>
                      <a:lnTo>
                        <a:pt x="30130" y="1256"/>
                      </a:lnTo>
                      <a:lnTo>
                        <a:pt x="30130" y="1361"/>
                      </a:lnTo>
                      <a:lnTo>
                        <a:pt x="30193" y="1382"/>
                      </a:lnTo>
                      <a:lnTo>
                        <a:pt x="30256" y="1382"/>
                      </a:lnTo>
                      <a:lnTo>
                        <a:pt x="30298" y="1549"/>
                      </a:lnTo>
                      <a:lnTo>
                        <a:pt x="30339" y="1758"/>
                      </a:lnTo>
                      <a:lnTo>
                        <a:pt x="30256" y="1905"/>
                      </a:lnTo>
                      <a:lnTo>
                        <a:pt x="30067" y="1905"/>
                      </a:lnTo>
                      <a:lnTo>
                        <a:pt x="29942" y="2051"/>
                      </a:lnTo>
                      <a:lnTo>
                        <a:pt x="29733" y="2093"/>
                      </a:lnTo>
                      <a:lnTo>
                        <a:pt x="29649" y="2072"/>
                      </a:lnTo>
                      <a:lnTo>
                        <a:pt x="29754" y="1988"/>
                      </a:lnTo>
                      <a:lnTo>
                        <a:pt x="29837" y="1967"/>
                      </a:lnTo>
                      <a:lnTo>
                        <a:pt x="29858" y="1842"/>
                      </a:lnTo>
                      <a:lnTo>
                        <a:pt x="29733" y="1591"/>
                      </a:lnTo>
                      <a:lnTo>
                        <a:pt x="29816" y="1444"/>
                      </a:lnTo>
                      <a:lnTo>
                        <a:pt x="29816" y="1340"/>
                      </a:lnTo>
                      <a:lnTo>
                        <a:pt x="29858" y="1256"/>
                      </a:lnTo>
                      <a:lnTo>
                        <a:pt x="29775" y="1068"/>
                      </a:lnTo>
                      <a:lnTo>
                        <a:pt x="29775" y="963"/>
                      </a:lnTo>
                      <a:lnTo>
                        <a:pt x="29628" y="817"/>
                      </a:lnTo>
                      <a:lnTo>
                        <a:pt x="29523" y="858"/>
                      </a:lnTo>
                      <a:lnTo>
                        <a:pt x="29440" y="817"/>
                      </a:lnTo>
                      <a:lnTo>
                        <a:pt x="29398" y="817"/>
                      </a:lnTo>
                      <a:lnTo>
                        <a:pt x="29356" y="942"/>
                      </a:lnTo>
                      <a:lnTo>
                        <a:pt x="29210" y="963"/>
                      </a:lnTo>
                      <a:lnTo>
                        <a:pt x="29147" y="921"/>
                      </a:lnTo>
                      <a:lnTo>
                        <a:pt x="29042" y="963"/>
                      </a:lnTo>
                      <a:lnTo>
                        <a:pt x="28938" y="1130"/>
                      </a:lnTo>
                      <a:lnTo>
                        <a:pt x="28707" y="1130"/>
                      </a:lnTo>
                      <a:lnTo>
                        <a:pt x="28707" y="1047"/>
                      </a:lnTo>
                      <a:lnTo>
                        <a:pt x="28791" y="921"/>
                      </a:lnTo>
                      <a:lnTo>
                        <a:pt x="28791" y="838"/>
                      </a:lnTo>
                      <a:lnTo>
                        <a:pt x="28707" y="817"/>
                      </a:lnTo>
                      <a:lnTo>
                        <a:pt x="28519" y="1110"/>
                      </a:lnTo>
                      <a:lnTo>
                        <a:pt x="28268" y="1214"/>
                      </a:lnTo>
                      <a:lnTo>
                        <a:pt x="28163" y="1172"/>
                      </a:lnTo>
                      <a:lnTo>
                        <a:pt x="28268" y="1026"/>
                      </a:lnTo>
                      <a:lnTo>
                        <a:pt x="28394" y="1005"/>
                      </a:lnTo>
                      <a:lnTo>
                        <a:pt x="28519" y="817"/>
                      </a:lnTo>
                      <a:lnTo>
                        <a:pt x="28498" y="691"/>
                      </a:lnTo>
                      <a:lnTo>
                        <a:pt x="28561" y="586"/>
                      </a:lnTo>
                      <a:lnTo>
                        <a:pt x="28561" y="524"/>
                      </a:lnTo>
                      <a:lnTo>
                        <a:pt x="28645" y="440"/>
                      </a:lnTo>
                      <a:lnTo>
                        <a:pt x="28645" y="398"/>
                      </a:lnTo>
                      <a:lnTo>
                        <a:pt x="28477" y="335"/>
                      </a:lnTo>
                      <a:lnTo>
                        <a:pt x="28414" y="294"/>
                      </a:lnTo>
                      <a:lnTo>
                        <a:pt x="28414" y="126"/>
                      </a:lnTo>
                      <a:lnTo>
                        <a:pt x="28373" y="105"/>
                      </a:lnTo>
                      <a:lnTo>
                        <a:pt x="28205" y="231"/>
                      </a:lnTo>
                      <a:lnTo>
                        <a:pt x="28059" y="210"/>
                      </a:lnTo>
                      <a:lnTo>
                        <a:pt x="27996" y="63"/>
                      </a:lnTo>
                      <a:lnTo>
                        <a:pt x="27891" y="63"/>
                      </a:lnTo>
                      <a:lnTo>
                        <a:pt x="27787" y="168"/>
                      </a:lnTo>
                      <a:lnTo>
                        <a:pt x="2766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A6CBC2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8" name="Google Shape;12039;p43">
                  <a:extLst>
                    <a:ext uri="{FF2B5EF4-FFF2-40B4-BE49-F238E27FC236}">
                      <a16:creationId xmlns:a16="http://schemas.microsoft.com/office/drawing/2014/main" id="{8078C150-C839-82DC-8D79-1C02A80D0AC5}"/>
                    </a:ext>
                  </a:extLst>
                </p:cNvPr>
                <p:cNvSpPr/>
                <p:nvPr/>
              </p:nvSpPr>
              <p:spPr>
                <a:xfrm>
                  <a:off x="5538025" y="2213300"/>
                  <a:ext cx="94175" cy="2087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67" h="8350" extrusionOk="0">
                      <a:moveTo>
                        <a:pt x="251" y="1"/>
                      </a:moveTo>
                      <a:lnTo>
                        <a:pt x="209" y="63"/>
                      </a:lnTo>
                      <a:lnTo>
                        <a:pt x="251" y="105"/>
                      </a:lnTo>
                      <a:lnTo>
                        <a:pt x="251" y="189"/>
                      </a:lnTo>
                      <a:lnTo>
                        <a:pt x="188" y="210"/>
                      </a:lnTo>
                      <a:lnTo>
                        <a:pt x="105" y="168"/>
                      </a:lnTo>
                      <a:lnTo>
                        <a:pt x="0" y="168"/>
                      </a:lnTo>
                      <a:lnTo>
                        <a:pt x="168" y="314"/>
                      </a:lnTo>
                      <a:lnTo>
                        <a:pt x="356" y="461"/>
                      </a:lnTo>
                      <a:lnTo>
                        <a:pt x="419" y="524"/>
                      </a:lnTo>
                      <a:lnTo>
                        <a:pt x="398" y="670"/>
                      </a:lnTo>
                      <a:lnTo>
                        <a:pt x="460" y="607"/>
                      </a:lnTo>
                      <a:lnTo>
                        <a:pt x="502" y="607"/>
                      </a:lnTo>
                      <a:lnTo>
                        <a:pt x="565" y="691"/>
                      </a:lnTo>
                      <a:lnTo>
                        <a:pt x="502" y="733"/>
                      </a:lnTo>
                      <a:lnTo>
                        <a:pt x="419" y="775"/>
                      </a:lnTo>
                      <a:lnTo>
                        <a:pt x="460" y="838"/>
                      </a:lnTo>
                      <a:lnTo>
                        <a:pt x="523" y="838"/>
                      </a:lnTo>
                      <a:lnTo>
                        <a:pt x="565" y="984"/>
                      </a:lnTo>
                      <a:lnTo>
                        <a:pt x="481" y="1026"/>
                      </a:lnTo>
                      <a:lnTo>
                        <a:pt x="377" y="1005"/>
                      </a:lnTo>
                      <a:lnTo>
                        <a:pt x="314" y="900"/>
                      </a:lnTo>
                      <a:lnTo>
                        <a:pt x="251" y="984"/>
                      </a:lnTo>
                      <a:lnTo>
                        <a:pt x="168" y="1130"/>
                      </a:lnTo>
                      <a:lnTo>
                        <a:pt x="272" y="1235"/>
                      </a:lnTo>
                      <a:lnTo>
                        <a:pt x="314" y="1382"/>
                      </a:lnTo>
                      <a:lnTo>
                        <a:pt x="419" y="1528"/>
                      </a:lnTo>
                      <a:lnTo>
                        <a:pt x="523" y="1716"/>
                      </a:lnTo>
                      <a:lnTo>
                        <a:pt x="523" y="1946"/>
                      </a:lnTo>
                      <a:lnTo>
                        <a:pt x="586" y="1988"/>
                      </a:lnTo>
                      <a:lnTo>
                        <a:pt x="607" y="2177"/>
                      </a:lnTo>
                      <a:lnTo>
                        <a:pt x="691" y="2470"/>
                      </a:lnTo>
                      <a:lnTo>
                        <a:pt x="774" y="2658"/>
                      </a:lnTo>
                      <a:lnTo>
                        <a:pt x="900" y="2700"/>
                      </a:lnTo>
                      <a:lnTo>
                        <a:pt x="900" y="2762"/>
                      </a:lnTo>
                      <a:lnTo>
                        <a:pt x="837" y="2804"/>
                      </a:lnTo>
                      <a:lnTo>
                        <a:pt x="1130" y="3097"/>
                      </a:lnTo>
                      <a:lnTo>
                        <a:pt x="1235" y="3118"/>
                      </a:lnTo>
                      <a:lnTo>
                        <a:pt x="1360" y="3307"/>
                      </a:lnTo>
                      <a:lnTo>
                        <a:pt x="1402" y="3516"/>
                      </a:lnTo>
                      <a:lnTo>
                        <a:pt x="1402" y="3641"/>
                      </a:lnTo>
                      <a:lnTo>
                        <a:pt x="1465" y="3809"/>
                      </a:lnTo>
                      <a:lnTo>
                        <a:pt x="1465" y="3934"/>
                      </a:lnTo>
                      <a:lnTo>
                        <a:pt x="1569" y="3976"/>
                      </a:lnTo>
                      <a:lnTo>
                        <a:pt x="1674" y="4123"/>
                      </a:lnTo>
                      <a:lnTo>
                        <a:pt x="1653" y="4143"/>
                      </a:lnTo>
                      <a:lnTo>
                        <a:pt x="1653" y="4227"/>
                      </a:lnTo>
                      <a:lnTo>
                        <a:pt x="1779" y="4436"/>
                      </a:lnTo>
                      <a:lnTo>
                        <a:pt x="1821" y="4562"/>
                      </a:lnTo>
                      <a:lnTo>
                        <a:pt x="1883" y="4708"/>
                      </a:lnTo>
                      <a:lnTo>
                        <a:pt x="1883" y="4918"/>
                      </a:lnTo>
                      <a:lnTo>
                        <a:pt x="1946" y="5001"/>
                      </a:lnTo>
                      <a:lnTo>
                        <a:pt x="1925" y="5106"/>
                      </a:lnTo>
                      <a:lnTo>
                        <a:pt x="1946" y="5315"/>
                      </a:lnTo>
                      <a:lnTo>
                        <a:pt x="2051" y="5524"/>
                      </a:lnTo>
                      <a:lnTo>
                        <a:pt x="2030" y="5608"/>
                      </a:lnTo>
                      <a:lnTo>
                        <a:pt x="2030" y="5755"/>
                      </a:lnTo>
                      <a:lnTo>
                        <a:pt x="2155" y="5859"/>
                      </a:lnTo>
                      <a:lnTo>
                        <a:pt x="2365" y="6131"/>
                      </a:lnTo>
                      <a:lnTo>
                        <a:pt x="2365" y="6257"/>
                      </a:lnTo>
                      <a:lnTo>
                        <a:pt x="2448" y="6424"/>
                      </a:lnTo>
                      <a:lnTo>
                        <a:pt x="2406" y="6654"/>
                      </a:lnTo>
                      <a:lnTo>
                        <a:pt x="2448" y="6843"/>
                      </a:lnTo>
                      <a:lnTo>
                        <a:pt x="2553" y="7010"/>
                      </a:lnTo>
                      <a:lnTo>
                        <a:pt x="2574" y="7156"/>
                      </a:lnTo>
                      <a:lnTo>
                        <a:pt x="2720" y="7324"/>
                      </a:lnTo>
                      <a:lnTo>
                        <a:pt x="2762" y="7408"/>
                      </a:lnTo>
                      <a:lnTo>
                        <a:pt x="2699" y="7596"/>
                      </a:lnTo>
                      <a:lnTo>
                        <a:pt x="2699" y="7847"/>
                      </a:lnTo>
                      <a:lnTo>
                        <a:pt x="2762" y="7993"/>
                      </a:lnTo>
                      <a:lnTo>
                        <a:pt x="2867" y="8098"/>
                      </a:lnTo>
                      <a:lnTo>
                        <a:pt x="2929" y="8244"/>
                      </a:lnTo>
                      <a:lnTo>
                        <a:pt x="3097" y="8349"/>
                      </a:lnTo>
                      <a:lnTo>
                        <a:pt x="3097" y="8349"/>
                      </a:lnTo>
                      <a:lnTo>
                        <a:pt x="3076" y="8224"/>
                      </a:lnTo>
                      <a:lnTo>
                        <a:pt x="3097" y="8098"/>
                      </a:lnTo>
                      <a:lnTo>
                        <a:pt x="3034" y="7993"/>
                      </a:lnTo>
                      <a:lnTo>
                        <a:pt x="3013" y="7847"/>
                      </a:lnTo>
                      <a:lnTo>
                        <a:pt x="3034" y="7680"/>
                      </a:lnTo>
                      <a:lnTo>
                        <a:pt x="3139" y="7575"/>
                      </a:lnTo>
                      <a:lnTo>
                        <a:pt x="3201" y="7596"/>
                      </a:lnTo>
                      <a:lnTo>
                        <a:pt x="3201" y="7680"/>
                      </a:lnTo>
                      <a:lnTo>
                        <a:pt x="3243" y="7721"/>
                      </a:lnTo>
                      <a:lnTo>
                        <a:pt x="3494" y="7700"/>
                      </a:lnTo>
                      <a:lnTo>
                        <a:pt x="3515" y="7638"/>
                      </a:lnTo>
                      <a:lnTo>
                        <a:pt x="3557" y="7638"/>
                      </a:lnTo>
                      <a:lnTo>
                        <a:pt x="3599" y="7700"/>
                      </a:lnTo>
                      <a:lnTo>
                        <a:pt x="3557" y="7721"/>
                      </a:lnTo>
                      <a:lnTo>
                        <a:pt x="3557" y="7826"/>
                      </a:lnTo>
                      <a:lnTo>
                        <a:pt x="3704" y="7952"/>
                      </a:lnTo>
                      <a:lnTo>
                        <a:pt x="3725" y="8056"/>
                      </a:lnTo>
                      <a:lnTo>
                        <a:pt x="3766" y="8119"/>
                      </a:lnTo>
                      <a:lnTo>
                        <a:pt x="3766" y="8035"/>
                      </a:lnTo>
                      <a:lnTo>
                        <a:pt x="3745" y="7993"/>
                      </a:lnTo>
                      <a:lnTo>
                        <a:pt x="3766" y="7847"/>
                      </a:lnTo>
                      <a:lnTo>
                        <a:pt x="3766" y="7721"/>
                      </a:lnTo>
                      <a:lnTo>
                        <a:pt x="3662" y="7638"/>
                      </a:lnTo>
                      <a:lnTo>
                        <a:pt x="3641" y="7491"/>
                      </a:lnTo>
                      <a:lnTo>
                        <a:pt x="3599" y="7387"/>
                      </a:lnTo>
                      <a:lnTo>
                        <a:pt x="3515" y="7428"/>
                      </a:lnTo>
                      <a:lnTo>
                        <a:pt x="3432" y="7428"/>
                      </a:lnTo>
                      <a:lnTo>
                        <a:pt x="3285" y="7324"/>
                      </a:lnTo>
                      <a:lnTo>
                        <a:pt x="3243" y="7156"/>
                      </a:lnTo>
                      <a:lnTo>
                        <a:pt x="3181" y="7010"/>
                      </a:lnTo>
                      <a:lnTo>
                        <a:pt x="3034" y="6905"/>
                      </a:lnTo>
                      <a:lnTo>
                        <a:pt x="2929" y="6884"/>
                      </a:lnTo>
                      <a:lnTo>
                        <a:pt x="2867" y="6780"/>
                      </a:lnTo>
                      <a:lnTo>
                        <a:pt x="2804" y="6571"/>
                      </a:lnTo>
                      <a:lnTo>
                        <a:pt x="2720" y="6424"/>
                      </a:lnTo>
                      <a:lnTo>
                        <a:pt x="2678" y="6278"/>
                      </a:lnTo>
                      <a:lnTo>
                        <a:pt x="2678" y="6089"/>
                      </a:lnTo>
                      <a:lnTo>
                        <a:pt x="2657" y="5859"/>
                      </a:lnTo>
                      <a:lnTo>
                        <a:pt x="2595" y="5755"/>
                      </a:lnTo>
                      <a:lnTo>
                        <a:pt x="2616" y="5545"/>
                      </a:lnTo>
                      <a:lnTo>
                        <a:pt x="2595" y="5441"/>
                      </a:lnTo>
                      <a:lnTo>
                        <a:pt x="2511" y="5294"/>
                      </a:lnTo>
                      <a:lnTo>
                        <a:pt x="2574" y="5211"/>
                      </a:lnTo>
                      <a:lnTo>
                        <a:pt x="2595" y="5127"/>
                      </a:lnTo>
                      <a:lnTo>
                        <a:pt x="2595" y="5085"/>
                      </a:lnTo>
                      <a:lnTo>
                        <a:pt x="2657" y="5043"/>
                      </a:lnTo>
                      <a:lnTo>
                        <a:pt x="2720" y="5085"/>
                      </a:lnTo>
                      <a:lnTo>
                        <a:pt x="2867" y="5043"/>
                      </a:lnTo>
                      <a:lnTo>
                        <a:pt x="2992" y="5043"/>
                      </a:lnTo>
                      <a:lnTo>
                        <a:pt x="3118" y="5127"/>
                      </a:lnTo>
                      <a:lnTo>
                        <a:pt x="3201" y="5315"/>
                      </a:lnTo>
                      <a:lnTo>
                        <a:pt x="3306" y="5336"/>
                      </a:lnTo>
                      <a:lnTo>
                        <a:pt x="3411" y="5420"/>
                      </a:lnTo>
                      <a:lnTo>
                        <a:pt x="3515" y="5566"/>
                      </a:lnTo>
                      <a:lnTo>
                        <a:pt x="3599" y="5608"/>
                      </a:lnTo>
                      <a:lnTo>
                        <a:pt x="3536" y="5483"/>
                      </a:lnTo>
                      <a:lnTo>
                        <a:pt x="3411" y="5315"/>
                      </a:lnTo>
                      <a:lnTo>
                        <a:pt x="3243" y="5211"/>
                      </a:lnTo>
                      <a:lnTo>
                        <a:pt x="3139" y="5022"/>
                      </a:lnTo>
                      <a:lnTo>
                        <a:pt x="3034" y="4897"/>
                      </a:lnTo>
                      <a:lnTo>
                        <a:pt x="3034" y="4813"/>
                      </a:lnTo>
                      <a:lnTo>
                        <a:pt x="2992" y="4771"/>
                      </a:lnTo>
                      <a:lnTo>
                        <a:pt x="2888" y="4562"/>
                      </a:lnTo>
                      <a:lnTo>
                        <a:pt x="2825" y="4436"/>
                      </a:lnTo>
                      <a:lnTo>
                        <a:pt x="2762" y="4395"/>
                      </a:lnTo>
                      <a:lnTo>
                        <a:pt x="2720" y="4269"/>
                      </a:lnTo>
                      <a:lnTo>
                        <a:pt x="2574" y="4060"/>
                      </a:lnTo>
                      <a:lnTo>
                        <a:pt x="2406" y="3809"/>
                      </a:lnTo>
                      <a:lnTo>
                        <a:pt x="2365" y="3641"/>
                      </a:lnTo>
                      <a:lnTo>
                        <a:pt x="2155" y="3390"/>
                      </a:lnTo>
                      <a:lnTo>
                        <a:pt x="2072" y="3181"/>
                      </a:lnTo>
                      <a:lnTo>
                        <a:pt x="1967" y="3118"/>
                      </a:lnTo>
                      <a:lnTo>
                        <a:pt x="1967" y="3014"/>
                      </a:lnTo>
                      <a:lnTo>
                        <a:pt x="1925" y="2888"/>
                      </a:lnTo>
                      <a:lnTo>
                        <a:pt x="1841" y="2867"/>
                      </a:lnTo>
                      <a:lnTo>
                        <a:pt x="1841" y="2909"/>
                      </a:lnTo>
                      <a:lnTo>
                        <a:pt x="1758" y="2909"/>
                      </a:lnTo>
                      <a:lnTo>
                        <a:pt x="1737" y="2867"/>
                      </a:lnTo>
                      <a:lnTo>
                        <a:pt x="1758" y="2762"/>
                      </a:lnTo>
                      <a:lnTo>
                        <a:pt x="1737" y="2679"/>
                      </a:lnTo>
                      <a:lnTo>
                        <a:pt x="1632" y="2616"/>
                      </a:lnTo>
                      <a:lnTo>
                        <a:pt x="1528" y="2490"/>
                      </a:lnTo>
                      <a:lnTo>
                        <a:pt x="1465" y="2344"/>
                      </a:lnTo>
                      <a:lnTo>
                        <a:pt x="1402" y="2260"/>
                      </a:lnTo>
                      <a:lnTo>
                        <a:pt x="1402" y="2135"/>
                      </a:lnTo>
                      <a:lnTo>
                        <a:pt x="1423" y="2030"/>
                      </a:lnTo>
                      <a:lnTo>
                        <a:pt x="1444" y="2051"/>
                      </a:lnTo>
                      <a:lnTo>
                        <a:pt x="1423" y="1884"/>
                      </a:lnTo>
                      <a:lnTo>
                        <a:pt x="1402" y="1716"/>
                      </a:lnTo>
                      <a:lnTo>
                        <a:pt x="1360" y="1570"/>
                      </a:lnTo>
                      <a:lnTo>
                        <a:pt x="1235" y="1528"/>
                      </a:lnTo>
                      <a:lnTo>
                        <a:pt x="1109" y="1382"/>
                      </a:lnTo>
                      <a:lnTo>
                        <a:pt x="1109" y="1319"/>
                      </a:lnTo>
                      <a:lnTo>
                        <a:pt x="1046" y="1256"/>
                      </a:lnTo>
                      <a:lnTo>
                        <a:pt x="1046" y="1193"/>
                      </a:lnTo>
                      <a:lnTo>
                        <a:pt x="1109" y="1193"/>
                      </a:lnTo>
                      <a:lnTo>
                        <a:pt x="1214" y="1298"/>
                      </a:lnTo>
                      <a:lnTo>
                        <a:pt x="1318" y="1444"/>
                      </a:lnTo>
                      <a:lnTo>
                        <a:pt x="1318" y="1444"/>
                      </a:lnTo>
                      <a:lnTo>
                        <a:pt x="1256" y="1298"/>
                      </a:lnTo>
                      <a:lnTo>
                        <a:pt x="1130" y="1110"/>
                      </a:lnTo>
                      <a:lnTo>
                        <a:pt x="1005" y="942"/>
                      </a:lnTo>
                      <a:lnTo>
                        <a:pt x="942" y="942"/>
                      </a:lnTo>
                      <a:lnTo>
                        <a:pt x="921" y="858"/>
                      </a:lnTo>
                      <a:lnTo>
                        <a:pt x="691" y="670"/>
                      </a:lnTo>
                      <a:lnTo>
                        <a:pt x="607" y="566"/>
                      </a:lnTo>
                      <a:lnTo>
                        <a:pt x="607" y="335"/>
                      </a:lnTo>
                      <a:lnTo>
                        <a:pt x="523" y="273"/>
                      </a:lnTo>
                      <a:lnTo>
                        <a:pt x="377" y="210"/>
                      </a:lnTo>
                      <a:lnTo>
                        <a:pt x="293" y="63"/>
                      </a:lnTo>
                      <a:lnTo>
                        <a:pt x="251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5" name="Google Shape;12040;p43">
              <a:extLst>
                <a:ext uri="{FF2B5EF4-FFF2-40B4-BE49-F238E27FC236}">
                  <a16:creationId xmlns:a16="http://schemas.microsoft.com/office/drawing/2014/main" id="{ED7494BD-9DB0-98BD-DFA5-6A0A633C46BA}"/>
                </a:ext>
              </a:extLst>
            </p:cNvPr>
            <p:cNvGrpSpPr/>
            <p:nvPr/>
          </p:nvGrpSpPr>
          <p:grpSpPr>
            <a:xfrm>
              <a:off x="3875768" y="2846704"/>
              <a:ext cx="44796" cy="47366"/>
              <a:chOff x="3960625" y="2587825"/>
              <a:chExt cx="94050" cy="104125"/>
            </a:xfrm>
          </p:grpSpPr>
          <p:sp>
            <p:nvSpPr>
              <p:cNvPr id="269" name="Google Shape;12041;p43">
                <a:extLst>
                  <a:ext uri="{FF2B5EF4-FFF2-40B4-BE49-F238E27FC236}">
                    <a16:creationId xmlns:a16="http://schemas.microsoft.com/office/drawing/2014/main" id="{A59EB415-3D8F-45CB-51BC-9EA661EB8754}"/>
                  </a:ext>
                </a:extLst>
              </p:cNvPr>
              <p:cNvSpPr/>
              <p:nvPr/>
            </p:nvSpPr>
            <p:spPr>
              <a:xfrm>
                <a:off x="3960625" y="2587825"/>
                <a:ext cx="94050" cy="51200"/>
              </a:xfrm>
              <a:custGeom>
                <a:avLst/>
                <a:gdLst/>
                <a:ahLst/>
                <a:cxnLst/>
                <a:rect l="l" t="t" r="r" b="b"/>
                <a:pathLst>
                  <a:path w="3762" h="2048" extrusionOk="0">
                    <a:moveTo>
                      <a:pt x="190" y="2048"/>
                    </a:moveTo>
                    <a:lnTo>
                      <a:pt x="0" y="1762"/>
                    </a:lnTo>
                    <a:lnTo>
                      <a:pt x="309" y="1048"/>
                    </a:lnTo>
                    <a:lnTo>
                      <a:pt x="3762" y="0"/>
                    </a:lnTo>
                    <a:lnTo>
                      <a:pt x="3714" y="1072"/>
                    </a:lnTo>
                    <a:lnTo>
                      <a:pt x="2929" y="1143"/>
                    </a:lnTo>
                    <a:lnTo>
                      <a:pt x="2167" y="10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270" name="Google Shape;12042;p43">
                <a:extLst>
                  <a:ext uri="{FF2B5EF4-FFF2-40B4-BE49-F238E27FC236}">
                    <a16:creationId xmlns:a16="http://schemas.microsoft.com/office/drawing/2014/main" id="{D3BADBE2-DE56-954E-4BCB-C3DA7082D72E}"/>
                  </a:ext>
                </a:extLst>
              </p:cNvPr>
              <p:cNvSpPr/>
              <p:nvPr/>
            </p:nvSpPr>
            <p:spPr>
              <a:xfrm>
                <a:off x="3963000" y="2596725"/>
                <a:ext cx="86850" cy="95225"/>
              </a:xfrm>
              <a:custGeom>
                <a:avLst/>
                <a:gdLst/>
                <a:ahLst/>
                <a:cxnLst/>
                <a:rect l="l" t="t" r="r" b="b"/>
                <a:pathLst>
                  <a:path w="3474" h="3809" extrusionOk="0">
                    <a:moveTo>
                      <a:pt x="1549" y="2009"/>
                    </a:moveTo>
                    <a:lnTo>
                      <a:pt x="1632" y="2030"/>
                    </a:lnTo>
                    <a:lnTo>
                      <a:pt x="1695" y="2093"/>
                    </a:lnTo>
                    <a:lnTo>
                      <a:pt x="1674" y="2135"/>
                    </a:lnTo>
                    <a:lnTo>
                      <a:pt x="1674" y="2189"/>
                    </a:lnTo>
                    <a:lnTo>
                      <a:pt x="1674" y="2189"/>
                    </a:lnTo>
                    <a:cubicBezTo>
                      <a:pt x="1645" y="2167"/>
                      <a:pt x="1613" y="2146"/>
                      <a:pt x="1569" y="2135"/>
                    </a:cubicBezTo>
                    <a:cubicBezTo>
                      <a:pt x="1549" y="2114"/>
                      <a:pt x="1528" y="2114"/>
                      <a:pt x="1486" y="2114"/>
                    </a:cubicBezTo>
                    <a:lnTo>
                      <a:pt x="1549" y="2072"/>
                    </a:lnTo>
                    <a:lnTo>
                      <a:pt x="1549" y="2009"/>
                    </a:lnTo>
                    <a:close/>
                    <a:moveTo>
                      <a:pt x="3327" y="1"/>
                    </a:moveTo>
                    <a:lnTo>
                      <a:pt x="3201" y="105"/>
                    </a:lnTo>
                    <a:lnTo>
                      <a:pt x="3201" y="231"/>
                    </a:lnTo>
                    <a:lnTo>
                      <a:pt x="3243" y="335"/>
                    </a:lnTo>
                    <a:lnTo>
                      <a:pt x="3160" y="377"/>
                    </a:lnTo>
                    <a:lnTo>
                      <a:pt x="2929" y="356"/>
                    </a:lnTo>
                    <a:lnTo>
                      <a:pt x="2825" y="419"/>
                    </a:lnTo>
                    <a:lnTo>
                      <a:pt x="2720" y="356"/>
                    </a:lnTo>
                    <a:lnTo>
                      <a:pt x="2616" y="356"/>
                    </a:lnTo>
                    <a:lnTo>
                      <a:pt x="2532" y="419"/>
                    </a:lnTo>
                    <a:lnTo>
                      <a:pt x="2427" y="419"/>
                    </a:lnTo>
                    <a:lnTo>
                      <a:pt x="2406" y="314"/>
                    </a:lnTo>
                    <a:lnTo>
                      <a:pt x="2260" y="314"/>
                    </a:lnTo>
                    <a:lnTo>
                      <a:pt x="2113" y="273"/>
                    </a:lnTo>
                    <a:lnTo>
                      <a:pt x="2009" y="377"/>
                    </a:lnTo>
                    <a:lnTo>
                      <a:pt x="1862" y="419"/>
                    </a:lnTo>
                    <a:lnTo>
                      <a:pt x="1674" y="419"/>
                    </a:lnTo>
                    <a:lnTo>
                      <a:pt x="1632" y="377"/>
                    </a:lnTo>
                    <a:lnTo>
                      <a:pt x="1549" y="440"/>
                    </a:lnTo>
                    <a:lnTo>
                      <a:pt x="1444" y="440"/>
                    </a:lnTo>
                    <a:lnTo>
                      <a:pt x="1318" y="524"/>
                    </a:lnTo>
                    <a:lnTo>
                      <a:pt x="1025" y="524"/>
                    </a:lnTo>
                    <a:lnTo>
                      <a:pt x="900" y="586"/>
                    </a:lnTo>
                    <a:lnTo>
                      <a:pt x="900" y="649"/>
                    </a:lnTo>
                    <a:lnTo>
                      <a:pt x="732" y="691"/>
                    </a:lnTo>
                    <a:lnTo>
                      <a:pt x="502" y="838"/>
                    </a:lnTo>
                    <a:lnTo>
                      <a:pt x="481" y="984"/>
                    </a:lnTo>
                    <a:lnTo>
                      <a:pt x="398" y="1151"/>
                    </a:lnTo>
                    <a:lnTo>
                      <a:pt x="168" y="1214"/>
                    </a:lnTo>
                    <a:lnTo>
                      <a:pt x="168" y="1361"/>
                    </a:lnTo>
                    <a:lnTo>
                      <a:pt x="84" y="1507"/>
                    </a:lnTo>
                    <a:lnTo>
                      <a:pt x="0" y="1570"/>
                    </a:lnTo>
                    <a:lnTo>
                      <a:pt x="0" y="1716"/>
                    </a:lnTo>
                    <a:lnTo>
                      <a:pt x="209" y="1884"/>
                    </a:lnTo>
                    <a:lnTo>
                      <a:pt x="335" y="2072"/>
                    </a:lnTo>
                    <a:lnTo>
                      <a:pt x="398" y="2093"/>
                    </a:lnTo>
                    <a:lnTo>
                      <a:pt x="398" y="2135"/>
                    </a:lnTo>
                    <a:lnTo>
                      <a:pt x="544" y="2365"/>
                    </a:lnTo>
                    <a:lnTo>
                      <a:pt x="586" y="2532"/>
                    </a:lnTo>
                    <a:lnTo>
                      <a:pt x="649" y="2553"/>
                    </a:lnTo>
                    <a:lnTo>
                      <a:pt x="753" y="2449"/>
                    </a:lnTo>
                    <a:lnTo>
                      <a:pt x="837" y="2553"/>
                    </a:lnTo>
                    <a:lnTo>
                      <a:pt x="963" y="2595"/>
                    </a:lnTo>
                    <a:lnTo>
                      <a:pt x="1025" y="2511"/>
                    </a:lnTo>
                    <a:lnTo>
                      <a:pt x="1130" y="2511"/>
                    </a:lnTo>
                    <a:lnTo>
                      <a:pt x="1277" y="2595"/>
                    </a:lnTo>
                    <a:lnTo>
                      <a:pt x="1360" y="2532"/>
                    </a:lnTo>
                    <a:lnTo>
                      <a:pt x="1381" y="2616"/>
                    </a:lnTo>
                    <a:lnTo>
                      <a:pt x="1465" y="2616"/>
                    </a:lnTo>
                    <a:lnTo>
                      <a:pt x="1528" y="2658"/>
                    </a:lnTo>
                    <a:lnTo>
                      <a:pt x="1653" y="2700"/>
                    </a:lnTo>
                    <a:lnTo>
                      <a:pt x="1569" y="2742"/>
                    </a:lnTo>
                    <a:lnTo>
                      <a:pt x="1486" y="2825"/>
                    </a:lnTo>
                    <a:lnTo>
                      <a:pt x="1423" y="2762"/>
                    </a:lnTo>
                    <a:lnTo>
                      <a:pt x="1318" y="2742"/>
                    </a:lnTo>
                    <a:lnTo>
                      <a:pt x="1067" y="2595"/>
                    </a:lnTo>
                    <a:lnTo>
                      <a:pt x="963" y="2616"/>
                    </a:lnTo>
                    <a:lnTo>
                      <a:pt x="858" y="2658"/>
                    </a:lnTo>
                    <a:lnTo>
                      <a:pt x="753" y="2616"/>
                    </a:lnTo>
                    <a:lnTo>
                      <a:pt x="691" y="2721"/>
                    </a:lnTo>
                    <a:lnTo>
                      <a:pt x="628" y="2742"/>
                    </a:lnTo>
                    <a:lnTo>
                      <a:pt x="607" y="2846"/>
                    </a:lnTo>
                    <a:lnTo>
                      <a:pt x="732" y="2972"/>
                    </a:lnTo>
                    <a:lnTo>
                      <a:pt x="858" y="3035"/>
                    </a:lnTo>
                    <a:lnTo>
                      <a:pt x="1004" y="3139"/>
                    </a:lnTo>
                    <a:lnTo>
                      <a:pt x="1004" y="3223"/>
                    </a:lnTo>
                    <a:lnTo>
                      <a:pt x="942" y="3265"/>
                    </a:lnTo>
                    <a:lnTo>
                      <a:pt x="942" y="3369"/>
                    </a:lnTo>
                    <a:lnTo>
                      <a:pt x="1046" y="3495"/>
                    </a:lnTo>
                    <a:lnTo>
                      <a:pt x="1130" y="3579"/>
                    </a:lnTo>
                    <a:lnTo>
                      <a:pt x="1151" y="3495"/>
                    </a:lnTo>
                    <a:lnTo>
                      <a:pt x="1130" y="3453"/>
                    </a:lnTo>
                    <a:lnTo>
                      <a:pt x="1172" y="3348"/>
                    </a:lnTo>
                    <a:lnTo>
                      <a:pt x="1214" y="3474"/>
                    </a:lnTo>
                    <a:lnTo>
                      <a:pt x="1360" y="3537"/>
                    </a:lnTo>
                    <a:lnTo>
                      <a:pt x="1381" y="3599"/>
                    </a:lnTo>
                    <a:lnTo>
                      <a:pt x="1360" y="3704"/>
                    </a:lnTo>
                    <a:lnTo>
                      <a:pt x="1423" y="3788"/>
                    </a:lnTo>
                    <a:lnTo>
                      <a:pt x="1423" y="3746"/>
                    </a:lnTo>
                    <a:lnTo>
                      <a:pt x="1465" y="3599"/>
                    </a:lnTo>
                    <a:lnTo>
                      <a:pt x="1569" y="3599"/>
                    </a:lnTo>
                    <a:lnTo>
                      <a:pt x="1632" y="3704"/>
                    </a:lnTo>
                    <a:lnTo>
                      <a:pt x="1800" y="3809"/>
                    </a:lnTo>
                    <a:lnTo>
                      <a:pt x="1800" y="3809"/>
                    </a:lnTo>
                    <a:lnTo>
                      <a:pt x="1737" y="3704"/>
                    </a:lnTo>
                    <a:lnTo>
                      <a:pt x="1758" y="3641"/>
                    </a:lnTo>
                    <a:lnTo>
                      <a:pt x="1695" y="3537"/>
                    </a:lnTo>
                    <a:lnTo>
                      <a:pt x="1632" y="3348"/>
                    </a:lnTo>
                    <a:lnTo>
                      <a:pt x="1549" y="3244"/>
                    </a:lnTo>
                    <a:lnTo>
                      <a:pt x="1549" y="3181"/>
                    </a:lnTo>
                    <a:lnTo>
                      <a:pt x="1632" y="3181"/>
                    </a:lnTo>
                    <a:lnTo>
                      <a:pt x="1758" y="3265"/>
                    </a:lnTo>
                    <a:lnTo>
                      <a:pt x="1737" y="3327"/>
                    </a:lnTo>
                    <a:lnTo>
                      <a:pt x="1758" y="3369"/>
                    </a:lnTo>
                    <a:lnTo>
                      <a:pt x="1841" y="3286"/>
                    </a:lnTo>
                    <a:lnTo>
                      <a:pt x="1967" y="3348"/>
                    </a:lnTo>
                    <a:lnTo>
                      <a:pt x="1967" y="3286"/>
                    </a:lnTo>
                    <a:lnTo>
                      <a:pt x="1904" y="3244"/>
                    </a:lnTo>
                    <a:lnTo>
                      <a:pt x="1904" y="3181"/>
                    </a:lnTo>
                    <a:lnTo>
                      <a:pt x="1862" y="3181"/>
                    </a:lnTo>
                    <a:lnTo>
                      <a:pt x="1758" y="3139"/>
                    </a:lnTo>
                    <a:lnTo>
                      <a:pt x="1758" y="3076"/>
                    </a:lnTo>
                    <a:lnTo>
                      <a:pt x="1653" y="3014"/>
                    </a:lnTo>
                    <a:lnTo>
                      <a:pt x="1758" y="2951"/>
                    </a:lnTo>
                    <a:lnTo>
                      <a:pt x="1862" y="2951"/>
                    </a:lnTo>
                    <a:lnTo>
                      <a:pt x="1904" y="2909"/>
                    </a:lnTo>
                    <a:lnTo>
                      <a:pt x="2072" y="3014"/>
                    </a:lnTo>
                    <a:lnTo>
                      <a:pt x="2093" y="3055"/>
                    </a:lnTo>
                    <a:lnTo>
                      <a:pt x="2197" y="3076"/>
                    </a:lnTo>
                    <a:lnTo>
                      <a:pt x="2218" y="3035"/>
                    </a:lnTo>
                    <a:lnTo>
                      <a:pt x="2113" y="2909"/>
                    </a:lnTo>
                    <a:lnTo>
                      <a:pt x="2155" y="2762"/>
                    </a:lnTo>
                    <a:lnTo>
                      <a:pt x="2093" y="2700"/>
                    </a:lnTo>
                    <a:lnTo>
                      <a:pt x="1841" y="2532"/>
                    </a:lnTo>
                    <a:lnTo>
                      <a:pt x="1758" y="2511"/>
                    </a:lnTo>
                    <a:lnTo>
                      <a:pt x="1737" y="2490"/>
                    </a:lnTo>
                    <a:cubicBezTo>
                      <a:pt x="1758" y="2490"/>
                      <a:pt x="1779" y="2449"/>
                      <a:pt x="1800" y="2407"/>
                    </a:cubicBezTo>
                    <a:lnTo>
                      <a:pt x="1862" y="2449"/>
                    </a:lnTo>
                    <a:lnTo>
                      <a:pt x="1946" y="2490"/>
                    </a:lnTo>
                    <a:lnTo>
                      <a:pt x="1988" y="2553"/>
                    </a:lnTo>
                    <a:lnTo>
                      <a:pt x="2093" y="2616"/>
                    </a:lnTo>
                    <a:lnTo>
                      <a:pt x="2176" y="2616"/>
                    </a:lnTo>
                    <a:lnTo>
                      <a:pt x="2197" y="2658"/>
                    </a:lnTo>
                    <a:lnTo>
                      <a:pt x="2281" y="2762"/>
                    </a:lnTo>
                    <a:lnTo>
                      <a:pt x="2323" y="2825"/>
                    </a:lnTo>
                    <a:lnTo>
                      <a:pt x="2323" y="2867"/>
                    </a:lnTo>
                    <a:lnTo>
                      <a:pt x="2365" y="2930"/>
                    </a:lnTo>
                    <a:lnTo>
                      <a:pt x="2427" y="2972"/>
                    </a:lnTo>
                    <a:lnTo>
                      <a:pt x="2490" y="2951"/>
                    </a:lnTo>
                    <a:lnTo>
                      <a:pt x="2532" y="2972"/>
                    </a:lnTo>
                    <a:lnTo>
                      <a:pt x="2595" y="2867"/>
                    </a:lnTo>
                    <a:lnTo>
                      <a:pt x="2490" y="2867"/>
                    </a:lnTo>
                    <a:lnTo>
                      <a:pt x="2469" y="2888"/>
                    </a:lnTo>
                    <a:lnTo>
                      <a:pt x="2385" y="2825"/>
                    </a:lnTo>
                    <a:lnTo>
                      <a:pt x="2385" y="2742"/>
                    </a:lnTo>
                    <a:lnTo>
                      <a:pt x="2365" y="2679"/>
                    </a:lnTo>
                    <a:lnTo>
                      <a:pt x="2365" y="2637"/>
                    </a:lnTo>
                    <a:lnTo>
                      <a:pt x="2302" y="2553"/>
                    </a:lnTo>
                    <a:lnTo>
                      <a:pt x="2176" y="2428"/>
                    </a:lnTo>
                    <a:lnTo>
                      <a:pt x="2176" y="2449"/>
                    </a:lnTo>
                    <a:lnTo>
                      <a:pt x="2093" y="2449"/>
                    </a:lnTo>
                    <a:lnTo>
                      <a:pt x="2093" y="2428"/>
                    </a:lnTo>
                    <a:lnTo>
                      <a:pt x="1988" y="2365"/>
                    </a:lnTo>
                    <a:lnTo>
                      <a:pt x="1883" y="2344"/>
                    </a:lnTo>
                    <a:lnTo>
                      <a:pt x="1800" y="2239"/>
                    </a:lnTo>
                    <a:lnTo>
                      <a:pt x="1758" y="2239"/>
                    </a:lnTo>
                    <a:cubicBezTo>
                      <a:pt x="1730" y="2230"/>
                      <a:pt x="1706" y="2212"/>
                      <a:pt x="1680" y="2193"/>
                    </a:cubicBezTo>
                    <a:lnTo>
                      <a:pt x="1680" y="2193"/>
                    </a:lnTo>
                    <a:lnTo>
                      <a:pt x="1737" y="2156"/>
                    </a:lnTo>
                    <a:lnTo>
                      <a:pt x="1758" y="2030"/>
                    </a:lnTo>
                    <a:lnTo>
                      <a:pt x="1674" y="1946"/>
                    </a:lnTo>
                    <a:lnTo>
                      <a:pt x="1486" y="1737"/>
                    </a:lnTo>
                    <a:lnTo>
                      <a:pt x="1423" y="1695"/>
                    </a:lnTo>
                    <a:lnTo>
                      <a:pt x="1381" y="1612"/>
                    </a:lnTo>
                    <a:lnTo>
                      <a:pt x="1256" y="1507"/>
                    </a:lnTo>
                    <a:lnTo>
                      <a:pt x="1318" y="1465"/>
                    </a:lnTo>
                    <a:lnTo>
                      <a:pt x="1277" y="1235"/>
                    </a:lnTo>
                    <a:lnTo>
                      <a:pt x="1360" y="1130"/>
                    </a:lnTo>
                    <a:lnTo>
                      <a:pt x="1486" y="1089"/>
                    </a:lnTo>
                    <a:lnTo>
                      <a:pt x="1528" y="1193"/>
                    </a:lnTo>
                    <a:lnTo>
                      <a:pt x="1465" y="1193"/>
                    </a:lnTo>
                    <a:lnTo>
                      <a:pt x="1465" y="1256"/>
                    </a:lnTo>
                    <a:lnTo>
                      <a:pt x="1653" y="1319"/>
                    </a:lnTo>
                    <a:lnTo>
                      <a:pt x="1674" y="1465"/>
                    </a:lnTo>
                    <a:lnTo>
                      <a:pt x="1779" y="1570"/>
                    </a:lnTo>
                    <a:lnTo>
                      <a:pt x="1904" y="1570"/>
                    </a:lnTo>
                    <a:lnTo>
                      <a:pt x="1841" y="1507"/>
                    </a:lnTo>
                    <a:lnTo>
                      <a:pt x="1779" y="1423"/>
                    </a:lnTo>
                    <a:lnTo>
                      <a:pt x="1800" y="1361"/>
                    </a:lnTo>
                    <a:lnTo>
                      <a:pt x="1946" y="1402"/>
                    </a:lnTo>
                    <a:lnTo>
                      <a:pt x="2009" y="1528"/>
                    </a:lnTo>
                    <a:lnTo>
                      <a:pt x="2093" y="1570"/>
                    </a:lnTo>
                    <a:lnTo>
                      <a:pt x="2155" y="1486"/>
                    </a:lnTo>
                    <a:lnTo>
                      <a:pt x="2072" y="1423"/>
                    </a:lnTo>
                    <a:lnTo>
                      <a:pt x="1988" y="1402"/>
                    </a:lnTo>
                    <a:lnTo>
                      <a:pt x="1988" y="1361"/>
                    </a:lnTo>
                    <a:lnTo>
                      <a:pt x="2197" y="1361"/>
                    </a:lnTo>
                    <a:lnTo>
                      <a:pt x="2281" y="1423"/>
                    </a:lnTo>
                    <a:lnTo>
                      <a:pt x="2302" y="1402"/>
                    </a:lnTo>
                    <a:lnTo>
                      <a:pt x="2176" y="1298"/>
                    </a:lnTo>
                    <a:lnTo>
                      <a:pt x="2051" y="1277"/>
                    </a:lnTo>
                    <a:lnTo>
                      <a:pt x="1946" y="1151"/>
                    </a:lnTo>
                    <a:lnTo>
                      <a:pt x="1988" y="1068"/>
                    </a:lnTo>
                    <a:lnTo>
                      <a:pt x="2093" y="1089"/>
                    </a:lnTo>
                    <a:lnTo>
                      <a:pt x="2176" y="1047"/>
                    </a:lnTo>
                    <a:lnTo>
                      <a:pt x="2218" y="879"/>
                    </a:lnTo>
                    <a:lnTo>
                      <a:pt x="2302" y="858"/>
                    </a:lnTo>
                    <a:lnTo>
                      <a:pt x="2427" y="963"/>
                    </a:lnTo>
                    <a:lnTo>
                      <a:pt x="2532" y="963"/>
                    </a:lnTo>
                    <a:lnTo>
                      <a:pt x="2637" y="858"/>
                    </a:lnTo>
                    <a:lnTo>
                      <a:pt x="2637" y="796"/>
                    </a:lnTo>
                    <a:lnTo>
                      <a:pt x="2699" y="796"/>
                    </a:lnTo>
                    <a:lnTo>
                      <a:pt x="2783" y="879"/>
                    </a:lnTo>
                    <a:lnTo>
                      <a:pt x="3013" y="879"/>
                    </a:lnTo>
                    <a:lnTo>
                      <a:pt x="3201" y="942"/>
                    </a:lnTo>
                    <a:lnTo>
                      <a:pt x="3327" y="900"/>
                    </a:lnTo>
                    <a:lnTo>
                      <a:pt x="3348" y="566"/>
                    </a:lnTo>
                    <a:lnTo>
                      <a:pt x="3327" y="440"/>
                    </a:lnTo>
                    <a:lnTo>
                      <a:pt x="3473" y="335"/>
                    </a:lnTo>
                    <a:lnTo>
                      <a:pt x="3473" y="210"/>
                    </a:lnTo>
                    <a:lnTo>
                      <a:pt x="3369" y="147"/>
                    </a:lnTo>
                    <a:lnTo>
                      <a:pt x="341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6" name="Google Shape;12043;p43">
              <a:extLst>
                <a:ext uri="{FF2B5EF4-FFF2-40B4-BE49-F238E27FC236}">
                  <a16:creationId xmlns:a16="http://schemas.microsoft.com/office/drawing/2014/main" id="{4641CFF1-99C5-A1DA-DD3B-BFA5259A17CA}"/>
                </a:ext>
              </a:extLst>
            </p:cNvPr>
            <p:cNvGrpSpPr/>
            <p:nvPr/>
          </p:nvGrpSpPr>
          <p:grpSpPr>
            <a:xfrm>
              <a:off x="3782759" y="2807162"/>
              <a:ext cx="82686" cy="85487"/>
              <a:chOff x="3765350" y="2500900"/>
              <a:chExt cx="173600" cy="187925"/>
            </a:xfrm>
          </p:grpSpPr>
          <p:sp>
            <p:nvSpPr>
              <p:cNvPr id="263" name="Google Shape;12044;p43">
                <a:extLst>
                  <a:ext uri="{FF2B5EF4-FFF2-40B4-BE49-F238E27FC236}">
                    <a16:creationId xmlns:a16="http://schemas.microsoft.com/office/drawing/2014/main" id="{E61CE5C5-323E-02A9-AF62-FC3A15FB4A78}"/>
                  </a:ext>
                </a:extLst>
              </p:cNvPr>
              <p:cNvSpPr/>
              <p:nvPr/>
            </p:nvSpPr>
            <p:spPr>
              <a:xfrm>
                <a:off x="3765350" y="2500900"/>
                <a:ext cx="108950" cy="64300"/>
              </a:xfrm>
              <a:custGeom>
                <a:avLst/>
                <a:gdLst/>
                <a:ahLst/>
                <a:cxnLst/>
                <a:rect l="l" t="t" r="r" b="b"/>
                <a:pathLst>
                  <a:path w="4358" h="2572" extrusionOk="0">
                    <a:moveTo>
                      <a:pt x="1286" y="596"/>
                    </a:moveTo>
                    <a:lnTo>
                      <a:pt x="0" y="1072"/>
                    </a:lnTo>
                    <a:lnTo>
                      <a:pt x="429" y="2239"/>
                    </a:lnTo>
                    <a:lnTo>
                      <a:pt x="857" y="2572"/>
                    </a:lnTo>
                    <a:lnTo>
                      <a:pt x="2191" y="1215"/>
                    </a:lnTo>
                    <a:lnTo>
                      <a:pt x="4024" y="1072"/>
                    </a:lnTo>
                    <a:lnTo>
                      <a:pt x="4358" y="429"/>
                    </a:lnTo>
                    <a:lnTo>
                      <a:pt x="3120" y="0"/>
                    </a:lnTo>
                    <a:lnTo>
                      <a:pt x="2477" y="358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264" name="Google Shape;12045;p43">
                <a:extLst>
                  <a:ext uri="{FF2B5EF4-FFF2-40B4-BE49-F238E27FC236}">
                    <a16:creationId xmlns:a16="http://schemas.microsoft.com/office/drawing/2014/main" id="{3AE5EB7B-AC98-4C26-D463-5558C57F7C7B}"/>
                  </a:ext>
                </a:extLst>
              </p:cNvPr>
              <p:cNvSpPr/>
              <p:nvPr/>
            </p:nvSpPr>
            <p:spPr>
              <a:xfrm>
                <a:off x="3797175" y="2609800"/>
                <a:ext cx="2625" cy="3700"/>
              </a:xfrm>
              <a:custGeom>
                <a:avLst/>
                <a:gdLst/>
                <a:ahLst/>
                <a:cxnLst/>
                <a:rect l="l" t="t" r="r" b="b"/>
                <a:pathLst>
                  <a:path w="105" h="148" extrusionOk="0">
                    <a:moveTo>
                      <a:pt x="42" y="1"/>
                    </a:moveTo>
                    <a:lnTo>
                      <a:pt x="21" y="43"/>
                    </a:lnTo>
                    <a:lnTo>
                      <a:pt x="0" y="84"/>
                    </a:lnTo>
                    <a:lnTo>
                      <a:pt x="0" y="147"/>
                    </a:lnTo>
                    <a:lnTo>
                      <a:pt x="21" y="147"/>
                    </a:lnTo>
                    <a:lnTo>
                      <a:pt x="42" y="105"/>
                    </a:lnTo>
                    <a:lnTo>
                      <a:pt x="105" y="22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5" name="Google Shape;12046;p43">
                <a:extLst>
                  <a:ext uri="{FF2B5EF4-FFF2-40B4-BE49-F238E27FC236}">
                    <a16:creationId xmlns:a16="http://schemas.microsoft.com/office/drawing/2014/main" id="{5AF7B170-2988-F97B-4040-D20D6AE8ABF6}"/>
                  </a:ext>
                </a:extLst>
              </p:cNvPr>
              <p:cNvSpPr/>
              <p:nvPr/>
            </p:nvSpPr>
            <p:spPr>
              <a:xfrm>
                <a:off x="3796125" y="2610325"/>
                <a:ext cx="22525" cy="41875"/>
              </a:xfrm>
              <a:custGeom>
                <a:avLst/>
                <a:gdLst/>
                <a:ahLst/>
                <a:cxnLst/>
                <a:rect l="l" t="t" r="r" b="b"/>
                <a:pathLst>
                  <a:path w="901" h="1675" extrusionOk="0">
                    <a:moveTo>
                      <a:pt x="565" y="1"/>
                    </a:moveTo>
                    <a:lnTo>
                      <a:pt x="461" y="22"/>
                    </a:lnTo>
                    <a:lnTo>
                      <a:pt x="252" y="273"/>
                    </a:lnTo>
                    <a:lnTo>
                      <a:pt x="168" y="273"/>
                    </a:lnTo>
                    <a:lnTo>
                      <a:pt x="42" y="189"/>
                    </a:lnTo>
                    <a:lnTo>
                      <a:pt x="42" y="314"/>
                    </a:lnTo>
                    <a:lnTo>
                      <a:pt x="1" y="398"/>
                    </a:lnTo>
                    <a:lnTo>
                      <a:pt x="105" y="503"/>
                    </a:lnTo>
                    <a:lnTo>
                      <a:pt x="105" y="586"/>
                    </a:lnTo>
                    <a:lnTo>
                      <a:pt x="189" y="649"/>
                    </a:lnTo>
                    <a:lnTo>
                      <a:pt x="189" y="796"/>
                    </a:lnTo>
                    <a:lnTo>
                      <a:pt x="105" y="858"/>
                    </a:lnTo>
                    <a:lnTo>
                      <a:pt x="147" y="942"/>
                    </a:lnTo>
                    <a:lnTo>
                      <a:pt x="273" y="942"/>
                    </a:lnTo>
                    <a:lnTo>
                      <a:pt x="273" y="1005"/>
                    </a:lnTo>
                    <a:lnTo>
                      <a:pt x="189" y="1068"/>
                    </a:lnTo>
                    <a:lnTo>
                      <a:pt x="147" y="1277"/>
                    </a:lnTo>
                    <a:lnTo>
                      <a:pt x="189" y="1361"/>
                    </a:lnTo>
                    <a:lnTo>
                      <a:pt x="252" y="1591"/>
                    </a:lnTo>
                    <a:lnTo>
                      <a:pt x="314" y="1674"/>
                    </a:lnTo>
                    <a:lnTo>
                      <a:pt x="377" y="1654"/>
                    </a:lnTo>
                    <a:lnTo>
                      <a:pt x="419" y="1674"/>
                    </a:lnTo>
                    <a:lnTo>
                      <a:pt x="503" y="1654"/>
                    </a:lnTo>
                    <a:lnTo>
                      <a:pt x="524" y="1528"/>
                    </a:lnTo>
                    <a:lnTo>
                      <a:pt x="565" y="1444"/>
                    </a:lnTo>
                    <a:lnTo>
                      <a:pt x="670" y="1444"/>
                    </a:lnTo>
                    <a:lnTo>
                      <a:pt x="733" y="1528"/>
                    </a:lnTo>
                    <a:lnTo>
                      <a:pt x="796" y="1528"/>
                    </a:lnTo>
                    <a:lnTo>
                      <a:pt x="837" y="1444"/>
                    </a:lnTo>
                    <a:lnTo>
                      <a:pt x="837" y="1214"/>
                    </a:lnTo>
                    <a:lnTo>
                      <a:pt x="879" y="1151"/>
                    </a:lnTo>
                    <a:lnTo>
                      <a:pt x="837" y="921"/>
                    </a:lnTo>
                    <a:lnTo>
                      <a:pt x="900" y="712"/>
                    </a:lnTo>
                    <a:lnTo>
                      <a:pt x="733" y="586"/>
                    </a:lnTo>
                    <a:lnTo>
                      <a:pt x="879" y="503"/>
                    </a:lnTo>
                    <a:lnTo>
                      <a:pt x="879" y="419"/>
                    </a:lnTo>
                    <a:lnTo>
                      <a:pt x="837" y="294"/>
                    </a:lnTo>
                    <a:lnTo>
                      <a:pt x="775" y="189"/>
                    </a:lnTo>
                    <a:lnTo>
                      <a:pt x="691" y="63"/>
                    </a:lnTo>
                    <a:lnTo>
                      <a:pt x="670" y="84"/>
                    </a:lnTo>
                    <a:lnTo>
                      <a:pt x="56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6" name="Google Shape;12047;p43">
                <a:extLst>
                  <a:ext uri="{FF2B5EF4-FFF2-40B4-BE49-F238E27FC236}">
                    <a16:creationId xmlns:a16="http://schemas.microsoft.com/office/drawing/2014/main" id="{F29628CD-33D6-F8B3-6F9A-A1CFA507C6ED}"/>
                  </a:ext>
                </a:extLst>
              </p:cNvPr>
              <p:cNvSpPr/>
              <p:nvPr/>
            </p:nvSpPr>
            <p:spPr>
              <a:xfrm>
                <a:off x="3821225" y="2579475"/>
                <a:ext cx="630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252" h="168" extrusionOk="0">
                    <a:moveTo>
                      <a:pt x="189" y="0"/>
                    </a:moveTo>
                    <a:lnTo>
                      <a:pt x="147" y="42"/>
                    </a:lnTo>
                    <a:lnTo>
                      <a:pt x="43" y="84"/>
                    </a:lnTo>
                    <a:lnTo>
                      <a:pt x="1" y="147"/>
                    </a:lnTo>
                    <a:lnTo>
                      <a:pt x="43" y="167"/>
                    </a:lnTo>
                    <a:lnTo>
                      <a:pt x="189" y="147"/>
                    </a:lnTo>
                    <a:lnTo>
                      <a:pt x="252" y="147"/>
                    </a:lnTo>
                    <a:lnTo>
                      <a:pt x="252" y="63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7" name="Google Shape;12048;p43">
                <a:extLst>
                  <a:ext uri="{FF2B5EF4-FFF2-40B4-BE49-F238E27FC236}">
                    <a16:creationId xmlns:a16="http://schemas.microsoft.com/office/drawing/2014/main" id="{C89BC033-DE46-8F92-F108-9532ACA01B9E}"/>
                  </a:ext>
                </a:extLst>
              </p:cNvPr>
              <p:cNvSpPr/>
              <p:nvPr/>
            </p:nvSpPr>
            <p:spPr>
              <a:xfrm>
                <a:off x="3833800" y="2589400"/>
                <a:ext cx="1575" cy="1600"/>
              </a:xfrm>
              <a:custGeom>
                <a:avLst/>
                <a:gdLst/>
                <a:ahLst/>
                <a:cxnLst/>
                <a:rect l="l" t="t" r="r" b="b"/>
                <a:pathLst>
                  <a:path w="63" h="64" extrusionOk="0">
                    <a:moveTo>
                      <a:pt x="42" y="1"/>
                    </a:moveTo>
                    <a:lnTo>
                      <a:pt x="0" y="22"/>
                    </a:lnTo>
                    <a:lnTo>
                      <a:pt x="63" y="63"/>
                    </a:lnTo>
                    <a:lnTo>
                      <a:pt x="4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8" name="Google Shape;12049;p43">
                <a:extLst>
                  <a:ext uri="{FF2B5EF4-FFF2-40B4-BE49-F238E27FC236}">
                    <a16:creationId xmlns:a16="http://schemas.microsoft.com/office/drawing/2014/main" id="{6E4C0180-3AF9-7061-C07E-41F917F97BBD}"/>
                  </a:ext>
                </a:extLst>
              </p:cNvPr>
              <p:cNvSpPr/>
              <p:nvPr/>
            </p:nvSpPr>
            <p:spPr>
              <a:xfrm>
                <a:off x="3774675" y="2506225"/>
                <a:ext cx="164275" cy="182600"/>
              </a:xfrm>
              <a:custGeom>
                <a:avLst/>
                <a:gdLst/>
                <a:ahLst/>
                <a:cxnLst/>
                <a:rect l="l" t="t" r="r" b="b"/>
                <a:pathLst>
                  <a:path w="6571" h="7304" extrusionOk="0">
                    <a:moveTo>
                      <a:pt x="2595" y="1"/>
                    </a:moveTo>
                    <a:lnTo>
                      <a:pt x="2302" y="189"/>
                    </a:lnTo>
                    <a:lnTo>
                      <a:pt x="2114" y="105"/>
                    </a:lnTo>
                    <a:lnTo>
                      <a:pt x="2009" y="252"/>
                    </a:lnTo>
                    <a:lnTo>
                      <a:pt x="2072" y="419"/>
                    </a:lnTo>
                    <a:lnTo>
                      <a:pt x="1842" y="482"/>
                    </a:lnTo>
                    <a:lnTo>
                      <a:pt x="1800" y="691"/>
                    </a:lnTo>
                    <a:lnTo>
                      <a:pt x="1695" y="608"/>
                    </a:lnTo>
                    <a:lnTo>
                      <a:pt x="1591" y="608"/>
                    </a:lnTo>
                    <a:lnTo>
                      <a:pt x="1340" y="524"/>
                    </a:lnTo>
                    <a:lnTo>
                      <a:pt x="1340" y="691"/>
                    </a:lnTo>
                    <a:lnTo>
                      <a:pt x="1235" y="901"/>
                    </a:lnTo>
                    <a:lnTo>
                      <a:pt x="1172" y="796"/>
                    </a:lnTo>
                    <a:lnTo>
                      <a:pt x="1005" y="712"/>
                    </a:lnTo>
                    <a:lnTo>
                      <a:pt x="1026" y="587"/>
                    </a:lnTo>
                    <a:lnTo>
                      <a:pt x="900" y="503"/>
                    </a:lnTo>
                    <a:lnTo>
                      <a:pt x="691" y="880"/>
                    </a:lnTo>
                    <a:lnTo>
                      <a:pt x="524" y="796"/>
                    </a:lnTo>
                    <a:lnTo>
                      <a:pt x="294" y="942"/>
                    </a:lnTo>
                    <a:lnTo>
                      <a:pt x="168" y="901"/>
                    </a:lnTo>
                    <a:lnTo>
                      <a:pt x="105" y="942"/>
                    </a:lnTo>
                    <a:lnTo>
                      <a:pt x="126" y="1089"/>
                    </a:lnTo>
                    <a:lnTo>
                      <a:pt x="231" y="1193"/>
                    </a:lnTo>
                    <a:lnTo>
                      <a:pt x="210" y="1361"/>
                    </a:lnTo>
                    <a:lnTo>
                      <a:pt x="84" y="1403"/>
                    </a:lnTo>
                    <a:lnTo>
                      <a:pt x="1" y="1465"/>
                    </a:lnTo>
                    <a:lnTo>
                      <a:pt x="126" y="1633"/>
                    </a:lnTo>
                    <a:lnTo>
                      <a:pt x="168" y="1926"/>
                    </a:lnTo>
                    <a:lnTo>
                      <a:pt x="335" y="2051"/>
                    </a:lnTo>
                    <a:lnTo>
                      <a:pt x="524" y="2051"/>
                    </a:lnTo>
                    <a:lnTo>
                      <a:pt x="440" y="2240"/>
                    </a:lnTo>
                    <a:lnTo>
                      <a:pt x="503" y="2365"/>
                    </a:lnTo>
                    <a:lnTo>
                      <a:pt x="796" y="2302"/>
                    </a:lnTo>
                    <a:lnTo>
                      <a:pt x="900" y="2177"/>
                    </a:lnTo>
                    <a:lnTo>
                      <a:pt x="900" y="2072"/>
                    </a:lnTo>
                    <a:lnTo>
                      <a:pt x="1172" y="1926"/>
                    </a:lnTo>
                    <a:lnTo>
                      <a:pt x="1570" y="2030"/>
                    </a:lnTo>
                    <a:lnTo>
                      <a:pt x="1675" y="2093"/>
                    </a:lnTo>
                    <a:lnTo>
                      <a:pt x="1842" y="2156"/>
                    </a:lnTo>
                    <a:lnTo>
                      <a:pt x="1884" y="2261"/>
                    </a:lnTo>
                    <a:lnTo>
                      <a:pt x="1905" y="2302"/>
                    </a:lnTo>
                    <a:lnTo>
                      <a:pt x="1967" y="2386"/>
                    </a:lnTo>
                    <a:lnTo>
                      <a:pt x="2072" y="2574"/>
                    </a:lnTo>
                    <a:lnTo>
                      <a:pt x="2072" y="2679"/>
                    </a:lnTo>
                    <a:lnTo>
                      <a:pt x="2156" y="2721"/>
                    </a:lnTo>
                    <a:lnTo>
                      <a:pt x="2156" y="2888"/>
                    </a:lnTo>
                    <a:lnTo>
                      <a:pt x="2281" y="2930"/>
                    </a:lnTo>
                    <a:lnTo>
                      <a:pt x="2365" y="3035"/>
                    </a:lnTo>
                    <a:lnTo>
                      <a:pt x="2511" y="3202"/>
                    </a:lnTo>
                    <a:lnTo>
                      <a:pt x="2532" y="3307"/>
                    </a:lnTo>
                    <a:lnTo>
                      <a:pt x="2700" y="3307"/>
                    </a:lnTo>
                    <a:lnTo>
                      <a:pt x="2804" y="3432"/>
                    </a:lnTo>
                    <a:lnTo>
                      <a:pt x="2825" y="3537"/>
                    </a:lnTo>
                    <a:lnTo>
                      <a:pt x="2909" y="3558"/>
                    </a:lnTo>
                    <a:lnTo>
                      <a:pt x="3139" y="3851"/>
                    </a:lnTo>
                    <a:lnTo>
                      <a:pt x="3369" y="4018"/>
                    </a:lnTo>
                    <a:lnTo>
                      <a:pt x="3474" y="4039"/>
                    </a:lnTo>
                    <a:lnTo>
                      <a:pt x="3579" y="4081"/>
                    </a:lnTo>
                    <a:lnTo>
                      <a:pt x="3620" y="4186"/>
                    </a:lnTo>
                    <a:lnTo>
                      <a:pt x="3725" y="4186"/>
                    </a:lnTo>
                    <a:lnTo>
                      <a:pt x="3788" y="4123"/>
                    </a:lnTo>
                    <a:lnTo>
                      <a:pt x="3934" y="4165"/>
                    </a:lnTo>
                    <a:lnTo>
                      <a:pt x="4039" y="4165"/>
                    </a:lnTo>
                    <a:lnTo>
                      <a:pt x="4164" y="4395"/>
                    </a:lnTo>
                    <a:lnTo>
                      <a:pt x="4248" y="4458"/>
                    </a:lnTo>
                    <a:lnTo>
                      <a:pt x="4290" y="4416"/>
                    </a:lnTo>
                    <a:lnTo>
                      <a:pt x="4395" y="4458"/>
                    </a:lnTo>
                    <a:lnTo>
                      <a:pt x="4395" y="4520"/>
                    </a:lnTo>
                    <a:lnTo>
                      <a:pt x="4604" y="4520"/>
                    </a:lnTo>
                    <a:lnTo>
                      <a:pt x="4688" y="4625"/>
                    </a:lnTo>
                    <a:lnTo>
                      <a:pt x="4688" y="4730"/>
                    </a:lnTo>
                    <a:lnTo>
                      <a:pt x="4646" y="4792"/>
                    </a:lnTo>
                    <a:lnTo>
                      <a:pt x="4708" y="4834"/>
                    </a:lnTo>
                    <a:lnTo>
                      <a:pt x="4834" y="4834"/>
                    </a:lnTo>
                    <a:lnTo>
                      <a:pt x="4897" y="4939"/>
                    </a:lnTo>
                    <a:lnTo>
                      <a:pt x="5043" y="4981"/>
                    </a:lnTo>
                    <a:lnTo>
                      <a:pt x="5106" y="4939"/>
                    </a:lnTo>
                    <a:lnTo>
                      <a:pt x="5169" y="5002"/>
                    </a:lnTo>
                    <a:lnTo>
                      <a:pt x="5232" y="5190"/>
                    </a:lnTo>
                    <a:lnTo>
                      <a:pt x="5252" y="5357"/>
                    </a:lnTo>
                    <a:lnTo>
                      <a:pt x="5315" y="5441"/>
                    </a:lnTo>
                    <a:lnTo>
                      <a:pt x="5357" y="5650"/>
                    </a:lnTo>
                    <a:lnTo>
                      <a:pt x="5420" y="5755"/>
                    </a:lnTo>
                    <a:lnTo>
                      <a:pt x="5420" y="5859"/>
                    </a:lnTo>
                    <a:lnTo>
                      <a:pt x="5357" y="5943"/>
                    </a:lnTo>
                    <a:lnTo>
                      <a:pt x="5315" y="5943"/>
                    </a:lnTo>
                    <a:lnTo>
                      <a:pt x="5273" y="5964"/>
                    </a:lnTo>
                    <a:lnTo>
                      <a:pt x="5315" y="6069"/>
                    </a:lnTo>
                    <a:lnTo>
                      <a:pt x="5273" y="6173"/>
                    </a:lnTo>
                    <a:lnTo>
                      <a:pt x="5211" y="6257"/>
                    </a:lnTo>
                    <a:lnTo>
                      <a:pt x="5127" y="6278"/>
                    </a:lnTo>
                    <a:lnTo>
                      <a:pt x="5106" y="6341"/>
                    </a:lnTo>
                    <a:lnTo>
                      <a:pt x="5106" y="6362"/>
                    </a:lnTo>
                    <a:lnTo>
                      <a:pt x="5211" y="6466"/>
                    </a:lnTo>
                    <a:lnTo>
                      <a:pt x="5357" y="6445"/>
                    </a:lnTo>
                    <a:lnTo>
                      <a:pt x="5441" y="6341"/>
                    </a:lnTo>
                    <a:lnTo>
                      <a:pt x="5462" y="6194"/>
                    </a:lnTo>
                    <a:lnTo>
                      <a:pt x="5629" y="6069"/>
                    </a:lnTo>
                    <a:lnTo>
                      <a:pt x="5650" y="5818"/>
                    </a:lnTo>
                    <a:lnTo>
                      <a:pt x="5755" y="5713"/>
                    </a:lnTo>
                    <a:lnTo>
                      <a:pt x="5859" y="5671"/>
                    </a:lnTo>
                    <a:lnTo>
                      <a:pt x="5880" y="5608"/>
                    </a:lnTo>
                    <a:lnTo>
                      <a:pt x="5859" y="5546"/>
                    </a:lnTo>
                    <a:lnTo>
                      <a:pt x="5880" y="5399"/>
                    </a:lnTo>
                    <a:lnTo>
                      <a:pt x="5859" y="5336"/>
                    </a:lnTo>
                    <a:lnTo>
                      <a:pt x="5692" y="5190"/>
                    </a:lnTo>
                    <a:lnTo>
                      <a:pt x="5587" y="5190"/>
                    </a:lnTo>
                    <a:lnTo>
                      <a:pt x="5566" y="5127"/>
                    </a:lnTo>
                    <a:lnTo>
                      <a:pt x="5566" y="5043"/>
                    </a:lnTo>
                    <a:lnTo>
                      <a:pt x="5650" y="5002"/>
                    </a:lnTo>
                    <a:lnTo>
                      <a:pt x="5671" y="4918"/>
                    </a:lnTo>
                    <a:lnTo>
                      <a:pt x="5671" y="4834"/>
                    </a:lnTo>
                    <a:lnTo>
                      <a:pt x="5734" y="4771"/>
                    </a:lnTo>
                    <a:lnTo>
                      <a:pt x="5776" y="4625"/>
                    </a:lnTo>
                    <a:lnTo>
                      <a:pt x="5838" y="4604"/>
                    </a:lnTo>
                    <a:lnTo>
                      <a:pt x="5901" y="4604"/>
                    </a:lnTo>
                    <a:lnTo>
                      <a:pt x="6006" y="4667"/>
                    </a:lnTo>
                    <a:lnTo>
                      <a:pt x="6048" y="4709"/>
                    </a:lnTo>
                    <a:lnTo>
                      <a:pt x="6215" y="4709"/>
                    </a:lnTo>
                    <a:lnTo>
                      <a:pt x="6278" y="4730"/>
                    </a:lnTo>
                    <a:lnTo>
                      <a:pt x="6257" y="4813"/>
                    </a:lnTo>
                    <a:lnTo>
                      <a:pt x="6299" y="4918"/>
                    </a:lnTo>
                    <a:lnTo>
                      <a:pt x="6382" y="5022"/>
                    </a:lnTo>
                    <a:lnTo>
                      <a:pt x="6487" y="5085"/>
                    </a:lnTo>
                    <a:lnTo>
                      <a:pt x="6487" y="5043"/>
                    </a:lnTo>
                    <a:lnTo>
                      <a:pt x="6508" y="5022"/>
                    </a:lnTo>
                    <a:lnTo>
                      <a:pt x="6487" y="5002"/>
                    </a:lnTo>
                    <a:lnTo>
                      <a:pt x="6550" y="4918"/>
                    </a:lnTo>
                    <a:lnTo>
                      <a:pt x="6571" y="4771"/>
                    </a:lnTo>
                    <a:lnTo>
                      <a:pt x="6508" y="4688"/>
                    </a:lnTo>
                    <a:lnTo>
                      <a:pt x="6403" y="4604"/>
                    </a:lnTo>
                    <a:lnTo>
                      <a:pt x="6236" y="4562"/>
                    </a:lnTo>
                    <a:lnTo>
                      <a:pt x="6131" y="4416"/>
                    </a:lnTo>
                    <a:lnTo>
                      <a:pt x="5943" y="4290"/>
                    </a:lnTo>
                    <a:lnTo>
                      <a:pt x="5504" y="4060"/>
                    </a:lnTo>
                    <a:lnTo>
                      <a:pt x="5294" y="4018"/>
                    </a:lnTo>
                    <a:lnTo>
                      <a:pt x="5148" y="4018"/>
                    </a:lnTo>
                    <a:lnTo>
                      <a:pt x="5106" y="3914"/>
                    </a:lnTo>
                    <a:lnTo>
                      <a:pt x="5106" y="3851"/>
                    </a:lnTo>
                    <a:lnTo>
                      <a:pt x="5232" y="3746"/>
                    </a:lnTo>
                    <a:lnTo>
                      <a:pt x="5252" y="3662"/>
                    </a:lnTo>
                    <a:lnTo>
                      <a:pt x="5148" y="3621"/>
                    </a:lnTo>
                    <a:lnTo>
                      <a:pt x="5022" y="3642"/>
                    </a:lnTo>
                    <a:lnTo>
                      <a:pt x="4918" y="3621"/>
                    </a:lnTo>
                    <a:lnTo>
                      <a:pt x="4708" y="3621"/>
                    </a:lnTo>
                    <a:lnTo>
                      <a:pt x="4625" y="3558"/>
                    </a:lnTo>
                    <a:lnTo>
                      <a:pt x="4520" y="3537"/>
                    </a:lnTo>
                    <a:lnTo>
                      <a:pt x="4457" y="3453"/>
                    </a:lnTo>
                    <a:lnTo>
                      <a:pt x="4290" y="3328"/>
                    </a:lnTo>
                    <a:lnTo>
                      <a:pt x="4206" y="3202"/>
                    </a:lnTo>
                    <a:lnTo>
                      <a:pt x="4102" y="3097"/>
                    </a:lnTo>
                    <a:lnTo>
                      <a:pt x="4039" y="2993"/>
                    </a:lnTo>
                    <a:lnTo>
                      <a:pt x="4039" y="2867"/>
                    </a:lnTo>
                    <a:lnTo>
                      <a:pt x="3976" y="2825"/>
                    </a:lnTo>
                    <a:lnTo>
                      <a:pt x="3976" y="2721"/>
                    </a:lnTo>
                    <a:lnTo>
                      <a:pt x="3620" y="2365"/>
                    </a:lnTo>
                    <a:lnTo>
                      <a:pt x="3537" y="2261"/>
                    </a:lnTo>
                    <a:lnTo>
                      <a:pt x="3411" y="2177"/>
                    </a:lnTo>
                    <a:lnTo>
                      <a:pt x="3139" y="2051"/>
                    </a:lnTo>
                    <a:lnTo>
                      <a:pt x="3097" y="1968"/>
                    </a:lnTo>
                    <a:lnTo>
                      <a:pt x="3056" y="1821"/>
                    </a:lnTo>
                    <a:lnTo>
                      <a:pt x="3014" y="1654"/>
                    </a:lnTo>
                    <a:lnTo>
                      <a:pt x="3056" y="1612"/>
                    </a:lnTo>
                    <a:lnTo>
                      <a:pt x="3139" y="1465"/>
                    </a:lnTo>
                    <a:lnTo>
                      <a:pt x="3056" y="1361"/>
                    </a:lnTo>
                    <a:lnTo>
                      <a:pt x="3014" y="1235"/>
                    </a:lnTo>
                    <a:lnTo>
                      <a:pt x="3056" y="1152"/>
                    </a:lnTo>
                    <a:lnTo>
                      <a:pt x="3202" y="1131"/>
                    </a:lnTo>
                    <a:lnTo>
                      <a:pt x="3307" y="1026"/>
                    </a:lnTo>
                    <a:lnTo>
                      <a:pt x="3432" y="1026"/>
                    </a:lnTo>
                    <a:lnTo>
                      <a:pt x="3516" y="942"/>
                    </a:lnTo>
                    <a:lnTo>
                      <a:pt x="3579" y="901"/>
                    </a:lnTo>
                    <a:lnTo>
                      <a:pt x="3725" y="921"/>
                    </a:lnTo>
                    <a:lnTo>
                      <a:pt x="3683" y="712"/>
                    </a:lnTo>
                    <a:lnTo>
                      <a:pt x="3725" y="691"/>
                    </a:lnTo>
                    <a:lnTo>
                      <a:pt x="3662" y="587"/>
                    </a:lnTo>
                    <a:lnTo>
                      <a:pt x="3788" y="398"/>
                    </a:lnTo>
                    <a:lnTo>
                      <a:pt x="3725" y="315"/>
                    </a:lnTo>
                    <a:lnTo>
                      <a:pt x="3537" y="356"/>
                    </a:lnTo>
                    <a:lnTo>
                      <a:pt x="3202" y="273"/>
                    </a:lnTo>
                    <a:lnTo>
                      <a:pt x="2909" y="105"/>
                    </a:lnTo>
                    <a:lnTo>
                      <a:pt x="2930" y="1"/>
                    </a:lnTo>
                    <a:lnTo>
                      <a:pt x="2721" y="43"/>
                    </a:lnTo>
                    <a:lnTo>
                      <a:pt x="2595" y="1"/>
                    </a:lnTo>
                    <a:close/>
                    <a:moveTo>
                      <a:pt x="4960" y="6236"/>
                    </a:moveTo>
                    <a:lnTo>
                      <a:pt x="4813" y="6362"/>
                    </a:lnTo>
                    <a:lnTo>
                      <a:pt x="4750" y="6362"/>
                    </a:lnTo>
                    <a:lnTo>
                      <a:pt x="4625" y="6278"/>
                    </a:lnTo>
                    <a:lnTo>
                      <a:pt x="4499" y="6403"/>
                    </a:lnTo>
                    <a:lnTo>
                      <a:pt x="4227" y="6382"/>
                    </a:lnTo>
                    <a:lnTo>
                      <a:pt x="4018" y="6445"/>
                    </a:lnTo>
                    <a:lnTo>
                      <a:pt x="3872" y="6403"/>
                    </a:lnTo>
                    <a:lnTo>
                      <a:pt x="3767" y="6341"/>
                    </a:lnTo>
                    <a:lnTo>
                      <a:pt x="3641" y="6341"/>
                    </a:lnTo>
                    <a:lnTo>
                      <a:pt x="3558" y="6382"/>
                    </a:lnTo>
                    <a:lnTo>
                      <a:pt x="3495" y="6341"/>
                    </a:lnTo>
                    <a:lnTo>
                      <a:pt x="3369" y="6382"/>
                    </a:lnTo>
                    <a:lnTo>
                      <a:pt x="3348" y="6571"/>
                    </a:lnTo>
                    <a:lnTo>
                      <a:pt x="3474" y="6675"/>
                    </a:lnTo>
                    <a:lnTo>
                      <a:pt x="3600" y="6655"/>
                    </a:lnTo>
                    <a:lnTo>
                      <a:pt x="3809" y="6801"/>
                    </a:lnTo>
                    <a:lnTo>
                      <a:pt x="3955" y="6822"/>
                    </a:lnTo>
                    <a:lnTo>
                      <a:pt x="4060" y="6927"/>
                    </a:lnTo>
                    <a:lnTo>
                      <a:pt x="4311" y="7031"/>
                    </a:lnTo>
                    <a:lnTo>
                      <a:pt x="4374" y="7010"/>
                    </a:lnTo>
                    <a:lnTo>
                      <a:pt x="4478" y="7094"/>
                    </a:lnTo>
                    <a:lnTo>
                      <a:pt x="4499" y="7199"/>
                    </a:lnTo>
                    <a:lnTo>
                      <a:pt x="4750" y="7303"/>
                    </a:lnTo>
                    <a:lnTo>
                      <a:pt x="4855" y="7282"/>
                    </a:lnTo>
                    <a:lnTo>
                      <a:pt x="4855" y="7136"/>
                    </a:lnTo>
                    <a:lnTo>
                      <a:pt x="4918" y="7073"/>
                    </a:lnTo>
                    <a:lnTo>
                      <a:pt x="4918" y="6927"/>
                    </a:lnTo>
                    <a:lnTo>
                      <a:pt x="4813" y="6801"/>
                    </a:lnTo>
                    <a:lnTo>
                      <a:pt x="4918" y="6508"/>
                    </a:lnTo>
                    <a:lnTo>
                      <a:pt x="5022" y="6403"/>
                    </a:lnTo>
                    <a:lnTo>
                      <a:pt x="5022" y="6362"/>
                    </a:lnTo>
                    <a:lnTo>
                      <a:pt x="5043" y="6362"/>
                    </a:lnTo>
                    <a:lnTo>
                      <a:pt x="5043" y="6341"/>
                    </a:lnTo>
                    <a:lnTo>
                      <a:pt x="4960" y="623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7" name="Google Shape;12050;p43">
              <a:extLst>
                <a:ext uri="{FF2B5EF4-FFF2-40B4-BE49-F238E27FC236}">
                  <a16:creationId xmlns:a16="http://schemas.microsoft.com/office/drawing/2014/main" id="{B691FA04-87F6-C799-113C-0D56404F5B9D}"/>
                </a:ext>
              </a:extLst>
            </p:cNvPr>
            <p:cNvGrpSpPr/>
            <p:nvPr/>
          </p:nvGrpSpPr>
          <p:grpSpPr>
            <a:xfrm>
              <a:off x="3775674" y="2798496"/>
              <a:ext cx="40545" cy="23564"/>
              <a:chOff x="3750475" y="2481850"/>
              <a:chExt cx="85125" cy="51800"/>
            </a:xfrm>
          </p:grpSpPr>
          <p:sp>
            <p:nvSpPr>
              <p:cNvPr id="261" name="Google Shape;12051;p43">
                <a:extLst>
                  <a:ext uri="{FF2B5EF4-FFF2-40B4-BE49-F238E27FC236}">
                    <a16:creationId xmlns:a16="http://schemas.microsoft.com/office/drawing/2014/main" id="{47483B6D-801F-41F8-7C38-DB26604AD44B}"/>
                  </a:ext>
                </a:extLst>
              </p:cNvPr>
              <p:cNvSpPr/>
              <p:nvPr/>
            </p:nvSpPr>
            <p:spPr>
              <a:xfrm>
                <a:off x="3762125" y="2492625"/>
                <a:ext cx="64900" cy="36650"/>
              </a:xfrm>
              <a:custGeom>
                <a:avLst/>
                <a:gdLst/>
                <a:ahLst/>
                <a:cxnLst/>
                <a:rect l="l" t="t" r="r" b="b"/>
                <a:pathLst>
                  <a:path w="2596" h="1466" extrusionOk="0">
                    <a:moveTo>
                      <a:pt x="1507" y="1"/>
                    </a:moveTo>
                    <a:lnTo>
                      <a:pt x="1361" y="64"/>
                    </a:lnTo>
                    <a:lnTo>
                      <a:pt x="1402" y="105"/>
                    </a:lnTo>
                    <a:lnTo>
                      <a:pt x="1340" y="189"/>
                    </a:lnTo>
                    <a:lnTo>
                      <a:pt x="1214" y="126"/>
                    </a:lnTo>
                    <a:lnTo>
                      <a:pt x="1109" y="189"/>
                    </a:lnTo>
                    <a:lnTo>
                      <a:pt x="1005" y="168"/>
                    </a:lnTo>
                    <a:lnTo>
                      <a:pt x="817" y="210"/>
                    </a:lnTo>
                    <a:lnTo>
                      <a:pt x="712" y="210"/>
                    </a:lnTo>
                    <a:lnTo>
                      <a:pt x="691" y="126"/>
                    </a:lnTo>
                    <a:lnTo>
                      <a:pt x="565" y="126"/>
                    </a:lnTo>
                    <a:lnTo>
                      <a:pt x="482" y="231"/>
                    </a:lnTo>
                    <a:lnTo>
                      <a:pt x="607" y="294"/>
                    </a:lnTo>
                    <a:lnTo>
                      <a:pt x="607" y="398"/>
                    </a:lnTo>
                    <a:lnTo>
                      <a:pt x="503" y="440"/>
                    </a:lnTo>
                    <a:lnTo>
                      <a:pt x="398" y="608"/>
                    </a:lnTo>
                    <a:lnTo>
                      <a:pt x="314" y="628"/>
                    </a:lnTo>
                    <a:lnTo>
                      <a:pt x="168" y="859"/>
                    </a:lnTo>
                    <a:lnTo>
                      <a:pt x="147" y="1047"/>
                    </a:lnTo>
                    <a:lnTo>
                      <a:pt x="147" y="1152"/>
                    </a:lnTo>
                    <a:lnTo>
                      <a:pt x="84" y="1152"/>
                    </a:lnTo>
                    <a:lnTo>
                      <a:pt x="0" y="1173"/>
                    </a:lnTo>
                    <a:lnTo>
                      <a:pt x="42" y="1277"/>
                    </a:lnTo>
                    <a:lnTo>
                      <a:pt x="147" y="1277"/>
                    </a:lnTo>
                    <a:lnTo>
                      <a:pt x="293" y="1235"/>
                    </a:lnTo>
                    <a:lnTo>
                      <a:pt x="252" y="1068"/>
                    </a:lnTo>
                    <a:lnTo>
                      <a:pt x="314" y="1026"/>
                    </a:lnTo>
                    <a:lnTo>
                      <a:pt x="482" y="1026"/>
                    </a:lnTo>
                    <a:lnTo>
                      <a:pt x="524" y="1131"/>
                    </a:lnTo>
                    <a:lnTo>
                      <a:pt x="586" y="1277"/>
                    </a:lnTo>
                    <a:lnTo>
                      <a:pt x="670" y="1340"/>
                    </a:lnTo>
                    <a:lnTo>
                      <a:pt x="670" y="1424"/>
                    </a:lnTo>
                    <a:lnTo>
                      <a:pt x="796" y="1465"/>
                    </a:lnTo>
                    <a:lnTo>
                      <a:pt x="1026" y="1319"/>
                    </a:lnTo>
                    <a:lnTo>
                      <a:pt x="1151" y="1361"/>
                    </a:lnTo>
                    <a:lnTo>
                      <a:pt x="1361" y="1026"/>
                    </a:lnTo>
                    <a:lnTo>
                      <a:pt x="1507" y="1110"/>
                    </a:lnTo>
                    <a:lnTo>
                      <a:pt x="1507" y="1235"/>
                    </a:lnTo>
                    <a:lnTo>
                      <a:pt x="1674" y="1319"/>
                    </a:lnTo>
                    <a:lnTo>
                      <a:pt x="1737" y="1445"/>
                    </a:lnTo>
                    <a:lnTo>
                      <a:pt x="1842" y="1235"/>
                    </a:lnTo>
                    <a:lnTo>
                      <a:pt x="1842" y="1068"/>
                    </a:lnTo>
                    <a:lnTo>
                      <a:pt x="2093" y="1131"/>
                    </a:lnTo>
                    <a:lnTo>
                      <a:pt x="2197" y="1131"/>
                    </a:lnTo>
                    <a:lnTo>
                      <a:pt x="2302" y="1214"/>
                    </a:lnTo>
                    <a:lnTo>
                      <a:pt x="2302" y="1005"/>
                    </a:lnTo>
                    <a:lnTo>
                      <a:pt x="2553" y="942"/>
                    </a:lnTo>
                    <a:lnTo>
                      <a:pt x="2490" y="754"/>
                    </a:lnTo>
                    <a:lnTo>
                      <a:pt x="2595" y="628"/>
                    </a:lnTo>
                    <a:lnTo>
                      <a:pt x="2553" y="524"/>
                    </a:lnTo>
                    <a:lnTo>
                      <a:pt x="2469" y="524"/>
                    </a:lnTo>
                    <a:lnTo>
                      <a:pt x="2365" y="628"/>
                    </a:lnTo>
                    <a:lnTo>
                      <a:pt x="2260" y="503"/>
                    </a:lnTo>
                    <a:lnTo>
                      <a:pt x="2177" y="524"/>
                    </a:lnTo>
                    <a:lnTo>
                      <a:pt x="2030" y="524"/>
                    </a:lnTo>
                    <a:lnTo>
                      <a:pt x="1988" y="440"/>
                    </a:lnTo>
                    <a:lnTo>
                      <a:pt x="2030" y="398"/>
                    </a:lnTo>
                    <a:lnTo>
                      <a:pt x="2030" y="294"/>
                    </a:lnTo>
                    <a:lnTo>
                      <a:pt x="1884" y="210"/>
                    </a:lnTo>
                    <a:lnTo>
                      <a:pt x="1737" y="84"/>
                    </a:lnTo>
                    <a:lnTo>
                      <a:pt x="1653" y="84"/>
                    </a:lnTo>
                    <a:lnTo>
                      <a:pt x="1612" y="126"/>
                    </a:lnTo>
                    <a:lnTo>
                      <a:pt x="1528" y="105"/>
                    </a:lnTo>
                    <a:lnTo>
                      <a:pt x="150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2" name="Google Shape;12052;p43">
                <a:extLst>
                  <a:ext uri="{FF2B5EF4-FFF2-40B4-BE49-F238E27FC236}">
                    <a16:creationId xmlns:a16="http://schemas.microsoft.com/office/drawing/2014/main" id="{7179E989-4522-F62C-0817-A554B71A5A75}"/>
                  </a:ext>
                </a:extLst>
              </p:cNvPr>
              <p:cNvSpPr/>
              <p:nvPr/>
            </p:nvSpPr>
            <p:spPr>
              <a:xfrm>
                <a:off x="3750475" y="2481850"/>
                <a:ext cx="85125" cy="51800"/>
              </a:xfrm>
              <a:custGeom>
                <a:avLst/>
                <a:gdLst/>
                <a:ahLst/>
                <a:cxnLst/>
                <a:rect l="l" t="t" r="r" b="b"/>
                <a:pathLst>
                  <a:path w="3405" h="2072" extrusionOk="0">
                    <a:moveTo>
                      <a:pt x="1095" y="286"/>
                    </a:moveTo>
                    <a:lnTo>
                      <a:pt x="0" y="1667"/>
                    </a:lnTo>
                    <a:lnTo>
                      <a:pt x="547" y="2072"/>
                    </a:lnTo>
                    <a:lnTo>
                      <a:pt x="1214" y="1858"/>
                    </a:lnTo>
                    <a:lnTo>
                      <a:pt x="1881" y="1262"/>
                    </a:lnTo>
                    <a:lnTo>
                      <a:pt x="2976" y="1286"/>
                    </a:lnTo>
                    <a:lnTo>
                      <a:pt x="3405" y="786"/>
                    </a:lnTo>
                    <a:lnTo>
                      <a:pt x="216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28" name="Google Shape;12053;p43">
              <a:extLst>
                <a:ext uri="{FF2B5EF4-FFF2-40B4-BE49-F238E27FC236}">
                  <a16:creationId xmlns:a16="http://schemas.microsoft.com/office/drawing/2014/main" id="{CAD55313-CCC8-584B-1A4B-FB1C62AA576E}"/>
                </a:ext>
              </a:extLst>
            </p:cNvPr>
            <p:cNvGrpSpPr/>
            <p:nvPr/>
          </p:nvGrpSpPr>
          <p:grpSpPr>
            <a:xfrm>
              <a:off x="3716946" y="2776024"/>
              <a:ext cx="81971" cy="76912"/>
              <a:chOff x="3627175" y="2432450"/>
              <a:chExt cx="172100" cy="169075"/>
            </a:xfrm>
          </p:grpSpPr>
          <p:sp>
            <p:nvSpPr>
              <p:cNvPr id="258" name="Google Shape;12054;p43">
                <a:extLst>
                  <a:ext uri="{FF2B5EF4-FFF2-40B4-BE49-F238E27FC236}">
                    <a16:creationId xmlns:a16="http://schemas.microsoft.com/office/drawing/2014/main" id="{75DD959B-D8AE-E155-1F41-882A2EC13053}"/>
                  </a:ext>
                </a:extLst>
              </p:cNvPr>
              <p:cNvSpPr/>
              <p:nvPr/>
            </p:nvSpPr>
            <p:spPr>
              <a:xfrm>
                <a:off x="3627175" y="2433000"/>
                <a:ext cx="164800" cy="156950"/>
              </a:xfrm>
              <a:custGeom>
                <a:avLst/>
                <a:gdLst/>
                <a:ahLst/>
                <a:cxnLst/>
                <a:rect l="l" t="t" r="r" b="b"/>
                <a:pathLst>
                  <a:path w="6592" h="6278" extrusionOk="0">
                    <a:moveTo>
                      <a:pt x="3829" y="0"/>
                    </a:moveTo>
                    <a:lnTo>
                      <a:pt x="3808" y="42"/>
                    </a:lnTo>
                    <a:lnTo>
                      <a:pt x="3599" y="105"/>
                    </a:lnTo>
                    <a:lnTo>
                      <a:pt x="3578" y="63"/>
                    </a:lnTo>
                    <a:lnTo>
                      <a:pt x="3390" y="168"/>
                    </a:lnTo>
                    <a:lnTo>
                      <a:pt x="3369" y="272"/>
                    </a:lnTo>
                    <a:lnTo>
                      <a:pt x="3390" y="398"/>
                    </a:lnTo>
                    <a:lnTo>
                      <a:pt x="3348" y="607"/>
                    </a:lnTo>
                    <a:lnTo>
                      <a:pt x="3181" y="796"/>
                    </a:lnTo>
                    <a:lnTo>
                      <a:pt x="3181" y="837"/>
                    </a:lnTo>
                    <a:lnTo>
                      <a:pt x="2992" y="900"/>
                    </a:lnTo>
                    <a:lnTo>
                      <a:pt x="2888" y="900"/>
                    </a:lnTo>
                    <a:lnTo>
                      <a:pt x="2783" y="879"/>
                    </a:lnTo>
                    <a:lnTo>
                      <a:pt x="2574" y="1005"/>
                    </a:lnTo>
                    <a:lnTo>
                      <a:pt x="2532" y="1089"/>
                    </a:lnTo>
                    <a:lnTo>
                      <a:pt x="2574" y="1151"/>
                    </a:lnTo>
                    <a:lnTo>
                      <a:pt x="2658" y="1193"/>
                    </a:lnTo>
                    <a:lnTo>
                      <a:pt x="2532" y="1298"/>
                    </a:lnTo>
                    <a:lnTo>
                      <a:pt x="2365" y="1319"/>
                    </a:lnTo>
                    <a:lnTo>
                      <a:pt x="2134" y="1298"/>
                    </a:lnTo>
                    <a:lnTo>
                      <a:pt x="2030" y="1235"/>
                    </a:lnTo>
                    <a:lnTo>
                      <a:pt x="1946" y="1298"/>
                    </a:lnTo>
                    <a:lnTo>
                      <a:pt x="1925" y="1214"/>
                    </a:lnTo>
                    <a:lnTo>
                      <a:pt x="1841" y="1151"/>
                    </a:lnTo>
                    <a:lnTo>
                      <a:pt x="1883" y="1047"/>
                    </a:lnTo>
                    <a:lnTo>
                      <a:pt x="1800" y="1026"/>
                    </a:lnTo>
                    <a:lnTo>
                      <a:pt x="1695" y="1047"/>
                    </a:lnTo>
                    <a:lnTo>
                      <a:pt x="1569" y="1047"/>
                    </a:lnTo>
                    <a:lnTo>
                      <a:pt x="1507" y="1026"/>
                    </a:lnTo>
                    <a:lnTo>
                      <a:pt x="1528" y="1151"/>
                    </a:lnTo>
                    <a:lnTo>
                      <a:pt x="1507" y="1214"/>
                    </a:lnTo>
                    <a:lnTo>
                      <a:pt x="1716" y="1402"/>
                    </a:lnTo>
                    <a:lnTo>
                      <a:pt x="1674" y="1444"/>
                    </a:lnTo>
                    <a:lnTo>
                      <a:pt x="1695" y="1528"/>
                    </a:lnTo>
                    <a:lnTo>
                      <a:pt x="1695" y="1633"/>
                    </a:lnTo>
                    <a:lnTo>
                      <a:pt x="1737" y="1716"/>
                    </a:lnTo>
                    <a:lnTo>
                      <a:pt x="1737" y="1821"/>
                    </a:lnTo>
                    <a:lnTo>
                      <a:pt x="1569" y="1779"/>
                    </a:lnTo>
                    <a:lnTo>
                      <a:pt x="1465" y="1821"/>
                    </a:lnTo>
                    <a:lnTo>
                      <a:pt x="1381" y="1779"/>
                    </a:lnTo>
                    <a:lnTo>
                      <a:pt x="1277" y="1821"/>
                    </a:lnTo>
                    <a:lnTo>
                      <a:pt x="1256" y="1758"/>
                    </a:lnTo>
                    <a:lnTo>
                      <a:pt x="1109" y="1863"/>
                    </a:lnTo>
                    <a:lnTo>
                      <a:pt x="963" y="1653"/>
                    </a:lnTo>
                    <a:lnTo>
                      <a:pt x="858" y="1633"/>
                    </a:lnTo>
                    <a:lnTo>
                      <a:pt x="733" y="1653"/>
                    </a:lnTo>
                    <a:lnTo>
                      <a:pt x="628" y="1758"/>
                    </a:lnTo>
                    <a:lnTo>
                      <a:pt x="565" y="1737"/>
                    </a:lnTo>
                    <a:lnTo>
                      <a:pt x="481" y="1779"/>
                    </a:lnTo>
                    <a:lnTo>
                      <a:pt x="440" y="1758"/>
                    </a:lnTo>
                    <a:lnTo>
                      <a:pt x="335" y="1758"/>
                    </a:lnTo>
                    <a:lnTo>
                      <a:pt x="251" y="1842"/>
                    </a:lnTo>
                    <a:lnTo>
                      <a:pt x="63" y="1863"/>
                    </a:lnTo>
                    <a:lnTo>
                      <a:pt x="0" y="1946"/>
                    </a:lnTo>
                    <a:lnTo>
                      <a:pt x="42" y="2030"/>
                    </a:lnTo>
                    <a:lnTo>
                      <a:pt x="147" y="1988"/>
                    </a:lnTo>
                    <a:lnTo>
                      <a:pt x="251" y="2030"/>
                    </a:lnTo>
                    <a:lnTo>
                      <a:pt x="272" y="2051"/>
                    </a:lnTo>
                    <a:lnTo>
                      <a:pt x="272" y="2051"/>
                    </a:lnTo>
                    <a:lnTo>
                      <a:pt x="147" y="2030"/>
                    </a:lnTo>
                    <a:lnTo>
                      <a:pt x="105" y="2051"/>
                    </a:lnTo>
                    <a:lnTo>
                      <a:pt x="126" y="2156"/>
                    </a:lnTo>
                    <a:lnTo>
                      <a:pt x="168" y="2072"/>
                    </a:lnTo>
                    <a:lnTo>
                      <a:pt x="230" y="2093"/>
                    </a:lnTo>
                    <a:lnTo>
                      <a:pt x="251" y="2177"/>
                    </a:lnTo>
                    <a:lnTo>
                      <a:pt x="209" y="2197"/>
                    </a:lnTo>
                    <a:lnTo>
                      <a:pt x="105" y="2239"/>
                    </a:lnTo>
                    <a:lnTo>
                      <a:pt x="105" y="2260"/>
                    </a:lnTo>
                    <a:lnTo>
                      <a:pt x="209" y="2260"/>
                    </a:lnTo>
                    <a:lnTo>
                      <a:pt x="230" y="2386"/>
                    </a:lnTo>
                    <a:lnTo>
                      <a:pt x="230" y="2469"/>
                    </a:lnTo>
                    <a:lnTo>
                      <a:pt x="335" y="2386"/>
                    </a:lnTo>
                    <a:lnTo>
                      <a:pt x="481" y="2386"/>
                    </a:lnTo>
                    <a:lnTo>
                      <a:pt x="670" y="2469"/>
                    </a:lnTo>
                    <a:lnTo>
                      <a:pt x="733" y="2511"/>
                    </a:lnTo>
                    <a:lnTo>
                      <a:pt x="774" y="2511"/>
                    </a:lnTo>
                    <a:lnTo>
                      <a:pt x="900" y="2595"/>
                    </a:lnTo>
                    <a:lnTo>
                      <a:pt x="1005" y="2511"/>
                    </a:lnTo>
                    <a:lnTo>
                      <a:pt x="1067" y="2553"/>
                    </a:lnTo>
                    <a:lnTo>
                      <a:pt x="1046" y="2595"/>
                    </a:lnTo>
                    <a:lnTo>
                      <a:pt x="1067" y="2658"/>
                    </a:lnTo>
                    <a:lnTo>
                      <a:pt x="1172" y="2595"/>
                    </a:lnTo>
                    <a:lnTo>
                      <a:pt x="1214" y="2658"/>
                    </a:lnTo>
                    <a:lnTo>
                      <a:pt x="1172" y="2762"/>
                    </a:lnTo>
                    <a:lnTo>
                      <a:pt x="1214" y="2825"/>
                    </a:lnTo>
                    <a:lnTo>
                      <a:pt x="1297" y="2825"/>
                    </a:lnTo>
                    <a:lnTo>
                      <a:pt x="1402" y="2783"/>
                    </a:lnTo>
                    <a:lnTo>
                      <a:pt x="1528" y="2783"/>
                    </a:lnTo>
                    <a:lnTo>
                      <a:pt x="1611" y="2888"/>
                    </a:lnTo>
                    <a:lnTo>
                      <a:pt x="1507" y="2825"/>
                    </a:lnTo>
                    <a:lnTo>
                      <a:pt x="1402" y="2825"/>
                    </a:lnTo>
                    <a:lnTo>
                      <a:pt x="1360" y="2930"/>
                    </a:lnTo>
                    <a:lnTo>
                      <a:pt x="1402" y="2972"/>
                    </a:lnTo>
                    <a:lnTo>
                      <a:pt x="1423" y="3076"/>
                    </a:lnTo>
                    <a:lnTo>
                      <a:pt x="1381" y="3181"/>
                    </a:lnTo>
                    <a:lnTo>
                      <a:pt x="1402" y="3244"/>
                    </a:lnTo>
                    <a:lnTo>
                      <a:pt x="1486" y="3244"/>
                    </a:lnTo>
                    <a:lnTo>
                      <a:pt x="1632" y="3432"/>
                    </a:lnTo>
                    <a:lnTo>
                      <a:pt x="1779" y="3453"/>
                    </a:lnTo>
                    <a:lnTo>
                      <a:pt x="1904" y="3537"/>
                    </a:lnTo>
                    <a:lnTo>
                      <a:pt x="1904" y="3641"/>
                    </a:lnTo>
                    <a:lnTo>
                      <a:pt x="1946" y="3725"/>
                    </a:lnTo>
                    <a:lnTo>
                      <a:pt x="1904" y="3830"/>
                    </a:lnTo>
                    <a:lnTo>
                      <a:pt x="1883" y="3850"/>
                    </a:lnTo>
                    <a:lnTo>
                      <a:pt x="1841" y="3934"/>
                    </a:lnTo>
                    <a:lnTo>
                      <a:pt x="1946" y="3955"/>
                    </a:lnTo>
                    <a:lnTo>
                      <a:pt x="2134" y="4081"/>
                    </a:lnTo>
                    <a:lnTo>
                      <a:pt x="2260" y="4436"/>
                    </a:lnTo>
                    <a:lnTo>
                      <a:pt x="2260" y="4436"/>
                    </a:lnTo>
                    <a:lnTo>
                      <a:pt x="2113" y="4269"/>
                    </a:lnTo>
                    <a:lnTo>
                      <a:pt x="2093" y="4143"/>
                    </a:lnTo>
                    <a:lnTo>
                      <a:pt x="1946" y="4081"/>
                    </a:lnTo>
                    <a:lnTo>
                      <a:pt x="1904" y="4122"/>
                    </a:lnTo>
                    <a:lnTo>
                      <a:pt x="1841" y="4394"/>
                    </a:lnTo>
                    <a:lnTo>
                      <a:pt x="1841" y="4604"/>
                    </a:lnTo>
                    <a:lnTo>
                      <a:pt x="1946" y="4687"/>
                    </a:lnTo>
                    <a:lnTo>
                      <a:pt x="1883" y="4750"/>
                    </a:lnTo>
                    <a:lnTo>
                      <a:pt x="1841" y="5127"/>
                    </a:lnTo>
                    <a:lnTo>
                      <a:pt x="1737" y="5482"/>
                    </a:lnTo>
                    <a:lnTo>
                      <a:pt x="1590" y="5545"/>
                    </a:lnTo>
                    <a:lnTo>
                      <a:pt x="1695" y="5608"/>
                    </a:lnTo>
                    <a:lnTo>
                      <a:pt x="1716" y="5629"/>
                    </a:lnTo>
                    <a:lnTo>
                      <a:pt x="1779" y="5629"/>
                    </a:lnTo>
                    <a:lnTo>
                      <a:pt x="1800" y="5754"/>
                    </a:lnTo>
                    <a:lnTo>
                      <a:pt x="1800" y="5859"/>
                    </a:lnTo>
                    <a:lnTo>
                      <a:pt x="1946" y="5838"/>
                    </a:lnTo>
                    <a:lnTo>
                      <a:pt x="2197" y="5922"/>
                    </a:lnTo>
                    <a:lnTo>
                      <a:pt x="2302" y="6047"/>
                    </a:lnTo>
                    <a:lnTo>
                      <a:pt x="2406" y="6006"/>
                    </a:lnTo>
                    <a:lnTo>
                      <a:pt x="2532" y="6131"/>
                    </a:lnTo>
                    <a:lnTo>
                      <a:pt x="2678" y="6131"/>
                    </a:lnTo>
                    <a:lnTo>
                      <a:pt x="2762" y="6152"/>
                    </a:lnTo>
                    <a:lnTo>
                      <a:pt x="2867" y="6047"/>
                    </a:lnTo>
                    <a:lnTo>
                      <a:pt x="3139" y="6047"/>
                    </a:lnTo>
                    <a:lnTo>
                      <a:pt x="3243" y="6110"/>
                    </a:lnTo>
                    <a:lnTo>
                      <a:pt x="3390" y="6068"/>
                    </a:lnTo>
                    <a:lnTo>
                      <a:pt x="3557" y="6173"/>
                    </a:lnTo>
                    <a:lnTo>
                      <a:pt x="3829" y="6152"/>
                    </a:lnTo>
                    <a:lnTo>
                      <a:pt x="4018" y="6257"/>
                    </a:lnTo>
                    <a:lnTo>
                      <a:pt x="4101" y="6278"/>
                    </a:lnTo>
                    <a:lnTo>
                      <a:pt x="4101" y="6236"/>
                    </a:lnTo>
                    <a:lnTo>
                      <a:pt x="4038" y="6068"/>
                    </a:lnTo>
                    <a:lnTo>
                      <a:pt x="4101" y="5859"/>
                    </a:lnTo>
                    <a:lnTo>
                      <a:pt x="4101" y="5796"/>
                    </a:lnTo>
                    <a:lnTo>
                      <a:pt x="4227" y="5650"/>
                    </a:lnTo>
                    <a:lnTo>
                      <a:pt x="4436" y="5441"/>
                    </a:lnTo>
                    <a:lnTo>
                      <a:pt x="4499" y="5441"/>
                    </a:lnTo>
                    <a:lnTo>
                      <a:pt x="4562" y="5503"/>
                    </a:lnTo>
                    <a:lnTo>
                      <a:pt x="4708" y="5503"/>
                    </a:lnTo>
                    <a:lnTo>
                      <a:pt x="4834" y="5587"/>
                    </a:lnTo>
                    <a:lnTo>
                      <a:pt x="4938" y="5587"/>
                    </a:lnTo>
                    <a:lnTo>
                      <a:pt x="5022" y="5524"/>
                    </a:lnTo>
                    <a:lnTo>
                      <a:pt x="5085" y="5503"/>
                    </a:lnTo>
                    <a:lnTo>
                      <a:pt x="5461" y="5734"/>
                    </a:lnTo>
                    <a:lnTo>
                      <a:pt x="5545" y="5817"/>
                    </a:lnTo>
                    <a:lnTo>
                      <a:pt x="5796" y="5817"/>
                    </a:lnTo>
                    <a:lnTo>
                      <a:pt x="5901" y="5734"/>
                    </a:lnTo>
                    <a:lnTo>
                      <a:pt x="5880" y="5692"/>
                    </a:lnTo>
                    <a:lnTo>
                      <a:pt x="5984" y="5545"/>
                    </a:lnTo>
                    <a:lnTo>
                      <a:pt x="6340" y="5294"/>
                    </a:lnTo>
                    <a:lnTo>
                      <a:pt x="6382" y="5273"/>
                    </a:lnTo>
                    <a:lnTo>
                      <a:pt x="6319" y="5169"/>
                    </a:lnTo>
                    <a:lnTo>
                      <a:pt x="6403" y="4980"/>
                    </a:lnTo>
                    <a:lnTo>
                      <a:pt x="6235" y="4980"/>
                    </a:lnTo>
                    <a:lnTo>
                      <a:pt x="6068" y="4855"/>
                    </a:lnTo>
                    <a:lnTo>
                      <a:pt x="6026" y="4562"/>
                    </a:lnTo>
                    <a:lnTo>
                      <a:pt x="5880" y="4394"/>
                    </a:lnTo>
                    <a:lnTo>
                      <a:pt x="5963" y="4332"/>
                    </a:lnTo>
                    <a:lnTo>
                      <a:pt x="6089" y="4290"/>
                    </a:lnTo>
                    <a:lnTo>
                      <a:pt x="6131" y="4122"/>
                    </a:lnTo>
                    <a:lnTo>
                      <a:pt x="6026" y="4018"/>
                    </a:lnTo>
                    <a:lnTo>
                      <a:pt x="6005" y="3850"/>
                    </a:lnTo>
                    <a:lnTo>
                      <a:pt x="6068" y="3809"/>
                    </a:lnTo>
                    <a:lnTo>
                      <a:pt x="6068" y="3725"/>
                    </a:lnTo>
                    <a:lnTo>
                      <a:pt x="5984" y="3662"/>
                    </a:lnTo>
                    <a:lnTo>
                      <a:pt x="5922" y="3516"/>
                    </a:lnTo>
                    <a:lnTo>
                      <a:pt x="5880" y="3411"/>
                    </a:lnTo>
                    <a:lnTo>
                      <a:pt x="5712" y="3411"/>
                    </a:lnTo>
                    <a:lnTo>
                      <a:pt x="5650" y="3453"/>
                    </a:lnTo>
                    <a:lnTo>
                      <a:pt x="5691" y="3620"/>
                    </a:lnTo>
                    <a:lnTo>
                      <a:pt x="5545" y="3662"/>
                    </a:lnTo>
                    <a:lnTo>
                      <a:pt x="5440" y="3662"/>
                    </a:lnTo>
                    <a:lnTo>
                      <a:pt x="5398" y="3558"/>
                    </a:lnTo>
                    <a:lnTo>
                      <a:pt x="5482" y="3537"/>
                    </a:lnTo>
                    <a:lnTo>
                      <a:pt x="5545" y="3537"/>
                    </a:lnTo>
                    <a:lnTo>
                      <a:pt x="5545" y="3432"/>
                    </a:lnTo>
                    <a:lnTo>
                      <a:pt x="5566" y="3244"/>
                    </a:lnTo>
                    <a:lnTo>
                      <a:pt x="5712" y="3013"/>
                    </a:lnTo>
                    <a:lnTo>
                      <a:pt x="5796" y="2993"/>
                    </a:lnTo>
                    <a:lnTo>
                      <a:pt x="5901" y="2825"/>
                    </a:lnTo>
                    <a:lnTo>
                      <a:pt x="6005" y="2783"/>
                    </a:lnTo>
                    <a:lnTo>
                      <a:pt x="6005" y="2679"/>
                    </a:lnTo>
                    <a:lnTo>
                      <a:pt x="5880" y="2616"/>
                    </a:lnTo>
                    <a:lnTo>
                      <a:pt x="5963" y="2511"/>
                    </a:lnTo>
                    <a:lnTo>
                      <a:pt x="6089" y="2511"/>
                    </a:lnTo>
                    <a:lnTo>
                      <a:pt x="6110" y="2595"/>
                    </a:lnTo>
                    <a:lnTo>
                      <a:pt x="6215" y="2595"/>
                    </a:lnTo>
                    <a:lnTo>
                      <a:pt x="6403" y="2553"/>
                    </a:lnTo>
                    <a:lnTo>
                      <a:pt x="6340" y="2449"/>
                    </a:lnTo>
                    <a:lnTo>
                      <a:pt x="6235" y="2365"/>
                    </a:lnTo>
                    <a:lnTo>
                      <a:pt x="6235" y="2197"/>
                    </a:lnTo>
                    <a:lnTo>
                      <a:pt x="6298" y="2030"/>
                    </a:lnTo>
                    <a:lnTo>
                      <a:pt x="6382" y="1946"/>
                    </a:lnTo>
                    <a:lnTo>
                      <a:pt x="6382" y="1842"/>
                    </a:lnTo>
                    <a:lnTo>
                      <a:pt x="6445" y="1674"/>
                    </a:lnTo>
                    <a:lnTo>
                      <a:pt x="6591" y="1549"/>
                    </a:lnTo>
                    <a:lnTo>
                      <a:pt x="6445" y="1465"/>
                    </a:lnTo>
                    <a:lnTo>
                      <a:pt x="6340" y="1465"/>
                    </a:lnTo>
                    <a:lnTo>
                      <a:pt x="6215" y="1402"/>
                    </a:lnTo>
                    <a:lnTo>
                      <a:pt x="6110" y="1444"/>
                    </a:lnTo>
                    <a:lnTo>
                      <a:pt x="6026" y="1402"/>
                    </a:lnTo>
                    <a:lnTo>
                      <a:pt x="5922" y="1402"/>
                    </a:lnTo>
                    <a:lnTo>
                      <a:pt x="5859" y="1444"/>
                    </a:lnTo>
                    <a:lnTo>
                      <a:pt x="5754" y="1361"/>
                    </a:lnTo>
                    <a:lnTo>
                      <a:pt x="5754" y="1298"/>
                    </a:lnTo>
                    <a:lnTo>
                      <a:pt x="5650" y="1214"/>
                    </a:lnTo>
                    <a:lnTo>
                      <a:pt x="5566" y="1235"/>
                    </a:lnTo>
                    <a:lnTo>
                      <a:pt x="5398" y="1193"/>
                    </a:lnTo>
                    <a:lnTo>
                      <a:pt x="5357" y="1089"/>
                    </a:lnTo>
                    <a:lnTo>
                      <a:pt x="5252" y="1089"/>
                    </a:lnTo>
                    <a:lnTo>
                      <a:pt x="5189" y="1130"/>
                    </a:lnTo>
                    <a:lnTo>
                      <a:pt x="5085" y="1047"/>
                    </a:lnTo>
                    <a:lnTo>
                      <a:pt x="4980" y="1026"/>
                    </a:lnTo>
                    <a:lnTo>
                      <a:pt x="4854" y="879"/>
                    </a:lnTo>
                    <a:lnTo>
                      <a:pt x="4771" y="837"/>
                    </a:lnTo>
                    <a:lnTo>
                      <a:pt x="4729" y="796"/>
                    </a:lnTo>
                    <a:lnTo>
                      <a:pt x="4645" y="796"/>
                    </a:lnTo>
                    <a:lnTo>
                      <a:pt x="4603" y="837"/>
                    </a:lnTo>
                    <a:lnTo>
                      <a:pt x="4457" y="775"/>
                    </a:lnTo>
                    <a:lnTo>
                      <a:pt x="4457" y="607"/>
                    </a:lnTo>
                    <a:lnTo>
                      <a:pt x="4394" y="586"/>
                    </a:lnTo>
                    <a:lnTo>
                      <a:pt x="4310" y="524"/>
                    </a:lnTo>
                    <a:lnTo>
                      <a:pt x="4227" y="524"/>
                    </a:lnTo>
                    <a:lnTo>
                      <a:pt x="4080" y="398"/>
                    </a:lnTo>
                    <a:lnTo>
                      <a:pt x="4038" y="293"/>
                    </a:lnTo>
                    <a:lnTo>
                      <a:pt x="3913" y="252"/>
                    </a:lnTo>
                    <a:lnTo>
                      <a:pt x="3892" y="63"/>
                    </a:lnTo>
                    <a:lnTo>
                      <a:pt x="382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9" name="Google Shape;12055;p43">
                <a:extLst>
                  <a:ext uri="{FF2B5EF4-FFF2-40B4-BE49-F238E27FC236}">
                    <a16:creationId xmlns:a16="http://schemas.microsoft.com/office/drawing/2014/main" id="{2A4ED98B-D358-5485-7B65-30A5DA458831}"/>
                  </a:ext>
                </a:extLst>
              </p:cNvPr>
              <p:cNvSpPr/>
              <p:nvPr/>
            </p:nvSpPr>
            <p:spPr>
              <a:xfrm>
                <a:off x="3658200" y="2557475"/>
                <a:ext cx="70850" cy="44050"/>
              </a:xfrm>
              <a:custGeom>
                <a:avLst/>
                <a:gdLst/>
                <a:ahLst/>
                <a:cxnLst/>
                <a:rect l="l" t="t" r="r" b="b"/>
                <a:pathLst>
                  <a:path w="2834" h="1762" extrusionOk="0">
                    <a:moveTo>
                      <a:pt x="571" y="595"/>
                    </a:moveTo>
                    <a:lnTo>
                      <a:pt x="0" y="1119"/>
                    </a:lnTo>
                    <a:lnTo>
                      <a:pt x="1833" y="1762"/>
                    </a:lnTo>
                    <a:lnTo>
                      <a:pt x="2714" y="1476"/>
                    </a:lnTo>
                    <a:lnTo>
                      <a:pt x="2834" y="1071"/>
                    </a:lnTo>
                    <a:lnTo>
                      <a:pt x="183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260" name="Google Shape;12056;p43">
                <a:extLst>
                  <a:ext uri="{FF2B5EF4-FFF2-40B4-BE49-F238E27FC236}">
                    <a16:creationId xmlns:a16="http://schemas.microsoft.com/office/drawing/2014/main" id="{8772DCB6-98B3-F372-0F3E-238CE32E7628}"/>
                  </a:ext>
                </a:extLst>
              </p:cNvPr>
              <p:cNvSpPr/>
              <p:nvPr/>
            </p:nvSpPr>
            <p:spPr>
              <a:xfrm>
                <a:off x="3719525" y="2432450"/>
                <a:ext cx="79750" cy="89900"/>
              </a:xfrm>
              <a:custGeom>
                <a:avLst/>
                <a:gdLst/>
                <a:ahLst/>
                <a:cxnLst/>
                <a:rect l="l" t="t" r="r" b="b"/>
                <a:pathLst>
                  <a:path w="3190" h="3596" extrusionOk="0">
                    <a:moveTo>
                      <a:pt x="0" y="167"/>
                    </a:moveTo>
                    <a:lnTo>
                      <a:pt x="261" y="0"/>
                    </a:lnTo>
                    <a:lnTo>
                      <a:pt x="1619" y="1095"/>
                    </a:lnTo>
                    <a:lnTo>
                      <a:pt x="2381" y="1286"/>
                    </a:lnTo>
                    <a:lnTo>
                      <a:pt x="3190" y="1429"/>
                    </a:lnTo>
                    <a:lnTo>
                      <a:pt x="2809" y="2595"/>
                    </a:lnTo>
                    <a:lnTo>
                      <a:pt x="2071" y="2429"/>
                    </a:lnTo>
                    <a:lnTo>
                      <a:pt x="1524" y="359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29" name="Google Shape;12057;p43">
              <a:extLst>
                <a:ext uri="{FF2B5EF4-FFF2-40B4-BE49-F238E27FC236}">
                  <a16:creationId xmlns:a16="http://schemas.microsoft.com/office/drawing/2014/main" id="{4398D542-B05F-58BD-49BA-1B0212F22CA2}"/>
                </a:ext>
              </a:extLst>
            </p:cNvPr>
            <p:cNvGrpSpPr/>
            <p:nvPr/>
          </p:nvGrpSpPr>
          <p:grpSpPr>
            <a:xfrm>
              <a:off x="3685682" y="2845624"/>
              <a:ext cx="29311" cy="45055"/>
              <a:chOff x="3561536" y="2585450"/>
              <a:chExt cx="61539" cy="99045"/>
            </a:xfrm>
          </p:grpSpPr>
          <p:sp>
            <p:nvSpPr>
              <p:cNvPr id="256" name="Google Shape;12058;p43">
                <a:extLst>
                  <a:ext uri="{FF2B5EF4-FFF2-40B4-BE49-F238E27FC236}">
                    <a16:creationId xmlns:a16="http://schemas.microsoft.com/office/drawing/2014/main" id="{A1C30466-2792-82A4-169C-A883A9563F1C}"/>
                  </a:ext>
                </a:extLst>
              </p:cNvPr>
              <p:cNvSpPr/>
              <p:nvPr/>
            </p:nvSpPr>
            <p:spPr>
              <a:xfrm rot="192277">
                <a:off x="3564002" y="2593849"/>
                <a:ext cx="44498" cy="89472"/>
              </a:xfrm>
              <a:custGeom>
                <a:avLst/>
                <a:gdLst/>
                <a:ahLst/>
                <a:cxnLst/>
                <a:rect l="l" t="t" r="r" b="b"/>
                <a:pathLst>
                  <a:path w="1780" h="3579" extrusionOk="0">
                    <a:moveTo>
                      <a:pt x="628" y="1"/>
                    </a:moveTo>
                    <a:lnTo>
                      <a:pt x="356" y="22"/>
                    </a:lnTo>
                    <a:lnTo>
                      <a:pt x="377" y="147"/>
                    </a:lnTo>
                    <a:lnTo>
                      <a:pt x="461" y="357"/>
                    </a:lnTo>
                    <a:lnTo>
                      <a:pt x="440" y="712"/>
                    </a:lnTo>
                    <a:lnTo>
                      <a:pt x="440" y="775"/>
                    </a:lnTo>
                    <a:lnTo>
                      <a:pt x="419" y="943"/>
                    </a:lnTo>
                    <a:lnTo>
                      <a:pt x="482" y="1026"/>
                    </a:lnTo>
                    <a:lnTo>
                      <a:pt x="440" y="1131"/>
                    </a:lnTo>
                    <a:lnTo>
                      <a:pt x="356" y="1256"/>
                    </a:lnTo>
                    <a:lnTo>
                      <a:pt x="356" y="1445"/>
                    </a:lnTo>
                    <a:lnTo>
                      <a:pt x="231" y="1654"/>
                    </a:lnTo>
                    <a:lnTo>
                      <a:pt x="231" y="1759"/>
                    </a:lnTo>
                    <a:lnTo>
                      <a:pt x="64" y="1968"/>
                    </a:lnTo>
                    <a:lnTo>
                      <a:pt x="1" y="2303"/>
                    </a:lnTo>
                    <a:lnTo>
                      <a:pt x="1" y="2386"/>
                    </a:lnTo>
                    <a:lnTo>
                      <a:pt x="105" y="2386"/>
                    </a:lnTo>
                    <a:lnTo>
                      <a:pt x="168" y="2303"/>
                    </a:lnTo>
                    <a:lnTo>
                      <a:pt x="273" y="2219"/>
                    </a:lnTo>
                    <a:lnTo>
                      <a:pt x="252" y="2303"/>
                    </a:lnTo>
                    <a:lnTo>
                      <a:pt x="315" y="2344"/>
                    </a:lnTo>
                    <a:lnTo>
                      <a:pt x="126" y="2428"/>
                    </a:lnTo>
                    <a:lnTo>
                      <a:pt x="126" y="2554"/>
                    </a:lnTo>
                    <a:lnTo>
                      <a:pt x="168" y="2616"/>
                    </a:lnTo>
                    <a:lnTo>
                      <a:pt x="252" y="2533"/>
                    </a:lnTo>
                    <a:lnTo>
                      <a:pt x="419" y="2533"/>
                    </a:lnTo>
                    <a:lnTo>
                      <a:pt x="336" y="2616"/>
                    </a:lnTo>
                    <a:lnTo>
                      <a:pt x="377" y="2763"/>
                    </a:lnTo>
                    <a:lnTo>
                      <a:pt x="336" y="2909"/>
                    </a:lnTo>
                    <a:lnTo>
                      <a:pt x="336" y="3223"/>
                    </a:lnTo>
                    <a:lnTo>
                      <a:pt x="273" y="3432"/>
                    </a:lnTo>
                    <a:lnTo>
                      <a:pt x="231" y="3495"/>
                    </a:lnTo>
                    <a:lnTo>
                      <a:pt x="273" y="3537"/>
                    </a:lnTo>
                    <a:lnTo>
                      <a:pt x="440" y="3432"/>
                    </a:lnTo>
                    <a:lnTo>
                      <a:pt x="691" y="3495"/>
                    </a:lnTo>
                    <a:lnTo>
                      <a:pt x="796" y="3579"/>
                    </a:lnTo>
                    <a:lnTo>
                      <a:pt x="963" y="3474"/>
                    </a:lnTo>
                    <a:lnTo>
                      <a:pt x="1110" y="3474"/>
                    </a:lnTo>
                    <a:lnTo>
                      <a:pt x="1152" y="3432"/>
                    </a:lnTo>
                    <a:lnTo>
                      <a:pt x="1152" y="3286"/>
                    </a:lnTo>
                    <a:lnTo>
                      <a:pt x="1068" y="3160"/>
                    </a:lnTo>
                    <a:lnTo>
                      <a:pt x="1193" y="2909"/>
                    </a:lnTo>
                    <a:lnTo>
                      <a:pt x="1319" y="2805"/>
                    </a:lnTo>
                    <a:lnTo>
                      <a:pt x="1361" y="2658"/>
                    </a:lnTo>
                    <a:lnTo>
                      <a:pt x="1214" y="2658"/>
                    </a:lnTo>
                    <a:lnTo>
                      <a:pt x="1152" y="2512"/>
                    </a:lnTo>
                    <a:lnTo>
                      <a:pt x="1319" y="2323"/>
                    </a:lnTo>
                    <a:lnTo>
                      <a:pt x="1319" y="2093"/>
                    </a:lnTo>
                    <a:lnTo>
                      <a:pt x="1193" y="2010"/>
                    </a:lnTo>
                    <a:lnTo>
                      <a:pt x="1047" y="1717"/>
                    </a:lnTo>
                    <a:lnTo>
                      <a:pt x="1172" y="1696"/>
                    </a:lnTo>
                    <a:lnTo>
                      <a:pt x="1277" y="1696"/>
                    </a:lnTo>
                    <a:lnTo>
                      <a:pt x="1424" y="1487"/>
                    </a:lnTo>
                    <a:lnTo>
                      <a:pt x="1319" y="1382"/>
                    </a:lnTo>
                    <a:lnTo>
                      <a:pt x="1465" y="1277"/>
                    </a:lnTo>
                    <a:lnTo>
                      <a:pt x="1465" y="922"/>
                    </a:lnTo>
                    <a:lnTo>
                      <a:pt x="1424" y="754"/>
                    </a:lnTo>
                    <a:lnTo>
                      <a:pt x="1675" y="545"/>
                    </a:lnTo>
                    <a:lnTo>
                      <a:pt x="1737" y="545"/>
                    </a:lnTo>
                    <a:lnTo>
                      <a:pt x="1779" y="440"/>
                    </a:lnTo>
                    <a:lnTo>
                      <a:pt x="1675" y="252"/>
                    </a:lnTo>
                    <a:lnTo>
                      <a:pt x="1633" y="127"/>
                    </a:lnTo>
                    <a:lnTo>
                      <a:pt x="1382" y="85"/>
                    </a:lnTo>
                    <a:lnTo>
                      <a:pt x="1277" y="210"/>
                    </a:lnTo>
                    <a:lnTo>
                      <a:pt x="942" y="127"/>
                    </a:lnTo>
                    <a:lnTo>
                      <a:pt x="754" y="231"/>
                    </a:lnTo>
                    <a:lnTo>
                      <a:pt x="691" y="147"/>
                    </a:lnTo>
                    <a:lnTo>
                      <a:pt x="733" y="22"/>
                    </a:lnTo>
                    <a:lnTo>
                      <a:pt x="628" y="1"/>
                    </a:lnTo>
                    <a:close/>
                  </a:path>
                </a:pathLst>
              </a:custGeom>
              <a:solidFill>
                <a:srgbClr val="00B0F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7" name="Google Shape;12059;p43">
                <a:extLst>
                  <a:ext uri="{FF2B5EF4-FFF2-40B4-BE49-F238E27FC236}">
                    <a16:creationId xmlns:a16="http://schemas.microsoft.com/office/drawing/2014/main" id="{D50228AD-F11B-DDFD-51B1-65E6678F99FC}"/>
                  </a:ext>
                </a:extLst>
              </p:cNvPr>
              <p:cNvSpPr/>
              <p:nvPr/>
            </p:nvSpPr>
            <p:spPr>
              <a:xfrm>
                <a:off x="3580800" y="2585450"/>
                <a:ext cx="42275" cy="93450"/>
              </a:xfrm>
              <a:custGeom>
                <a:avLst/>
                <a:gdLst/>
                <a:ahLst/>
                <a:cxnLst/>
                <a:rect l="l" t="t" r="r" b="b"/>
                <a:pathLst>
                  <a:path w="1691" h="3738" extrusionOk="0">
                    <a:moveTo>
                      <a:pt x="453" y="0"/>
                    </a:moveTo>
                    <a:lnTo>
                      <a:pt x="0" y="547"/>
                    </a:lnTo>
                    <a:lnTo>
                      <a:pt x="0" y="3429"/>
                    </a:lnTo>
                    <a:lnTo>
                      <a:pt x="429" y="3738"/>
                    </a:lnTo>
                    <a:lnTo>
                      <a:pt x="1691" y="2714"/>
                    </a:lnTo>
                    <a:lnTo>
                      <a:pt x="1691" y="5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</p:grpSp>
        <p:grpSp>
          <p:nvGrpSpPr>
            <p:cNvPr id="30" name="Google Shape;12060;p43">
              <a:extLst>
                <a:ext uri="{FF2B5EF4-FFF2-40B4-BE49-F238E27FC236}">
                  <a16:creationId xmlns:a16="http://schemas.microsoft.com/office/drawing/2014/main" id="{939736DC-75AB-1786-904F-9130111AA492}"/>
                </a:ext>
              </a:extLst>
            </p:cNvPr>
            <p:cNvGrpSpPr/>
            <p:nvPr/>
          </p:nvGrpSpPr>
          <p:grpSpPr>
            <a:xfrm>
              <a:off x="3849905" y="2572252"/>
              <a:ext cx="74339" cy="119559"/>
              <a:chOff x="3906325" y="1984500"/>
              <a:chExt cx="156075" cy="262825"/>
            </a:xfrm>
          </p:grpSpPr>
          <p:sp>
            <p:nvSpPr>
              <p:cNvPr id="254" name="Google Shape;12061;p43">
                <a:extLst>
                  <a:ext uri="{FF2B5EF4-FFF2-40B4-BE49-F238E27FC236}">
                    <a16:creationId xmlns:a16="http://schemas.microsoft.com/office/drawing/2014/main" id="{6E7E1B11-6840-CDDE-1468-ECBB47A342BC}"/>
                  </a:ext>
                </a:extLst>
              </p:cNvPr>
              <p:cNvSpPr/>
              <p:nvPr/>
            </p:nvSpPr>
            <p:spPr>
              <a:xfrm>
                <a:off x="3906325" y="1984500"/>
                <a:ext cx="100825" cy="124200"/>
              </a:xfrm>
              <a:custGeom>
                <a:avLst/>
                <a:gdLst/>
                <a:ahLst/>
                <a:cxnLst/>
                <a:rect l="l" t="t" r="r" b="b"/>
                <a:pathLst>
                  <a:path w="4033" h="4968" extrusionOk="0">
                    <a:moveTo>
                      <a:pt x="2901" y="4968"/>
                    </a:moveTo>
                    <a:lnTo>
                      <a:pt x="1524" y="4673"/>
                    </a:lnTo>
                    <a:lnTo>
                      <a:pt x="0" y="1771"/>
                    </a:lnTo>
                    <a:lnTo>
                      <a:pt x="737" y="886"/>
                    </a:lnTo>
                    <a:lnTo>
                      <a:pt x="2508" y="1181"/>
                    </a:lnTo>
                    <a:lnTo>
                      <a:pt x="2655" y="345"/>
                    </a:lnTo>
                    <a:lnTo>
                      <a:pt x="3442" y="0"/>
                    </a:lnTo>
                    <a:lnTo>
                      <a:pt x="4033" y="443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255" name="Google Shape;12062;p43">
                <a:extLst>
                  <a:ext uri="{FF2B5EF4-FFF2-40B4-BE49-F238E27FC236}">
                    <a16:creationId xmlns:a16="http://schemas.microsoft.com/office/drawing/2014/main" id="{95BF7BE1-10A1-0C0A-E0BF-B731BE2A57BA}"/>
                  </a:ext>
                </a:extLst>
              </p:cNvPr>
              <p:cNvSpPr/>
              <p:nvPr/>
            </p:nvSpPr>
            <p:spPr>
              <a:xfrm>
                <a:off x="3919575" y="1989950"/>
                <a:ext cx="142825" cy="25737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10295" extrusionOk="0">
                    <a:moveTo>
                      <a:pt x="2867" y="0"/>
                    </a:moveTo>
                    <a:lnTo>
                      <a:pt x="2762" y="105"/>
                    </a:lnTo>
                    <a:lnTo>
                      <a:pt x="2762" y="147"/>
                    </a:lnTo>
                    <a:lnTo>
                      <a:pt x="2679" y="189"/>
                    </a:lnTo>
                    <a:lnTo>
                      <a:pt x="2532" y="147"/>
                    </a:lnTo>
                    <a:lnTo>
                      <a:pt x="2386" y="209"/>
                    </a:lnTo>
                    <a:lnTo>
                      <a:pt x="2386" y="293"/>
                    </a:lnTo>
                    <a:lnTo>
                      <a:pt x="2323" y="419"/>
                    </a:lnTo>
                    <a:lnTo>
                      <a:pt x="2239" y="461"/>
                    </a:lnTo>
                    <a:lnTo>
                      <a:pt x="2281" y="544"/>
                    </a:lnTo>
                    <a:lnTo>
                      <a:pt x="2260" y="628"/>
                    </a:lnTo>
                    <a:lnTo>
                      <a:pt x="2239" y="921"/>
                    </a:lnTo>
                    <a:lnTo>
                      <a:pt x="2281" y="1088"/>
                    </a:lnTo>
                    <a:lnTo>
                      <a:pt x="2344" y="1193"/>
                    </a:lnTo>
                    <a:lnTo>
                      <a:pt x="2281" y="1277"/>
                    </a:lnTo>
                    <a:lnTo>
                      <a:pt x="2177" y="1360"/>
                    </a:lnTo>
                    <a:lnTo>
                      <a:pt x="2072" y="1360"/>
                    </a:lnTo>
                    <a:lnTo>
                      <a:pt x="1967" y="1444"/>
                    </a:lnTo>
                    <a:lnTo>
                      <a:pt x="1905" y="1486"/>
                    </a:lnTo>
                    <a:lnTo>
                      <a:pt x="1821" y="1611"/>
                    </a:lnTo>
                    <a:lnTo>
                      <a:pt x="1674" y="1590"/>
                    </a:lnTo>
                    <a:lnTo>
                      <a:pt x="1507" y="1465"/>
                    </a:lnTo>
                    <a:lnTo>
                      <a:pt x="1381" y="1465"/>
                    </a:lnTo>
                    <a:lnTo>
                      <a:pt x="1298" y="1549"/>
                    </a:lnTo>
                    <a:lnTo>
                      <a:pt x="1151" y="1674"/>
                    </a:lnTo>
                    <a:lnTo>
                      <a:pt x="900" y="1674"/>
                    </a:lnTo>
                    <a:lnTo>
                      <a:pt x="733" y="1590"/>
                    </a:lnTo>
                    <a:lnTo>
                      <a:pt x="670" y="1465"/>
                    </a:lnTo>
                    <a:lnTo>
                      <a:pt x="607" y="1339"/>
                    </a:lnTo>
                    <a:lnTo>
                      <a:pt x="377" y="1130"/>
                    </a:lnTo>
                    <a:lnTo>
                      <a:pt x="293" y="984"/>
                    </a:lnTo>
                    <a:lnTo>
                      <a:pt x="189" y="963"/>
                    </a:lnTo>
                    <a:lnTo>
                      <a:pt x="105" y="1046"/>
                    </a:lnTo>
                    <a:lnTo>
                      <a:pt x="84" y="1151"/>
                    </a:lnTo>
                    <a:lnTo>
                      <a:pt x="105" y="1214"/>
                    </a:lnTo>
                    <a:lnTo>
                      <a:pt x="84" y="1256"/>
                    </a:lnTo>
                    <a:lnTo>
                      <a:pt x="42" y="1214"/>
                    </a:lnTo>
                    <a:lnTo>
                      <a:pt x="1" y="1256"/>
                    </a:lnTo>
                    <a:lnTo>
                      <a:pt x="105" y="1360"/>
                    </a:lnTo>
                    <a:lnTo>
                      <a:pt x="273" y="1423"/>
                    </a:lnTo>
                    <a:lnTo>
                      <a:pt x="482" y="1674"/>
                    </a:lnTo>
                    <a:lnTo>
                      <a:pt x="628" y="1779"/>
                    </a:lnTo>
                    <a:lnTo>
                      <a:pt x="879" y="1800"/>
                    </a:lnTo>
                    <a:lnTo>
                      <a:pt x="942" y="1841"/>
                    </a:lnTo>
                    <a:lnTo>
                      <a:pt x="1026" y="1883"/>
                    </a:lnTo>
                    <a:lnTo>
                      <a:pt x="1130" y="2009"/>
                    </a:lnTo>
                    <a:lnTo>
                      <a:pt x="1193" y="2113"/>
                    </a:lnTo>
                    <a:lnTo>
                      <a:pt x="1298" y="2113"/>
                    </a:lnTo>
                    <a:lnTo>
                      <a:pt x="1402" y="2239"/>
                    </a:lnTo>
                    <a:lnTo>
                      <a:pt x="1465" y="2239"/>
                    </a:lnTo>
                    <a:lnTo>
                      <a:pt x="1528" y="2323"/>
                    </a:lnTo>
                    <a:lnTo>
                      <a:pt x="1465" y="2427"/>
                    </a:lnTo>
                    <a:lnTo>
                      <a:pt x="1507" y="2574"/>
                    </a:lnTo>
                    <a:lnTo>
                      <a:pt x="1444" y="2720"/>
                    </a:lnTo>
                    <a:lnTo>
                      <a:pt x="1444" y="2825"/>
                    </a:lnTo>
                    <a:lnTo>
                      <a:pt x="1612" y="2825"/>
                    </a:lnTo>
                    <a:lnTo>
                      <a:pt x="1633" y="2950"/>
                    </a:lnTo>
                    <a:lnTo>
                      <a:pt x="1591" y="3034"/>
                    </a:lnTo>
                    <a:lnTo>
                      <a:pt x="1612" y="3181"/>
                    </a:lnTo>
                    <a:lnTo>
                      <a:pt x="1653" y="3285"/>
                    </a:lnTo>
                    <a:lnTo>
                      <a:pt x="1695" y="3494"/>
                    </a:lnTo>
                    <a:lnTo>
                      <a:pt x="1653" y="3599"/>
                    </a:lnTo>
                    <a:lnTo>
                      <a:pt x="1695" y="3683"/>
                    </a:lnTo>
                    <a:lnTo>
                      <a:pt x="1695" y="3913"/>
                    </a:lnTo>
                    <a:lnTo>
                      <a:pt x="1653" y="3997"/>
                    </a:lnTo>
                    <a:lnTo>
                      <a:pt x="1716" y="4143"/>
                    </a:lnTo>
                    <a:lnTo>
                      <a:pt x="1821" y="4185"/>
                    </a:lnTo>
                    <a:lnTo>
                      <a:pt x="1925" y="4394"/>
                    </a:lnTo>
                    <a:lnTo>
                      <a:pt x="1967" y="4478"/>
                    </a:lnTo>
                    <a:lnTo>
                      <a:pt x="1967" y="4603"/>
                    </a:lnTo>
                    <a:lnTo>
                      <a:pt x="1988" y="4645"/>
                    </a:lnTo>
                    <a:lnTo>
                      <a:pt x="2093" y="4645"/>
                    </a:lnTo>
                    <a:lnTo>
                      <a:pt x="2197" y="4750"/>
                    </a:lnTo>
                    <a:lnTo>
                      <a:pt x="2407" y="4750"/>
                    </a:lnTo>
                    <a:lnTo>
                      <a:pt x="2574" y="4875"/>
                    </a:lnTo>
                    <a:lnTo>
                      <a:pt x="2490" y="4938"/>
                    </a:lnTo>
                    <a:lnTo>
                      <a:pt x="2553" y="5022"/>
                    </a:lnTo>
                    <a:lnTo>
                      <a:pt x="2553" y="5189"/>
                    </a:lnTo>
                    <a:lnTo>
                      <a:pt x="2490" y="5231"/>
                    </a:lnTo>
                    <a:lnTo>
                      <a:pt x="2679" y="5378"/>
                    </a:lnTo>
                    <a:lnTo>
                      <a:pt x="2553" y="5357"/>
                    </a:lnTo>
                    <a:lnTo>
                      <a:pt x="2490" y="5378"/>
                    </a:lnTo>
                    <a:lnTo>
                      <a:pt x="2658" y="5524"/>
                    </a:lnTo>
                    <a:lnTo>
                      <a:pt x="2658" y="5587"/>
                    </a:lnTo>
                    <a:lnTo>
                      <a:pt x="2469" y="5482"/>
                    </a:lnTo>
                    <a:lnTo>
                      <a:pt x="2302" y="5482"/>
                    </a:lnTo>
                    <a:lnTo>
                      <a:pt x="2156" y="5587"/>
                    </a:lnTo>
                    <a:lnTo>
                      <a:pt x="2156" y="5691"/>
                    </a:lnTo>
                    <a:lnTo>
                      <a:pt x="2051" y="5796"/>
                    </a:lnTo>
                    <a:lnTo>
                      <a:pt x="2051" y="5880"/>
                    </a:lnTo>
                    <a:lnTo>
                      <a:pt x="1988" y="5901"/>
                    </a:lnTo>
                    <a:lnTo>
                      <a:pt x="1821" y="6089"/>
                    </a:lnTo>
                    <a:lnTo>
                      <a:pt x="1779" y="6277"/>
                    </a:lnTo>
                    <a:lnTo>
                      <a:pt x="1737" y="6298"/>
                    </a:lnTo>
                    <a:lnTo>
                      <a:pt x="1716" y="6256"/>
                    </a:lnTo>
                    <a:lnTo>
                      <a:pt x="1653" y="6256"/>
                    </a:lnTo>
                    <a:lnTo>
                      <a:pt x="1716" y="6361"/>
                    </a:lnTo>
                    <a:lnTo>
                      <a:pt x="1674" y="6445"/>
                    </a:lnTo>
                    <a:lnTo>
                      <a:pt x="1549" y="6445"/>
                    </a:lnTo>
                    <a:lnTo>
                      <a:pt x="1465" y="6549"/>
                    </a:lnTo>
                    <a:lnTo>
                      <a:pt x="1507" y="6717"/>
                    </a:lnTo>
                    <a:lnTo>
                      <a:pt x="1570" y="6759"/>
                    </a:lnTo>
                    <a:lnTo>
                      <a:pt x="1444" y="6717"/>
                    </a:lnTo>
                    <a:lnTo>
                      <a:pt x="1402" y="6654"/>
                    </a:lnTo>
                    <a:lnTo>
                      <a:pt x="1319" y="6696"/>
                    </a:lnTo>
                    <a:lnTo>
                      <a:pt x="1256" y="6821"/>
                    </a:lnTo>
                    <a:lnTo>
                      <a:pt x="1298" y="6884"/>
                    </a:lnTo>
                    <a:lnTo>
                      <a:pt x="1214" y="6842"/>
                    </a:lnTo>
                    <a:lnTo>
                      <a:pt x="1193" y="6905"/>
                    </a:lnTo>
                    <a:lnTo>
                      <a:pt x="1256" y="6968"/>
                    </a:lnTo>
                    <a:lnTo>
                      <a:pt x="1256" y="7031"/>
                    </a:lnTo>
                    <a:lnTo>
                      <a:pt x="1193" y="7114"/>
                    </a:lnTo>
                    <a:lnTo>
                      <a:pt x="1151" y="7156"/>
                    </a:lnTo>
                    <a:lnTo>
                      <a:pt x="1047" y="7219"/>
                    </a:lnTo>
                    <a:lnTo>
                      <a:pt x="1005" y="7177"/>
                    </a:lnTo>
                    <a:lnTo>
                      <a:pt x="984" y="7135"/>
                    </a:lnTo>
                    <a:lnTo>
                      <a:pt x="900" y="7114"/>
                    </a:lnTo>
                    <a:lnTo>
                      <a:pt x="817" y="7135"/>
                    </a:lnTo>
                    <a:lnTo>
                      <a:pt x="837" y="7240"/>
                    </a:lnTo>
                    <a:lnTo>
                      <a:pt x="796" y="7282"/>
                    </a:lnTo>
                    <a:lnTo>
                      <a:pt x="837" y="7386"/>
                    </a:lnTo>
                    <a:lnTo>
                      <a:pt x="796" y="7491"/>
                    </a:lnTo>
                    <a:lnTo>
                      <a:pt x="733" y="7533"/>
                    </a:lnTo>
                    <a:lnTo>
                      <a:pt x="691" y="7637"/>
                    </a:lnTo>
                    <a:lnTo>
                      <a:pt x="733" y="7742"/>
                    </a:lnTo>
                    <a:lnTo>
                      <a:pt x="775" y="7763"/>
                    </a:lnTo>
                    <a:lnTo>
                      <a:pt x="733" y="7867"/>
                    </a:lnTo>
                    <a:lnTo>
                      <a:pt x="775" y="7951"/>
                    </a:lnTo>
                    <a:lnTo>
                      <a:pt x="858" y="7909"/>
                    </a:lnTo>
                    <a:lnTo>
                      <a:pt x="900" y="7972"/>
                    </a:lnTo>
                    <a:lnTo>
                      <a:pt x="879" y="8098"/>
                    </a:lnTo>
                    <a:lnTo>
                      <a:pt x="837" y="8160"/>
                    </a:lnTo>
                    <a:lnTo>
                      <a:pt x="879" y="8265"/>
                    </a:lnTo>
                    <a:lnTo>
                      <a:pt x="837" y="8307"/>
                    </a:lnTo>
                    <a:lnTo>
                      <a:pt x="942" y="8495"/>
                    </a:lnTo>
                    <a:lnTo>
                      <a:pt x="1005" y="8537"/>
                    </a:lnTo>
                    <a:lnTo>
                      <a:pt x="942" y="8621"/>
                    </a:lnTo>
                    <a:lnTo>
                      <a:pt x="1026" y="8746"/>
                    </a:lnTo>
                    <a:lnTo>
                      <a:pt x="942" y="8788"/>
                    </a:lnTo>
                    <a:lnTo>
                      <a:pt x="984" y="8955"/>
                    </a:lnTo>
                    <a:lnTo>
                      <a:pt x="942" y="9039"/>
                    </a:lnTo>
                    <a:lnTo>
                      <a:pt x="942" y="9269"/>
                    </a:lnTo>
                    <a:lnTo>
                      <a:pt x="1005" y="9353"/>
                    </a:lnTo>
                    <a:lnTo>
                      <a:pt x="942" y="9479"/>
                    </a:lnTo>
                    <a:lnTo>
                      <a:pt x="942" y="9562"/>
                    </a:lnTo>
                    <a:lnTo>
                      <a:pt x="1005" y="9625"/>
                    </a:lnTo>
                    <a:lnTo>
                      <a:pt x="1151" y="9541"/>
                    </a:lnTo>
                    <a:lnTo>
                      <a:pt x="1214" y="9583"/>
                    </a:lnTo>
                    <a:lnTo>
                      <a:pt x="1235" y="9520"/>
                    </a:lnTo>
                    <a:lnTo>
                      <a:pt x="1361" y="9646"/>
                    </a:lnTo>
                    <a:lnTo>
                      <a:pt x="1444" y="9625"/>
                    </a:lnTo>
                    <a:lnTo>
                      <a:pt x="1528" y="9688"/>
                    </a:lnTo>
                    <a:lnTo>
                      <a:pt x="1674" y="9667"/>
                    </a:lnTo>
                    <a:lnTo>
                      <a:pt x="1737" y="9688"/>
                    </a:lnTo>
                    <a:lnTo>
                      <a:pt x="1674" y="9772"/>
                    </a:lnTo>
                    <a:lnTo>
                      <a:pt x="1737" y="9772"/>
                    </a:lnTo>
                    <a:lnTo>
                      <a:pt x="1863" y="9667"/>
                    </a:lnTo>
                    <a:lnTo>
                      <a:pt x="1863" y="9751"/>
                    </a:lnTo>
                    <a:lnTo>
                      <a:pt x="1779" y="9855"/>
                    </a:lnTo>
                    <a:lnTo>
                      <a:pt x="1946" y="10064"/>
                    </a:lnTo>
                    <a:lnTo>
                      <a:pt x="1967" y="10148"/>
                    </a:lnTo>
                    <a:lnTo>
                      <a:pt x="1946" y="10274"/>
                    </a:lnTo>
                    <a:lnTo>
                      <a:pt x="1967" y="10295"/>
                    </a:lnTo>
                    <a:lnTo>
                      <a:pt x="2030" y="10148"/>
                    </a:lnTo>
                    <a:lnTo>
                      <a:pt x="2114" y="10106"/>
                    </a:lnTo>
                    <a:lnTo>
                      <a:pt x="2135" y="10190"/>
                    </a:lnTo>
                    <a:lnTo>
                      <a:pt x="2239" y="10148"/>
                    </a:lnTo>
                    <a:lnTo>
                      <a:pt x="2323" y="10148"/>
                    </a:lnTo>
                    <a:lnTo>
                      <a:pt x="2490" y="10002"/>
                    </a:lnTo>
                    <a:lnTo>
                      <a:pt x="2595" y="10002"/>
                    </a:lnTo>
                    <a:lnTo>
                      <a:pt x="2825" y="9855"/>
                    </a:lnTo>
                    <a:lnTo>
                      <a:pt x="2867" y="9792"/>
                    </a:lnTo>
                    <a:lnTo>
                      <a:pt x="3014" y="9855"/>
                    </a:lnTo>
                    <a:lnTo>
                      <a:pt x="3118" y="9834"/>
                    </a:lnTo>
                    <a:lnTo>
                      <a:pt x="3223" y="9688"/>
                    </a:lnTo>
                    <a:lnTo>
                      <a:pt x="3244" y="9751"/>
                    </a:lnTo>
                    <a:lnTo>
                      <a:pt x="3202" y="9855"/>
                    </a:lnTo>
                    <a:lnTo>
                      <a:pt x="3244" y="9876"/>
                    </a:lnTo>
                    <a:lnTo>
                      <a:pt x="3306" y="9751"/>
                    </a:lnTo>
                    <a:lnTo>
                      <a:pt x="3348" y="9772"/>
                    </a:lnTo>
                    <a:lnTo>
                      <a:pt x="3306" y="9646"/>
                    </a:lnTo>
                    <a:lnTo>
                      <a:pt x="3348" y="9583"/>
                    </a:lnTo>
                    <a:lnTo>
                      <a:pt x="3411" y="9688"/>
                    </a:lnTo>
                    <a:lnTo>
                      <a:pt x="3453" y="9688"/>
                    </a:lnTo>
                    <a:lnTo>
                      <a:pt x="3495" y="9625"/>
                    </a:lnTo>
                    <a:lnTo>
                      <a:pt x="3537" y="9751"/>
                    </a:lnTo>
                    <a:lnTo>
                      <a:pt x="3620" y="9730"/>
                    </a:lnTo>
                    <a:lnTo>
                      <a:pt x="3620" y="9646"/>
                    </a:lnTo>
                    <a:lnTo>
                      <a:pt x="3662" y="9667"/>
                    </a:lnTo>
                    <a:lnTo>
                      <a:pt x="3704" y="9730"/>
                    </a:lnTo>
                    <a:lnTo>
                      <a:pt x="3767" y="9646"/>
                    </a:lnTo>
                    <a:lnTo>
                      <a:pt x="3934" y="9625"/>
                    </a:lnTo>
                    <a:lnTo>
                      <a:pt x="4018" y="9688"/>
                    </a:lnTo>
                    <a:lnTo>
                      <a:pt x="4206" y="9667"/>
                    </a:lnTo>
                    <a:lnTo>
                      <a:pt x="4206" y="9625"/>
                    </a:lnTo>
                    <a:lnTo>
                      <a:pt x="4143" y="9562"/>
                    </a:lnTo>
                    <a:lnTo>
                      <a:pt x="4206" y="9541"/>
                    </a:lnTo>
                    <a:lnTo>
                      <a:pt x="4269" y="9562"/>
                    </a:lnTo>
                    <a:lnTo>
                      <a:pt x="4311" y="9646"/>
                    </a:lnTo>
                    <a:lnTo>
                      <a:pt x="4415" y="9667"/>
                    </a:lnTo>
                    <a:lnTo>
                      <a:pt x="4457" y="9562"/>
                    </a:lnTo>
                    <a:lnTo>
                      <a:pt x="4436" y="9416"/>
                    </a:lnTo>
                    <a:lnTo>
                      <a:pt x="4687" y="9144"/>
                    </a:lnTo>
                    <a:lnTo>
                      <a:pt x="4876" y="9123"/>
                    </a:lnTo>
                    <a:lnTo>
                      <a:pt x="5043" y="8872"/>
                    </a:lnTo>
                    <a:lnTo>
                      <a:pt x="5190" y="8621"/>
                    </a:lnTo>
                    <a:lnTo>
                      <a:pt x="5315" y="8349"/>
                    </a:lnTo>
                    <a:lnTo>
                      <a:pt x="5566" y="7951"/>
                    </a:lnTo>
                    <a:lnTo>
                      <a:pt x="5713" y="7533"/>
                    </a:lnTo>
                    <a:lnTo>
                      <a:pt x="5692" y="7344"/>
                    </a:lnTo>
                    <a:lnTo>
                      <a:pt x="5420" y="7051"/>
                    </a:lnTo>
                    <a:lnTo>
                      <a:pt x="5273" y="7010"/>
                    </a:lnTo>
                    <a:lnTo>
                      <a:pt x="5001" y="6633"/>
                    </a:lnTo>
                    <a:lnTo>
                      <a:pt x="5064" y="6466"/>
                    </a:lnTo>
                    <a:lnTo>
                      <a:pt x="5169" y="6298"/>
                    </a:lnTo>
                    <a:lnTo>
                      <a:pt x="5169" y="6110"/>
                    </a:lnTo>
                    <a:lnTo>
                      <a:pt x="4980" y="5984"/>
                    </a:lnTo>
                    <a:lnTo>
                      <a:pt x="4938" y="5859"/>
                    </a:lnTo>
                    <a:lnTo>
                      <a:pt x="4938" y="5650"/>
                    </a:lnTo>
                    <a:lnTo>
                      <a:pt x="4980" y="5587"/>
                    </a:lnTo>
                    <a:lnTo>
                      <a:pt x="4938" y="5482"/>
                    </a:lnTo>
                    <a:lnTo>
                      <a:pt x="4792" y="5461"/>
                    </a:lnTo>
                    <a:lnTo>
                      <a:pt x="4729" y="5357"/>
                    </a:lnTo>
                    <a:lnTo>
                      <a:pt x="4729" y="5168"/>
                    </a:lnTo>
                    <a:lnTo>
                      <a:pt x="4792" y="5064"/>
                    </a:lnTo>
                    <a:lnTo>
                      <a:pt x="4687" y="5043"/>
                    </a:lnTo>
                    <a:lnTo>
                      <a:pt x="4687" y="4938"/>
                    </a:lnTo>
                    <a:lnTo>
                      <a:pt x="4729" y="4582"/>
                    </a:lnTo>
                    <a:lnTo>
                      <a:pt x="4834" y="4541"/>
                    </a:lnTo>
                    <a:lnTo>
                      <a:pt x="4562" y="3955"/>
                    </a:lnTo>
                    <a:lnTo>
                      <a:pt x="4332" y="3494"/>
                    </a:lnTo>
                    <a:lnTo>
                      <a:pt x="4269" y="3348"/>
                    </a:lnTo>
                    <a:lnTo>
                      <a:pt x="4143" y="3181"/>
                    </a:lnTo>
                    <a:lnTo>
                      <a:pt x="4248" y="2929"/>
                    </a:lnTo>
                    <a:lnTo>
                      <a:pt x="4353" y="2741"/>
                    </a:lnTo>
                    <a:lnTo>
                      <a:pt x="4415" y="2553"/>
                    </a:lnTo>
                    <a:lnTo>
                      <a:pt x="4332" y="2490"/>
                    </a:lnTo>
                    <a:lnTo>
                      <a:pt x="4060" y="2323"/>
                    </a:lnTo>
                    <a:lnTo>
                      <a:pt x="4018" y="2218"/>
                    </a:lnTo>
                    <a:lnTo>
                      <a:pt x="3934" y="2093"/>
                    </a:lnTo>
                    <a:lnTo>
                      <a:pt x="3767" y="2009"/>
                    </a:lnTo>
                    <a:lnTo>
                      <a:pt x="3704" y="2009"/>
                    </a:lnTo>
                    <a:lnTo>
                      <a:pt x="3599" y="1758"/>
                    </a:lnTo>
                    <a:lnTo>
                      <a:pt x="3516" y="1653"/>
                    </a:lnTo>
                    <a:lnTo>
                      <a:pt x="3558" y="1465"/>
                    </a:lnTo>
                    <a:lnTo>
                      <a:pt x="3599" y="1297"/>
                    </a:lnTo>
                    <a:lnTo>
                      <a:pt x="3495" y="1277"/>
                    </a:lnTo>
                    <a:lnTo>
                      <a:pt x="3599" y="1235"/>
                    </a:lnTo>
                    <a:lnTo>
                      <a:pt x="3746" y="1172"/>
                    </a:lnTo>
                    <a:lnTo>
                      <a:pt x="3725" y="942"/>
                    </a:lnTo>
                    <a:lnTo>
                      <a:pt x="3830" y="774"/>
                    </a:lnTo>
                    <a:lnTo>
                      <a:pt x="3850" y="649"/>
                    </a:lnTo>
                    <a:lnTo>
                      <a:pt x="3746" y="523"/>
                    </a:lnTo>
                    <a:lnTo>
                      <a:pt x="3725" y="419"/>
                    </a:lnTo>
                    <a:lnTo>
                      <a:pt x="3537" y="398"/>
                    </a:lnTo>
                    <a:lnTo>
                      <a:pt x="3411" y="335"/>
                    </a:lnTo>
                    <a:lnTo>
                      <a:pt x="3327" y="251"/>
                    </a:lnTo>
                    <a:lnTo>
                      <a:pt x="3202" y="84"/>
                    </a:lnTo>
                    <a:lnTo>
                      <a:pt x="309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1" name="Google Shape;12063;p43">
              <a:extLst>
                <a:ext uri="{FF2B5EF4-FFF2-40B4-BE49-F238E27FC236}">
                  <a16:creationId xmlns:a16="http://schemas.microsoft.com/office/drawing/2014/main" id="{6F45625F-76DC-648C-0015-B97DCCDC0116}"/>
                </a:ext>
              </a:extLst>
            </p:cNvPr>
            <p:cNvGrpSpPr/>
            <p:nvPr/>
          </p:nvGrpSpPr>
          <p:grpSpPr>
            <a:xfrm>
              <a:off x="2654821" y="2414345"/>
              <a:ext cx="667570" cy="558731"/>
              <a:chOff x="1397225" y="1637375"/>
              <a:chExt cx="1401575" cy="1228250"/>
            </a:xfrm>
          </p:grpSpPr>
          <p:sp>
            <p:nvSpPr>
              <p:cNvPr id="250" name="Google Shape;12064;p43">
                <a:extLst>
                  <a:ext uri="{FF2B5EF4-FFF2-40B4-BE49-F238E27FC236}">
                    <a16:creationId xmlns:a16="http://schemas.microsoft.com/office/drawing/2014/main" id="{D2010103-1160-EBAD-E65B-4D82750A2C89}"/>
                  </a:ext>
                </a:extLst>
              </p:cNvPr>
              <p:cNvSpPr/>
              <p:nvPr/>
            </p:nvSpPr>
            <p:spPr>
              <a:xfrm>
                <a:off x="2050925" y="2362200"/>
                <a:ext cx="747875" cy="497225"/>
              </a:xfrm>
              <a:custGeom>
                <a:avLst/>
                <a:gdLst/>
                <a:ahLst/>
                <a:cxnLst/>
                <a:rect l="l" t="t" r="r" b="b"/>
                <a:pathLst>
                  <a:path w="29915" h="19889" extrusionOk="0">
                    <a:moveTo>
                      <a:pt x="107" y="1186"/>
                    </a:moveTo>
                    <a:lnTo>
                      <a:pt x="0" y="0"/>
                    </a:lnTo>
                    <a:lnTo>
                      <a:pt x="15577" y="1563"/>
                    </a:lnTo>
                    <a:lnTo>
                      <a:pt x="26519" y="5336"/>
                    </a:lnTo>
                    <a:lnTo>
                      <a:pt x="27435" y="5444"/>
                    </a:lnTo>
                    <a:lnTo>
                      <a:pt x="28783" y="4420"/>
                    </a:lnTo>
                    <a:lnTo>
                      <a:pt x="29753" y="4527"/>
                    </a:lnTo>
                    <a:lnTo>
                      <a:pt x="29915" y="6198"/>
                    </a:lnTo>
                    <a:lnTo>
                      <a:pt x="26465" y="6899"/>
                    </a:lnTo>
                    <a:lnTo>
                      <a:pt x="11157" y="16062"/>
                    </a:lnTo>
                    <a:lnTo>
                      <a:pt x="10295" y="18649"/>
                    </a:lnTo>
                    <a:lnTo>
                      <a:pt x="10295" y="19889"/>
                    </a:lnTo>
                    <a:lnTo>
                      <a:pt x="2803" y="15846"/>
                    </a:lnTo>
                    <a:lnTo>
                      <a:pt x="1347" y="14876"/>
                    </a:lnTo>
                    <a:lnTo>
                      <a:pt x="0" y="14607"/>
                    </a:lnTo>
                    <a:lnTo>
                      <a:pt x="916" y="11642"/>
                    </a:lnTo>
                    <a:lnTo>
                      <a:pt x="1725" y="388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grpSp>
            <p:nvGrpSpPr>
              <p:cNvPr id="251" name="Google Shape;12065;p43">
                <a:extLst>
                  <a:ext uri="{FF2B5EF4-FFF2-40B4-BE49-F238E27FC236}">
                    <a16:creationId xmlns:a16="http://schemas.microsoft.com/office/drawing/2014/main" id="{18092708-5C87-4BE2-A706-0A5403B85979}"/>
                  </a:ext>
                </a:extLst>
              </p:cNvPr>
              <p:cNvGrpSpPr/>
              <p:nvPr/>
            </p:nvGrpSpPr>
            <p:grpSpPr>
              <a:xfrm>
                <a:off x="1397225" y="1637375"/>
                <a:ext cx="1398775" cy="1228250"/>
                <a:chOff x="1397225" y="1637375"/>
                <a:chExt cx="1398775" cy="1228250"/>
              </a:xfrm>
            </p:grpSpPr>
            <p:sp>
              <p:nvSpPr>
                <p:cNvPr id="252" name="Google Shape;12066;p43">
                  <a:extLst>
                    <a:ext uri="{FF2B5EF4-FFF2-40B4-BE49-F238E27FC236}">
                      <a16:creationId xmlns:a16="http://schemas.microsoft.com/office/drawing/2014/main" id="{9E50CAA7-761D-0CE2-E57B-E43DC690D59D}"/>
                    </a:ext>
                  </a:extLst>
                </p:cNvPr>
                <p:cNvSpPr/>
                <p:nvPr/>
              </p:nvSpPr>
              <p:spPr>
                <a:xfrm>
                  <a:off x="1397225" y="1637375"/>
                  <a:ext cx="692600" cy="5942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704" h="23770" extrusionOk="0">
                      <a:moveTo>
                        <a:pt x="14864" y="15547"/>
                      </a:moveTo>
                      <a:lnTo>
                        <a:pt x="14836" y="15589"/>
                      </a:lnTo>
                      <a:lnTo>
                        <a:pt x="14836" y="15568"/>
                      </a:lnTo>
                      <a:lnTo>
                        <a:pt x="14864" y="15547"/>
                      </a:lnTo>
                      <a:close/>
                      <a:moveTo>
                        <a:pt x="19460" y="16760"/>
                      </a:moveTo>
                      <a:lnTo>
                        <a:pt x="19523" y="16823"/>
                      </a:lnTo>
                      <a:lnTo>
                        <a:pt x="19460" y="16844"/>
                      </a:lnTo>
                      <a:lnTo>
                        <a:pt x="19460" y="16760"/>
                      </a:lnTo>
                      <a:close/>
                      <a:moveTo>
                        <a:pt x="23686" y="18497"/>
                      </a:moveTo>
                      <a:lnTo>
                        <a:pt x="23624" y="18644"/>
                      </a:lnTo>
                      <a:lnTo>
                        <a:pt x="23561" y="18853"/>
                      </a:lnTo>
                      <a:lnTo>
                        <a:pt x="23582" y="19020"/>
                      </a:lnTo>
                      <a:lnTo>
                        <a:pt x="23477" y="19229"/>
                      </a:lnTo>
                      <a:lnTo>
                        <a:pt x="23477" y="19355"/>
                      </a:lnTo>
                      <a:lnTo>
                        <a:pt x="23519" y="19439"/>
                      </a:lnTo>
                      <a:lnTo>
                        <a:pt x="23393" y="19355"/>
                      </a:lnTo>
                      <a:lnTo>
                        <a:pt x="23393" y="19543"/>
                      </a:lnTo>
                      <a:lnTo>
                        <a:pt x="23393" y="19564"/>
                      </a:lnTo>
                      <a:cubicBezTo>
                        <a:pt x="23352" y="19648"/>
                        <a:pt x="23310" y="19753"/>
                        <a:pt x="23310" y="19836"/>
                      </a:cubicBezTo>
                      <a:lnTo>
                        <a:pt x="23310" y="19962"/>
                      </a:lnTo>
                      <a:lnTo>
                        <a:pt x="23289" y="19941"/>
                      </a:lnTo>
                      <a:lnTo>
                        <a:pt x="23289" y="19836"/>
                      </a:lnTo>
                      <a:lnTo>
                        <a:pt x="23258" y="19791"/>
                      </a:lnTo>
                      <a:lnTo>
                        <a:pt x="23268" y="19773"/>
                      </a:lnTo>
                      <a:lnTo>
                        <a:pt x="23268" y="19627"/>
                      </a:lnTo>
                      <a:lnTo>
                        <a:pt x="23331" y="19543"/>
                      </a:lnTo>
                      <a:lnTo>
                        <a:pt x="23352" y="19250"/>
                      </a:lnTo>
                      <a:lnTo>
                        <a:pt x="23435" y="19020"/>
                      </a:lnTo>
                      <a:lnTo>
                        <a:pt x="23435" y="18790"/>
                      </a:lnTo>
                      <a:lnTo>
                        <a:pt x="23414" y="18623"/>
                      </a:lnTo>
                      <a:lnTo>
                        <a:pt x="23352" y="18539"/>
                      </a:lnTo>
                      <a:lnTo>
                        <a:pt x="23352" y="18518"/>
                      </a:lnTo>
                      <a:lnTo>
                        <a:pt x="23414" y="18539"/>
                      </a:lnTo>
                      <a:lnTo>
                        <a:pt x="23456" y="18685"/>
                      </a:lnTo>
                      <a:lnTo>
                        <a:pt x="23519" y="18706"/>
                      </a:lnTo>
                      <a:lnTo>
                        <a:pt x="23561" y="18581"/>
                      </a:lnTo>
                      <a:lnTo>
                        <a:pt x="23686" y="18497"/>
                      </a:lnTo>
                      <a:close/>
                      <a:moveTo>
                        <a:pt x="23204" y="19889"/>
                      </a:moveTo>
                      <a:lnTo>
                        <a:pt x="23184" y="19941"/>
                      </a:lnTo>
                      <a:lnTo>
                        <a:pt x="23142" y="20297"/>
                      </a:lnTo>
                      <a:lnTo>
                        <a:pt x="23038" y="20464"/>
                      </a:lnTo>
                      <a:lnTo>
                        <a:pt x="23017" y="20631"/>
                      </a:lnTo>
                      <a:lnTo>
                        <a:pt x="23121" y="20694"/>
                      </a:lnTo>
                      <a:lnTo>
                        <a:pt x="23080" y="20778"/>
                      </a:lnTo>
                      <a:lnTo>
                        <a:pt x="23121" y="20841"/>
                      </a:lnTo>
                      <a:lnTo>
                        <a:pt x="22996" y="20841"/>
                      </a:lnTo>
                      <a:lnTo>
                        <a:pt x="22912" y="20924"/>
                      </a:lnTo>
                      <a:lnTo>
                        <a:pt x="22912" y="21050"/>
                      </a:lnTo>
                      <a:cubicBezTo>
                        <a:pt x="22891" y="21050"/>
                        <a:pt x="22870" y="21092"/>
                        <a:pt x="22870" y="21134"/>
                      </a:cubicBezTo>
                      <a:lnTo>
                        <a:pt x="22870" y="21154"/>
                      </a:lnTo>
                      <a:lnTo>
                        <a:pt x="22847" y="21178"/>
                      </a:lnTo>
                      <a:lnTo>
                        <a:pt x="22847" y="21178"/>
                      </a:lnTo>
                      <a:lnTo>
                        <a:pt x="22849" y="21154"/>
                      </a:lnTo>
                      <a:lnTo>
                        <a:pt x="22849" y="20945"/>
                      </a:lnTo>
                      <a:lnTo>
                        <a:pt x="22828" y="20882"/>
                      </a:lnTo>
                      <a:cubicBezTo>
                        <a:pt x="22828" y="20820"/>
                        <a:pt x="22849" y="20778"/>
                        <a:pt x="22849" y="20736"/>
                      </a:cubicBezTo>
                      <a:lnTo>
                        <a:pt x="22891" y="20778"/>
                      </a:lnTo>
                      <a:lnTo>
                        <a:pt x="22954" y="20778"/>
                      </a:lnTo>
                      <a:lnTo>
                        <a:pt x="22954" y="20610"/>
                      </a:lnTo>
                      <a:lnTo>
                        <a:pt x="23017" y="20569"/>
                      </a:lnTo>
                      <a:lnTo>
                        <a:pt x="22954" y="20485"/>
                      </a:lnTo>
                      <a:lnTo>
                        <a:pt x="22828" y="20464"/>
                      </a:lnTo>
                      <a:lnTo>
                        <a:pt x="22828" y="20380"/>
                      </a:lnTo>
                      <a:lnTo>
                        <a:pt x="22703" y="20150"/>
                      </a:lnTo>
                      <a:lnTo>
                        <a:pt x="22703" y="20108"/>
                      </a:lnTo>
                      <a:lnTo>
                        <a:pt x="22828" y="20255"/>
                      </a:lnTo>
                      <a:lnTo>
                        <a:pt x="22912" y="20380"/>
                      </a:lnTo>
                      <a:lnTo>
                        <a:pt x="22996" y="20401"/>
                      </a:lnTo>
                      <a:lnTo>
                        <a:pt x="23038" y="20359"/>
                      </a:lnTo>
                      <a:lnTo>
                        <a:pt x="23017" y="20276"/>
                      </a:lnTo>
                      <a:lnTo>
                        <a:pt x="23121" y="20255"/>
                      </a:lnTo>
                      <a:lnTo>
                        <a:pt x="23121" y="20171"/>
                      </a:lnTo>
                      <a:lnTo>
                        <a:pt x="23059" y="20108"/>
                      </a:lnTo>
                      <a:cubicBezTo>
                        <a:pt x="23101" y="20066"/>
                        <a:pt x="23121" y="19983"/>
                        <a:pt x="23142" y="19941"/>
                      </a:cubicBezTo>
                      <a:lnTo>
                        <a:pt x="23163" y="19962"/>
                      </a:lnTo>
                      <a:lnTo>
                        <a:pt x="23204" y="19889"/>
                      </a:lnTo>
                      <a:close/>
                      <a:moveTo>
                        <a:pt x="23519" y="19836"/>
                      </a:moveTo>
                      <a:lnTo>
                        <a:pt x="23540" y="19962"/>
                      </a:lnTo>
                      <a:lnTo>
                        <a:pt x="23582" y="19962"/>
                      </a:lnTo>
                      <a:lnTo>
                        <a:pt x="23582" y="20087"/>
                      </a:lnTo>
                      <a:lnTo>
                        <a:pt x="23665" y="20171"/>
                      </a:lnTo>
                      <a:lnTo>
                        <a:pt x="23728" y="20108"/>
                      </a:lnTo>
                      <a:lnTo>
                        <a:pt x="23770" y="20150"/>
                      </a:lnTo>
                      <a:lnTo>
                        <a:pt x="23875" y="20087"/>
                      </a:lnTo>
                      <a:lnTo>
                        <a:pt x="24021" y="20087"/>
                      </a:lnTo>
                      <a:lnTo>
                        <a:pt x="24021" y="20108"/>
                      </a:lnTo>
                      <a:lnTo>
                        <a:pt x="23854" y="20213"/>
                      </a:lnTo>
                      <a:lnTo>
                        <a:pt x="23812" y="20255"/>
                      </a:lnTo>
                      <a:lnTo>
                        <a:pt x="23812" y="20297"/>
                      </a:lnTo>
                      <a:lnTo>
                        <a:pt x="23875" y="20359"/>
                      </a:lnTo>
                      <a:lnTo>
                        <a:pt x="23854" y="20401"/>
                      </a:lnTo>
                      <a:lnTo>
                        <a:pt x="23770" y="20401"/>
                      </a:lnTo>
                      <a:lnTo>
                        <a:pt x="23770" y="20464"/>
                      </a:lnTo>
                      <a:lnTo>
                        <a:pt x="23854" y="20590"/>
                      </a:lnTo>
                      <a:lnTo>
                        <a:pt x="23854" y="20694"/>
                      </a:lnTo>
                      <a:lnTo>
                        <a:pt x="23812" y="20715"/>
                      </a:lnTo>
                      <a:lnTo>
                        <a:pt x="23728" y="20631"/>
                      </a:lnTo>
                      <a:lnTo>
                        <a:pt x="23665" y="20548"/>
                      </a:lnTo>
                      <a:lnTo>
                        <a:pt x="23645" y="20610"/>
                      </a:lnTo>
                      <a:lnTo>
                        <a:pt x="23665" y="20694"/>
                      </a:lnTo>
                      <a:lnTo>
                        <a:pt x="23624" y="20757"/>
                      </a:lnTo>
                      <a:lnTo>
                        <a:pt x="23624" y="20903"/>
                      </a:lnTo>
                      <a:lnTo>
                        <a:pt x="23645" y="20924"/>
                      </a:lnTo>
                      <a:cubicBezTo>
                        <a:pt x="23629" y="20919"/>
                        <a:pt x="23614" y="20916"/>
                        <a:pt x="23601" y="20916"/>
                      </a:cubicBezTo>
                      <a:cubicBezTo>
                        <a:pt x="23562" y="20916"/>
                        <a:pt x="23535" y="20940"/>
                        <a:pt x="23519" y="20987"/>
                      </a:cubicBezTo>
                      <a:cubicBezTo>
                        <a:pt x="23456" y="21071"/>
                        <a:pt x="23414" y="21154"/>
                        <a:pt x="23373" y="21259"/>
                      </a:cubicBezTo>
                      <a:lnTo>
                        <a:pt x="23268" y="21154"/>
                      </a:lnTo>
                      <a:lnTo>
                        <a:pt x="23121" y="21154"/>
                      </a:lnTo>
                      <a:lnTo>
                        <a:pt x="23121" y="21238"/>
                      </a:lnTo>
                      <a:lnTo>
                        <a:pt x="23163" y="21322"/>
                      </a:lnTo>
                      <a:lnTo>
                        <a:pt x="23142" y="21426"/>
                      </a:lnTo>
                      <a:lnTo>
                        <a:pt x="23247" y="21468"/>
                      </a:lnTo>
                      <a:lnTo>
                        <a:pt x="23205" y="21552"/>
                      </a:lnTo>
                      <a:lnTo>
                        <a:pt x="23121" y="21552"/>
                      </a:lnTo>
                      <a:lnTo>
                        <a:pt x="23101" y="21531"/>
                      </a:lnTo>
                      <a:lnTo>
                        <a:pt x="23038" y="21615"/>
                      </a:lnTo>
                      <a:lnTo>
                        <a:pt x="23038" y="21531"/>
                      </a:lnTo>
                      <a:lnTo>
                        <a:pt x="23101" y="21447"/>
                      </a:lnTo>
                      <a:lnTo>
                        <a:pt x="22996" y="21322"/>
                      </a:lnTo>
                      <a:cubicBezTo>
                        <a:pt x="22996" y="21259"/>
                        <a:pt x="22996" y="21196"/>
                        <a:pt x="23017" y="21134"/>
                      </a:cubicBezTo>
                      <a:lnTo>
                        <a:pt x="23163" y="21050"/>
                      </a:lnTo>
                      <a:lnTo>
                        <a:pt x="23205" y="20882"/>
                      </a:lnTo>
                      <a:lnTo>
                        <a:pt x="23268" y="20903"/>
                      </a:lnTo>
                      <a:lnTo>
                        <a:pt x="23331" y="20841"/>
                      </a:lnTo>
                      <a:lnTo>
                        <a:pt x="23331" y="20736"/>
                      </a:lnTo>
                      <a:lnTo>
                        <a:pt x="23352" y="20673"/>
                      </a:lnTo>
                      <a:lnTo>
                        <a:pt x="23352" y="20276"/>
                      </a:lnTo>
                      <a:lnTo>
                        <a:pt x="23373" y="20171"/>
                      </a:lnTo>
                      <a:lnTo>
                        <a:pt x="23435" y="20401"/>
                      </a:lnTo>
                      <a:lnTo>
                        <a:pt x="23414" y="20673"/>
                      </a:lnTo>
                      <a:lnTo>
                        <a:pt x="23456" y="20694"/>
                      </a:lnTo>
                      <a:lnTo>
                        <a:pt x="23540" y="20527"/>
                      </a:lnTo>
                      <a:lnTo>
                        <a:pt x="23519" y="20108"/>
                      </a:lnTo>
                      <a:lnTo>
                        <a:pt x="23435" y="20004"/>
                      </a:lnTo>
                      <a:cubicBezTo>
                        <a:pt x="23456" y="19983"/>
                        <a:pt x="23456" y="19941"/>
                        <a:pt x="23498" y="19899"/>
                      </a:cubicBezTo>
                      <a:cubicBezTo>
                        <a:pt x="23519" y="19878"/>
                        <a:pt x="23519" y="19857"/>
                        <a:pt x="23519" y="19836"/>
                      </a:cubicBezTo>
                      <a:close/>
                      <a:moveTo>
                        <a:pt x="22808" y="1"/>
                      </a:moveTo>
                      <a:lnTo>
                        <a:pt x="22598" y="105"/>
                      </a:lnTo>
                      <a:lnTo>
                        <a:pt x="22556" y="168"/>
                      </a:lnTo>
                      <a:lnTo>
                        <a:pt x="22389" y="168"/>
                      </a:lnTo>
                      <a:lnTo>
                        <a:pt x="22264" y="231"/>
                      </a:lnTo>
                      <a:lnTo>
                        <a:pt x="22033" y="440"/>
                      </a:lnTo>
                      <a:lnTo>
                        <a:pt x="21866" y="503"/>
                      </a:lnTo>
                      <a:lnTo>
                        <a:pt x="21615" y="503"/>
                      </a:lnTo>
                      <a:lnTo>
                        <a:pt x="21448" y="398"/>
                      </a:lnTo>
                      <a:lnTo>
                        <a:pt x="21406" y="335"/>
                      </a:lnTo>
                      <a:lnTo>
                        <a:pt x="21406" y="398"/>
                      </a:lnTo>
                      <a:lnTo>
                        <a:pt x="21322" y="398"/>
                      </a:lnTo>
                      <a:lnTo>
                        <a:pt x="21217" y="294"/>
                      </a:lnTo>
                      <a:lnTo>
                        <a:pt x="21113" y="335"/>
                      </a:lnTo>
                      <a:lnTo>
                        <a:pt x="21092" y="419"/>
                      </a:lnTo>
                      <a:lnTo>
                        <a:pt x="21029" y="419"/>
                      </a:lnTo>
                      <a:lnTo>
                        <a:pt x="21008" y="335"/>
                      </a:lnTo>
                      <a:lnTo>
                        <a:pt x="21029" y="273"/>
                      </a:lnTo>
                      <a:lnTo>
                        <a:pt x="21134" y="210"/>
                      </a:lnTo>
                      <a:lnTo>
                        <a:pt x="21092" y="168"/>
                      </a:lnTo>
                      <a:lnTo>
                        <a:pt x="20945" y="210"/>
                      </a:lnTo>
                      <a:lnTo>
                        <a:pt x="20736" y="315"/>
                      </a:lnTo>
                      <a:lnTo>
                        <a:pt x="20590" y="398"/>
                      </a:lnTo>
                      <a:lnTo>
                        <a:pt x="20527" y="524"/>
                      </a:lnTo>
                      <a:lnTo>
                        <a:pt x="20569" y="628"/>
                      </a:lnTo>
                      <a:lnTo>
                        <a:pt x="20694" y="649"/>
                      </a:lnTo>
                      <a:lnTo>
                        <a:pt x="20611" y="733"/>
                      </a:lnTo>
                      <a:lnTo>
                        <a:pt x="20255" y="733"/>
                      </a:lnTo>
                      <a:lnTo>
                        <a:pt x="20088" y="859"/>
                      </a:lnTo>
                      <a:lnTo>
                        <a:pt x="19983" y="1131"/>
                      </a:lnTo>
                      <a:lnTo>
                        <a:pt x="19941" y="1319"/>
                      </a:lnTo>
                      <a:lnTo>
                        <a:pt x="19878" y="1319"/>
                      </a:lnTo>
                      <a:lnTo>
                        <a:pt x="19857" y="1256"/>
                      </a:lnTo>
                      <a:lnTo>
                        <a:pt x="19878" y="1068"/>
                      </a:lnTo>
                      <a:lnTo>
                        <a:pt x="20025" y="817"/>
                      </a:lnTo>
                      <a:lnTo>
                        <a:pt x="20025" y="733"/>
                      </a:lnTo>
                      <a:lnTo>
                        <a:pt x="19983" y="733"/>
                      </a:lnTo>
                      <a:lnTo>
                        <a:pt x="19732" y="1047"/>
                      </a:lnTo>
                      <a:lnTo>
                        <a:pt x="19585" y="1047"/>
                      </a:lnTo>
                      <a:lnTo>
                        <a:pt x="19523" y="1026"/>
                      </a:lnTo>
                      <a:lnTo>
                        <a:pt x="19439" y="921"/>
                      </a:lnTo>
                      <a:lnTo>
                        <a:pt x="19313" y="900"/>
                      </a:lnTo>
                      <a:lnTo>
                        <a:pt x="19230" y="900"/>
                      </a:lnTo>
                      <a:lnTo>
                        <a:pt x="19230" y="942"/>
                      </a:lnTo>
                      <a:lnTo>
                        <a:pt x="19418" y="1026"/>
                      </a:lnTo>
                      <a:lnTo>
                        <a:pt x="19460" y="1110"/>
                      </a:lnTo>
                      <a:lnTo>
                        <a:pt x="19418" y="1131"/>
                      </a:lnTo>
                      <a:lnTo>
                        <a:pt x="19251" y="1068"/>
                      </a:lnTo>
                      <a:lnTo>
                        <a:pt x="19062" y="1047"/>
                      </a:lnTo>
                      <a:lnTo>
                        <a:pt x="18832" y="1151"/>
                      </a:lnTo>
                      <a:lnTo>
                        <a:pt x="18539" y="1423"/>
                      </a:lnTo>
                      <a:lnTo>
                        <a:pt x="18204" y="1570"/>
                      </a:lnTo>
                      <a:lnTo>
                        <a:pt x="17974" y="1758"/>
                      </a:lnTo>
                      <a:lnTo>
                        <a:pt x="17744" y="1967"/>
                      </a:lnTo>
                      <a:lnTo>
                        <a:pt x="17451" y="2219"/>
                      </a:lnTo>
                      <a:lnTo>
                        <a:pt x="17263" y="2302"/>
                      </a:lnTo>
                      <a:lnTo>
                        <a:pt x="17158" y="2323"/>
                      </a:lnTo>
                      <a:lnTo>
                        <a:pt x="17012" y="2428"/>
                      </a:lnTo>
                      <a:lnTo>
                        <a:pt x="16865" y="2428"/>
                      </a:lnTo>
                      <a:lnTo>
                        <a:pt x="16698" y="2574"/>
                      </a:lnTo>
                      <a:lnTo>
                        <a:pt x="16510" y="2574"/>
                      </a:lnTo>
                      <a:lnTo>
                        <a:pt x="16426" y="2491"/>
                      </a:lnTo>
                      <a:lnTo>
                        <a:pt x="16238" y="2470"/>
                      </a:lnTo>
                      <a:lnTo>
                        <a:pt x="16091" y="2365"/>
                      </a:lnTo>
                      <a:lnTo>
                        <a:pt x="15986" y="2302"/>
                      </a:lnTo>
                      <a:lnTo>
                        <a:pt x="15798" y="2219"/>
                      </a:lnTo>
                      <a:lnTo>
                        <a:pt x="15714" y="2260"/>
                      </a:lnTo>
                      <a:lnTo>
                        <a:pt x="15589" y="2386"/>
                      </a:lnTo>
                      <a:lnTo>
                        <a:pt x="15380" y="2595"/>
                      </a:lnTo>
                      <a:lnTo>
                        <a:pt x="15338" y="2721"/>
                      </a:lnTo>
                      <a:lnTo>
                        <a:pt x="15233" y="2825"/>
                      </a:lnTo>
                      <a:lnTo>
                        <a:pt x="15170" y="2951"/>
                      </a:lnTo>
                      <a:lnTo>
                        <a:pt x="15087" y="2951"/>
                      </a:lnTo>
                      <a:lnTo>
                        <a:pt x="15024" y="2909"/>
                      </a:lnTo>
                      <a:lnTo>
                        <a:pt x="14940" y="2951"/>
                      </a:lnTo>
                      <a:lnTo>
                        <a:pt x="15045" y="3202"/>
                      </a:lnTo>
                      <a:lnTo>
                        <a:pt x="15170" y="3683"/>
                      </a:lnTo>
                      <a:lnTo>
                        <a:pt x="15296" y="4081"/>
                      </a:lnTo>
                      <a:lnTo>
                        <a:pt x="15359" y="4416"/>
                      </a:lnTo>
                      <a:lnTo>
                        <a:pt x="15338" y="4729"/>
                      </a:lnTo>
                      <a:lnTo>
                        <a:pt x="15191" y="4980"/>
                      </a:lnTo>
                      <a:lnTo>
                        <a:pt x="15087" y="5127"/>
                      </a:lnTo>
                      <a:lnTo>
                        <a:pt x="15087" y="5190"/>
                      </a:lnTo>
                      <a:lnTo>
                        <a:pt x="15296" y="5441"/>
                      </a:lnTo>
                      <a:lnTo>
                        <a:pt x="15442" y="5504"/>
                      </a:lnTo>
                      <a:lnTo>
                        <a:pt x="15442" y="5357"/>
                      </a:lnTo>
                      <a:lnTo>
                        <a:pt x="15484" y="5420"/>
                      </a:lnTo>
                      <a:lnTo>
                        <a:pt x="15589" y="5357"/>
                      </a:lnTo>
                      <a:lnTo>
                        <a:pt x="15673" y="5357"/>
                      </a:lnTo>
                      <a:lnTo>
                        <a:pt x="15589" y="5441"/>
                      </a:lnTo>
                      <a:lnTo>
                        <a:pt x="15589" y="5525"/>
                      </a:lnTo>
                      <a:lnTo>
                        <a:pt x="15882" y="5755"/>
                      </a:lnTo>
                      <a:lnTo>
                        <a:pt x="15798" y="5817"/>
                      </a:lnTo>
                      <a:lnTo>
                        <a:pt x="15673" y="5776"/>
                      </a:lnTo>
                      <a:lnTo>
                        <a:pt x="15652" y="5859"/>
                      </a:lnTo>
                      <a:lnTo>
                        <a:pt x="15610" y="6152"/>
                      </a:lnTo>
                      <a:lnTo>
                        <a:pt x="15610" y="6278"/>
                      </a:lnTo>
                      <a:lnTo>
                        <a:pt x="15673" y="6341"/>
                      </a:lnTo>
                      <a:lnTo>
                        <a:pt x="15756" y="6257"/>
                      </a:lnTo>
                      <a:lnTo>
                        <a:pt x="15882" y="6236"/>
                      </a:lnTo>
                      <a:lnTo>
                        <a:pt x="15986" y="6278"/>
                      </a:lnTo>
                      <a:lnTo>
                        <a:pt x="16028" y="6361"/>
                      </a:lnTo>
                      <a:lnTo>
                        <a:pt x="16196" y="6299"/>
                      </a:lnTo>
                      <a:lnTo>
                        <a:pt x="16384" y="6361"/>
                      </a:lnTo>
                      <a:lnTo>
                        <a:pt x="16530" y="6445"/>
                      </a:lnTo>
                      <a:lnTo>
                        <a:pt x="16384" y="6508"/>
                      </a:lnTo>
                      <a:lnTo>
                        <a:pt x="16405" y="6654"/>
                      </a:lnTo>
                      <a:lnTo>
                        <a:pt x="16384" y="6759"/>
                      </a:lnTo>
                      <a:lnTo>
                        <a:pt x="16196" y="6780"/>
                      </a:lnTo>
                      <a:lnTo>
                        <a:pt x="16217" y="6696"/>
                      </a:lnTo>
                      <a:lnTo>
                        <a:pt x="16112" y="6613"/>
                      </a:lnTo>
                      <a:lnTo>
                        <a:pt x="16028" y="6675"/>
                      </a:lnTo>
                      <a:lnTo>
                        <a:pt x="15882" y="6654"/>
                      </a:lnTo>
                      <a:lnTo>
                        <a:pt x="15819" y="6592"/>
                      </a:lnTo>
                      <a:lnTo>
                        <a:pt x="15777" y="6445"/>
                      </a:lnTo>
                      <a:lnTo>
                        <a:pt x="15673" y="6403"/>
                      </a:lnTo>
                      <a:lnTo>
                        <a:pt x="15610" y="6403"/>
                      </a:lnTo>
                      <a:lnTo>
                        <a:pt x="15484" y="6299"/>
                      </a:lnTo>
                      <a:lnTo>
                        <a:pt x="15505" y="6131"/>
                      </a:lnTo>
                      <a:lnTo>
                        <a:pt x="15652" y="5776"/>
                      </a:lnTo>
                      <a:lnTo>
                        <a:pt x="15610" y="5671"/>
                      </a:lnTo>
                      <a:lnTo>
                        <a:pt x="15568" y="5671"/>
                      </a:lnTo>
                      <a:lnTo>
                        <a:pt x="15463" y="5776"/>
                      </a:lnTo>
                      <a:lnTo>
                        <a:pt x="15463" y="6131"/>
                      </a:lnTo>
                      <a:lnTo>
                        <a:pt x="15401" y="6341"/>
                      </a:lnTo>
                      <a:lnTo>
                        <a:pt x="15296" y="6445"/>
                      </a:lnTo>
                      <a:lnTo>
                        <a:pt x="15296" y="6508"/>
                      </a:lnTo>
                      <a:lnTo>
                        <a:pt x="15380" y="6382"/>
                      </a:lnTo>
                      <a:lnTo>
                        <a:pt x="15463" y="6382"/>
                      </a:lnTo>
                      <a:lnTo>
                        <a:pt x="15505" y="6445"/>
                      </a:lnTo>
                      <a:lnTo>
                        <a:pt x="15652" y="6445"/>
                      </a:lnTo>
                      <a:lnTo>
                        <a:pt x="15694" y="6571"/>
                      </a:lnTo>
                      <a:lnTo>
                        <a:pt x="15694" y="6780"/>
                      </a:lnTo>
                      <a:lnTo>
                        <a:pt x="15589" y="6905"/>
                      </a:lnTo>
                      <a:lnTo>
                        <a:pt x="15442" y="6968"/>
                      </a:lnTo>
                      <a:lnTo>
                        <a:pt x="15442" y="6968"/>
                      </a:lnTo>
                      <a:lnTo>
                        <a:pt x="15589" y="6780"/>
                      </a:lnTo>
                      <a:lnTo>
                        <a:pt x="15589" y="6696"/>
                      </a:lnTo>
                      <a:lnTo>
                        <a:pt x="15505" y="6675"/>
                      </a:lnTo>
                      <a:lnTo>
                        <a:pt x="15463" y="6613"/>
                      </a:lnTo>
                      <a:lnTo>
                        <a:pt x="15380" y="6675"/>
                      </a:lnTo>
                      <a:lnTo>
                        <a:pt x="15191" y="6801"/>
                      </a:lnTo>
                      <a:lnTo>
                        <a:pt x="15191" y="6905"/>
                      </a:lnTo>
                      <a:lnTo>
                        <a:pt x="15087" y="6926"/>
                      </a:lnTo>
                      <a:lnTo>
                        <a:pt x="14982" y="6989"/>
                      </a:lnTo>
                      <a:lnTo>
                        <a:pt x="14961" y="6885"/>
                      </a:lnTo>
                      <a:lnTo>
                        <a:pt x="14898" y="6864"/>
                      </a:lnTo>
                      <a:lnTo>
                        <a:pt x="14752" y="6864"/>
                      </a:lnTo>
                      <a:lnTo>
                        <a:pt x="14668" y="6822"/>
                      </a:lnTo>
                      <a:lnTo>
                        <a:pt x="14647" y="6696"/>
                      </a:lnTo>
                      <a:lnTo>
                        <a:pt x="14564" y="6675"/>
                      </a:lnTo>
                      <a:lnTo>
                        <a:pt x="14522" y="6696"/>
                      </a:lnTo>
                      <a:lnTo>
                        <a:pt x="14417" y="6696"/>
                      </a:lnTo>
                      <a:lnTo>
                        <a:pt x="14417" y="6613"/>
                      </a:lnTo>
                      <a:lnTo>
                        <a:pt x="14334" y="6571"/>
                      </a:lnTo>
                      <a:lnTo>
                        <a:pt x="14250" y="6613"/>
                      </a:lnTo>
                      <a:lnTo>
                        <a:pt x="14208" y="6613"/>
                      </a:lnTo>
                      <a:lnTo>
                        <a:pt x="14208" y="6487"/>
                      </a:lnTo>
                      <a:lnTo>
                        <a:pt x="14145" y="6403"/>
                      </a:lnTo>
                      <a:lnTo>
                        <a:pt x="14145" y="6341"/>
                      </a:lnTo>
                      <a:lnTo>
                        <a:pt x="14250" y="6299"/>
                      </a:lnTo>
                      <a:lnTo>
                        <a:pt x="14396" y="6131"/>
                      </a:lnTo>
                      <a:lnTo>
                        <a:pt x="14459" y="6131"/>
                      </a:lnTo>
                      <a:lnTo>
                        <a:pt x="14543" y="6048"/>
                      </a:lnTo>
                      <a:lnTo>
                        <a:pt x="14543" y="5964"/>
                      </a:lnTo>
                      <a:lnTo>
                        <a:pt x="14396" y="5817"/>
                      </a:lnTo>
                      <a:lnTo>
                        <a:pt x="14313" y="5755"/>
                      </a:lnTo>
                      <a:lnTo>
                        <a:pt x="14208" y="5755"/>
                      </a:lnTo>
                      <a:lnTo>
                        <a:pt x="14020" y="5859"/>
                      </a:lnTo>
                      <a:lnTo>
                        <a:pt x="13915" y="5859"/>
                      </a:lnTo>
                      <a:lnTo>
                        <a:pt x="13810" y="5776"/>
                      </a:lnTo>
                      <a:lnTo>
                        <a:pt x="13706" y="5776"/>
                      </a:lnTo>
                      <a:lnTo>
                        <a:pt x="13371" y="5922"/>
                      </a:lnTo>
                      <a:lnTo>
                        <a:pt x="13329" y="5964"/>
                      </a:lnTo>
                      <a:lnTo>
                        <a:pt x="13392" y="6027"/>
                      </a:lnTo>
                      <a:lnTo>
                        <a:pt x="13517" y="6131"/>
                      </a:lnTo>
                      <a:lnTo>
                        <a:pt x="13497" y="6152"/>
                      </a:lnTo>
                      <a:lnTo>
                        <a:pt x="13392" y="6131"/>
                      </a:lnTo>
                      <a:lnTo>
                        <a:pt x="13287" y="6131"/>
                      </a:lnTo>
                      <a:lnTo>
                        <a:pt x="13225" y="6069"/>
                      </a:lnTo>
                      <a:lnTo>
                        <a:pt x="13120" y="6048"/>
                      </a:lnTo>
                      <a:lnTo>
                        <a:pt x="12911" y="6027"/>
                      </a:lnTo>
                      <a:lnTo>
                        <a:pt x="12701" y="6048"/>
                      </a:lnTo>
                      <a:lnTo>
                        <a:pt x="12639" y="6089"/>
                      </a:lnTo>
                      <a:lnTo>
                        <a:pt x="12639" y="6152"/>
                      </a:lnTo>
                      <a:lnTo>
                        <a:pt x="12534" y="6152"/>
                      </a:lnTo>
                      <a:lnTo>
                        <a:pt x="12492" y="6131"/>
                      </a:lnTo>
                      <a:lnTo>
                        <a:pt x="12429" y="6131"/>
                      </a:lnTo>
                      <a:lnTo>
                        <a:pt x="12262" y="6236"/>
                      </a:lnTo>
                      <a:lnTo>
                        <a:pt x="12262" y="6278"/>
                      </a:lnTo>
                      <a:lnTo>
                        <a:pt x="12178" y="6299"/>
                      </a:lnTo>
                      <a:lnTo>
                        <a:pt x="12011" y="6382"/>
                      </a:lnTo>
                      <a:lnTo>
                        <a:pt x="11865" y="6466"/>
                      </a:lnTo>
                      <a:lnTo>
                        <a:pt x="11802" y="6466"/>
                      </a:lnTo>
                      <a:lnTo>
                        <a:pt x="11823" y="6403"/>
                      </a:lnTo>
                      <a:lnTo>
                        <a:pt x="11844" y="6341"/>
                      </a:lnTo>
                      <a:lnTo>
                        <a:pt x="11739" y="6382"/>
                      </a:lnTo>
                      <a:lnTo>
                        <a:pt x="11634" y="6508"/>
                      </a:lnTo>
                      <a:lnTo>
                        <a:pt x="11634" y="6571"/>
                      </a:lnTo>
                      <a:lnTo>
                        <a:pt x="11802" y="6759"/>
                      </a:lnTo>
                      <a:lnTo>
                        <a:pt x="11948" y="6989"/>
                      </a:lnTo>
                      <a:lnTo>
                        <a:pt x="12116" y="7031"/>
                      </a:lnTo>
                      <a:lnTo>
                        <a:pt x="12241" y="7198"/>
                      </a:lnTo>
                      <a:lnTo>
                        <a:pt x="12367" y="7282"/>
                      </a:lnTo>
                      <a:lnTo>
                        <a:pt x="12429" y="7408"/>
                      </a:lnTo>
                      <a:lnTo>
                        <a:pt x="12534" y="7429"/>
                      </a:lnTo>
                      <a:lnTo>
                        <a:pt x="12660" y="7512"/>
                      </a:lnTo>
                      <a:lnTo>
                        <a:pt x="12597" y="7533"/>
                      </a:lnTo>
                      <a:lnTo>
                        <a:pt x="12429" y="7533"/>
                      </a:lnTo>
                      <a:lnTo>
                        <a:pt x="12388" y="7429"/>
                      </a:lnTo>
                      <a:lnTo>
                        <a:pt x="12262" y="7324"/>
                      </a:lnTo>
                      <a:lnTo>
                        <a:pt x="12178" y="7282"/>
                      </a:lnTo>
                      <a:lnTo>
                        <a:pt x="12137" y="7282"/>
                      </a:lnTo>
                      <a:lnTo>
                        <a:pt x="12011" y="7408"/>
                      </a:lnTo>
                      <a:lnTo>
                        <a:pt x="11885" y="7408"/>
                      </a:lnTo>
                      <a:lnTo>
                        <a:pt x="11802" y="7303"/>
                      </a:lnTo>
                      <a:lnTo>
                        <a:pt x="11906" y="7198"/>
                      </a:lnTo>
                      <a:lnTo>
                        <a:pt x="11906" y="7136"/>
                      </a:lnTo>
                      <a:lnTo>
                        <a:pt x="11823" y="7136"/>
                      </a:lnTo>
                      <a:lnTo>
                        <a:pt x="11739" y="7282"/>
                      </a:lnTo>
                      <a:lnTo>
                        <a:pt x="11781" y="7512"/>
                      </a:lnTo>
                      <a:lnTo>
                        <a:pt x="11802" y="7554"/>
                      </a:lnTo>
                      <a:lnTo>
                        <a:pt x="11802" y="7638"/>
                      </a:lnTo>
                      <a:lnTo>
                        <a:pt x="11676" y="7742"/>
                      </a:lnTo>
                      <a:lnTo>
                        <a:pt x="11593" y="7910"/>
                      </a:lnTo>
                      <a:lnTo>
                        <a:pt x="11572" y="8056"/>
                      </a:lnTo>
                      <a:lnTo>
                        <a:pt x="11593" y="8224"/>
                      </a:lnTo>
                      <a:lnTo>
                        <a:pt x="11802" y="8454"/>
                      </a:lnTo>
                      <a:lnTo>
                        <a:pt x="11990" y="8538"/>
                      </a:lnTo>
                      <a:lnTo>
                        <a:pt x="12116" y="8663"/>
                      </a:lnTo>
                      <a:lnTo>
                        <a:pt x="12199" y="8663"/>
                      </a:lnTo>
                      <a:lnTo>
                        <a:pt x="12346" y="8558"/>
                      </a:lnTo>
                      <a:lnTo>
                        <a:pt x="12492" y="8496"/>
                      </a:lnTo>
                      <a:lnTo>
                        <a:pt x="12639" y="8579"/>
                      </a:lnTo>
                      <a:lnTo>
                        <a:pt x="12890" y="8600"/>
                      </a:lnTo>
                      <a:lnTo>
                        <a:pt x="12994" y="8684"/>
                      </a:lnTo>
                      <a:lnTo>
                        <a:pt x="13015" y="8810"/>
                      </a:lnTo>
                      <a:lnTo>
                        <a:pt x="13078" y="8851"/>
                      </a:lnTo>
                      <a:lnTo>
                        <a:pt x="13141" y="8789"/>
                      </a:lnTo>
                      <a:lnTo>
                        <a:pt x="13141" y="8642"/>
                      </a:lnTo>
                      <a:lnTo>
                        <a:pt x="13162" y="8579"/>
                      </a:lnTo>
                      <a:lnTo>
                        <a:pt x="13266" y="8642"/>
                      </a:lnTo>
                      <a:lnTo>
                        <a:pt x="13266" y="8705"/>
                      </a:lnTo>
                      <a:lnTo>
                        <a:pt x="13162" y="8851"/>
                      </a:lnTo>
                      <a:lnTo>
                        <a:pt x="13162" y="8956"/>
                      </a:lnTo>
                      <a:lnTo>
                        <a:pt x="13204" y="8956"/>
                      </a:lnTo>
                      <a:lnTo>
                        <a:pt x="13371" y="8810"/>
                      </a:lnTo>
                      <a:lnTo>
                        <a:pt x="13413" y="8747"/>
                      </a:lnTo>
                      <a:lnTo>
                        <a:pt x="13601" y="8684"/>
                      </a:lnTo>
                      <a:lnTo>
                        <a:pt x="13831" y="8538"/>
                      </a:lnTo>
                      <a:lnTo>
                        <a:pt x="13999" y="8496"/>
                      </a:lnTo>
                      <a:lnTo>
                        <a:pt x="14082" y="8391"/>
                      </a:lnTo>
                      <a:lnTo>
                        <a:pt x="14124" y="8391"/>
                      </a:lnTo>
                      <a:lnTo>
                        <a:pt x="14145" y="8475"/>
                      </a:lnTo>
                      <a:lnTo>
                        <a:pt x="14208" y="8496"/>
                      </a:lnTo>
                      <a:lnTo>
                        <a:pt x="14396" y="8370"/>
                      </a:lnTo>
                      <a:lnTo>
                        <a:pt x="14543" y="8370"/>
                      </a:lnTo>
                      <a:lnTo>
                        <a:pt x="14606" y="8328"/>
                      </a:lnTo>
                      <a:lnTo>
                        <a:pt x="14543" y="8391"/>
                      </a:lnTo>
                      <a:lnTo>
                        <a:pt x="14417" y="8475"/>
                      </a:lnTo>
                      <a:lnTo>
                        <a:pt x="14417" y="8538"/>
                      </a:lnTo>
                      <a:lnTo>
                        <a:pt x="14459" y="8558"/>
                      </a:lnTo>
                      <a:lnTo>
                        <a:pt x="14354" y="8747"/>
                      </a:lnTo>
                      <a:lnTo>
                        <a:pt x="14208" y="8768"/>
                      </a:lnTo>
                      <a:lnTo>
                        <a:pt x="14145" y="8705"/>
                      </a:lnTo>
                      <a:lnTo>
                        <a:pt x="14082" y="8705"/>
                      </a:lnTo>
                      <a:lnTo>
                        <a:pt x="13915" y="8851"/>
                      </a:lnTo>
                      <a:lnTo>
                        <a:pt x="13915" y="8872"/>
                      </a:lnTo>
                      <a:lnTo>
                        <a:pt x="14041" y="8893"/>
                      </a:lnTo>
                      <a:lnTo>
                        <a:pt x="14124" y="8977"/>
                      </a:lnTo>
                      <a:lnTo>
                        <a:pt x="14124" y="9123"/>
                      </a:lnTo>
                      <a:lnTo>
                        <a:pt x="13936" y="9333"/>
                      </a:lnTo>
                      <a:lnTo>
                        <a:pt x="13915" y="9479"/>
                      </a:lnTo>
                      <a:lnTo>
                        <a:pt x="13873" y="9542"/>
                      </a:lnTo>
                      <a:lnTo>
                        <a:pt x="13831" y="9626"/>
                      </a:lnTo>
                      <a:lnTo>
                        <a:pt x="13873" y="9688"/>
                      </a:lnTo>
                      <a:lnTo>
                        <a:pt x="13894" y="9751"/>
                      </a:lnTo>
                      <a:lnTo>
                        <a:pt x="13873" y="9856"/>
                      </a:lnTo>
                      <a:lnTo>
                        <a:pt x="13748" y="10002"/>
                      </a:lnTo>
                      <a:lnTo>
                        <a:pt x="13643" y="10065"/>
                      </a:lnTo>
                      <a:lnTo>
                        <a:pt x="13538" y="10065"/>
                      </a:lnTo>
                      <a:lnTo>
                        <a:pt x="13476" y="10128"/>
                      </a:lnTo>
                      <a:lnTo>
                        <a:pt x="13371" y="10232"/>
                      </a:lnTo>
                      <a:lnTo>
                        <a:pt x="13287" y="10253"/>
                      </a:lnTo>
                      <a:lnTo>
                        <a:pt x="13162" y="10232"/>
                      </a:lnTo>
                      <a:lnTo>
                        <a:pt x="12994" y="10128"/>
                      </a:lnTo>
                      <a:lnTo>
                        <a:pt x="12953" y="10149"/>
                      </a:lnTo>
                      <a:lnTo>
                        <a:pt x="12890" y="10107"/>
                      </a:lnTo>
                      <a:lnTo>
                        <a:pt x="12806" y="10002"/>
                      </a:lnTo>
                      <a:lnTo>
                        <a:pt x="12785" y="10023"/>
                      </a:lnTo>
                      <a:lnTo>
                        <a:pt x="12681" y="10170"/>
                      </a:lnTo>
                      <a:lnTo>
                        <a:pt x="12555" y="10253"/>
                      </a:lnTo>
                      <a:lnTo>
                        <a:pt x="12471" y="10358"/>
                      </a:lnTo>
                      <a:lnTo>
                        <a:pt x="12241" y="10442"/>
                      </a:lnTo>
                      <a:lnTo>
                        <a:pt x="12157" y="10483"/>
                      </a:lnTo>
                      <a:lnTo>
                        <a:pt x="12053" y="10483"/>
                      </a:lnTo>
                      <a:lnTo>
                        <a:pt x="11948" y="10462"/>
                      </a:lnTo>
                      <a:lnTo>
                        <a:pt x="11760" y="10462"/>
                      </a:lnTo>
                      <a:lnTo>
                        <a:pt x="11634" y="10567"/>
                      </a:lnTo>
                      <a:lnTo>
                        <a:pt x="11509" y="10567"/>
                      </a:lnTo>
                      <a:lnTo>
                        <a:pt x="11425" y="10630"/>
                      </a:lnTo>
                      <a:lnTo>
                        <a:pt x="11425" y="10755"/>
                      </a:lnTo>
                      <a:lnTo>
                        <a:pt x="11341" y="10965"/>
                      </a:lnTo>
                      <a:lnTo>
                        <a:pt x="11279" y="11048"/>
                      </a:lnTo>
                      <a:lnTo>
                        <a:pt x="11279" y="10965"/>
                      </a:lnTo>
                      <a:lnTo>
                        <a:pt x="11132" y="10839"/>
                      </a:lnTo>
                      <a:lnTo>
                        <a:pt x="10986" y="10839"/>
                      </a:lnTo>
                      <a:lnTo>
                        <a:pt x="10902" y="10860"/>
                      </a:lnTo>
                      <a:lnTo>
                        <a:pt x="10923" y="10944"/>
                      </a:lnTo>
                      <a:lnTo>
                        <a:pt x="11007" y="10986"/>
                      </a:lnTo>
                      <a:lnTo>
                        <a:pt x="10965" y="11090"/>
                      </a:lnTo>
                      <a:lnTo>
                        <a:pt x="10902" y="11090"/>
                      </a:lnTo>
                      <a:lnTo>
                        <a:pt x="10860" y="10986"/>
                      </a:lnTo>
                      <a:lnTo>
                        <a:pt x="10756" y="10881"/>
                      </a:lnTo>
                      <a:lnTo>
                        <a:pt x="10693" y="10881"/>
                      </a:lnTo>
                      <a:lnTo>
                        <a:pt x="10546" y="11048"/>
                      </a:lnTo>
                      <a:lnTo>
                        <a:pt x="10484" y="11174"/>
                      </a:lnTo>
                      <a:lnTo>
                        <a:pt x="10400" y="11195"/>
                      </a:lnTo>
                      <a:lnTo>
                        <a:pt x="10337" y="11195"/>
                      </a:lnTo>
                      <a:lnTo>
                        <a:pt x="10065" y="11425"/>
                      </a:lnTo>
                      <a:lnTo>
                        <a:pt x="10023" y="11613"/>
                      </a:lnTo>
                      <a:lnTo>
                        <a:pt x="9960" y="11634"/>
                      </a:lnTo>
                      <a:lnTo>
                        <a:pt x="9835" y="11676"/>
                      </a:lnTo>
                      <a:lnTo>
                        <a:pt x="9730" y="11613"/>
                      </a:lnTo>
                      <a:lnTo>
                        <a:pt x="9709" y="11634"/>
                      </a:lnTo>
                      <a:lnTo>
                        <a:pt x="9814" y="11781"/>
                      </a:lnTo>
                      <a:lnTo>
                        <a:pt x="9772" y="11843"/>
                      </a:lnTo>
                      <a:lnTo>
                        <a:pt x="9709" y="11843"/>
                      </a:lnTo>
                      <a:lnTo>
                        <a:pt x="9647" y="11739"/>
                      </a:lnTo>
                      <a:lnTo>
                        <a:pt x="9605" y="11739"/>
                      </a:lnTo>
                      <a:lnTo>
                        <a:pt x="9542" y="11843"/>
                      </a:lnTo>
                      <a:lnTo>
                        <a:pt x="9416" y="12011"/>
                      </a:lnTo>
                      <a:lnTo>
                        <a:pt x="9416" y="12095"/>
                      </a:lnTo>
                      <a:lnTo>
                        <a:pt x="9521" y="12241"/>
                      </a:lnTo>
                      <a:lnTo>
                        <a:pt x="9542" y="12367"/>
                      </a:lnTo>
                      <a:lnTo>
                        <a:pt x="9521" y="12471"/>
                      </a:lnTo>
                      <a:lnTo>
                        <a:pt x="9458" y="12576"/>
                      </a:lnTo>
                      <a:lnTo>
                        <a:pt x="9500" y="12680"/>
                      </a:lnTo>
                      <a:lnTo>
                        <a:pt x="9563" y="12659"/>
                      </a:lnTo>
                      <a:lnTo>
                        <a:pt x="9647" y="12576"/>
                      </a:lnTo>
                      <a:lnTo>
                        <a:pt x="9668" y="12639"/>
                      </a:lnTo>
                      <a:lnTo>
                        <a:pt x="9709" y="12785"/>
                      </a:lnTo>
                      <a:lnTo>
                        <a:pt x="9647" y="12827"/>
                      </a:lnTo>
                      <a:lnTo>
                        <a:pt x="9605" y="12869"/>
                      </a:lnTo>
                      <a:lnTo>
                        <a:pt x="9626" y="12931"/>
                      </a:lnTo>
                      <a:lnTo>
                        <a:pt x="9709" y="12931"/>
                      </a:lnTo>
                      <a:lnTo>
                        <a:pt x="9751" y="12869"/>
                      </a:lnTo>
                      <a:lnTo>
                        <a:pt x="9835" y="12869"/>
                      </a:lnTo>
                      <a:lnTo>
                        <a:pt x="9856" y="12931"/>
                      </a:lnTo>
                      <a:lnTo>
                        <a:pt x="9856" y="12973"/>
                      </a:lnTo>
                      <a:lnTo>
                        <a:pt x="9981" y="12994"/>
                      </a:lnTo>
                      <a:lnTo>
                        <a:pt x="10086" y="13057"/>
                      </a:lnTo>
                      <a:lnTo>
                        <a:pt x="10232" y="13057"/>
                      </a:lnTo>
                      <a:lnTo>
                        <a:pt x="10337" y="12973"/>
                      </a:lnTo>
                      <a:lnTo>
                        <a:pt x="10379" y="12764"/>
                      </a:lnTo>
                      <a:lnTo>
                        <a:pt x="10463" y="12680"/>
                      </a:lnTo>
                      <a:lnTo>
                        <a:pt x="10672" y="12680"/>
                      </a:lnTo>
                      <a:lnTo>
                        <a:pt x="10756" y="12639"/>
                      </a:lnTo>
                      <a:lnTo>
                        <a:pt x="10651" y="12764"/>
                      </a:lnTo>
                      <a:lnTo>
                        <a:pt x="10546" y="12764"/>
                      </a:lnTo>
                      <a:lnTo>
                        <a:pt x="10358" y="12952"/>
                      </a:lnTo>
                      <a:lnTo>
                        <a:pt x="10337" y="13057"/>
                      </a:lnTo>
                      <a:lnTo>
                        <a:pt x="10253" y="13141"/>
                      </a:lnTo>
                      <a:lnTo>
                        <a:pt x="10358" y="13266"/>
                      </a:lnTo>
                      <a:lnTo>
                        <a:pt x="10358" y="13350"/>
                      </a:lnTo>
                      <a:lnTo>
                        <a:pt x="10191" y="13392"/>
                      </a:lnTo>
                      <a:lnTo>
                        <a:pt x="10149" y="13350"/>
                      </a:lnTo>
                      <a:lnTo>
                        <a:pt x="10149" y="13266"/>
                      </a:lnTo>
                      <a:lnTo>
                        <a:pt x="10086" y="13203"/>
                      </a:lnTo>
                      <a:lnTo>
                        <a:pt x="9981" y="13203"/>
                      </a:lnTo>
                      <a:lnTo>
                        <a:pt x="9940" y="13099"/>
                      </a:lnTo>
                      <a:lnTo>
                        <a:pt x="9772" y="13078"/>
                      </a:lnTo>
                      <a:lnTo>
                        <a:pt x="9730" y="12994"/>
                      </a:lnTo>
                      <a:lnTo>
                        <a:pt x="9647" y="13078"/>
                      </a:lnTo>
                      <a:lnTo>
                        <a:pt x="9542" y="13099"/>
                      </a:lnTo>
                      <a:lnTo>
                        <a:pt x="9521" y="13203"/>
                      </a:lnTo>
                      <a:lnTo>
                        <a:pt x="9437" y="13266"/>
                      </a:lnTo>
                      <a:lnTo>
                        <a:pt x="9312" y="13245"/>
                      </a:lnTo>
                      <a:lnTo>
                        <a:pt x="9291" y="13308"/>
                      </a:lnTo>
                      <a:lnTo>
                        <a:pt x="9333" y="13413"/>
                      </a:lnTo>
                      <a:lnTo>
                        <a:pt x="9396" y="13413"/>
                      </a:lnTo>
                      <a:lnTo>
                        <a:pt x="9312" y="13496"/>
                      </a:lnTo>
                      <a:lnTo>
                        <a:pt x="9291" y="13664"/>
                      </a:lnTo>
                      <a:lnTo>
                        <a:pt x="9312" y="13768"/>
                      </a:lnTo>
                      <a:lnTo>
                        <a:pt x="9396" y="13768"/>
                      </a:lnTo>
                      <a:lnTo>
                        <a:pt x="9396" y="13936"/>
                      </a:lnTo>
                      <a:lnTo>
                        <a:pt x="9416" y="13999"/>
                      </a:lnTo>
                      <a:lnTo>
                        <a:pt x="9416" y="14082"/>
                      </a:lnTo>
                      <a:lnTo>
                        <a:pt x="9521" y="14187"/>
                      </a:lnTo>
                      <a:lnTo>
                        <a:pt x="9521" y="14229"/>
                      </a:lnTo>
                      <a:lnTo>
                        <a:pt x="9396" y="14250"/>
                      </a:lnTo>
                      <a:lnTo>
                        <a:pt x="9354" y="14312"/>
                      </a:lnTo>
                      <a:lnTo>
                        <a:pt x="9730" y="14501"/>
                      </a:lnTo>
                      <a:lnTo>
                        <a:pt x="9877" y="14501"/>
                      </a:lnTo>
                      <a:lnTo>
                        <a:pt x="10065" y="14417"/>
                      </a:lnTo>
                      <a:lnTo>
                        <a:pt x="10170" y="14396"/>
                      </a:lnTo>
                      <a:lnTo>
                        <a:pt x="10232" y="14438"/>
                      </a:lnTo>
                      <a:lnTo>
                        <a:pt x="10295" y="14438"/>
                      </a:lnTo>
                      <a:lnTo>
                        <a:pt x="10463" y="14229"/>
                      </a:lnTo>
                      <a:lnTo>
                        <a:pt x="10463" y="14124"/>
                      </a:lnTo>
                      <a:lnTo>
                        <a:pt x="10400" y="14040"/>
                      </a:lnTo>
                      <a:lnTo>
                        <a:pt x="10400" y="13999"/>
                      </a:lnTo>
                      <a:lnTo>
                        <a:pt x="10567" y="13915"/>
                      </a:lnTo>
                      <a:lnTo>
                        <a:pt x="10714" y="13789"/>
                      </a:lnTo>
                      <a:lnTo>
                        <a:pt x="10986" y="13622"/>
                      </a:lnTo>
                      <a:lnTo>
                        <a:pt x="11090" y="13664"/>
                      </a:lnTo>
                      <a:lnTo>
                        <a:pt x="10986" y="13664"/>
                      </a:lnTo>
                      <a:lnTo>
                        <a:pt x="10756" y="13894"/>
                      </a:lnTo>
                      <a:lnTo>
                        <a:pt x="10588" y="13978"/>
                      </a:lnTo>
                      <a:lnTo>
                        <a:pt x="10588" y="14019"/>
                      </a:lnTo>
                      <a:lnTo>
                        <a:pt x="10693" y="14103"/>
                      </a:lnTo>
                      <a:lnTo>
                        <a:pt x="10693" y="14187"/>
                      </a:lnTo>
                      <a:lnTo>
                        <a:pt x="10588" y="14333"/>
                      </a:lnTo>
                      <a:lnTo>
                        <a:pt x="10463" y="14417"/>
                      </a:lnTo>
                      <a:lnTo>
                        <a:pt x="10442" y="14543"/>
                      </a:lnTo>
                      <a:lnTo>
                        <a:pt x="10463" y="14710"/>
                      </a:lnTo>
                      <a:lnTo>
                        <a:pt x="10442" y="14815"/>
                      </a:lnTo>
                      <a:lnTo>
                        <a:pt x="10442" y="14856"/>
                      </a:lnTo>
                      <a:lnTo>
                        <a:pt x="10442" y="14961"/>
                      </a:lnTo>
                      <a:lnTo>
                        <a:pt x="10463" y="15087"/>
                      </a:lnTo>
                      <a:lnTo>
                        <a:pt x="10295" y="15149"/>
                      </a:lnTo>
                      <a:lnTo>
                        <a:pt x="10232" y="15191"/>
                      </a:lnTo>
                      <a:lnTo>
                        <a:pt x="10191" y="15275"/>
                      </a:lnTo>
                      <a:lnTo>
                        <a:pt x="10044" y="15442"/>
                      </a:lnTo>
                      <a:lnTo>
                        <a:pt x="10002" y="15463"/>
                      </a:lnTo>
                      <a:lnTo>
                        <a:pt x="10044" y="15568"/>
                      </a:lnTo>
                      <a:lnTo>
                        <a:pt x="10044" y="15672"/>
                      </a:lnTo>
                      <a:lnTo>
                        <a:pt x="10107" y="15693"/>
                      </a:lnTo>
                      <a:lnTo>
                        <a:pt x="10212" y="15672"/>
                      </a:lnTo>
                      <a:lnTo>
                        <a:pt x="10274" y="15672"/>
                      </a:lnTo>
                      <a:lnTo>
                        <a:pt x="10316" y="15714"/>
                      </a:lnTo>
                      <a:lnTo>
                        <a:pt x="10253" y="15798"/>
                      </a:lnTo>
                      <a:lnTo>
                        <a:pt x="10128" y="15798"/>
                      </a:lnTo>
                      <a:lnTo>
                        <a:pt x="10065" y="15840"/>
                      </a:lnTo>
                      <a:lnTo>
                        <a:pt x="10086" y="15903"/>
                      </a:lnTo>
                      <a:lnTo>
                        <a:pt x="10065" y="15944"/>
                      </a:lnTo>
                      <a:lnTo>
                        <a:pt x="10086" y="16028"/>
                      </a:lnTo>
                      <a:lnTo>
                        <a:pt x="10023" y="16091"/>
                      </a:lnTo>
                      <a:lnTo>
                        <a:pt x="9940" y="16112"/>
                      </a:lnTo>
                      <a:lnTo>
                        <a:pt x="9835" y="16154"/>
                      </a:lnTo>
                      <a:lnTo>
                        <a:pt x="9751" y="16133"/>
                      </a:lnTo>
                      <a:lnTo>
                        <a:pt x="9709" y="16154"/>
                      </a:lnTo>
                      <a:lnTo>
                        <a:pt x="9772" y="16216"/>
                      </a:lnTo>
                      <a:lnTo>
                        <a:pt x="9877" y="16237"/>
                      </a:lnTo>
                      <a:lnTo>
                        <a:pt x="9960" y="16300"/>
                      </a:lnTo>
                      <a:lnTo>
                        <a:pt x="10086" y="16154"/>
                      </a:lnTo>
                      <a:lnTo>
                        <a:pt x="10337" y="16007"/>
                      </a:lnTo>
                      <a:lnTo>
                        <a:pt x="10379" y="16007"/>
                      </a:lnTo>
                      <a:lnTo>
                        <a:pt x="10463" y="16028"/>
                      </a:lnTo>
                      <a:lnTo>
                        <a:pt x="10546" y="15944"/>
                      </a:lnTo>
                      <a:lnTo>
                        <a:pt x="10714" y="15882"/>
                      </a:lnTo>
                      <a:lnTo>
                        <a:pt x="10693" y="15944"/>
                      </a:lnTo>
                      <a:lnTo>
                        <a:pt x="10630" y="16007"/>
                      </a:lnTo>
                      <a:lnTo>
                        <a:pt x="10630" y="16049"/>
                      </a:lnTo>
                      <a:lnTo>
                        <a:pt x="10693" y="16091"/>
                      </a:lnTo>
                      <a:lnTo>
                        <a:pt x="10714" y="16196"/>
                      </a:lnTo>
                      <a:lnTo>
                        <a:pt x="10693" y="16237"/>
                      </a:lnTo>
                      <a:lnTo>
                        <a:pt x="10776" y="16300"/>
                      </a:lnTo>
                      <a:lnTo>
                        <a:pt x="10881" y="16216"/>
                      </a:lnTo>
                      <a:lnTo>
                        <a:pt x="10944" y="16133"/>
                      </a:lnTo>
                      <a:lnTo>
                        <a:pt x="10986" y="16196"/>
                      </a:lnTo>
                      <a:lnTo>
                        <a:pt x="10965" y="16237"/>
                      </a:lnTo>
                      <a:lnTo>
                        <a:pt x="11049" y="16363"/>
                      </a:lnTo>
                      <a:lnTo>
                        <a:pt x="11069" y="16551"/>
                      </a:lnTo>
                      <a:lnTo>
                        <a:pt x="11049" y="16656"/>
                      </a:lnTo>
                      <a:lnTo>
                        <a:pt x="11090" y="16823"/>
                      </a:lnTo>
                      <a:lnTo>
                        <a:pt x="11153" y="16823"/>
                      </a:lnTo>
                      <a:lnTo>
                        <a:pt x="11195" y="16677"/>
                      </a:lnTo>
                      <a:lnTo>
                        <a:pt x="11195" y="16572"/>
                      </a:lnTo>
                      <a:lnTo>
                        <a:pt x="11300" y="16426"/>
                      </a:lnTo>
                      <a:lnTo>
                        <a:pt x="11321" y="16321"/>
                      </a:lnTo>
                      <a:lnTo>
                        <a:pt x="11467" y="16216"/>
                      </a:lnTo>
                      <a:lnTo>
                        <a:pt x="11488" y="16216"/>
                      </a:lnTo>
                      <a:lnTo>
                        <a:pt x="11593" y="16133"/>
                      </a:lnTo>
                      <a:lnTo>
                        <a:pt x="11739" y="16133"/>
                      </a:lnTo>
                      <a:lnTo>
                        <a:pt x="11593" y="16216"/>
                      </a:lnTo>
                      <a:lnTo>
                        <a:pt x="11425" y="16405"/>
                      </a:lnTo>
                      <a:lnTo>
                        <a:pt x="11425" y="16447"/>
                      </a:lnTo>
                      <a:lnTo>
                        <a:pt x="11572" y="16614"/>
                      </a:lnTo>
                      <a:lnTo>
                        <a:pt x="11634" y="16635"/>
                      </a:lnTo>
                      <a:lnTo>
                        <a:pt x="11802" y="16551"/>
                      </a:lnTo>
                      <a:lnTo>
                        <a:pt x="12032" y="16530"/>
                      </a:lnTo>
                      <a:lnTo>
                        <a:pt x="12137" y="16447"/>
                      </a:lnTo>
                      <a:lnTo>
                        <a:pt x="12220" y="16447"/>
                      </a:lnTo>
                      <a:lnTo>
                        <a:pt x="12429" y="16342"/>
                      </a:lnTo>
                      <a:lnTo>
                        <a:pt x="12513" y="16342"/>
                      </a:lnTo>
                      <a:lnTo>
                        <a:pt x="12429" y="16363"/>
                      </a:lnTo>
                      <a:lnTo>
                        <a:pt x="12304" y="16530"/>
                      </a:lnTo>
                      <a:lnTo>
                        <a:pt x="12304" y="16572"/>
                      </a:lnTo>
                      <a:lnTo>
                        <a:pt x="12220" y="16656"/>
                      </a:lnTo>
                      <a:lnTo>
                        <a:pt x="11906" y="16844"/>
                      </a:lnTo>
                      <a:lnTo>
                        <a:pt x="11781" y="16970"/>
                      </a:lnTo>
                      <a:lnTo>
                        <a:pt x="11676" y="17158"/>
                      </a:lnTo>
                      <a:lnTo>
                        <a:pt x="11634" y="17263"/>
                      </a:lnTo>
                      <a:lnTo>
                        <a:pt x="11697" y="17367"/>
                      </a:lnTo>
                      <a:lnTo>
                        <a:pt x="11802" y="17451"/>
                      </a:lnTo>
                      <a:lnTo>
                        <a:pt x="11613" y="17409"/>
                      </a:lnTo>
                      <a:lnTo>
                        <a:pt x="11530" y="17451"/>
                      </a:lnTo>
                      <a:lnTo>
                        <a:pt x="11425" y="17577"/>
                      </a:lnTo>
                      <a:lnTo>
                        <a:pt x="11383" y="17702"/>
                      </a:lnTo>
                      <a:lnTo>
                        <a:pt x="11216" y="17869"/>
                      </a:lnTo>
                      <a:lnTo>
                        <a:pt x="11153" y="17974"/>
                      </a:lnTo>
                      <a:lnTo>
                        <a:pt x="11174" y="18016"/>
                      </a:lnTo>
                      <a:lnTo>
                        <a:pt x="11216" y="18079"/>
                      </a:lnTo>
                      <a:lnTo>
                        <a:pt x="11195" y="18141"/>
                      </a:lnTo>
                      <a:lnTo>
                        <a:pt x="11111" y="18121"/>
                      </a:lnTo>
                      <a:lnTo>
                        <a:pt x="11090" y="18037"/>
                      </a:lnTo>
                      <a:lnTo>
                        <a:pt x="11007" y="18016"/>
                      </a:lnTo>
                      <a:lnTo>
                        <a:pt x="10944" y="18121"/>
                      </a:lnTo>
                      <a:lnTo>
                        <a:pt x="10776" y="18204"/>
                      </a:lnTo>
                      <a:lnTo>
                        <a:pt x="10839" y="18288"/>
                      </a:lnTo>
                      <a:lnTo>
                        <a:pt x="10776" y="18351"/>
                      </a:lnTo>
                      <a:lnTo>
                        <a:pt x="10693" y="18330"/>
                      </a:lnTo>
                      <a:lnTo>
                        <a:pt x="10672" y="18288"/>
                      </a:lnTo>
                      <a:lnTo>
                        <a:pt x="10630" y="18330"/>
                      </a:lnTo>
                      <a:lnTo>
                        <a:pt x="10358" y="18539"/>
                      </a:lnTo>
                      <a:lnTo>
                        <a:pt x="10274" y="18644"/>
                      </a:lnTo>
                      <a:lnTo>
                        <a:pt x="10316" y="18727"/>
                      </a:lnTo>
                      <a:lnTo>
                        <a:pt x="10253" y="18769"/>
                      </a:lnTo>
                      <a:lnTo>
                        <a:pt x="10170" y="18748"/>
                      </a:lnTo>
                      <a:lnTo>
                        <a:pt x="10170" y="18644"/>
                      </a:lnTo>
                      <a:lnTo>
                        <a:pt x="10023" y="18727"/>
                      </a:lnTo>
                      <a:lnTo>
                        <a:pt x="9898" y="18811"/>
                      </a:lnTo>
                      <a:lnTo>
                        <a:pt x="9793" y="18853"/>
                      </a:lnTo>
                      <a:lnTo>
                        <a:pt x="9751" y="18937"/>
                      </a:lnTo>
                      <a:lnTo>
                        <a:pt x="9647" y="18978"/>
                      </a:lnTo>
                      <a:lnTo>
                        <a:pt x="9500" y="18978"/>
                      </a:lnTo>
                      <a:lnTo>
                        <a:pt x="9333" y="19146"/>
                      </a:lnTo>
                      <a:lnTo>
                        <a:pt x="9082" y="19250"/>
                      </a:lnTo>
                      <a:lnTo>
                        <a:pt x="8893" y="19397"/>
                      </a:lnTo>
                      <a:lnTo>
                        <a:pt x="8810" y="19564"/>
                      </a:lnTo>
                      <a:lnTo>
                        <a:pt x="8810" y="19606"/>
                      </a:lnTo>
                      <a:lnTo>
                        <a:pt x="8872" y="19711"/>
                      </a:lnTo>
                      <a:lnTo>
                        <a:pt x="8872" y="19794"/>
                      </a:lnTo>
                      <a:lnTo>
                        <a:pt x="8852" y="19815"/>
                      </a:lnTo>
                      <a:lnTo>
                        <a:pt x="8768" y="19711"/>
                      </a:lnTo>
                      <a:lnTo>
                        <a:pt x="8747" y="19711"/>
                      </a:lnTo>
                      <a:lnTo>
                        <a:pt x="8705" y="19773"/>
                      </a:lnTo>
                      <a:lnTo>
                        <a:pt x="8747" y="19857"/>
                      </a:lnTo>
                      <a:lnTo>
                        <a:pt x="8684" y="19878"/>
                      </a:lnTo>
                      <a:lnTo>
                        <a:pt x="8621" y="19794"/>
                      </a:lnTo>
                      <a:lnTo>
                        <a:pt x="8705" y="19711"/>
                      </a:lnTo>
                      <a:cubicBezTo>
                        <a:pt x="8761" y="19673"/>
                        <a:pt x="8717" y="19603"/>
                        <a:pt x="8677" y="19603"/>
                      </a:cubicBezTo>
                      <a:cubicBezTo>
                        <a:pt x="8673" y="19603"/>
                        <a:pt x="8668" y="19604"/>
                        <a:pt x="8663" y="19606"/>
                      </a:cubicBezTo>
                      <a:lnTo>
                        <a:pt x="8600" y="19585"/>
                      </a:lnTo>
                      <a:lnTo>
                        <a:pt x="8496" y="19585"/>
                      </a:lnTo>
                      <a:lnTo>
                        <a:pt x="8454" y="19564"/>
                      </a:lnTo>
                      <a:lnTo>
                        <a:pt x="8349" y="19585"/>
                      </a:lnTo>
                      <a:lnTo>
                        <a:pt x="8161" y="19606"/>
                      </a:lnTo>
                      <a:lnTo>
                        <a:pt x="8056" y="19669"/>
                      </a:lnTo>
                      <a:lnTo>
                        <a:pt x="7973" y="19773"/>
                      </a:lnTo>
                      <a:lnTo>
                        <a:pt x="7826" y="19815"/>
                      </a:lnTo>
                      <a:lnTo>
                        <a:pt x="7680" y="19899"/>
                      </a:lnTo>
                      <a:lnTo>
                        <a:pt x="7554" y="20066"/>
                      </a:lnTo>
                      <a:lnTo>
                        <a:pt x="7575" y="20108"/>
                      </a:lnTo>
                      <a:lnTo>
                        <a:pt x="7533" y="20171"/>
                      </a:lnTo>
                      <a:lnTo>
                        <a:pt x="7471" y="20171"/>
                      </a:lnTo>
                      <a:lnTo>
                        <a:pt x="7345" y="20213"/>
                      </a:lnTo>
                      <a:lnTo>
                        <a:pt x="7261" y="20276"/>
                      </a:lnTo>
                      <a:lnTo>
                        <a:pt x="7261" y="20338"/>
                      </a:lnTo>
                      <a:lnTo>
                        <a:pt x="7219" y="20338"/>
                      </a:lnTo>
                      <a:lnTo>
                        <a:pt x="7115" y="20318"/>
                      </a:lnTo>
                      <a:lnTo>
                        <a:pt x="7010" y="20338"/>
                      </a:lnTo>
                      <a:lnTo>
                        <a:pt x="6989" y="20422"/>
                      </a:lnTo>
                      <a:lnTo>
                        <a:pt x="6947" y="20548"/>
                      </a:lnTo>
                      <a:lnTo>
                        <a:pt x="6947" y="20590"/>
                      </a:lnTo>
                      <a:cubicBezTo>
                        <a:pt x="6927" y="20590"/>
                        <a:pt x="6906" y="20610"/>
                        <a:pt x="6885" y="20610"/>
                      </a:cubicBezTo>
                      <a:lnTo>
                        <a:pt x="6843" y="20590"/>
                      </a:lnTo>
                      <a:lnTo>
                        <a:pt x="6906" y="20485"/>
                      </a:lnTo>
                      <a:lnTo>
                        <a:pt x="6822" y="20380"/>
                      </a:lnTo>
                      <a:lnTo>
                        <a:pt x="6675" y="20380"/>
                      </a:lnTo>
                      <a:lnTo>
                        <a:pt x="6634" y="20422"/>
                      </a:lnTo>
                      <a:lnTo>
                        <a:pt x="6571" y="20485"/>
                      </a:lnTo>
                      <a:lnTo>
                        <a:pt x="6466" y="20485"/>
                      </a:lnTo>
                      <a:lnTo>
                        <a:pt x="6403" y="20527"/>
                      </a:lnTo>
                      <a:lnTo>
                        <a:pt x="6299" y="20422"/>
                      </a:lnTo>
                      <a:lnTo>
                        <a:pt x="6257" y="20422"/>
                      </a:lnTo>
                      <a:lnTo>
                        <a:pt x="6152" y="20610"/>
                      </a:lnTo>
                      <a:lnTo>
                        <a:pt x="6090" y="20631"/>
                      </a:lnTo>
                      <a:lnTo>
                        <a:pt x="5985" y="20715"/>
                      </a:lnTo>
                      <a:lnTo>
                        <a:pt x="5943" y="20694"/>
                      </a:lnTo>
                      <a:lnTo>
                        <a:pt x="5880" y="20736"/>
                      </a:lnTo>
                      <a:lnTo>
                        <a:pt x="5859" y="20841"/>
                      </a:lnTo>
                      <a:lnTo>
                        <a:pt x="5880" y="20945"/>
                      </a:lnTo>
                      <a:lnTo>
                        <a:pt x="5943" y="20966"/>
                      </a:lnTo>
                      <a:cubicBezTo>
                        <a:pt x="5776" y="21029"/>
                        <a:pt x="5629" y="21071"/>
                        <a:pt x="5462" y="21154"/>
                      </a:cubicBezTo>
                      <a:lnTo>
                        <a:pt x="5441" y="21071"/>
                      </a:lnTo>
                      <a:lnTo>
                        <a:pt x="5378" y="21050"/>
                      </a:lnTo>
                      <a:lnTo>
                        <a:pt x="5378" y="21154"/>
                      </a:lnTo>
                      <a:lnTo>
                        <a:pt x="5378" y="21217"/>
                      </a:lnTo>
                      <a:cubicBezTo>
                        <a:pt x="5357" y="21217"/>
                        <a:pt x="5336" y="21238"/>
                        <a:pt x="5274" y="21238"/>
                      </a:cubicBezTo>
                      <a:lnTo>
                        <a:pt x="5232" y="21217"/>
                      </a:lnTo>
                      <a:lnTo>
                        <a:pt x="5169" y="21134"/>
                      </a:lnTo>
                      <a:lnTo>
                        <a:pt x="5064" y="21154"/>
                      </a:lnTo>
                      <a:lnTo>
                        <a:pt x="5064" y="21238"/>
                      </a:lnTo>
                      <a:lnTo>
                        <a:pt x="5127" y="21280"/>
                      </a:lnTo>
                      <a:cubicBezTo>
                        <a:pt x="5106" y="21322"/>
                        <a:pt x="5043" y="21322"/>
                        <a:pt x="5022" y="21343"/>
                      </a:cubicBezTo>
                      <a:lnTo>
                        <a:pt x="4960" y="21280"/>
                      </a:lnTo>
                      <a:lnTo>
                        <a:pt x="4960" y="21364"/>
                      </a:lnTo>
                      <a:cubicBezTo>
                        <a:pt x="4939" y="21385"/>
                        <a:pt x="4918" y="21385"/>
                        <a:pt x="4897" y="21385"/>
                      </a:cubicBezTo>
                      <a:lnTo>
                        <a:pt x="4855" y="21343"/>
                      </a:lnTo>
                      <a:lnTo>
                        <a:pt x="4730" y="21322"/>
                      </a:lnTo>
                      <a:lnTo>
                        <a:pt x="4688" y="21238"/>
                      </a:lnTo>
                      <a:lnTo>
                        <a:pt x="4583" y="21238"/>
                      </a:lnTo>
                      <a:lnTo>
                        <a:pt x="4478" y="21343"/>
                      </a:lnTo>
                      <a:lnTo>
                        <a:pt x="4478" y="21426"/>
                      </a:lnTo>
                      <a:lnTo>
                        <a:pt x="4541" y="21489"/>
                      </a:lnTo>
                      <a:cubicBezTo>
                        <a:pt x="4520" y="21489"/>
                        <a:pt x="4499" y="21531"/>
                        <a:pt x="4499" y="21531"/>
                      </a:cubicBezTo>
                      <a:lnTo>
                        <a:pt x="4395" y="21468"/>
                      </a:lnTo>
                      <a:lnTo>
                        <a:pt x="4290" y="21552"/>
                      </a:lnTo>
                      <a:lnTo>
                        <a:pt x="4290" y="21594"/>
                      </a:lnTo>
                      <a:cubicBezTo>
                        <a:pt x="4081" y="21678"/>
                        <a:pt x="3893" y="21761"/>
                        <a:pt x="3683" y="21845"/>
                      </a:cubicBezTo>
                      <a:lnTo>
                        <a:pt x="3704" y="21782"/>
                      </a:lnTo>
                      <a:lnTo>
                        <a:pt x="3809" y="21740"/>
                      </a:lnTo>
                      <a:lnTo>
                        <a:pt x="3746" y="21698"/>
                      </a:lnTo>
                      <a:lnTo>
                        <a:pt x="3704" y="21573"/>
                      </a:lnTo>
                      <a:lnTo>
                        <a:pt x="3600" y="21636"/>
                      </a:lnTo>
                      <a:lnTo>
                        <a:pt x="3432" y="21636"/>
                      </a:lnTo>
                      <a:lnTo>
                        <a:pt x="3453" y="21698"/>
                      </a:lnTo>
                      <a:lnTo>
                        <a:pt x="3390" y="21803"/>
                      </a:lnTo>
                      <a:lnTo>
                        <a:pt x="3286" y="21845"/>
                      </a:lnTo>
                      <a:lnTo>
                        <a:pt x="3160" y="21970"/>
                      </a:lnTo>
                      <a:lnTo>
                        <a:pt x="3160" y="22012"/>
                      </a:lnTo>
                      <a:cubicBezTo>
                        <a:pt x="2951" y="22096"/>
                        <a:pt x="2742" y="22159"/>
                        <a:pt x="2533" y="22201"/>
                      </a:cubicBezTo>
                      <a:lnTo>
                        <a:pt x="2512" y="22180"/>
                      </a:lnTo>
                      <a:lnTo>
                        <a:pt x="2386" y="22222"/>
                      </a:lnTo>
                      <a:lnTo>
                        <a:pt x="2407" y="22263"/>
                      </a:lnTo>
                      <a:cubicBezTo>
                        <a:pt x="2344" y="22263"/>
                        <a:pt x="2302" y="22284"/>
                        <a:pt x="2240" y="22284"/>
                      </a:cubicBezTo>
                      <a:cubicBezTo>
                        <a:pt x="2177" y="22305"/>
                        <a:pt x="2093" y="22305"/>
                        <a:pt x="2009" y="22326"/>
                      </a:cubicBezTo>
                      <a:lnTo>
                        <a:pt x="1926" y="22263"/>
                      </a:lnTo>
                      <a:lnTo>
                        <a:pt x="1821" y="22368"/>
                      </a:lnTo>
                      <a:lnTo>
                        <a:pt x="1821" y="22389"/>
                      </a:lnTo>
                      <a:cubicBezTo>
                        <a:pt x="1758" y="22410"/>
                        <a:pt x="1654" y="22410"/>
                        <a:pt x="1570" y="22431"/>
                      </a:cubicBezTo>
                      <a:cubicBezTo>
                        <a:pt x="1264" y="22480"/>
                        <a:pt x="957" y="22500"/>
                        <a:pt x="651" y="22500"/>
                      </a:cubicBezTo>
                      <a:cubicBezTo>
                        <a:pt x="434" y="22500"/>
                        <a:pt x="218" y="22490"/>
                        <a:pt x="1" y="22473"/>
                      </a:cubicBezTo>
                      <a:lnTo>
                        <a:pt x="1" y="22473"/>
                      </a:lnTo>
                      <a:cubicBezTo>
                        <a:pt x="332" y="22512"/>
                        <a:pt x="664" y="22527"/>
                        <a:pt x="990" y="22527"/>
                      </a:cubicBezTo>
                      <a:cubicBezTo>
                        <a:pt x="1179" y="22527"/>
                        <a:pt x="1365" y="22522"/>
                        <a:pt x="1549" y="22514"/>
                      </a:cubicBezTo>
                      <a:lnTo>
                        <a:pt x="1549" y="22535"/>
                      </a:lnTo>
                      <a:lnTo>
                        <a:pt x="1654" y="22577"/>
                      </a:lnTo>
                      <a:lnTo>
                        <a:pt x="1612" y="22514"/>
                      </a:lnTo>
                      <a:cubicBezTo>
                        <a:pt x="2093" y="22473"/>
                        <a:pt x="2533" y="22389"/>
                        <a:pt x="2972" y="22263"/>
                      </a:cubicBezTo>
                      <a:lnTo>
                        <a:pt x="2972" y="22263"/>
                      </a:lnTo>
                      <a:lnTo>
                        <a:pt x="2867" y="22368"/>
                      </a:lnTo>
                      <a:lnTo>
                        <a:pt x="3077" y="22368"/>
                      </a:lnTo>
                      <a:lnTo>
                        <a:pt x="3223" y="22222"/>
                      </a:lnTo>
                      <a:lnTo>
                        <a:pt x="3370" y="22222"/>
                      </a:lnTo>
                      <a:lnTo>
                        <a:pt x="3453" y="22159"/>
                      </a:lnTo>
                      <a:cubicBezTo>
                        <a:pt x="3579" y="22096"/>
                        <a:pt x="3746" y="22075"/>
                        <a:pt x="3872" y="22012"/>
                      </a:cubicBezTo>
                      <a:lnTo>
                        <a:pt x="3893" y="22054"/>
                      </a:lnTo>
                      <a:lnTo>
                        <a:pt x="4081" y="22054"/>
                      </a:lnTo>
                      <a:lnTo>
                        <a:pt x="4227" y="21991"/>
                      </a:lnTo>
                      <a:lnTo>
                        <a:pt x="4290" y="21719"/>
                      </a:lnTo>
                      <a:lnTo>
                        <a:pt x="4311" y="21803"/>
                      </a:lnTo>
                      <a:lnTo>
                        <a:pt x="4374" y="21845"/>
                      </a:lnTo>
                      <a:lnTo>
                        <a:pt x="4416" y="21740"/>
                      </a:lnTo>
                      <a:lnTo>
                        <a:pt x="4458" y="21657"/>
                      </a:lnTo>
                      <a:lnTo>
                        <a:pt x="4520" y="21678"/>
                      </a:lnTo>
                      <a:lnTo>
                        <a:pt x="4562" y="21740"/>
                      </a:lnTo>
                      <a:lnTo>
                        <a:pt x="4604" y="21719"/>
                      </a:lnTo>
                      <a:lnTo>
                        <a:pt x="4688" y="21615"/>
                      </a:lnTo>
                      <a:lnTo>
                        <a:pt x="4834" y="21531"/>
                      </a:lnTo>
                      <a:lnTo>
                        <a:pt x="4834" y="21468"/>
                      </a:lnTo>
                      <a:cubicBezTo>
                        <a:pt x="5043" y="21406"/>
                        <a:pt x="5253" y="21301"/>
                        <a:pt x="5462" y="21217"/>
                      </a:cubicBezTo>
                      <a:lnTo>
                        <a:pt x="5462" y="21217"/>
                      </a:lnTo>
                      <a:lnTo>
                        <a:pt x="5420" y="21238"/>
                      </a:lnTo>
                      <a:lnTo>
                        <a:pt x="5546" y="21238"/>
                      </a:lnTo>
                      <a:lnTo>
                        <a:pt x="5504" y="21196"/>
                      </a:lnTo>
                      <a:cubicBezTo>
                        <a:pt x="5839" y="21050"/>
                        <a:pt x="6173" y="20903"/>
                        <a:pt x="6508" y="20778"/>
                      </a:cubicBezTo>
                      <a:lnTo>
                        <a:pt x="6571" y="20799"/>
                      </a:lnTo>
                      <a:lnTo>
                        <a:pt x="6759" y="20778"/>
                      </a:lnTo>
                      <a:lnTo>
                        <a:pt x="6822" y="20694"/>
                      </a:lnTo>
                      <a:lnTo>
                        <a:pt x="6989" y="20715"/>
                      </a:lnTo>
                      <a:lnTo>
                        <a:pt x="6989" y="20673"/>
                      </a:lnTo>
                      <a:lnTo>
                        <a:pt x="6927" y="20610"/>
                      </a:lnTo>
                      <a:cubicBezTo>
                        <a:pt x="7031" y="20569"/>
                        <a:pt x="7136" y="20527"/>
                        <a:pt x="7240" y="20485"/>
                      </a:cubicBezTo>
                      <a:lnTo>
                        <a:pt x="7282" y="20485"/>
                      </a:lnTo>
                      <a:cubicBezTo>
                        <a:pt x="7324" y="20464"/>
                        <a:pt x="7387" y="20422"/>
                        <a:pt x="7429" y="20422"/>
                      </a:cubicBezTo>
                      <a:lnTo>
                        <a:pt x="7450" y="20485"/>
                      </a:lnTo>
                      <a:lnTo>
                        <a:pt x="7554" y="20485"/>
                      </a:lnTo>
                      <a:lnTo>
                        <a:pt x="7617" y="20380"/>
                      </a:lnTo>
                      <a:lnTo>
                        <a:pt x="7638" y="20464"/>
                      </a:lnTo>
                      <a:lnTo>
                        <a:pt x="7659" y="20464"/>
                      </a:lnTo>
                      <a:lnTo>
                        <a:pt x="7701" y="20380"/>
                      </a:lnTo>
                      <a:lnTo>
                        <a:pt x="7763" y="20318"/>
                      </a:lnTo>
                      <a:lnTo>
                        <a:pt x="7868" y="20318"/>
                      </a:lnTo>
                      <a:lnTo>
                        <a:pt x="7973" y="20255"/>
                      </a:lnTo>
                      <a:lnTo>
                        <a:pt x="8015" y="20171"/>
                      </a:lnTo>
                      <a:cubicBezTo>
                        <a:pt x="8077" y="20150"/>
                        <a:pt x="8161" y="20087"/>
                        <a:pt x="8224" y="20066"/>
                      </a:cubicBezTo>
                      <a:lnTo>
                        <a:pt x="8224" y="20066"/>
                      </a:lnTo>
                      <a:lnTo>
                        <a:pt x="8182" y="20108"/>
                      </a:lnTo>
                      <a:lnTo>
                        <a:pt x="8182" y="20213"/>
                      </a:lnTo>
                      <a:lnTo>
                        <a:pt x="8224" y="20255"/>
                      </a:lnTo>
                      <a:lnTo>
                        <a:pt x="8370" y="20150"/>
                      </a:lnTo>
                      <a:lnTo>
                        <a:pt x="8391" y="20066"/>
                      </a:lnTo>
                      <a:lnTo>
                        <a:pt x="8475" y="20045"/>
                      </a:lnTo>
                      <a:lnTo>
                        <a:pt x="8496" y="20087"/>
                      </a:lnTo>
                      <a:lnTo>
                        <a:pt x="8538" y="20045"/>
                      </a:lnTo>
                      <a:lnTo>
                        <a:pt x="8580" y="20045"/>
                      </a:lnTo>
                      <a:lnTo>
                        <a:pt x="8600" y="20108"/>
                      </a:lnTo>
                      <a:lnTo>
                        <a:pt x="8580" y="20192"/>
                      </a:lnTo>
                      <a:lnTo>
                        <a:pt x="8642" y="20192"/>
                      </a:lnTo>
                      <a:lnTo>
                        <a:pt x="8705" y="20087"/>
                      </a:lnTo>
                      <a:lnTo>
                        <a:pt x="8789" y="20087"/>
                      </a:lnTo>
                      <a:lnTo>
                        <a:pt x="8872" y="20004"/>
                      </a:lnTo>
                      <a:lnTo>
                        <a:pt x="8977" y="20004"/>
                      </a:lnTo>
                      <a:lnTo>
                        <a:pt x="9082" y="19857"/>
                      </a:lnTo>
                      <a:lnTo>
                        <a:pt x="9186" y="19794"/>
                      </a:lnTo>
                      <a:lnTo>
                        <a:pt x="9270" y="19836"/>
                      </a:lnTo>
                      <a:lnTo>
                        <a:pt x="9270" y="19899"/>
                      </a:lnTo>
                      <a:lnTo>
                        <a:pt x="9186" y="20004"/>
                      </a:lnTo>
                      <a:lnTo>
                        <a:pt x="9103" y="20150"/>
                      </a:lnTo>
                      <a:lnTo>
                        <a:pt x="9103" y="20192"/>
                      </a:lnTo>
                      <a:lnTo>
                        <a:pt x="9165" y="20192"/>
                      </a:lnTo>
                      <a:lnTo>
                        <a:pt x="9312" y="20045"/>
                      </a:lnTo>
                      <a:lnTo>
                        <a:pt x="9312" y="19857"/>
                      </a:lnTo>
                      <a:lnTo>
                        <a:pt x="9333" y="19836"/>
                      </a:lnTo>
                      <a:lnTo>
                        <a:pt x="9396" y="19899"/>
                      </a:lnTo>
                      <a:lnTo>
                        <a:pt x="9479" y="19857"/>
                      </a:lnTo>
                      <a:lnTo>
                        <a:pt x="9542" y="19878"/>
                      </a:lnTo>
                      <a:lnTo>
                        <a:pt x="9647" y="19878"/>
                      </a:lnTo>
                      <a:lnTo>
                        <a:pt x="9751" y="19753"/>
                      </a:lnTo>
                      <a:lnTo>
                        <a:pt x="9793" y="19753"/>
                      </a:lnTo>
                      <a:lnTo>
                        <a:pt x="9814" y="19773"/>
                      </a:lnTo>
                      <a:lnTo>
                        <a:pt x="9856" y="19648"/>
                      </a:lnTo>
                      <a:lnTo>
                        <a:pt x="9919" y="19585"/>
                      </a:lnTo>
                      <a:lnTo>
                        <a:pt x="9940" y="19627"/>
                      </a:lnTo>
                      <a:lnTo>
                        <a:pt x="9919" y="19690"/>
                      </a:lnTo>
                      <a:lnTo>
                        <a:pt x="9919" y="19794"/>
                      </a:lnTo>
                      <a:lnTo>
                        <a:pt x="9960" y="19773"/>
                      </a:lnTo>
                      <a:lnTo>
                        <a:pt x="10044" y="19669"/>
                      </a:lnTo>
                      <a:lnTo>
                        <a:pt x="10002" y="19648"/>
                      </a:lnTo>
                      <a:lnTo>
                        <a:pt x="10065" y="19564"/>
                      </a:lnTo>
                      <a:lnTo>
                        <a:pt x="10065" y="19522"/>
                      </a:lnTo>
                      <a:lnTo>
                        <a:pt x="9898" y="19522"/>
                      </a:lnTo>
                      <a:lnTo>
                        <a:pt x="9856" y="19481"/>
                      </a:lnTo>
                      <a:lnTo>
                        <a:pt x="10023" y="19439"/>
                      </a:lnTo>
                      <a:lnTo>
                        <a:pt x="10212" y="19334"/>
                      </a:lnTo>
                      <a:lnTo>
                        <a:pt x="10442" y="19334"/>
                      </a:lnTo>
                      <a:lnTo>
                        <a:pt x="10484" y="19271"/>
                      </a:lnTo>
                      <a:lnTo>
                        <a:pt x="10484" y="19209"/>
                      </a:lnTo>
                      <a:lnTo>
                        <a:pt x="10442" y="19209"/>
                      </a:lnTo>
                      <a:lnTo>
                        <a:pt x="10484" y="19167"/>
                      </a:lnTo>
                      <a:lnTo>
                        <a:pt x="10567" y="19146"/>
                      </a:lnTo>
                      <a:lnTo>
                        <a:pt x="10651" y="19104"/>
                      </a:lnTo>
                      <a:lnTo>
                        <a:pt x="10693" y="19104"/>
                      </a:lnTo>
                      <a:lnTo>
                        <a:pt x="10735" y="19209"/>
                      </a:lnTo>
                      <a:lnTo>
                        <a:pt x="10839" y="19209"/>
                      </a:lnTo>
                      <a:lnTo>
                        <a:pt x="10881" y="19125"/>
                      </a:lnTo>
                      <a:lnTo>
                        <a:pt x="10860" y="19104"/>
                      </a:lnTo>
                      <a:lnTo>
                        <a:pt x="10944" y="19020"/>
                      </a:lnTo>
                      <a:lnTo>
                        <a:pt x="10944" y="18916"/>
                      </a:lnTo>
                      <a:lnTo>
                        <a:pt x="10986" y="18853"/>
                      </a:lnTo>
                      <a:lnTo>
                        <a:pt x="11049" y="18916"/>
                      </a:lnTo>
                      <a:lnTo>
                        <a:pt x="11049" y="18999"/>
                      </a:lnTo>
                      <a:lnTo>
                        <a:pt x="11090" y="19041"/>
                      </a:lnTo>
                      <a:lnTo>
                        <a:pt x="11216" y="18957"/>
                      </a:lnTo>
                      <a:lnTo>
                        <a:pt x="11279" y="18895"/>
                      </a:lnTo>
                      <a:lnTo>
                        <a:pt x="11362" y="18895"/>
                      </a:lnTo>
                      <a:lnTo>
                        <a:pt x="11404" y="18790"/>
                      </a:lnTo>
                      <a:lnTo>
                        <a:pt x="11425" y="18748"/>
                      </a:lnTo>
                      <a:lnTo>
                        <a:pt x="11488" y="18811"/>
                      </a:lnTo>
                      <a:lnTo>
                        <a:pt x="11593" y="18790"/>
                      </a:lnTo>
                      <a:lnTo>
                        <a:pt x="11718" y="18623"/>
                      </a:lnTo>
                      <a:lnTo>
                        <a:pt x="11718" y="18539"/>
                      </a:lnTo>
                      <a:lnTo>
                        <a:pt x="11613" y="18539"/>
                      </a:lnTo>
                      <a:lnTo>
                        <a:pt x="11593" y="18518"/>
                      </a:lnTo>
                      <a:lnTo>
                        <a:pt x="11739" y="18413"/>
                      </a:lnTo>
                      <a:lnTo>
                        <a:pt x="11844" y="18393"/>
                      </a:lnTo>
                      <a:lnTo>
                        <a:pt x="11927" y="18288"/>
                      </a:lnTo>
                      <a:lnTo>
                        <a:pt x="11990" y="18288"/>
                      </a:lnTo>
                      <a:lnTo>
                        <a:pt x="12011" y="18330"/>
                      </a:lnTo>
                      <a:lnTo>
                        <a:pt x="12137" y="18204"/>
                      </a:lnTo>
                      <a:lnTo>
                        <a:pt x="12241" y="18141"/>
                      </a:lnTo>
                      <a:lnTo>
                        <a:pt x="12262" y="18079"/>
                      </a:lnTo>
                      <a:lnTo>
                        <a:pt x="12346" y="18037"/>
                      </a:lnTo>
                      <a:lnTo>
                        <a:pt x="12367" y="17995"/>
                      </a:lnTo>
                      <a:lnTo>
                        <a:pt x="12450" y="17995"/>
                      </a:lnTo>
                      <a:lnTo>
                        <a:pt x="12471" y="18079"/>
                      </a:lnTo>
                      <a:lnTo>
                        <a:pt x="12534" y="18100"/>
                      </a:lnTo>
                      <a:lnTo>
                        <a:pt x="12555" y="18016"/>
                      </a:lnTo>
                      <a:lnTo>
                        <a:pt x="12660" y="18016"/>
                      </a:lnTo>
                      <a:lnTo>
                        <a:pt x="12722" y="17995"/>
                      </a:lnTo>
                      <a:lnTo>
                        <a:pt x="12722" y="17911"/>
                      </a:lnTo>
                      <a:lnTo>
                        <a:pt x="12827" y="17890"/>
                      </a:lnTo>
                      <a:lnTo>
                        <a:pt x="12848" y="17828"/>
                      </a:lnTo>
                      <a:lnTo>
                        <a:pt x="12869" y="17869"/>
                      </a:lnTo>
                      <a:lnTo>
                        <a:pt x="13036" y="17890"/>
                      </a:lnTo>
                      <a:lnTo>
                        <a:pt x="13057" y="17786"/>
                      </a:lnTo>
                      <a:lnTo>
                        <a:pt x="13099" y="17786"/>
                      </a:lnTo>
                      <a:lnTo>
                        <a:pt x="13099" y="17849"/>
                      </a:lnTo>
                      <a:lnTo>
                        <a:pt x="13162" y="17849"/>
                      </a:lnTo>
                      <a:lnTo>
                        <a:pt x="13204" y="17786"/>
                      </a:lnTo>
                      <a:lnTo>
                        <a:pt x="13266" y="17849"/>
                      </a:lnTo>
                      <a:lnTo>
                        <a:pt x="13308" y="17807"/>
                      </a:lnTo>
                      <a:lnTo>
                        <a:pt x="13371" y="17660"/>
                      </a:lnTo>
                      <a:lnTo>
                        <a:pt x="13308" y="17660"/>
                      </a:lnTo>
                      <a:lnTo>
                        <a:pt x="13266" y="17681"/>
                      </a:lnTo>
                      <a:lnTo>
                        <a:pt x="13287" y="17597"/>
                      </a:lnTo>
                      <a:lnTo>
                        <a:pt x="13350" y="17556"/>
                      </a:lnTo>
                      <a:cubicBezTo>
                        <a:pt x="13371" y="17618"/>
                        <a:pt x="13392" y="17702"/>
                        <a:pt x="13455" y="17765"/>
                      </a:cubicBezTo>
                      <a:cubicBezTo>
                        <a:pt x="13517" y="17849"/>
                        <a:pt x="13392" y="17995"/>
                        <a:pt x="13308" y="18079"/>
                      </a:cubicBezTo>
                      <a:lnTo>
                        <a:pt x="13245" y="18183"/>
                      </a:lnTo>
                      <a:lnTo>
                        <a:pt x="13266" y="18225"/>
                      </a:lnTo>
                      <a:lnTo>
                        <a:pt x="13371" y="18309"/>
                      </a:lnTo>
                      <a:lnTo>
                        <a:pt x="13350" y="18413"/>
                      </a:lnTo>
                      <a:lnTo>
                        <a:pt x="13266" y="18351"/>
                      </a:lnTo>
                      <a:lnTo>
                        <a:pt x="13245" y="18393"/>
                      </a:lnTo>
                      <a:lnTo>
                        <a:pt x="13266" y="18497"/>
                      </a:lnTo>
                      <a:lnTo>
                        <a:pt x="13162" y="18623"/>
                      </a:lnTo>
                      <a:lnTo>
                        <a:pt x="13099" y="18602"/>
                      </a:lnTo>
                      <a:lnTo>
                        <a:pt x="13099" y="18351"/>
                      </a:lnTo>
                      <a:lnTo>
                        <a:pt x="13057" y="18330"/>
                      </a:lnTo>
                      <a:lnTo>
                        <a:pt x="12890" y="18351"/>
                      </a:lnTo>
                      <a:lnTo>
                        <a:pt x="12639" y="18497"/>
                      </a:lnTo>
                      <a:lnTo>
                        <a:pt x="12471" y="18602"/>
                      </a:lnTo>
                      <a:lnTo>
                        <a:pt x="12450" y="18665"/>
                      </a:lnTo>
                      <a:lnTo>
                        <a:pt x="12471" y="18727"/>
                      </a:lnTo>
                      <a:lnTo>
                        <a:pt x="12471" y="18853"/>
                      </a:lnTo>
                      <a:lnTo>
                        <a:pt x="12450" y="18957"/>
                      </a:lnTo>
                      <a:lnTo>
                        <a:pt x="12409" y="19041"/>
                      </a:lnTo>
                      <a:lnTo>
                        <a:pt x="12409" y="19146"/>
                      </a:lnTo>
                      <a:lnTo>
                        <a:pt x="12471" y="19188"/>
                      </a:lnTo>
                      <a:lnTo>
                        <a:pt x="12555" y="19167"/>
                      </a:lnTo>
                      <a:lnTo>
                        <a:pt x="12576" y="19125"/>
                      </a:lnTo>
                      <a:lnTo>
                        <a:pt x="12555" y="19083"/>
                      </a:lnTo>
                      <a:lnTo>
                        <a:pt x="12513" y="19062"/>
                      </a:lnTo>
                      <a:lnTo>
                        <a:pt x="12555" y="19020"/>
                      </a:lnTo>
                      <a:lnTo>
                        <a:pt x="12681" y="19020"/>
                      </a:lnTo>
                      <a:lnTo>
                        <a:pt x="12660" y="19062"/>
                      </a:lnTo>
                      <a:lnTo>
                        <a:pt x="12722" y="19125"/>
                      </a:lnTo>
                      <a:lnTo>
                        <a:pt x="12785" y="19041"/>
                      </a:lnTo>
                      <a:lnTo>
                        <a:pt x="12848" y="19041"/>
                      </a:lnTo>
                      <a:lnTo>
                        <a:pt x="12764" y="19146"/>
                      </a:lnTo>
                      <a:lnTo>
                        <a:pt x="12764" y="19188"/>
                      </a:lnTo>
                      <a:lnTo>
                        <a:pt x="12555" y="19355"/>
                      </a:lnTo>
                      <a:lnTo>
                        <a:pt x="12534" y="19397"/>
                      </a:lnTo>
                      <a:lnTo>
                        <a:pt x="12639" y="19439"/>
                      </a:lnTo>
                      <a:lnTo>
                        <a:pt x="12681" y="19355"/>
                      </a:lnTo>
                      <a:lnTo>
                        <a:pt x="12764" y="19292"/>
                      </a:lnTo>
                      <a:lnTo>
                        <a:pt x="12764" y="19229"/>
                      </a:lnTo>
                      <a:lnTo>
                        <a:pt x="12890" y="19146"/>
                      </a:lnTo>
                      <a:lnTo>
                        <a:pt x="12869" y="19083"/>
                      </a:lnTo>
                      <a:lnTo>
                        <a:pt x="12932" y="19041"/>
                      </a:lnTo>
                      <a:lnTo>
                        <a:pt x="12973" y="19041"/>
                      </a:lnTo>
                      <a:lnTo>
                        <a:pt x="13036" y="18916"/>
                      </a:lnTo>
                      <a:lnTo>
                        <a:pt x="13078" y="18937"/>
                      </a:lnTo>
                      <a:lnTo>
                        <a:pt x="13183" y="18916"/>
                      </a:lnTo>
                      <a:lnTo>
                        <a:pt x="13287" y="18937"/>
                      </a:lnTo>
                      <a:lnTo>
                        <a:pt x="13455" y="18832"/>
                      </a:lnTo>
                      <a:lnTo>
                        <a:pt x="13413" y="18748"/>
                      </a:lnTo>
                      <a:lnTo>
                        <a:pt x="13287" y="18706"/>
                      </a:lnTo>
                      <a:lnTo>
                        <a:pt x="13371" y="18665"/>
                      </a:lnTo>
                      <a:lnTo>
                        <a:pt x="13497" y="18665"/>
                      </a:lnTo>
                      <a:lnTo>
                        <a:pt x="13580" y="18769"/>
                      </a:lnTo>
                      <a:lnTo>
                        <a:pt x="13664" y="18769"/>
                      </a:lnTo>
                      <a:lnTo>
                        <a:pt x="13727" y="18665"/>
                      </a:lnTo>
                      <a:lnTo>
                        <a:pt x="13685" y="18539"/>
                      </a:lnTo>
                      <a:lnTo>
                        <a:pt x="13580" y="18518"/>
                      </a:lnTo>
                      <a:lnTo>
                        <a:pt x="13622" y="18455"/>
                      </a:lnTo>
                      <a:lnTo>
                        <a:pt x="13706" y="18455"/>
                      </a:lnTo>
                      <a:lnTo>
                        <a:pt x="13789" y="18497"/>
                      </a:lnTo>
                      <a:lnTo>
                        <a:pt x="13852" y="18455"/>
                      </a:lnTo>
                      <a:lnTo>
                        <a:pt x="13894" y="18518"/>
                      </a:lnTo>
                      <a:lnTo>
                        <a:pt x="13957" y="18539"/>
                      </a:lnTo>
                      <a:lnTo>
                        <a:pt x="14041" y="18413"/>
                      </a:lnTo>
                      <a:lnTo>
                        <a:pt x="14020" y="18330"/>
                      </a:lnTo>
                      <a:lnTo>
                        <a:pt x="13957" y="18309"/>
                      </a:lnTo>
                      <a:lnTo>
                        <a:pt x="13957" y="18225"/>
                      </a:lnTo>
                      <a:lnTo>
                        <a:pt x="14062" y="18225"/>
                      </a:lnTo>
                      <a:lnTo>
                        <a:pt x="14166" y="18204"/>
                      </a:lnTo>
                      <a:lnTo>
                        <a:pt x="14124" y="18079"/>
                      </a:lnTo>
                      <a:lnTo>
                        <a:pt x="14041" y="18037"/>
                      </a:lnTo>
                      <a:lnTo>
                        <a:pt x="13957" y="18079"/>
                      </a:lnTo>
                      <a:lnTo>
                        <a:pt x="14041" y="17995"/>
                      </a:lnTo>
                      <a:cubicBezTo>
                        <a:pt x="14062" y="17974"/>
                        <a:pt x="14041" y="17932"/>
                        <a:pt x="14041" y="17932"/>
                      </a:cubicBezTo>
                      <a:lnTo>
                        <a:pt x="14145" y="17828"/>
                      </a:lnTo>
                      <a:lnTo>
                        <a:pt x="14166" y="17911"/>
                      </a:lnTo>
                      <a:lnTo>
                        <a:pt x="14229" y="17911"/>
                      </a:lnTo>
                      <a:lnTo>
                        <a:pt x="14313" y="17807"/>
                      </a:lnTo>
                      <a:lnTo>
                        <a:pt x="14354" y="17869"/>
                      </a:lnTo>
                      <a:lnTo>
                        <a:pt x="14438" y="17828"/>
                      </a:lnTo>
                      <a:lnTo>
                        <a:pt x="14417" y="17765"/>
                      </a:lnTo>
                      <a:lnTo>
                        <a:pt x="14334" y="17723"/>
                      </a:lnTo>
                      <a:lnTo>
                        <a:pt x="14396" y="17660"/>
                      </a:lnTo>
                      <a:lnTo>
                        <a:pt x="14438" y="17597"/>
                      </a:lnTo>
                      <a:lnTo>
                        <a:pt x="14396" y="17514"/>
                      </a:lnTo>
                      <a:lnTo>
                        <a:pt x="14313" y="17556"/>
                      </a:lnTo>
                      <a:lnTo>
                        <a:pt x="14292" y="17597"/>
                      </a:lnTo>
                      <a:lnTo>
                        <a:pt x="14229" y="17597"/>
                      </a:lnTo>
                      <a:lnTo>
                        <a:pt x="14250" y="17493"/>
                      </a:lnTo>
                      <a:lnTo>
                        <a:pt x="14208" y="17472"/>
                      </a:lnTo>
                      <a:lnTo>
                        <a:pt x="14103" y="17493"/>
                      </a:lnTo>
                      <a:lnTo>
                        <a:pt x="14041" y="17577"/>
                      </a:lnTo>
                      <a:lnTo>
                        <a:pt x="14103" y="17618"/>
                      </a:lnTo>
                      <a:lnTo>
                        <a:pt x="14041" y="17723"/>
                      </a:lnTo>
                      <a:lnTo>
                        <a:pt x="13999" y="17702"/>
                      </a:lnTo>
                      <a:lnTo>
                        <a:pt x="13978" y="17786"/>
                      </a:lnTo>
                      <a:lnTo>
                        <a:pt x="13894" y="17765"/>
                      </a:lnTo>
                      <a:lnTo>
                        <a:pt x="13831" y="17807"/>
                      </a:lnTo>
                      <a:lnTo>
                        <a:pt x="13873" y="17869"/>
                      </a:lnTo>
                      <a:lnTo>
                        <a:pt x="13999" y="17995"/>
                      </a:lnTo>
                      <a:lnTo>
                        <a:pt x="13831" y="18141"/>
                      </a:lnTo>
                      <a:lnTo>
                        <a:pt x="13831" y="18079"/>
                      </a:lnTo>
                      <a:lnTo>
                        <a:pt x="13727" y="17995"/>
                      </a:lnTo>
                      <a:lnTo>
                        <a:pt x="13685" y="18037"/>
                      </a:lnTo>
                      <a:lnTo>
                        <a:pt x="13706" y="18121"/>
                      </a:lnTo>
                      <a:lnTo>
                        <a:pt x="13685" y="18225"/>
                      </a:lnTo>
                      <a:lnTo>
                        <a:pt x="13622" y="18204"/>
                      </a:lnTo>
                      <a:lnTo>
                        <a:pt x="13580" y="18225"/>
                      </a:lnTo>
                      <a:lnTo>
                        <a:pt x="13517" y="18330"/>
                      </a:lnTo>
                      <a:lnTo>
                        <a:pt x="13434" y="18351"/>
                      </a:lnTo>
                      <a:lnTo>
                        <a:pt x="13434" y="18288"/>
                      </a:lnTo>
                      <a:lnTo>
                        <a:pt x="13497" y="18225"/>
                      </a:lnTo>
                      <a:lnTo>
                        <a:pt x="13497" y="18121"/>
                      </a:lnTo>
                      <a:lnTo>
                        <a:pt x="13413" y="18079"/>
                      </a:lnTo>
                      <a:lnTo>
                        <a:pt x="13371" y="18079"/>
                      </a:lnTo>
                      <a:cubicBezTo>
                        <a:pt x="13413" y="17995"/>
                        <a:pt x="13476" y="17911"/>
                        <a:pt x="13559" y="17849"/>
                      </a:cubicBezTo>
                      <a:lnTo>
                        <a:pt x="13559" y="17807"/>
                      </a:lnTo>
                      <a:cubicBezTo>
                        <a:pt x="13497" y="17702"/>
                        <a:pt x="13476" y="17597"/>
                        <a:pt x="13434" y="17493"/>
                      </a:cubicBezTo>
                      <a:lnTo>
                        <a:pt x="13476" y="17493"/>
                      </a:lnTo>
                      <a:lnTo>
                        <a:pt x="13517" y="17535"/>
                      </a:lnTo>
                      <a:lnTo>
                        <a:pt x="13538" y="17493"/>
                      </a:lnTo>
                      <a:lnTo>
                        <a:pt x="13497" y="17409"/>
                      </a:lnTo>
                      <a:lnTo>
                        <a:pt x="13413" y="17388"/>
                      </a:lnTo>
                      <a:lnTo>
                        <a:pt x="13476" y="17367"/>
                      </a:lnTo>
                      <a:lnTo>
                        <a:pt x="13580" y="17388"/>
                      </a:lnTo>
                      <a:lnTo>
                        <a:pt x="13706" y="17263"/>
                      </a:lnTo>
                      <a:lnTo>
                        <a:pt x="13831" y="17263"/>
                      </a:lnTo>
                      <a:lnTo>
                        <a:pt x="13936" y="17158"/>
                      </a:lnTo>
                      <a:lnTo>
                        <a:pt x="14020" y="17137"/>
                      </a:lnTo>
                      <a:lnTo>
                        <a:pt x="14145" y="16991"/>
                      </a:lnTo>
                      <a:lnTo>
                        <a:pt x="14145" y="16844"/>
                      </a:lnTo>
                      <a:lnTo>
                        <a:pt x="14103" y="16781"/>
                      </a:lnTo>
                      <a:lnTo>
                        <a:pt x="14082" y="16781"/>
                      </a:lnTo>
                      <a:lnTo>
                        <a:pt x="14020" y="16656"/>
                      </a:lnTo>
                      <a:lnTo>
                        <a:pt x="13957" y="16635"/>
                      </a:lnTo>
                      <a:lnTo>
                        <a:pt x="13810" y="16635"/>
                      </a:lnTo>
                      <a:lnTo>
                        <a:pt x="13831" y="16530"/>
                      </a:lnTo>
                      <a:lnTo>
                        <a:pt x="13831" y="16426"/>
                      </a:lnTo>
                      <a:lnTo>
                        <a:pt x="13999" y="16363"/>
                      </a:lnTo>
                      <a:lnTo>
                        <a:pt x="14020" y="16321"/>
                      </a:lnTo>
                      <a:lnTo>
                        <a:pt x="14103" y="16300"/>
                      </a:lnTo>
                      <a:lnTo>
                        <a:pt x="14124" y="16216"/>
                      </a:lnTo>
                      <a:lnTo>
                        <a:pt x="14103" y="16216"/>
                      </a:lnTo>
                      <a:lnTo>
                        <a:pt x="14145" y="16154"/>
                      </a:lnTo>
                      <a:lnTo>
                        <a:pt x="14250" y="16196"/>
                      </a:lnTo>
                      <a:lnTo>
                        <a:pt x="14417" y="16091"/>
                      </a:lnTo>
                      <a:lnTo>
                        <a:pt x="14522" y="16175"/>
                      </a:lnTo>
                      <a:lnTo>
                        <a:pt x="14647" y="16091"/>
                      </a:lnTo>
                      <a:lnTo>
                        <a:pt x="14626" y="16175"/>
                      </a:lnTo>
                      <a:lnTo>
                        <a:pt x="14647" y="16216"/>
                      </a:lnTo>
                      <a:lnTo>
                        <a:pt x="14731" y="16216"/>
                      </a:lnTo>
                      <a:lnTo>
                        <a:pt x="14857" y="16091"/>
                      </a:lnTo>
                      <a:lnTo>
                        <a:pt x="14836" y="16028"/>
                      </a:lnTo>
                      <a:lnTo>
                        <a:pt x="14773" y="16007"/>
                      </a:lnTo>
                      <a:lnTo>
                        <a:pt x="14752" y="15965"/>
                      </a:lnTo>
                      <a:lnTo>
                        <a:pt x="14794" y="15924"/>
                      </a:lnTo>
                      <a:lnTo>
                        <a:pt x="14919" y="15986"/>
                      </a:lnTo>
                      <a:lnTo>
                        <a:pt x="15129" y="15924"/>
                      </a:lnTo>
                      <a:lnTo>
                        <a:pt x="15170" y="15777"/>
                      </a:lnTo>
                      <a:lnTo>
                        <a:pt x="15129" y="15631"/>
                      </a:lnTo>
                      <a:lnTo>
                        <a:pt x="14961" y="15526"/>
                      </a:lnTo>
                      <a:lnTo>
                        <a:pt x="14891" y="15526"/>
                      </a:lnTo>
                      <a:lnTo>
                        <a:pt x="14919" y="15505"/>
                      </a:lnTo>
                      <a:lnTo>
                        <a:pt x="15066" y="15505"/>
                      </a:lnTo>
                      <a:lnTo>
                        <a:pt x="15150" y="15589"/>
                      </a:lnTo>
                      <a:lnTo>
                        <a:pt x="15296" y="15589"/>
                      </a:lnTo>
                      <a:lnTo>
                        <a:pt x="15401" y="15484"/>
                      </a:lnTo>
                      <a:lnTo>
                        <a:pt x="15401" y="15400"/>
                      </a:lnTo>
                      <a:lnTo>
                        <a:pt x="15673" y="15275"/>
                      </a:lnTo>
                      <a:lnTo>
                        <a:pt x="15798" y="15149"/>
                      </a:lnTo>
                      <a:lnTo>
                        <a:pt x="15924" y="15149"/>
                      </a:lnTo>
                      <a:lnTo>
                        <a:pt x="15986" y="15087"/>
                      </a:lnTo>
                      <a:lnTo>
                        <a:pt x="15986" y="15003"/>
                      </a:lnTo>
                      <a:lnTo>
                        <a:pt x="16217" y="14836"/>
                      </a:lnTo>
                      <a:lnTo>
                        <a:pt x="16426" y="14794"/>
                      </a:lnTo>
                      <a:lnTo>
                        <a:pt x="16656" y="14584"/>
                      </a:lnTo>
                      <a:lnTo>
                        <a:pt x="16844" y="14564"/>
                      </a:lnTo>
                      <a:lnTo>
                        <a:pt x="17033" y="14333"/>
                      </a:lnTo>
                      <a:lnTo>
                        <a:pt x="16949" y="14480"/>
                      </a:lnTo>
                      <a:lnTo>
                        <a:pt x="16949" y="14626"/>
                      </a:lnTo>
                      <a:lnTo>
                        <a:pt x="17012" y="14647"/>
                      </a:lnTo>
                      <a:lnTo>
                        <a:pt x="17075" y="14668"/>
                      </a:lnTo>
                      <a:lnTo>
                        <a:pt x="17116" y="14731"/>
                      </a:lnTo>
                      <a:lnTo>
                        <a:pt x="17263" y="14564"/>
                      </a:lnTo>
                      <a:lnTo>
                        <a:pt x="17367" y="14522"/>
                      </a:lnTo>
                      <a:lnTo>
                        <a:pt x="17598" y="14438"/>
                      </a:lnTo>
                      <a:lnTo>
                        <a:pt x="17681" y="14354"/>
                      </a:lnTo>
                      <a:lnTo>
                        <a:pt x="17681" y="14354"/>
                      </a:lnTo>
                      <a:lnTo>
                        <a:pt x="17639" y="14480"/>
                      </a:lnTo>
                      <a:lnTo>
                        <a:pt x="17451" y="14584"/>
                      </a:lnTo>
                      <a:lnTo>
                        <a:pt x="17326" y="14584"/>
                      </a:lnTo>
                      <a:lnTo>
                        <a:pt x="17054" y="14856"/>
                      </a:lnTo>
                      <a:lnTo>
                        <a:pt x="17033" y="14961"/>
                      </a:lnTo>
                      <a:lnTo>
                        <a:pt x="17158" y="15149"/>
                      </a:lnTo>
                      <a:lnTo>
                        <a:pt x="17179" y="15275"/>
                      </a:lnTo>
                      <a:lnTo>
                        <a:pt x="17054" y="15191"/>
                      </a:lnTo>
                      <a:lnTo>
                        <a:pt x="16949" y="15191"/>
                      </a:lnTo>
                      <a:lnTo>
                        <a:pt x="16886" y="15212"/>
                      </a:lnTo>
                      <a:lnTo>
                        <a:pt x="16823" y="15212"/>
                      </a:lnTo>
                      <a:lnTo>
                        <a:pt x="16719" y="15149"/>
                      </a:lnTo>
                      <a:lnTo>
                        <a:pt x="16698" y="14982"/>
                      </a:lnTo>
                      <a:lnTo>
                        <a:pt x="16510" y="15066"/>
                      </a:lnTo>
                      <a:lnTo>
                        <a:pt x="16405" y="15066"/>
                      </a:lnTo>
                      <a:lnTo>
                        <a:pt x="16238" y="15170"/>
                      </a:lnTo>
                      <a:lnTo>
                        <a:pt x="16091" y="15170"/>
                      </a:lnTo>
                      <a:lnTo>
                        <a:pt x="15986" y="15275"/>
                      </a:lnTo>
                      <a:lnTo>
                        <a:pt x="15986" y="15380"/>
                      </a:lnTo>
                      <a:lnTo>
                        <a:pt x="16007" y="15421"/>
                      </a:lnTo>
                      <a:lnTo>
                        <a:pt x="15903" y="15610"/>
                      </a:lnTo>
                      <a:lnTo>
                        <a:pt x="15777" y="15693"/>
                      </a:lnTo>
                      <a:lnTo>
                        <a:pt x="15714" y="15840"/>
                      </a:lnTo>
                      <a:lnTo>
                        <a:pt x="15380" y="16133"/>
                      </a:lnTo>
                      <a:lnTo>
                        <a:pt x="15296" y="16237"/>
                      </a:lnTo>
                      <a:lnTo>
                        <a:pt x="15296" y="16321"/>
                      </a:lnTo>
                      <a:lnTo>
                        <a:pt x="15401" y="16468"/>
                      </a:lnTo>
                      <a:lnTo>
                        <a:pt x="15463" y="16405"/>
                      </a:lnTo>
                      <a:lnTo>
                        <a:pt x="15505" y="16405"/>
                      </a:lnTo>
                      <a:lnTo>
                        <a:pt x="15610" y="16321"/>
                      </a:lnTo>
                      <a:lnTo>
                        <a:pt x="15694" y="16342"/>
                      </a:lnTo>
                      <a:lnTo>
                        <a:pt x="15694" y="16405"/>
                      </a:lnTo>
                      <a:lnTo>
                        <a:pt x="15484" y="16551"/>
                      </a:lnTo>
                      <a:lnTo>
                        <a:pt x="15401" y="16551"/>
                      </a:lnTo>
                      <a:lnTo>
                        <a:pt x="15359" y="16656"/>
                      </a:lnTo>
                      <a:lnTo>
                        <a:pt x="15254" y="16614"/>
                      </a:lnTo>
                      <a:lnTo>
                        <a:pt x="15170" y="16614"/>
                      </a:lnTo>
                      <a:lnTo>
                        <a:pt x="15087" y="16635"/>
                      </a:lnTo>
                      <a:lnTo>
                        <a:pt x="15087" y="16740"/>
                      </a:lnTo>
                      <a:lnTo>
                        <a:pt x="15024" y="16719"/>
                      </a:lnTo>
                      <a:lnTo>
                        <a:pt x="14919" y="16740"/>
                      </a:lnTo>
                      <a:lnTo>
                        <a:pt x="14919" y="16865"/>
                      </a:lnTo>
                      <a:lnTo>
                        <a:pt x="15066" y="17053"/>
                      </a:lnTo>
                      <a:lnTo>
                        <a:pt x="15129" y="17032"/>
                      </a:lnTo>
                      <a:lnTo>
                        <a:pt x="15170" y="16949"/>
                      </a:lnTo>
                      <a:lnTo>
                        <a:pt x="15233" y="17032"/>
                      </a:lnTo>
                      <a:lnTo>
                        <a:pt x="15275" y="16886"/>
                      </a:lnTo>
                      <a:lnTo>
                        <a:pt x="15359" y="16886"/>
                      </a:lnTo>
                      <a:lnTo>
                        <a:pt x="15359" y="16991"/>
                      </a:lnTo>
                      <a:lnTo>
                        <a:pt x="15442" y="16949"/>
                      </a:lnTo>
                      <a:lnTo>
                        <a:pt x="15463" y="16865"/>
                      </a:lnTo>
                      <a:lnTo>
                        <a:pt x="15526" y="16823"/>
                      </a:lnTo>
                      <a:lnTo>
                        <a:pt x="15652" y="16740"/>
                      </a:lnTo>
                      <a:lnTo>
                        <a:pt x="15652" y="16614"/>
                      </a:lnTo>
                      <a:lnTo>
                        <a:pt x="15714" y="16530"/>
                      </a:lnTo>
                      <a:lnTo>
                        <a:pt x="15714" y="16572"/>
                      </a:lnTo>
                      <a:lnTo>
                        <a:pt x="15673" y="16635"/>
                      </a:lnTo>
                      <a:lnTo>
                        <a:pt x="15714" y="16719"/>
                      </a:lnTo>
                      <a:lnTo>
                        <a:pt x="15840" y="16719"/>
                      </a:lnTo>
                      <a:lnTo>
                        <a:pt x="16028" y="16572"/>
                      </a:lnTo>
                      <a:lnTo>
                        <a:pt x="16175" y="16572"/>
                      </a:lnTo>
                      <a:lnTo>
                        <a:pt x="16196" y="16656"/>
                      </a:lnTo>
                      <a:lnTo>
                        <a:pt x="16258" y="16614"/>
                      </a:lnTo>
                      <a:lnTo>
                        <a:pt x="16321" y="16405"/>
                      </a:lnTo>
                      <a:lnTo>
                        <a:pt x="16447" y="16321"/>
                      </a:lnTo>
                      <a:lnTo>
                        <a:pt x="16510" y="16321"/>
                      </a:lnTo>
                      <a:lnTo>
                        <a:pt x="16363" y="16468"/>
                      </a:lnTo>
                      <a:lnTo>
                        <a:pt x="16363" y="16551"/>
                      </a:lnTo>
                      <a:lnTo>
                        <a:pt x="16447" y="16509"/>
                      </a:lnTo>
                      <a:lnTo>
                        <a:pt x="16572" y="16342"/>
                      </a:lnTo>
                      <a:lnTo>
                        <a:pt x="16656" y="16154"/>
                      </a:lnTo>
                      <a:lnTo>
                        <a:pt x="16740" y="16112"/>
                      </a:lnTo>
                      <a:lnTo>
                        <a:pt x="16740" y="16196"/>
                      </a:lnTo>
                      <a:lnTo>
                        <a:pt x="16656" y="16321"/>
                      </a:lnTo>
                      <a:lnTo>
                        <a:pt x="16656" y="16363"/>
                      </a:lnTo>
                      <a:lnTo>
                        <a:pt x="16782" y="16237"/>
                      </a:lnTo>
                      <a:lnTo>
                        <a:pt x="16844" y="16321"/>
                      </a:lnTo>
                      <a:lnTo>
                        <a:pt x="16844" y="16405"/>
                      </a:lnTo>
                      <a:lnTo>
                        <a:pt x="16970" y="16426"/>
                      </a:lnTo>
                      <a:lnTo>
                        <a:pt x="17033" y="16468"/>
                      </a:lnTo>
                      <a:lnTo>
                        <a:pt x="17095" y="16405"/>
                      </a:lnTo>
                      <a:lnTo>
                        <a:pt x="17158" y="16258"/>
                      </a:lnTo>
                      <a:lnTo>
                        <a:pt x="17305" y="16237"/>
                      </a:lnTo>
                      <a:lnTo>
                        <a:pt x="17409" y="16154"/>
                      </a:lnTo>
                      <a:lnTo>
                        <a:pt x="17347" y="16133"/>
                      </a:lnTo>
                      <a:lnTo>
                        <a:pt x="17367" y="16007"/>
                      </a:lnTo>
                      <a:lnTo>
                        <a:pt x="17577" y="15924"/>
                      </a:lnTo>
                      <a:lnTo>
                        <a:pt x="17598" y="15840"/>
                      </a:lnTo>
                      <a:lnTo>
                        <a:pt x="17598" y="15735"/>
                      </a:lnTo>
                      <a:lnTo>
                        <a:pt x="17493" y="15777"/>
                      </a:lnTo>
                      <a:lnTo>
                        <a:pt x="17409" y="15714"/>
                      </a:lnTo>
                      <a:lnTo>
                        <a:pt x="17284" y="15693"/>
                      </a:lnTo>
                      <a:lnTo>
                        <a:pt x="17347" y="15610"/>
                      </a:lnTo>
                      <a:lnTo>
                        <a:pt x="17451" y="15610"/>
                      </a:lnTo>
                      <a:lnTo>
                        <a:pt x="17514" y="15631"/>
                      </a:lnTo>
                      <a:lnTo>
                        <a:pt x="17577" y="15568"/>
                      </a:lnTo>
                      <a:lnTo>
                        <a:pt x="17577" y="15463"/>
                      </a:lnTo>
                      <a:lnTo>
                        <a:pt x="17472" y="15505"/>
                      </a:lnTo>
                      <a:lnTo>
                        <a:pt x="17367" y="15400"/>
                      </a:lnTo>
                      <a:lnTo>
                        <a:pt x="17367" y="15317"/>
                      </a:lnTo>
                      <a:lnTo>
                        <a:pt x="17514" y="15296"/>
                      </a:lnTo>
                      <a:lnTo>
                        <a:pt x="17598" y="15275"/>
                      </a:lnTo>
                      <a:lnTo>
                        <a:pt x="17660" y="15296"/>
                      </a:lnTo>
                      <a:lnTo>
                        <a:pt x="17681" y="15254"/>
                      </a:lnTo>
                      <a:lnTo>
                        <a:pt x="17619" y="15108"/>
                      </a:lnTo>
                      <a:lnTo>
                        <a:pt x="17807" y="15045"/>
                      </a:lnTo>
                      <a:lnTo>
                        <a:pt x="17911" y="15108"/>
                      </a:lnTo>
                      <a:lnTo>
                        <a:pt x="17995" y="15087"/>
                      </a:lnTo>
                      <a:lnTo>
                        <a:pt x="18121" y="15087"/>
                      </a:lnTo>
                      <a:lnTo>
                        <a:pt x="17911" y="15254"/>
                      </a:lnTo>
                      <a:lnTo>
                        <a:pt x="17911" y="15359"/>
                      </a:lnTo>
                      <a:lnTo>
                        <a:pt x="17932" y="15526"/>
                      </a:lnTo>
                      <a:lnTo>
                        <a:pt x="17995" y="15526"/>
                      </a:lnTo>
                      <a:lnTo>
                        <a:pt x="18079" y="15317"/>
                      </a:lnTo>
                      <a:lnTo>
                        <a:pt x="18142" y="15275"/>
                      </a:lnTo>
                      <a:lnTo>
                        <a:pt x="18204" y="15275"/>
                      </a:lnTo>
                      <a:lnTo>
                        <a:pt x="18183" y="15359"/>
                      </a:lnTo>
                      <a:lnTo>
                        <a:pt x="18121" y="15421"/>
                      </a:lnTo>
                      <a:lnTo>
                        <a:pt x="18142" y="15505"/>
                      </a:lnTo>
                      <a:lnTo>
                        <a:pt x="18288" y="15400"/>
                      </a:lnTo>
                      <a:lnTo>
                        <a:pt x="18309" y="15317"/>
                      </a:lnTo>
                      <a:lnTo>
                        <a:pt x="18393" y="15400"/>
                      </a:lnTo>
                      <a:lnTo>
                        <a:pt x="18497" y="15317"/>
                      </a:lnTo>
                      <a:lnTo>
                        <a:pt x="18539" y="15317"/>
                      </a:lnTo>
                      <a:lnTo>
                        <a:pt x="18644" y="15254"/>
                      </a:lnTo>
                      <a:lnTo>
                        <a:pt x="18769" y="15212"/>
                      </a:lnTo>
                      <a:lnTo>
                        <a:pt x="18874" y="15254"/>
                      </a:lnTo>
                      <a:lnTo>
                        <a:pt x="18853" y="15296"/>
                      </a:lnTo>
                      <a:lnTo>
                        <a:pt x="18727" y="15296"/>
                      </a:lnTo>
                      <a:lnTo>
                        <a:pt x="18602" y="15421"/>
                      </a:lnTo>
                      <a:lnTo>
                        <a:pt x="18686" y="15421"/>
                      </a:lnTo>
                      <a:lnTo>
                        <a:pt x="18623" y="15505"/>
                      </a:lnTo>
                      <a:lnTo>
                        <a:pt x="18686" y="15568"/>
                      </a:lnTo>
                      <a:lnTo>
                        <a:pt x="18895" y="15610"/>
                      </a:lnTo>
                      <a:lnTo>
                        <a:pt x="18958" y="15693"/>
                      </a:lnTo>
                      <a:lnTo>
                        <a:pt x="18958" y="15735"/>
                      </a:lnTo>
                      <a:lnTo>
                        <a:pt x="18832" y="15631"/>
                      </a:lnTo>
                      <a:lnTo>
                        <a:pt x="18686" y="15610"/>
                      </a:lnTo>
                      <a:lnTo>
                        <a:pt x="18581" y="15672"/>
                      </a:lnTo>
                      <a:lnTo>
                        <a:pt x="18581" y="15777"/>
                      </a:lnTo>
                      <a:lnTo>
                        <a:pt x="18644" y="15798"/>
                      </a:lnTo>
                      <a:lnTo>
                        <a:pt x="18748" y="15735"/>
                      </a:lnTo>
                      <a:lnTo>
                        <a:pt x="18832" y="15819"/>
                      </a:lnTo>
                      <a:lnTo>
                        <a:pt x="18790" y="15840"/>
                      </a:lnTo>
                      <a:lnTo>
                        <a:pt x="18644" y="15840"/>
                      </a:lnTo>
                      <a:lnTo>
                        <a:pt x="18644" y="15924"/>
                      </a:lnTo>
                      <a:lnTo>
                        <a:pt x="18811" y="15986"/>
                      </a:lnTo>
                      <a:lnTo>
                        <a:pt x="18853" y="16049"/>
                      </a:lnTo>
                      <a:lnTo>
                        <a:pt x="18790" y="16091"/>
                      </a:lnTo>
                      <a:lnTo>
                        <a:pt x="18707" y="16112"/>
                      </a:lnTo>
                      <a:lnTo>
                        <a:pt x="18707" y="16154"/>
                      </a:lnTo>
                      <a:lnTo>
                        <a:pt x="18811" y="16154"/>
                      </a:lnTo>
                      <a:lnTo>
                        <a:pt x="18916" y="16112"/>
                      </a:lnTo>
                      <a:lnTo>
                        <a:pt x="19020" y="16196"/>
                      </a:lnTo>
                      <a:lnTo>
                        <a:pt x="19125" y="16237"/>
                      </a:lnTo>
                      <a:lnTo>
                        <a:pt x="19271" y="16196"/>
                      </a:lnTo>
                      <a:lnTo>
                        <a:pt x="19334" y="16258"/>
                      </a:lnTo>
                      <a:lnTo>
                        <a:pt x="19334" y="16321"/>
                      </a:lnTo>
                      <a:lnTo>
                        <a:pt x="19251" y="16363"/>
                      </a:lnTo>
                      <a:lnTo>
                        <a:pt x="19271" y="16447"/>
                      </a:lnTo>
                      <a:lnTo>
                        <a:pt x="19334" y="16468"/>
                      </a:lnTo>
                      <a:lnTo>
                        <a:pt x="19355" y="16551"/>
                      </a:lnTo>
                      <a:lnTo>
                        <a:pt x="19439" y="16572"/>
                      </a:lnTo>
                      <a:lnTo>
                        <a:pt x="19523" y="16488"/>
                      </a:lnTo>
                      <a:lnTo>
                        <a:pt x="19481" y="16426"/>
                      </a:lnTo>
                      <a:lnTo>
                        <a:pt x="19523" y="16384"/>
                      </a:lnTo>
                      <a:lnTo>
                        <a:pt x="19648" y="16384"/>
                      </a:lnTo>
                      <a:lnTo>
                        <a:pt x="19564" y="16488"/>
                      </a:lnTo>
                      <a:lnTo>
                        <a:pt x="19564" y="16551"/>
                      </a:lnTo>
                      <a:lnTo>
                        <a:pt x="19418" y="16719"/>
                      </a:lnTo>
                      <a:lnTo>
                        <a:pt x="19443" y="16744"/>
                      </a:lnTo>
                      <a:lnTo>
                        <a:pt x="19376" y="16760"/>
                      </a:lnTo>
                      <a:lnTo>
                        <a:pt x="19418" y="16844"/>
                      </a:lnTo>
                      <a:lnTo>
                        <a:pt x="19690" y="16907"/>
                      </a:lnTo>
                      <a:lnTo>
                        <a:pt x="19774" y="16865"/>
                      </a:lnTo>
                      <a:lnTo>
                        <a:pt x="19857" y="16907"/>
                      </a:lnTo>
                      <a:lnTo>
                        <a:pt x="20108" y="16907"/>
                      </a:lnTo>
                      <a:lnTo>
                        <a:pt x="20234" y="16865"/>
                      </a:lnTo>
                      <a:lnTo>
                        <a:pt x="20297" y="16907"/>
                      </a:lnTo>
                      <a:lnTo>
                        <a:pt x="20297" y="16970"/>
                      </a:lnTo>
                      <a:lnTo>
                        <a:pt x="20380" y="16970"/>
                      </a:lnTo>
                      <a:lnTo>
                        <a:pt x="20443" y="17053"/>
                      </a:lnTo>
                      <a:lnTo>
                        <a:pt x="20527" y="17116"/>
                      </a:lnTo>
                      <a:lnTo>
                        <a:pt x="20548" y="17179"/>
                      </a:lnTo>
                      <a:lnTo>
                        <a:pt x="20652" y="17179"/>
                      </a:lnTo>
                      <a:lnTo>
                        <a:pt x="20820" y="17116"/>
                      </a:lnTo>
                      <a:lnTo>
                        <a:pt x="20841" y="17074"/>
                      </a:lnTo>
                      <a:lnTo>
                        <a:pt x="20904" y="17116"/>
                      </a:lnTo>
                      <a:lnTo>
                        <a:pt x="20904" y="17179"/>
                      </a:lnTo>
                      <a:lnTo>
                        <a:pt x="20820" y="17263"/>
                      </a:lnTo>
                      <a:lnTo>
                        <a:pt x="20715" y="17284"/>
                      </a:lnTo>
                      <a:lnTo>
                        <a:pt x="20736" y="17346"/>
                      </a:lnTo>
                      <a:lnTo>
                        <a:pt x="20904" y="17388"/>
                      </a:lnTo>
                      <a:lnTo>
                        <a:pt x="20924" y="17493"/>
                      </a:lnTo>
                      <a:lnTo>
                        <a:pt x="21008" y="17577"/>
                      </a:lnTo>
                      <a:lnTo>
                        <a:pt x="21176" y="17639"/>
                      </a:lnTo>
                      <a:lnTo>
                        <a:pt x="21385" y="17577"/>
                      </a:lnTo>
                      <a:lnTo>
                        <a:pt x="21468" y="17556"/>
                      </a:lnTo>
                      <a:lnTo>
                        <a:pt x="21489" y="17597"/>
                      </a:lnTo>
                      <a:lnTo>
                        <a:pt x="21573" y="17535"/>
                      </a:lnTo>
                      <a:lnTo>
                        <a:pt x="21740" y="17430"/>
                      </a:lnTo>
                      <a:lnTo>
                        <a:pt x="21782" y="17430"/>
                      </a:lnTo>
                      <a:lnTo>
                        <a:pt x="21740" y="17493"/>
                      </a:lnTo>
                      <a:lnTo>
                        <a:pt x="21636" y="17577"/>
                      </a:lnTo>
                      <a:lnTo>
                        <a:pt x="21594" y="17786"/>
                      </a:lnTo>
                      <a:lnTo>
                        <a:pt x="21552" y="17911"/>
                      </a:lnTo>
                      <a:lnTo>
                        <a:pt x="21468" y="17911"/>
                      </a:lnTo>
                      <a:lnTo>
                        <a:pt x="21343" y="17849"/>
                      </a:lnTo>
                      <a:lnTo>
                        <a:pt x="21280" y="17869"/>
                      </a:lnTo>
                      <a:lnTo>
                        <a:pt x="21364" y="17995"/>
                      </a:lnTo>
                      <a:lnTo>
                        <a:pt x="21385" y="18100"/>
                      </a:lnTo>
                      <a:lnTo>
                        <a:pt x="21468" y="18162"/>
                      </a:lnTo>
                      <a:lnTo>
                        <a:pt x="21573" y="18121"/>
                      </a:lnTo>
                      <a:lnTo>
                        <a:pt x="21657" y="18162"/>
                      </a:lnTo>
                      <a:lnTo>
                        <a:pt x="21636" y="18225"/>
                      </a:lnTo>
                      <a:lnTo>
                        <a:pt x="21552" y="18225"/>
                      </a:lnTo>
                      <a:lnTo>
                        <a:pt x="21552" y="18288"/>
                      </a:lnTo>
                      <a:lnTo>
                        <a:pt x="21720" y="18434"/>
                      </a:lnTo>
                      <a:lnTo>
                        <a:pt x="21761" y="18413"/>
                      </a:lnTo>
                      <a:lnTo>
                        <a:pt x="21887" y="18434"/>
                      </a:lnTo>
                      <a:lnTo>
                        <a:pt x="21950" y="18330"/>
                      </a:lnTo>
                      <a:lnTo>
                        <a:pt x="22075" y="18100"/>
                      </a:lnTo>
                      <a:lnTo>
                        <a:pt x="22033" y="18288"/>
                      </a:lnTo>
                      <a:lnTo>
                        <a:pt x="22033" y="18413"/>
                      </a:lnTo>
                      <a:lnTo>
                        <a:pt x="21992" y="18497"/>
                      </a:lnTo>
                      <a:lnTo>
                        <a:pt x="21950" y="18518"/>
                      </a:lnTo>
                      <a:lnTo>
                        <a:pt x="21866" y="18623"/>
                      </a:lnTo>
                      <a:lnTo>
                        <a:pt x="21887" y="18706"/>
                      </a:lnTo>
                      <a:lnTo>
                        <a:pt x="21971" y="18748"/>
                      </a:lnTo>
                      <a:lnTo>
                        <a:pt x="21929" y="18811"/>
                      </a:lnTo>
                      <a:lnTo>
                        <a:pt x="21929" y="19062"/>
                      </a:lnTo>
                      <a:lnTo>
                        <a:pt x="21971" y="19125"/>
                      </a:lnTo>
                      <a:lnTo>
                        <a:pt x="22054" y="19125"/>
                      </a:lnTo>
                      <a:lnTo>
                        <a:pt x="22033" y="19229"/>
                      </a:lnTo>
                      <a:lnTo>
                        <a:pt x="22054" y="19334"/>
                      </a:lnTo>
                      <a:lnTo>
                        <a:pt x="22243" y="19522"/>
                      </a:lnTo>
                      <a:lnTo>
                        <a:pt x="22284" y="19543"/>
                      </a:lnTo>
                      <a:lnTo>
                        <a:pt x="22284" y="19585"/>
                      </a:lnTo>
                      <a:lnTo>
                        <a:pt x="22347" y="19543"/>
                      </a:lnTo>
                      <a:lnTo>
                        <a:pt x="22389" y="19627"/>
                      </a:lnTo>
                      <a:lnTo>
                        <a:pt x="22473" y="19585"/>
                      </a:lnTo>
                      <a:lnTo>
                        <a:pt x="22452" y="19543"/>
                      </a:lnTo>
                      <a:lnTo>
                        <a:pt x="22473" y="19481"/>
                      </a:lnTo>
                      <a:lnTo>
                        <a:pt x="22515" y="19543"/>
                      </a:lnTo>
                      <a:lnTo>
                        <a:pt x="22598" y="19564"/>
                      </a:lnTo>
                      <a:lnTo>
                        <a:pt x="22661" y="19481"/>
                      </a:lnTo>
                      <a:lnTo>
                        <a:pt x="22577" y="19334"/>
                      </a:lnTo>
                      <a:lnTo>
                        <a:pt x="22515" y="19334"/>
                      </a:lnTo>
                      <a:lnTo>
                        <a:pt x="22473" y="19355"/>
                      </a:lnTo>
                      <a:lnTo>
                        <a:pt x="22452" y="19334"/>
                      </a:lnTo>
                      <a:lnTo>
                        <a:pt x="22515" y="19229"/>
                      </a:lnTo>
                      <a:lnTo>
                        <a:pt x="22515" y="19146"/>
                      </a:lnTo>
                      <a:lnTo>
                        <a:pt x="22494" y="19062"/>
                      </a:lnTo>
                      <a:lnTo>
                        <a:pt x="22410" y="19041"/>
                      </a:lnTo>
                      <a:lnTo>
                        <a:pt x="22410" y="18999"/>
                      </a:lnTo>
                      <a:lnTo>
                        <a:pt x="22473" y="18937"/>
                      </a:lnTo>
                      <a:lnTo>
                        <a:pt x="22494" y="18811"/>
                      </a:lnTo>
                      <a:lnTo>
                        <a:pt x="22577" y="18811"/>
                      </a:lnTo>
                      <a:lnTo>
                        <a:pt x="22577" y="18916"/>
                      </a:lnTo>
                      <a:lnTo>
                        <a:pt x="22598" y="18999"/>
                      </a:lnTo>
                      <a:lnTo>
                        <a:pt x="22682" y="18895"/>
                      </a:lnTo>
                      <a:lnTo>
                        <a:pt x="22703" y="18957"/>
                      </a:lnTo>
                      <a:lnTo>
                        <a:pt x="22766" y="19041"/>
                      </a:lnTo>
                      <a:lnTo>
                        <a:pt x="22703" y="19146"/>
                      </a:lnTo>
                      <a:lnTo>
                        <a:pt x="22724" y="19229"/>
                      </a:lnTo>
                      <a:lnTo>
                        <a:pt x="22787" y="19250"/>
                      </a:lnTo>
                      <a:lnTo>
                        <a:pt x="22891" y="19146"/>
                      </a:lnTo>
                      <a:lnTo>
                        <a:pt x="22933" y="19146"/>
                      </a:lnTo>
                      <a:lnTo>
                        <a:pt x="22912" y="19229"/>
                      </a:lnTo>
                      <a:lnTo>
                        <a:pt x="22828" y="19313"/>
                      </a:lnTo>
                      <a:lnTo>
                        <a:pt x="22828" y="19376"/>
                      </a:lnTo>
                      <a:lnTo>
                        <a:pt x="22870" y="19481"/>
                      </a:lnTo>
                      <a:lnTo>
                        <a:pt x="22808" y="19627"/>
                      </a:lnTo>
                      <a:lnTo>
                        <a:pt x="22828" y="19669"/>
                      </a:lnTo>
                      <a:lnTo>
                        <a:pt x="22891" y="19669"/>
                      </a:lnTo>
                      <a:lnTo>
                        <a:pt x="22891" y="19857"/>
                      </a:lnTo>
                      <a:cubicBezTo>
                        <a:pt x="22891" y="19899"/>
                        <a:pt x="22870" y="19983"/>
                        <a:pt x="22870" y="20045"/>
                      </a:cubicBezTo>
                      <a:lnTo>
                        <a:pt x="22828" y="20087"/>
                      </a:lnTo>
                      <a:lnTo>
                        <a:pt x="22808" y="20004"/>
                      </a:lnTo>
                      <a:lnTo>
                        <a:pt x="22870" y="19941"/>
                      </a:lnTo>
                      <a:lnTo>
                        <a:pt x="22870" y="19857"/>
                      </a:lnTo>
                      <a:lnTo>
                        <a:pt x="22766" y="19794"/>
                      </a:lnTo>
                      <a:lnTo>
                        <a:pt x="22598" y="19836"/>
                      </a:lnTo>
                      <a:lnTo>
                        <a:pt x="22577" y="19878"/>
                      </a:lnTo>
                      <a:lnTo>
                        <a:pt x="22515" y="19899"/>
                      </a:lnTo>
                      <a:lnTo>
                        <a:pt x="22473" y="19794"/>
                      </a:lnTo>
                      <a:lnTo>
                        <a:pt x="22410" y="19941"/>
                      </a:lnTo>
                      <a:lnTo>
                        <a:pt x="22452" y="20066"/>
                      </a:lnTo>
                      <a:lnTo>
                        <a:pt x="22515" y="20108"/>
                      </a:lnTo>
                      <a:lnTo>
                        <a:pt x="22473" y="20192"/>
                      </a:lnTo>
                      <a:lnTo>
                        <a:pt x="22410" y="20150"/>
                      </a:lnTo>
                      <a:lnTo>
                        <a:pt x="22368" y="20255"/>
                      </a:lnTo>
                      <a:lnTo>
                        <a:pt x="22452" y="20401"/>
                      </a:lnTo>
                      <a:lnTo>
                        <a:pt x="22410" y="20506"/>
                      </a:lnTo>
                      <a:lnTo>
                        <a:pt x="22494" y="20569"/>
                      </a:lnTo>
                      <a:lnTo>
                        <a:pt x="22410" y="20631"/>
                      </a:lnTo>
                      <a:lnTo>
                        <a:pt x="22515" y="20778"/>
                      </a:lnTo>
                      <a:lnTo>
                        <a:pt x="22619" y="20778"/>
                      </a:lnTo>
                      <a:lnTo>
                        <a:pt x="22703" y="20694"/>
                      </a:lnTo>
                      <a:lnTo>
                        <a:pt x="22703" y="20569"/>
                      </a:lnTo>
                      <a:lnTo>
                        <a:pt x="22619" y="20401"/>
                      </a:lnTo>
                      <a:lnTo>
                        <a:pt x="22661" y="20297"/>
                      </a:lnTo>
                      <a:lnTo>
                        <a:pt x="22787" y="20527"/>
                      </a:lnTo>
                      <a:lnTo>
                        <a:pt x="22787" y="20631"/>
                      </a:lnTo>
                      <a:lnTo>
                        <a:pt x="22787" y="20694"/>
                      </a:lnTo>
                      <a:cubicBezTo>
                        <a:pt x="22766" y="20694"/>
                        <a:pt x="22724" y="20694"/>
                        <a:pt x="22724" y="20715"/>
                      </a:cubicBezTo>
                      <a:lnTo>
                        <a:pt x="22724" y="20736"/>
                      </a:lnTo>
                      <a:lnTo>
                        <a:pt x="22682" y="20799"/>
                      </a:lnTo>
                      <a:lnTo>
                        <a:pt x="22577" y="20841"/>
                      </a:lnTo>
                      <a:lnTo>
                        <a:pt x="22598" y="20924"/>
                      </a:lnTo>
                      <a:lnTo>
                        <a:pt x="22682" y="21008"/>
                      </a:lnTo>
                      <a:lnTo>
                        <a:pt x="22598" y="21092"/>
                      </a:lnTo>
                      <a:lnTo>
                        <a:pt x="22598" y="21196"/>
                      </a:lnTo>
                      <a:lnTo>
                        <a:pt x="22536" y="21259"/>
                      </a:lnTo>
                      <a:lnTo>
                        <a:pt x="22431" y="21301"/>
                      </a:lnTo>
                      <a:lnTo>
                        <a:pt x="22431" y="21343"/>
                      </a:lnTo>
                      <a:lnTo>
                        <a:pt x="22577" y="21364"/>
                      </a:lnTo>
                      <a:lnTo>
                        <a:pt x="22536" y="21426"/>
                      </a:lnTo>
                      <a:lnTo>
                        <a:pt x="22494" y="21447"/>
                      </a:lnTo>
                      <a:lnTo>
                        <a:pt x="22494" y="21531"/>
                      </a:lnTo>
                      <a:lnTo>
                        <a:pt x="22536" y="21531"/>
                      </a:lnTo>
                      <a:lnTo>
                        <a:pt x="22619" y="21510"/>
                      </a:lnTo>
                      <a:lnTo>
                        <a:pt x="22640" y="21552"/>
                      </a:lnTo>
                      <a:lnTo>
                        <a:pt x="22598" y="21615"/>
                      </a:lnTo>
                      <a:lnTo>
                        <a:pt x="22515" y="21636"/>
                      </a:lnTo>
                      <a:lnTo>
                        <a:pt x="22473" y="21719"/>
                      </a:lnTo>
                      <a:lnTo>
                        <a:pt x="22494" y="21866"/>
                      </a:lnTo>
                      <a:lnTo>
                        <a:pt x="22536" y="21929"/>
                      </a:lnTo>
                      <a:lnTo>
                        <a:pt x="22515" y="21991"/>
                      </a:lnTo>
                      <a:lnTo>
                        <a:pt x="22536" y="22075"/>
                      </a:lnTo>
                      <a:lnTo>
                        <a:pt x="22598" y="22054"/>
                      </a:lnTo>
                      <a:lnTo>
                        <a:pt x="22619" y="21970"/>
                      </a:lnTo>
                      <a:lnTo>
                        <a:pt x="22640" y="21845"/>
                      </a:lnTo>
                      <a:lnTo>
                        <a:pt x="22703" y="21678"/>
                      </a:lnTo>
                      <a:lnTo>
                        <a:pt x="22745" y="21615"/>
                      </a:lnTo>
                      <a:lnTo>
                        <a:pt x="22787" y="21406"/>
                      </a:lnTo>
                      <a:lnTo>
                        <a:pt x="22828" y="21343"/>
                      </a:lnTo>
                      <a:lnTo>
                        <a:pt x="22844" y="21204"/>
                      </a:lnTo>
                      <a:lnTo>
                        <a:pt x="22870" y="21217"/>
                      </a:lnTo>
                      <a:cubicBezTo>
                        <a:pt x="22870" y="21301"/>
                        <a:pt x="22870" y="21364"/>
                        <a:pt x="22891" y="21447"/>
                      </a:cubicBezTo>
                      <a:lnTo>
                        <a:pt x="22870" y="21426"/>
                      </a:lnTo>
                      <a:lnTo>
                        <a:pt x="22808" y="21510"/>
                      </a:lnTo>
                      <a:lnTo>
                        <a:pt x="22808" y="21636"/>
                      </a:lnTo>
                      <a:lnTo>
                        <a:pt x="22870" y="21678"/>
                      </a:lnTo>
                      <a:lnTo>
                        <a:pt x="22787" y="21782"/>
                      </a:lnTo>
                      <a:lnTo>
                        <a:pt x="22891" y="21845"/>
                      </a:lnTo>
                      <a:lnTo>
                        <a:pt x="22891" y="21929"/>
                      </a:lnTo>
                      <a:lnTo>
                        <a:pt x="22828" y="21970"/>
                      </a:lnTo>
                      <a:lnTo>
                        <a:pt x="22766" y="21929"/>
                      </a:lnTo>
                      <a:lnTo>
                        <a:pt x="22703" y="21991"/>
                      </a:lnTo>
                      <a:lnTo>
                        <a:pt x="22703" y="22054"/>
                      </a:lnTo>
                      <a:lnTo>
                        <a:pt x="22661" y="22138"/>
                      </a:lnTo>
                      <a:lnTo>
                        <a:pt x="22619" y="22201"/>
                      </a:lnTo>
                      <a:lnTo>
                        <a:pt x="22682" y="22263"/>
                      </a:lnTo>
                      <a:lnTo>
                        <a:pt x="22766" y="22054"/>
                      </a:lnTo>
                      <a:lnTo>
                        <a:pt x="22787" y="22096"/>
                      </a:lnTo>
                      <a:lnTo>
                        <a:pt x="22724" y="22201"/>
                      </a:lnTo>
                      <a:lnTo>
                        <a:pt x="22828" y="22180"/>
                      </a:lnTo>
                      <a:lnTo>
                        <a:pt x="22891" y="22096"/>
                      </a:lnTo>
                      <a:lnTo>
                        <a:pt x="22891" y="21991"/>
                      </a:lnTo>
                      <a:lnTo>
                        <a:pt x="23017" y="21845"/>
                      </a:lnTo>
                      <a:cubicBezTo>
                        <a:pt x="23017" y="21929"/>
                        <a:pt x="23017" y="21991"/>
                        <a:pt x="23038" y="22075"/>
                      </a:cubicBezTo>
                      <a:lnTo>
                        <a:pt x="23017" y="22096"/>
                      </a:lnTo>
                      <a:lnTo>
                        <a:pt x="23080" y="22159"/>
                      </a:lnTo>
                      <a:cubicBezTo>
                        <a:pt x="23101" y="22201"/>
                        <a:pt x="23101" y="22284"/>
                        <a:pt x="23121" y="22326"/>
                      </a:cubicBezTo>
                      <a:lnTo>
                        <a:pt x="23080" y="22473"/>
                      </a:lnTo>
                      <a:lnTo>
                        <a:pt x="23080" y="22556"/>
                      </a:lnTo>
                      <a:lnTo>
                        <a:pt x="23038" y="22640"/>
                      </a:lnTo>
                      <a:lnTo>
                        <a:pt x="22933" y="22682"/>
                      </a:lnTo>
                      <a:lnTo>
                        <a:pt x="22912" y="22724"/>
                      </a:lnTo>
                      <a:lnTo>
                        <a:pt x="22933" y="22786"/>
                      </a:lnTo>
                      <a:lnTo>
                        <a:pt x="23017" y="22745"/>
                      </a:lnTo>
                      <a:lnTo>
                        <a:pt x="23101" y="22786"/>
                      </a:lnTo>
                      <a:lnTo>
                        <a:pt x="23101" y="22828"/>
                      </a:lnTo>
                      <a:lnTo>
                        <a:pt x="22996" y="22912"/>
                      </a:lnTo>
                      <a:lnTo>
                        <a:pt x="22996" y="22954"/>
                      </a:lnTo>
                      <a:lnTo>
                        <a:pt x="22975" y="23038"/>
                      </a:lnTo>
                      <a:lnTo>
                        <a:pt x="22912" y="23038"/>
                      </a:lnTo>
                      <a:lnTo>
                        <a:pt x="22870" y="23100"/>
                      </a:lnTo>
                      <a:lnTo>
                        <a:pt x="22891" y="23142"/>
                      </a:lnTo>
                      <a:lnTo>
                        <a:pt x="22975" y="23142"/>
                      </a:lnTo>
                      <a:lnTo>
                        <a:pt x="23017" y="23205"/>
                      </a:lnTo>
                      <a:lnTo>
                        <a:pt x="23038" y="23142"/>
                      </a:lnTo>
                      <a:lnTo>
                        <a:pt x="23121" y="23121"/>
                      </a:lnTo>
                      <a:lnTo>
                        <a:pt x="23184" y="23163"/>
                      </a:lnTo>
                      <a:lnTo>
                        <a:pt x="23101" y="23226"/>
                      </a:lnTo>
                      <a:lnTo>
                        <a:pt x="23080" y="23268"/>
                      </a:lnTo>
                      <a:lnTo>
                        <a:pt x="23121" y="23351"/>
                      </a:lnTo>
                      <a:lnTo>
                        <a:pt x="23038" y="23435"/>
                      </a:lnTo>
                      <a:lnTo>
                        <a:pt x="23017" y="23519"/>
                      </a:lnTo>
                      <a:lnTo>
                        <a:pt x="23121" y="23582"/>
                      </a:lnTo>
                      <a:lnTo>
                        <a:pt x="23101" y="23686"/>
                      </a:lnTo>
                      <a:lnTo>
                        <a:pt x="23142" y="23749"/>
                      </a:lnTo>
                      <a:lnTo>
                        <a:pt x="23247" y="23749"/>
                      </a:lnTo>
                      <a:lnTo>
                        <a:pt x="23310" y="23686"/>
                      </a:lnTo>
                      <a:lnTo>
                        <a:pt x="23247" y="23623"/>
                      </a:lnTo>
                      <a:lnTo>
                        <a:pt x="23310" y="23561"/>
                      </a:lnTo>
                      <a:lnTo>
                        <a:pt x="23247" y="23519"/>
                      </a:lnTo>
                      <a:lnTo>
                        <a:pt x="23205" y="23519"/>
                      </a:lnTo>
                      <a:lnTo>
                        <a:pt x="23247" y="23435"/>
                      </a:lnTo>
                      <a:lnTo>
                        <a:pt x="23331" y="23414"/>
                      </a:lnTo>
                      <a:lnTo>
                        <a:pt x="23435" y="23331"/>
                      </a:lnTo>
                      <a:lnTo>
                        <a:pt x="23435" y="23247"/>
                      </a:lnTo>
                      <a:lnTo>
                        <a:pt x="23393" y="23226"/>
                      </a:lnTo>
                      <a:lnTo>
                        <a:pt x="23310" y="23226"/>
                      </a:lnTo>
                      <a:lnTo>
                        <a:pt x="23310" y="23205"/>
                      </a:lnTo>
                      <a:lnTo>
                        <a:pt x="23414" y="23121"/>
                      </a:lnTo>
                      <a:lnTo>
                        <a:pt x="23393" y="23017"/>
                      </a:lnTo>
                      <a:lnTo>
                        <a:pt x="23247" y="22912"/>
                      </a:lnTo>
                      <a:lnTo>
                        <a:pt x="23310" y="22807"/>
                      </a:lnTo>
                      <a:lnTo>
                        <a:pt x="23331" y="22828"/>
                      </a:lnTo>
                      <a:lnTo>
                        <a:pt x="23414" y="22828"/>
                      </a:lnTo>
                      <a:lnTo>
                        <a:pt x="23414" y="22766"/>
                      </a:lnTo>
                      <a:lnTo>
                        <a:pt x="23310" y="22661"/>
                      </a:lnTo>
                      <a:lnTo>
                        <a:pt x="23373" y="22661"/>
                      </a:lnTo>
                      <a:lnTo>
                        <a:pt x="23373" y="22473"/>
                      </a:lnTo>
                      <a:lnTo>
                        <a:pt x="23247" y="22389"/>
                      </a:lnTo>
                      <a:lnTo>
                        <a:pt x="23226" y="22410"/>
                      </a:lnTo>
                      <a:lnTo>
                        <a:pt x="23142" y="22347"/>
                      </a:lnTo>
                      <a:lnTo>
                        <a:pt x="23163" y="22305"/>
                      </a:lnTo>
                      <a:lnTo>
                        <a:pt x="23163" y="22284"/>
                      </a:lnTo>
                      <a:lnTo>
                        <a:pt x="23247" y="22180"/>
                      </a:lnTo>
                      <a:lnTo>
                        <a:pt x="23205" y="22096"/>
                      </a:lnTo>
                      <a:cubicBezTo>
                        <a:pt x="23205" y="22054"/>
                        <a:pt x="23226" y="21991"/>
                        <a:pt x="23226" y="21950"/>
                      </a:cubicBezTo>
                      <a:lnTo>
                        <a:pt x="23226" y="21887"/>
                      </a:lnTo>
                      <a:lnTo>
                        <a:pt x="23268" y="21929"/>
                      </a:lnTo>
                      <a:lnTo>
                        <a:pt x="23352" y="21866"/>
                      </a:lnTo>
                      <a:lnTo>
                        <a:pt x="23310" y="21761"/>
                      </a:lnTo>
                      <a:lnTo>
                        <a:pt x="23352" y="21719"/>
                      </a:lnTo>
                      <a:lnTo>
                        <a:pt x="23352" y="21573"/>
                      </a:lnTo>
                      <a:lnTo>
                        <a:pt x="23414" y="21552"/>
                      </a:lnTo>
                      <a:lnTo>
                        <a:pt x="23435" y="21719"/>
                      </a:lnTo>
                      <a:lnTo>
                        <a:pt x="23477" y="21678"/>
                      </a:lnTo>
                      <a:lnTo>
                        <a:pt x="23519" y="21657"/>
                      </a:lnTo>
                      <a:lnTo>
                        <a:pt x="23519" y="21678"/>
                      </a:lnTo>
                      <a:lnTo>
                        <a:pt x="23519" y="21719"/>
                      </a:lnTo>
                      <a:lnTo>
                        <a:pt x="23477" y="21761"/>
                      </a:lnTo>
                      <a:lnTo>
                        <a:pt x="23477" y="21845"/>
                      </a:lnTo>
                      <a:lnTo>
                        <a:pt x="23540" y="21887"/>
                      </a:lnTo>
                      <a:lnTo>
                        <a:pt x="23665" y="21866"/>
                      </a:lnTo>
                      <a:lnTo>
                        <a:pt x="23749" y="21761"/>
                      </a:lnTo>
                      <a:lnTo>
                        <a:pt x="23728" y="21719"/>
                      </a:lnTo>
                      <a:cubicBezTo>
                        <a:pt x="23749" y="21657"/>
                        <a:pt x="23770" y="21573"/>
                        <a:pt x="23791" y="21510"/>
                      </a:cubicBezTo>
                      <a:lnTo>
                        <a:pt x="23833" y="21531"/>
                      </a:lnTo>
                      <a:lnTo>
                        <a:pt x="23854" y="21636"/>
                      </a:lnTo>
                      <a:lnTo>
                        <a:pt x="23958" y="21719"/>
                      </a:lnTo>
                      <a:lnTo>
                        <a:pt x="24000" y="21719"/>
                      </a:lnTo>
                      <a:lnTo>
                        <a:pt x="23937" y="21740"/>
                      </a:lnTo>
                      <a:lnTo>
                        <a:pt x="23854" y="21740"/>
                      </a:lnTo>
                      <a:lnTo>
                        <a:pt x="23833" y="21782"/>
                      </a:lnTo>
                      <a:cubicBezTo>
                        <a:pt x="23749" y="21824"/>
                        <a:pt x="23665" y="21866"/>
                        <a:pt x="23665" y="21970"/>
                      </a:cubicBezTo>
                      <a:cubicBezTo>
                        <a:pt x="23665" y="22054"/>
                        <a:pt x="23665" y="22096"/>
                        <a:pt x="23686" y="22180"/>
                      </a:cubicBezTo>
                      <a:lnTo>
                        <a:pt x="23665" y="22159"/>
                      </a:lnTo>
                      <a:lnTo>
                        <a:pt x="23665" y="22138"/>
                      </a:lnTo>
                      <a:lnTo>
                        <a:pt x="23645" y="22159"/>
                      </a:lnTo>
                      <a:cubicBezTo>
                        <a:pt x="23624" y="22159"/>
                        <a:pt x="23603" y="22138"/>
                        <a:pt x="23561" y="22138"/>
                      </a:cubicBezTo>
                      <a:lnTo>
                        <a:pt x="23624" y="22075"/>
                      </a:lnTo>
                      <a:lnTo>
                        <a:pt x="23645" y="21991"/>
                      </a:lnTo>
                      <a:lnTo>
                        <a:pt x="23456" y="21970"/>
                      </a:lnTo>
                      <a:lnTo>
                        <a:pt x="23352" y="22075"/>
                      </a:lnTo>
                      <a:lnTo>
                        <a:pt x="23414" y="22180"/>
                      </a:lnTo>
                      <a:lnTo>
                        <a:pt x="23435" y="22180"/>
                      </a:lnTo>
                      <a:cubicBezTo>
                        <a:pt x="23414" y="22201"/>
                        <a:pt x="23414" y="22222"/>
                        <a:pt x="23414" y="22263"/>
                      </a:cubicBezTo>
                      <a:cubicBezTo>
                        <a:pt x="23435" y="22284"/>
                        <a:pt x="23435" y="22326"/>
                        <a:pt x="23456" y="22368"/>
                      </a:cubicBezTo>
                      <a:cubicBezTo>
                        <a:pt x="23498" y="22389"/>
                        <a:pt x="23519" y="22431"/>
                        <a:pt x="23540" y="22494"/>
                      </a:cubicBezTo>
                      <a:lnTo>
                        <a:pt x="23561" y="22494"/>
                      </a:lnTo>
                      <a:cubicBezTo>
                        <a:pt x="23561" y="22494"/>
                        <a:pt x="23561" y="22514"/>
                        <a:pt x="23582" y="22514"/>
                      </a:cubicBezTo>
                      <a:cubicBezTo>
                        <a:pt x="23624" y="22577"/>
                        <a:pt x="23665" y="22577"/>
                        <a:pt x="23686" y="22598"/>
                      </a:cubicBezTo>
                      <a:lnTo>
                        <a:pt x="23665" y="22619"/>
                      </a:lnTo>
                      <a:lnTo>
                        <a:pt x="23540" y="22724"/>
                      </a:lnTo>
                      <a:lnTo>
                        <a:pt x="23540" y="22828"/>
                      </a:lnTo>
                      <a:lnTo>
                        <a:pt x="23603" y="22933"/>
                      </a:lnTo>
                      <a:lnTo>
                        <a:pt x="23728" y="22828"/>
                      </a:lnTo>
                      <a:lnTo>
                        <a:pt x="23812" y="22682"/>
                      </a:lnTo>
                      <a:lnTo>
                        <a:pt x="23812" y="22619"/>
                      </a:lnTo>
                      <a:lnTo>
                        <a:pt x="23875" y="22598"/>
                      </a:lnTo>
                      <a:lnTo>
                        <a:pt x="24021" y="22473"/>
                      </a:lnTo>
                      <a:lnTo>
                        <a:pt x="24042" y="22514"/>
                      </a:lnTo>
                      <a:lnTo>
                        <a:pt x="24251" y="22514"/>
                      </a:lnTo>
                      <a:lnTo>
                        <a:pt x="24168" y="22619"/>
                      </a:lnTo>
                      <a:lnTo>
                        <a:pt x="24189" y="22640"/>
                      </a:lnTo>
                      <a:lnTo>
                        <a:pt x="24314" y="22640"/>
                      </a:lnTo>
                      <a:lnTo>
                        <a:pt x="24314" y="22703"/>
                      </a:lnTo>
                      <a:lnTo>
                        <a:pt x="24209" y="22807"/>
                      </a:lnTo>
                      <a:cubicBezTo>
                        <a:pt x="24189" y="22807"/>
                        <a:pt x="24168" y="22828"/>
                        <a:pt x="24147" y="22828"/>
                      </a:cubicBezTo>
                      <a:lnTo>
                        <a:pt x="24168" y="22724"/>
                      </a:lnTo>
                      <a:lnTo>
                        <a:pt x="24105" y="22598"/>
                      </a:lnTo>
                      <a:lnTo>
                        <a:pt x="23979" y="22598"/>
                      </a:lnTo>
                      <a:lnTo>
                        <a:pt x="23979" y="22640"/>
                      </a:lnTo>
                      <a:lnTo>
                        <a:pt x="23875" y="22703"/>
                      </a:lnTo>
                      <a:lnTo>
                        <a:pt x="23833" y="22849"/>
                      </a:lnTo>
                      <a:lnTo>
                        <a:pt x="23833" y="22912"/>
                      </a:lnTo>
                      <a:lnTo>
                        <a:pt x="23728" y="23017"/>
                      </a:lnTo>
                      <a:lnTo>
                        <a:pt x="23749" y="23100"/>
                      </a:lnTo>
                      <a:lnTo>
                        <a:pt x="23937" y="23017"/>
                      </a:lnTo>
                      <a:cubicBezTo>
                        <a:pt x="23937" y="23038"/>
                        <a:pt x="23958" y="23038"/>
                        <a:pt x="23958" y="23038"/>
                      </a:cubicBezTo>
                      <a:lnTo>
                        <a:pt x="23854" y="23121"/>
                      </a:lnTo>
                      <a:lnTo>
                        <a:pt x="23770" y="23247"/>
                      </a:lnTo>
                      <a:lnTo>
                        <a:pt x="23833" y="23310"/>
                      </a:lnTo>
                      <a:lnTo>
                        <a:pt x="24000" y="23163"/>
                      </a:lnTo>
                      <a:lnTo>
                        <a:pt x="24063" y="23100"/>
                      </a:lnTo>
                      <a:cubicBezTo>
                        <a:pt x="24084" y="23121"/>
                        <a:pt x="24105" y="23121"/>
                        <a:pt x="24147" y="23142"/>
                      </a:cubicBezTo>
                      <a:lnTo>
                        <a:pt x="24147" y="23163"/>
                      </a:lnTo>
                      <a:lnTo>
                        <a:pt x="24168" y="23226"/>
                      </a:lnTo>
                      <a:lnTo>
                        <a:pt x="24189" y="23268"/>
                      </a:lnTo>
                      <a:lnTo>
                        <a:pt x="24000" y="23268"/>
                      </a:lnTo>
                      <a:lnTo>
                        <a:pt x="23937" y="23351"/>
                      </a:lnTo>
                      <a:lnTo>
                        <a:pt x="23937" y="23414"/>
                      </a:lnTo>
                      <a:lnTo>
                        <a:pt x="24000" y="23414"/>
                      </a:lnTo>
                      <a:lnTo>
                        <a:pt x="24063" y="23372"/>
                      </a:lnTo>
                      <a:lnTo>
                        <a:pt x="24168" y="23372"/>
                      </a:lnTo>
                      <a:lnTo>
                        <a:pt x="24168" y="23414"/>
                      </a:lnTo>
                      <a:lnTo>
                        <a:pt x="24063" y="23477"/>
                      </a:lnTo>
                      <a:lnTo>
                        <a:pt x="23937" y="23477"/>
                      </a:lnTo>
                      <a:lnTo>
                        <a:pt x="23875" y="23540"/>
                      </a:lnTo>
                      <a:lnTo>
                        <a:pt x="23854" y="23665"/>
                      </a:lnTo>
                      <a:lnTo>
                        <a:pt x="23896" y="23770"/>
                      </a:lnTo>
                      <a:lnTo>
                        <a:pt x="23979" y="23728"/>
                      </a:lnTo>
                      <a:lnTo>
                        <a:pt x="24000" y="23644"/>
                      </a:lnTo>
                      <a:lnTo>
                        <a:pt x="24084" y="23644"/>
                      </a:lnTo>
                      <a:lnTo>
                        <a:pt x="24189" y="23582"/>
                      </a:lnTo>
                      <a:lnTo>
                        <a:pt x="24314" y="23435"/>
                      </a:lnTo>
                      <a:lnTo>
                        <a:pt x="24461" y="23247"/>
                      </a:lnTo>
                      <a:lnTo>
                        <a:pt x="24502" y="23017"/>
                      </a:lnTo>
                      <a:lnTo>
                        <a:pt x="24628" y="22745"/>
                      </a:lnTo>
                      <a:lnTo>
                        <a:pt x="24691" y="22724"/>
                      </a:lnTo>
                      <a:lnTo>
                        <a:pt x="24691" y="22703"/>
                      </a:lnTo>
                      <a:lnTo>
                        <a:pt x="24691" y="22661"/>
                      </a:lnTo>
                      <a:lnTo>
                        <a:pt x="24670" y="22661"/>
                      </a:lnTo>
                      <a:lnTo>
                        <a:pt x="24712" y="22619"/>
                      </a:lnTo>
                      <a:lnTo>
                        <a:pt x="24712" y="22577"/>
                      </a:lnTo>
                      <a:lnTo>
                        <a:pt x="24753" y="22514"/>
                      </a:lnTo>
                      <a:lnTo>
                        <a:pt x="24712" y="22473"/>
                      </a:lnTo>
                      <a:lnTo>
                        <a:pt x="24670" y="22452"/>
                      </a:lnTo>
                      <a:lnTo>
                        <a:pt x="24670" y="22347"/>
                      </a:lnTo>
                      <a:lnTo>
                        <a:pt x="24607" y="22242"/>
                      </a:lnTo>
                      <a:lnTo>
                        <a:pt x="24481" y="22159"/>
                      </a:lnTo>
                      <a:lnTo>
                        <a:pt x="24398" y="22096"/>
                      </a:lnTo>
                      <a:lnTo>
                        <a:pt x="24377" y="22033"/>
                      </a:lnTo>
                      <a:lnTo>
                        <a:pt x="24272" y="21866"/>
                      </a:lnTo>
                      <a:lnTo>
                        <a:pt x="24189" y="21845"/>
                      </a:lnTo>
                      <a:lnTo>
                        <a:pt x="24084" y="21845"/>
                      </a:lnTo>
                      <a:lnTo>
                        <a:pt x="24084" y="21782"/>
                      </a:lnTo>
                      <a:lnTo>
                        <a:pt x="24126" y="21740"/>
                      </a:lnTo>
                      <a:lnTo>
                        <a:pt x="24084" y="21657"/>
                      </a:lnTo>
                      <a:lnTo>
                        <a:pt x="24042" y="21615"/>
                      </a:lnTo>
                      <a:lnTo>
                        <a:pt x="24021" y="21531"/>
                      </a:lnTo>
                      <a:lnTo>
                        <a:pt x="24063" y="21468"/>
                      </a:lnTo>
                      <a:lnTo>
                        <a:pt x="24126" y="21447"/>
                      </a:lnTo>
                      <a:lnTo>
                        <a:pt x="24084" y="21406"/>
                      </a:lnTo>
                      <a:lnTo>
                        <a:pt x="24021" y="21343"/>
                      </a:lnTo>
                      <a:lnTo>
                        <a:pt x="23958" y="21343"/>
                      </a:lnTo>
                      <a:lnTo>
                        <a:pt x="23958" y="21259"/>
                      </a:lnTo>
                      <a:lnTo>
                        <a:pt x="24063" y="21217"/>
                      </a:lnTo>
                      <a:lnTo>
                        <a:pt x="24042" y="20799"/>
                      </a:lnTo>
                      <a:lnTo>
                        <a:pt x="24042" y="20380"/>
                      </a:lnTo>
                      <a:lnTo>
                        <a:pt x="24084" y="20025"/>
                      </a:lnTo>
                      <a:lnTo>
                        <a:pt x="24063" y="19941"/>
                      </a:lnTo>
                      <a:lnTo>
                        <a:pt x="24063" y="19836"/>
                      </a:lnTo>
                      <a:lnTo>
                        <a:pt x="24126" y="19732"/>
                      </a:lnTo>
                      <a:lnTo>
                        <a:pt x="24084" y="19627"/>
                      </a:lnTo>
                      <a:lnTo>
                        <a:pt x="24042" y="19543"/>
                      </a:lnTo>
                      <a:lnTo>
                        <a:pt x="24021" y="19334"/>
                      </a:lnTo>
                      <a:lnTo>
                        <a:pt x="23875" y="19167"/>
                      </a:lnTo>
                      <a:lnTo>
                        <a:pt x="23833" y="18957"/>
                      </a:lnTo>
                      <a:lnTo>
                        <a:pt x="23854" y="18853"/>
                      </a:lnTo>
                      <a:lnTo>
                        <a:pt x="23728" y="18518"/>
                      </a:lnTo>
                      <a:lnTo>
                        <a:pt x="23749" y="18434"/>
                      </a:lnTo>
                      <a:lnTo>
                        <a:pt x="23833" y="18288"/>
                      </a:lnTo>
                      <a:lnTo>
                        <a:pt x="23812" y="18204"/>
                      </a:lnTo>
                      <a:lnTo>
                        <a:pt x="23812" y="18100"/>
                      </a:lnTo>
                      <a:lnTo>
                        <a:pt x="23665" y="17995"/>
                      </a:lnTo>
                      <a:lnTo>
                        <a:pt x="23498" y="17995"/>
                      </a:lnTo>
                      <a:lnTo>
                        <a:pt x="23289" y="18058"/>
                      </a:lnTo>
                      <a:lnTo>
                        <a:pt x="23226" y="18079"/>
                      </a:lnTo>
                      <a:lnTo>
                        <a:pt x="23017" y="18162"/>
                      </a:lnTo>
                      <a:lnTo>
                        <a:pt x="22891" y="18288"/>
                      </a:lnTo>
                      <a:lnTo>
                        <a:pt x="22724" y="18518"/>
                      </a:lnTo>
                      <a:lnTo>
                        <a:pt x="22598" y="18602"/>
                      </a:lnTo>
                      <a:lnTo>
                        <a:pt x="22410" y="18623"/>
                      </a:lnTo>
                      <a:lnTo>
                        <a:pt x="22201" y="18644"/>
                      </a:lnTo>
                      <a:lnTo>
                        <a:pt x="22159" y="18644"/>
                      </a:lnTo>
                      <a:lnTo>
                        <a:pt x="22159" y="18581"/>
                      </a:lnTo>
                      <a:lnTo>
                        <a:pt x="22264" y="18413"/>
                      </a:lnTo>
                      <a:lnTo>
                        <a:pt x="22201" y="18267"/>
                      </a:lnTo>
                      <a:lnTo>
                        <a:pt x="22054" y="17597"/>
                      </a:lnTo>
                      <a:lnTo>
                        <a:pt x="21950" y="17325"/>
                      </a:lnTo>
                      <a:lnTo>
                        <a:pt x="21887" y="17179"/>
                      </a:lnTo>
                      <a:lnTo>
                        <a:pt x="22033" y="16928"/>
                      </a:lnTo>
                      <a:lnTo>
                        <a:pt x="21740" y="16886"/>
                      </a:lnTo>
                      <a:lnTo>
                        <a:pt x="21531" y="17032"/>
                      </a:lnTo>
                      <a:lnTo>
                        <a:pt x="21406" y="16970"/>
                      </a:lnTo>
                      <a:lnTo>
                        <a:pt x="21029" y="16970"/>
                      </a:lnTo>
                      <a:lnTo>
                        <a:pt x="27704" y="4792"/>
                      </a:lnTo>
                      <a:lnTo>
                        <a:pt x="27683" y="4729"/>
                      </a:lnTo>
                      <a:lnTo>
                        <a:pt x="27536" y="4708"/>
                      </a:lnTo>
                      <a:lnTo>
                        <a:pt x="27474" y="4729"/>
                      </a:lnTo>
                      <a:lnTo>
                        <a:pt x="27411" y="4667"/>
                      </a:lnTo>
                      <a:lnTo>
                        <a:pt x="27369" y="4416"/>
                      </a:lnTo>
                      <a:lnTo>
                        <a:pt x="27306" y="4290"/>
                      </a:lnTo>
                      <a:lnTo>
                        <a:pt x="27222" y="4248"/>
                      </a:lnTo>
                      <a:lnTo>
                        <a:pt x="27202" y="4102"/>
                      </a:lnTo>
                      <a:lnTo>
                        <a:pt x="27118" y="3955"/>
                      </a:lnTo>
                      <a:lnTo>
                        <a:pt x="27076" y="3892"/>
                      </a:lnTo>
                      <a:lnTo>
                        <a:pt x="26867" y="3892"/>
                      </a:lnTo>
                      <a:lnTo>
                        <a:pt x="26846" y="3934"/>
                      </a:lnTo>
                      <a:lnTo>
                        <a:pt x="26678" y="3892"/>
                      </a:lnTo>
                      <a:lnTo>
                        <a:pt x="26532" y="3934"/>
                      </a:lnTo>
                      <a:lnTo>
                        <a:pt x="26448" y="3872"/>
                      </a:lnTo>
                      <a:lnTo>
                        <a:pt x="26386" y="3892"/>
                      </a:lnTo>
                      <a:lnTo>
                        <a:pt x="26344" y="3872"/>
                      </a:lnTo>
                      <a:lnTo>
                        <a:pt x="26323" y="3892"/>
                      </a:lnTo>
                      <a:lnTo>
                        <a:pt x="26239" y="3892"/>
                      </a:lnTo>
                      <a:lnTo>
                        <a:pt x="26239" y="3872"/>
                      </a:lnTo>
                      <a:lnTo>
                        <a:pt x="26281" y="3872"/>
                      </a:lnTo>
                      <a:lnTo>
                        <a:pt x="26281" y="3830"/>
                      </a:lnTo>
                      <a:lnTo>
                        <a:pt x="26176" y="3746"/>
                      </a:lnTo>
                      <a:lnTo>
                        <a:pt x="26114" y="3767"/>
                      </a:lnTo>
                      <a:lnTo>
                        <a:pt x="26030" y="3746"/>
                      </a:lnTo>
                      <a:lnTo>
                        <a:pt x="26051" y="3725"/>
                      </a:lnTo>
                      <a:lnTo>
                        <a:pt x="26114" y="3683"/>
                      </a:lnTo>
                      <a:lnTo>
                        <a:pt x="26051" y="3641"/>
                      </a:lnTo>
                      <a:lnTo>
                        <a:pt x="25967" y="3641"/>
                      </a:lnTo>
                      <a:lnTo>
                        <a:pt x="25904" y="3620"/>
                      </a:lnTo>
                      <a:lnTo>
                        <a:pt x="25904" y="3558"/>
                      </a:lnTo>
                      <a:lnTo>
                        <a:pt x="25821" y="3474"/>
                      </a:lnTo>
                      <a:lnTo>
                        <a:pt x="25737" y="3411"/>
                      </a:lnTo>
                      <a:lnTo>
                        <a:pt x="25716" y="3411"/>
                      </a:lnTo>
                      <a:lnTo>
                        <a:pt x="25653" y="3369"/>
                      </a:lnTo>
                      <a:lnTo>
                        <a:pt x="25611" y="3369"/>
                      </a:lnTo>
                      <a:lnTo>
                        <a:pt x="25549" y="3432"/>
                      </a:lnTo>
                      <a:lnTo>
                        <a:pt x="25549" y="3369"/>
                      </a:lnTo>
                      <a:lnTo>
                        <a:pt x="25528" y="3328"/>
                      </a:lnTo>
                      <a:lnTo>
                        <a:pt x="25444" y="3265"/>
                      </a:lnTo>
                      <a:lnTo>
                        <a:pt x="25381" y="3369"/>
                      </a:lnTo>
                      <a:lnTo>
                        <a:pt x="25318" y="3328"/>
                      </a:lnTo>
                      <a:lnTo>
                        <a:pt x="25318" y="3244"/>
                      </a:lnTo>
                      <a:lnTo>
                        <a:pt x="25381" y="3223"/>
                      </a:lnTo>
                      <a:lnTo>
                        <a:pt x="25339" y="3160"/>
                      </a:lnTo>
                      <a:lnTo>
                        <a:pt x="25277" y="3139"/>
                      </a:lnTo>
                      <a:lnTo>
                        <a:pt x="25193" y="3160"/>
                      </a:lnTo>
                      <a:lnTo>
                        <a:pt x="25193" y="3160"/>
                      </a:lnTo>
                      <a:lnTo>
                        <a:pt x="25214" y="3118"/>
                      </a:lnTo>
                      <a:lnTo>
                        <a:pt x="25214" y="3056"/>
                      </a:lnTo>
                      <a:lnTo>
                        <a:pt x="25109" y="3014"/>
                      </a:lnTo>
                      <a:lnTo>
                        <a:pt x="25025" y="2909"/>
                      </a:lnTo>
                      <a:lnTo>
                        <a:pt x="25067" y="2888"/>
                      </a:lnTo>
                      <a:lnTo>
                        <a:pt x="25025" y="2825"/>
                      </a:lnTo>
                      <a:lnTo>
                        <a:pt x="24963" y="2804"/>
                      </a:lnTo>
                      <a:lnTo>
                        <a:pt x="24900" y="2846"/>
                      </a:lnTo>
                      <a:lnTo>
                        <a:pt x="24691" y="3056"/>
                      </a:lnTo>
                      <a:lnTo>
                        <a:pt x="24461" y="3202"/>
                      </a:lnTo>
                      <a:lnTo>
                        <a:pt x="24670" y="3035"/>
                      </a:lnTo>
                      <a:lnTo>
                        <a:pt x="24795" y="2846"/>
                      </a:lnTo>
                      <a:lnTo>
                        <a:pt x="24921" y="2721"/>
                      </a:lnTo>
                      <a:lnTo>
                        <a:pt x="24963" y="2595"/>
                      </a:lnTo>
                      <a:lnTo>
                        <a:pt x="24879" y="2532"/>
                      </a:lnTo>
                      <a:lnTo>
                        <a:pt x="24712" y="2428"/>
                      </a:lnTo>
                      <a:lnTo>
                        <a:pt x="24586" y="2428"/>
                      </a:lnTo>
                      <a:lnTo>
                        <a:pt x="24440" y="2491"/>
                      </a:lnTo>
                      <a:lnTo>
                        <a:pt x="24356" y="2491"/>
                      </a:lnTo>
                      <a:lnTo>
                        <a:pt x="24293" y="2512"/>
                      </a:lnTo>
                      <a:lnTo>
                        <a:pt x="24147" y="2532"/>
                      </a:lnTo>
                      <a:lnTo>
                        <a:pt x="23979" y="2721"/>
                      </a:lnTo>
                      <a:lnTo>
                        <a:pt x="23854" y="2825"/>
                      </a:lnTo>
                      <a:lnTo>
                        <a:pt x="23854" y="2825"/>
                      </a:lnTo>
                      <a:lnTo>
                        <a:pt x="23958" y="2700"/>
                      </a:lnTo>
                      <a:lnTo>
                        <a:pt x="23937" y="2532"/>
                      </a:lnTo>
                      <a:lnTo>
                        <a:pt x="23958" y="2407"/>
                      </a:lnTo>
                      <a:lnTo>
                        <a:pt x="23958" y="2302"/>
                      </a:lnTo>
                      <a:lnTo>
                        <a:pt x="23770" y="2198"/>
                      </a:lnTo>
                      <a:lnTo>
                        <a:pt x="23770" y="2156"/>
                      </a:lnTo>
                      <a:lnTo>
                        <a:pt x="23875" y="2093"/>
                      </a:lnTo>
                      <a:lnTo>
                        <a:pt x="23979" y="2093"/>
                      </a:lnTo>
                      <a:lnTo>
                        <a:pt x="23979" y="2051"/>
                      </a:lnTo>
                      <a:lnTo>
                        <a:pt x="23707" y="1884"/>
                      </a:lnTo>
                      <a:lnTo>
                        <a:pt x="23665" y="1800"/>
                      </a:lnTo>
                      <a:lnTo>
                        <a:pt x="23728" y="1737"/>
                      </a:lnTo>
                      <a:lnTo>
                        <a:pt x="23875" y="1654"/>
                      </a:lnTo>
                      <a:lnTo>
                        <a:pt x="23958" y="1570"/>
                      </a:lnTo>
                      <a:lnTo>
                        <a:pt x="23917" y="1486"/>
                      </a:lnTo>
                      <a:lnTo>
                        <a:pt x="23854" y="1361"/>
                      </a:lnTo>
                      <a:lnTo>
                        <a:pt x="23812" y="1361"/>
                      </a:lnTo>
                      <a:lnTo>
                        <a:pt x="23749" y="1382"/>
                      </a:lnTo>
                      <a:lnTo>
                        <a:pt x="23707" y="1319"/>
                      </a:lnTo>
                      <a:lnTo>
                        <a:pt x="23624" y="1256"/>
                      </a:lnTo>
                      <a:lnTo>
                        <a:pt x="23519" y="1256"/>
                      </a:lnTo>
                      <a:lnTo>
                        <a:pt x="23393" y="1214"/>
                      </a:lnTo>
                      <a:lnTo>
                        <a:pt x="23331" y="1172"/>
                      </a:lnTo>
                      <a:lnTo>
                        <a:pt x="23247" y="1214"/>
                      </a:lnTo>
                      <a:lnTo>
                        <a:pt x="23121" y="1214"/>
                      </a:lnTo>
                      <a:lnTo>
                        <a:pt x="23080" y="1319"/>
                      </a:lnTo>
                      <a:lnTo>
                        <a:pt x="23080" y="1361"/>
                      </a:lnTo>
                      <a:lnTo>
                        <a:pt x="22996" y="1256"/>
                      </a:lnTo>
                      <a:lnTo>
                        <a:pt x="23038" y="1151"/>
                      </a:lnTo>
                      <a:lnTo>
                        <a:pt x="23101" y="1131"/>
                      </a:lnTo>
                      <a:lnTo>
                        <a:pt x="23101" y="1026"/>
                      </a:lnTo>
                      <a:lnTo>
                        <a:pt x="23142" y="942"/>
                      </a:lnTo>
                      <a:lnTo>
                        <a:pt x="23205" y="921"/>
                      </a:lnTo>
                      <a:lnTo>
                        <a:pt x="23205" y="817"/>
                      </a:lnTo>
                      <a:lnTo>
                        <a:pt x="23226" y="712"/>
                      </a:lnTo>
                      <a:lnTo>
                        <a:pt x="23205" y="649"/>
                      </a:lnTo>
                      <a:lnTo>
                        <a:pt x="23184" y="649"/>
                      </a:lnTo>
                      <a:lnTo>
                        <a:pt x="23038" y="796"/>
                      </a:lnTo>
                      <a:lnTo>
                        <a:pt x="23017" y="900"/>
                      </a:lnTo>
                      <a:lnTo>
                        <a:pt x="22996" y="900"/>
                      </a:lnTo>
                      <a:lnTo>
                        <a:pt x="22912" y="838"/>
                      </a:lnTo>
                      <a:lnTo>
                        <a:pt x="22808" y="900"/>
                      </a:lnTo>
                      <a:lnTo>
                        <a:pt x="22787" y="942"/>
                      </a:lnTo>
                      <a:lnTo>
                        <a:pt x="22808" y="1047"/>
                      </a:lnTo>
                      <a:lnTo>
                        <a:pt x="22724" y="1131"/>
                      </a:lnTo>
                      <a:lnTo>
                        <a:pt x="22682" y="1131"/>
                      </a:lnTo>
                      <a:lnTo>
                        <a:pt x="22661" y="1068"/>
                      </a:lnTo>
                      <a:lnTo>
                        <a:pt x="22598" y="1214"/>
                      </a:lnTo>
                      <a:lnTo>
                        <a:pt x="22598" y="1319"/>
                      </a:lnTo>
                      <a:lnTo>
                        <a:pt x="22556" y="1172"/>
                      </a:lnTo>
                      <a:lnTo>
                        <a:pt x="22556" y="1047"/>
                      </a:lnTo>
                      <a:lnTo>
                        <a:pt x="22598" y="942"/>
                      </a:lnTo>
                      <a:lnTo>
                        <a:pt x="22556" y="921"/>
                      </a:lnTo>
                      <a:lnTo>
                        <a:pt x="22473" y="1005"/>
                      </a:lnTo>
                      <a:lnTo>
                        <a:pt x="22452" y="1068"/>
                      </a:lnTo>
                      <a:lnTo>
                        <a:pt x="22368" y="1110"/>
                      </a:lnTo>
                      <a:lnTo>
                        <a:pt x="22410" y="921"/>
                      </a:lnTo>
                      <a:lnTo>
                        <a:pt x="22368" y="817"/>
                      </a:lnTo>
                      <a:lnTo>
                        <a:pt x="22264" y="817"/>
                      </a:lnTo>
                      <a:lnTo>
                        <a:pt x="22284" y="733"/>
                      </a:lnTo>
                      <a:lnTo>
                        <a:pt x="22410" y="628"/>
                      </a:lnTo>
                      <a:lnTo>
                        <a:pt x="22515" y="607"/>
                      </a:lnTo>
                      <a:lnTo>
                        <a:pt x="22661" y="712"/>
                      </a:lnTo>
                      <a:lnTo>
                        <a:pt x="22808" y="628"/>
                      </a:lnTo>
                      <a:lnTo>
                        <a:pt x="22912" y="607"/>
                      </a:lnTo>
                      <a:lnTo>
                        <a:pt x="23017" y="503"/>
                      </a:lnTo>
                      <a:lnTo>
                        <a:pt x="23017" y="440"/>
                      </a:lnTo>
                      <a:lnTo>
                        <a:pt x="23038" y="398"/>
                      </a:lnTo>
                      <a:lnTo>
                        <a:pt x="23017" y="335"/>
                      </a:lnTo>
                      <a:lnTo>
                        <a:pt x="22891" y="294"/>
                      </a:lnTo>
                      <a:lnTo>
                        <a:pt x="22828" y="294"/>
                      </a:lnTo>
                      <a:lnTo>
                        <a:pt x="22828" y="189"/>
                      </a:lnTo>
                      <a:lnTo>
                        <a:pt x="22787" y="126"/>
                      </a:lnTo>
                      <a:lnTo>
                        <a:pt x="22766" y="105"/>
                      </a:lnTo>
                      <a:lnTo>
                        <a:pt x="22787" y="84"/>
                      </a:lnTo>
                      <a:lnTo>
                        <a:pt x="22828" y="63"/>
                      </a:lnTo>
                      <a:lnTo>
                        <a:pt x="22870" y="1"/>
                      </a:ln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3" name="Google Shape;12067;p43">
                  <a:extLst>
                    <a:ext uri="{FF2B5EF4-FFF2-40B4-BE49-F238E27FC236}">
                      <a16:creationId xmlns:a16="http://schemas.microsoft.com/office/drawing/2014/main" id="{9525C350-20A8-EFD3-3735-31906969FA48}"/>
                    </a:ext>
                  </a:extLst>
                </p:cNvPr>
                <p:cNvSpPr/>
                <p:nvPr/>
              </p:nvSpPr>
              <p:spPr>
                <a:xfrm>
                  <a:off x="1979950" y="2384350"/>
                  <a:ext cx="816050" cy="481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42" h="19251" extrusionOk="0">
                      <a:moveTo>
                        <a:pt x="2846" y="1"/>
                      </a:moveTo>
                      <a:lnTo>
                        <a:pt x="2909" y="210"/>
                      </a:lnTo>
                      <a:lnTo>
                        <a:pt x="3035" y="273"/>
                      </a:lnTo>
                      <a:lnTo>
                        <a:pt x="2993" y="356"/>
                      </a:lnTo>
                      <a:lnTo>
                        <a:pt x="2909" y="440"/>
                      </a:lnTo>
                      <a:lnTo>
                        <a:pt x="2930" y="545"/>
                      </a:lnTo>
                      <a:lnTo>
                        <a:pt x="2993" y="586"/>
                      </a:lnTo>
                      <a:lnTo>
                        <a:pt x="2972" y="649"/>
                      </a:lnTo>
                      <a:lnTo>
                        <a:pt x="2909" y="733"/>
                      </a:lnTo>
                      <a:lnTo>
                        <a:pt x="2951" y="775"/>
                      </a:lnTo>
                      <a:lnTo>
                        <a:pt x="2951" y="858"/>
                      </a:lnTo>
                      <a:lnTo>
                        <a:pt x="2993" y="900"/>
                      </a:lnTo>
                      <a:lnTo>
                        <a:pt x="2909" y="1047"/>
                      </a:lnTo>
                      <a:lnTo>
                        <a:pt x="2825" y="1089"/>
                      </a:lnTo>
                      <a:lnTo>
                        <a:pt x="2763" y="1256"/>
                      </a:lnTo>
                      <a:lnTo>
                        <a:pt x="2721" y="1298"/>
                      </a:lnTo>
                      <a:lnTo>
                        <a:pt x="2721" y="1423"/>
                      </a:lnTo>
                      <a:lnTo>
                        <a:pt x="2637" y="1486"/>
                      </a:lnTo>
                      <a:lnTo>
                        <a:pt x="2616" y="1591"/>
                      </a:lnTo>
                      <a:lnTo>
                        <a:pt x="2470" y="1674"/>
                      </a:lnTo>
                      <a:lnTo>
                        <a:pt x="2386" y="1633"/>
                      </a:lnTo>
                      <a:lnTo>
                        <a:pt x="2344" y="1570"/>
                      </a:lnTo>
                      <a:lnTo>
                        <a:pt x="2428" y="1465"/>
                      </a:lnTo>
                      <a:lnTo>
                        <a:pt x="2449" y="1507"/>
                      </a:lnTo>
                      <a:lnTo>
                        <a:pt x="2532" y="1465"/>
                      </a:lnTo>
                      <a:lnTo>
                        <a:pt x="2553" y="1528"/>
                      </a:lnTo>
                      <a:lnTo>
                        <a:pt x="2595" y="1486"/>
                      </a:lnTo>
                      <a:lnTo>
                        <a:pt x="2595" y="1361"/>
                      </a:lnTo>
                      <a:lnTo>
                        <a:pt x="2658" y="1214"/>
                      </a:lnTo>
                      <a:lnTo>
                        <a:pt x="2742" y="1151"/>
                      </a:lnTo>
                      <a:lnTo>
                        <a:pt x="2742" y="1047"/>
                      </a:lnTo>
                      <a:lnTo>
                        <a:pt x="2700" y="1068"/>
                      </a:lnTo>
                      <a:lnTo>
                        <a:pt x="2553" y="1172"/>
                      </a:lnTo>
                      <a:lnTo>
                        <a:pt x="2512" y="1214"/>
                      </a:lnTo>
                      <a:lnTo>
                        <a:pt x="2428" y="1214"/>
                      </a:lnTo>
                      <a:lnTo>
                        <a:pt x="2428" y="1172"/>
                      </a:lnTo>
                      <a:lnTo>
                        <a:pt x="2532" y="1068"/>
                      </a:lnTo>
                      <a:lnTo>
                        <a:pt x="2658" y="1005"/>
                      </a:lnTo>
                      <a:lnTo>
                        <a:pt x="2700" y="963"/>
                      </a:lnTo>
                      <a:lnTo>
                        <a:pt x="2658" y="879"/>
                      </a:lnTo>
                      <a:lnTo>
                        <a:pt x="2616" y="879"/>
                      </a:lnTo>
                      <a:lnTo>
                        <a:pt x="2532" y="900"/>
                      </a:lnTo>
                      <a:lnTo>
                        <a:pt x="2470" y="796"/>
                      </a:lnTo>
                      <a:lnTo>
                        <a:pt x="2407" y="754"/>
                      </a:lnTo>
                      <a:lnTo>
                        <a:pt x="2135" y="754"/>
                      </a:lnTo>
                      <a:lnTo>
                        <a:pt x="2009" y="649"/>
                      </a:lnTo>
                      <a:lnTo>
                        <a:pt x="1716" y="419"/>
                      </a:lnTo>
                      <a:lnTo>
                        <a:pt x="1696" y="440"/>
                      </a:lnTo>
                      <a:lnTo>
                        <a:pt x="1675" y="545"/>
                      </a:lnTo>
                      <a:lnTo>
                        <a:pt x="1591" y="754"/>
                      </a:lnTo>
                      <a:lnTo>
                        <a:pt x="1591" y="858"/>
                      </a:lnTo>
                      <a:lnTo>
                        <a:pt x="1654" y="1068"/>
                      </a:lnTo>
                      <a:lnTo>
                        <a:pt x="1591" y="1382"/>
                      </a:lnTo>
                      <a:lnTo>
                        <a:pt x="1612" y="1507"/>
                      </a:lnTo>
                      <a:lnTo>
                        <a:pt x="1591" y="1674"/>
                      </a:lnTo>
                      <a:lnTo>
                        <a:pt x="1612" y="1737"/>
                      </a:lnTo>
                      <a:lnTo>
                        <a:pt x="1675" y="1737"/>
                      </a:lnTo>
                      <a:lnTo>
                        <a:pt x="1696" y="1800"/>
                      </a:lnTo>
                      <a:lnTo>
                        <a:pt x="1654" y="1884"/>
                      </a:lnTo>
                      <a:lnTo>
                        <a:pt x="1591" y="1884"/>
                      </a:lnTo>
                      <a:lnTo>
                        <a:pt x="1570" y="1946"/>
                      </a:lnTo>
                      <a:lnTo>
                        <a:pt x="1591" y="2009"/>
                      </a:lnTo>
                      <a:lnTo>
                        <a:pt x="1696" y="2030"/>
                      </a:lnTo>
                      <a:lnTo>
                        <a:pt x="1654" y="2135"/>
                      </a:lnTo>
                      <a:lnTo>
                        <a:pt x="1654" y="2239"/>
                      </a:lnTo>
                      <a:lnTo>
                        <a:pt x="1591" y="2323"/>
                      </a:lnTo>
                      <a:lnTo>
                        <a:pt x="1549" y="2302"/>
                      </a:lnTo>
                      <a:lnTo>
                        <a:pt x="1507" y="2344"/>
                      </a:lnTo>
                      <a:lnTo>
                        <a:pt x="1507" y="2428"/>
                      </a:lnTo>
                      <a:lnTo>
                        <a:pt x="1675" y="2449"/>
                      </a:lnTo>
                      <a:lnTo>
                        <a:pt x="1821" y="2470"/>
                      </a:lnTo>
                      <a:lnTo>
                        <a:pt x="1926" y="2553"/>
                      </a:lnTo>
                      <a:lnTo>
                        <a:pt x="2072" y="2553"/>
                      </a:lnTo>
                      <a:lnTo>
                        <a:pt x="2114" y="2637"/>
                      </a:lnTo>
                      <a:lnTo>
                        <a:pt x="2135" y="2783"/>
                      </a:lnTo>
                      <a:lnTo>
                        <a:pt x="2093" y="2658"/>
                      </a:lnTo>
                      <a:lnTo>
                        <a:pt x="1988" y="2574"/>
                      </a:lnTo>
                      <a:lnTo>
                        <a:pt x="1905" y="2616"/>
                      </a:lnTo>
                      <a:lnTo>
                        <a:pt x="1821" y="2553"/>
                      </a:lnTo>
                      <a:lnTo>
                        <a:pt x="1612" y="2532"/>
                      </a:lnTo>
                      <a:lnTo>
                        <a:pt x="1570" y="2470"/>
                      </a:lnTo>
                      <a:lnTo>
                        <a:pt x="1507" y="2511"/>
                      </a:lnTo>
                      <a:lnTo>
                        <a:pt x="1507" y="2616"/>
                      </a:lnTo>
                      <a:lnTo>
                        <a:pt x="1403" y="2763"/>
                      </a:lnTo>
                      <a:lnTo>
                        <a:pt x="1403" y="2846"/>
                      </a:lnTo>
                      <a:lnTo>
                        <a:pt x="1403" y="2930"/>
                      </a:lnTo>
                      <a:lnTo>
                        <a:pt x="1340" y="3076"/>
                      </a:lnTo>
                      <a:lnTo>
                        <a:pt x="1277" y="3202"/>
                      </a:lnTo>
                      <a:lnTo>
                        <a:pt x="1131" y="3558"/>
                      </a:lnTo>
                      <a:lnTo>
                        <a:pt x="1089" y="3809"/>
                      </a:lnTo>
                      <a:lnTo>
                        <a:pt x="942" y="4102"/>
                      </a:lnTo>
                      <a:lnTo>
                        <a:pt x="921" y="4415"/>
                      </a:lnTo>
                      <a:lnTo>
                        <a:pt x="838" y="4541"/>
                      </a:lnTo>
                      <a:lnTo>
                        <a:pt x="733" y="4667"/>
                      </a:lnTo>
                      <a:lnTo>
                        <a:pt x="649" y="4855"/>
                      </a:lnTo>
                      <a:lnTo>
                        <a:pt x="608" y="4939"/>
                      </a:lnTo>
                      <a:lnTo>
                        <a:pt x="566" y="5043"/>
                      </a:lnTo>
                      <a:lnTo>
                        <a:pt x="419" y="5231"/>
                      </a:lnTo>
                      <a:lnTo>
                        <a:pt x="356" y="5336"/>
                      </a:lnTo>
                      <a:lnTo>
                        <a:pt x="398" y="5566"/>
                      </a:lnTo>
                      <a:lnTo>
                        <a:pt x="336" y="5776"/>
                      </a:lnTo>
                      <a:lnTo>
                        <a:pt x="336" y="5922"/>
                      </a:lnTo>
                      <a:lnTo>
                        <a:pt x="419" y="6027"/>
                      </a:lnTo>
                      <a:lnTo>
                        <a:pt x="356" y="6110"/>
                      </a:lnTo>
                      <a:lnTo>
                        <a:pt x="336" y="6194"/>
                      </a:lnTo>
                      <a:lnTo>
                        <a:pt x="398" y="6340"/>
                      </a:lnTo>
                      <a:lnTo>
                        <a:pt x="356" y="6592"/>
                      </a:lnTo>
                      <a:lnTo>
                        <a:pt x="315" y="6717"/>
                      </a:lnTo>
                      <a:lnTo>
                        <a:pt x="231" y="6759"/>
                      </a:lnTo>
                      <a:lnTo>
                        <a:pt x="252" y="6843"/>
                      </a:lnTo>
                      <a:lnTo>
                        <a:pt x="294" y="6864"/>
                      </a:lnTo>
                      <a:lnTo>
                        <a:pt x="231" y="7031"/>
                      </a:lnTo>
                      <a:lnTo>
                        <a:pt x="84" y="7136"/>
                      </a:lnTo>
                      <a:lnTo>
                        <a:pt x="1" y="7261"/>
                      </a:lnTo>
                      <a:lnTo>
                        <a:pt x="1" y="7387"/>
                      </a:lnTo>
                      <a:lnTo>
                        <a:pt x="105" y="7554"/>
                      </a:lnTo>
                      <a:lnTo>
                        <a:pt x="210" y="7763"/>
                      </a:lnTo>
                      <a:lnTo>
                        <a:pt x="210" y="7993"/>
                      </a:lnTo>
                      <a:lnTo>
                        <a:pt x="189" y="8119"/>
                      </a:lnTo>
                      <a:lnTo>
                        <a:pt x="126" y="8203"/>
                      </a:lnTo>
                      <a:lnTo>
                        <a:pt x="126" y="8286"/>
                      </a:lnTo>
                      <a:lnTo>
                        <a:pt x="147" y="8370"/>
                      </a:lnTo>
                      <a:lnTo>
                        <a:pt x="189" y="8496"/>
                      </a:lnTo>
                      <a:lnTo>
                        <a:pt x="126" y="8579"/>
                      </a:lnTo>
                      <a:lnTo>
                        <a:pt x="105" y="8642"/>
                      </a:lnTo>
                      <a:lnTo>
                        <a:pt x="126" y="8726"/>
                      </a:lnTo>
                      <a:lnTo>
                        <a:pt x="356" y="9102"/>
                      </a:lnTo>
                      <a:lnTo>
                        <a:pt x="398" y="9207"/>
                      </a:lnTo>
                      <a:lnTo>
                        <a:pt x="356" y="9270"/>
                      </a:lnTo>
                      <a:lnTo>
                        <a:pt x="398" y="9353"/>
                      </a:lnTo>
                      <a:lnTo>
                        <a:pt x="524" y="9479"/>
                      </a:lnTo>
                      <a:lnTo>
                        <a:pt x="545" y="9542"/>
                      </a:lnTo>
                      <a:lnTo>
                        <a:pt x="628" y="9542"/>
                      </a:lnTo>
                      <a:lnTo>
                        <a:pt x="628" y="9437"/>
                      </a:lnTo>
                      <a:lnTo>
                        <a:pt x="628" y="9312"/>
                      </a:lnTo>
                      <a:lnTo>
                        <a:pt x="712" y="9333"/>
                      </a:lnTo>
                      <a:lnTo>
                        <a:pt x="733" y="9312"/>
                      </a:lnTo>
                      <a:lnTo>
                        <a:pt x="733" y="9353"/>
                      </a:lnTo>
                      <a:lnTo>
                        <a:pt x="838" y="9353"/>
                      </a:lnTo>
                      <a:lnTo>
                        <a:pt x="859" y="9416"/>
                      </a:lnTo>
                      <a:lnTo>
                        <a:pt x="984" y="9437"/>
                      </a:lnTo>
                      <a:lnTo>
                        <a:pt x="880" y="9437"/>
                      </a:lnTo>
                      <a:lnTo>
                        <a:pt x="817" y="9479"/>
                      </a:lnTo>
                      <a:lnTo>
                        <a:pt x="754" y="9437"/>
                      </a:lnTo>
                      <a:lnTo>
                        <a:pt x="712" y="9437"/>
                      </a:lnTo>
                      <a:lnTo>
                        <a:pt x="712" y="9521"/>
                      </a:lnTo>
                      <a:lnTo>
                        <a:pt x="754" y="9542"/>
                      </a:lnTo>
                      <a:lnTo>
                        <a:pt x="754" y="9688"/>
                      </a:lnTo>
                      <a:lnTo>
                        <a:pt x="817" y="9793"/>
                      </a:lnTo>
                      <a:lnTo>
                        <a:pt x="838" y="9835"/>
                      </a:lnTo>
                      <a:lnTo>
                        <a:pt x="733" y="9793"/>
                      </a:lnTo>
                      <a:lnTo>
                        <a:pt x="670" y="9688"/>
                      </a:lnTo>
                      <a:lnTo>
                        <a:pt x="649" y="9646"/>
                      </a:lnTo>
                      <a:lnTo>
                        <a:pt x="608" y="9688"/>
                      </a:lnTo>
                      <a:lnTo>
                        <a:pt x="608" y="9772"/>
                      </a:lnTo>
                      <a:lnTo>
                        <a:pt x="545" y="9835"/>
                      </a:lnTo>
                      <a:lnTo>
                        <a:pt x="566" y="9877"/>
                      </a:lnTo>
                      <a:lnTo>
                        <a:pt x="545" y="9981"/>
                      </a:lnTo>
                      <a:lnTo>
                        <a:pt x="545" y="10086"/>
                      </a:lnTo>
                      <a:lnTo>
                        <a:pt x="608" y="10107"/>
                      </a:lnTo>
                      <a:lnTo>
                        <a:pt x="628" y="10211"/>
                      </a:lnTo>
                      <a:lnTo>
                        <a:pt x="733" y="10274"/>
                      </a:lnTo>
                      <a:lnTo>
                        <a:pt x="775" y="10358"/>
                      </a:lnTo>
                      <a:lnTo>
                        <a:pt x="775" y="10421"/>
                      </a:lnTo>
                      <a:lnTo>
                        <a:pt x="712" y="10504"/>
                      </a:lnTo>
                      <a:lnTo>
                        <a:pt x="649" y="10504"/>
                      </a:lnTo>
                      <a:lnTo>
                        <a:pt x="649" y="10567"/>
                      </a:lnTo>
                      <a:lnTo>
                        <a:pt x="670" y="10672"/>
                      </a:lnTo>
                      <a:lnTo>
                        <a:pt x="670" y="10797"/>
                      </a:lnTo>
                      <a:lnTo>
                        <a:pt x="712" y="10839"/>
                      </a:lnTo>
                      <a:lnTo>
                        <a:pt x="775" y="10923"/>
                      </a:lnTo>
                      <a:lnTo>
                        <a:pt x="817" y="11111"/>
                      </a:lnTo>
                      <a:lnTo>
                        <a:pt x="942" y="11362"/>
                      </a:lnTo>
                      <a:lnTo>
                        <a:pt x="1026" y="11509"/>
                      </a:lnTo>
                      <a:lnTo>
                        <a:pt x="1068" y="11530"/>
                      </a:lnTo>
                      <a:lnTo>
                        <a:pt x="1047" y="11571"/>
                      </a:lnTo>
                      <a:lnTo>
                        <a:pt x="1047" y="11613"/>
                      </a:lnTo>
                      <a:lnTo>
                        <a:pt x="1152" y="11718"/>
                      </a:lnTo>
                      <a:lnTo>
                        <a:pt x="1172" y="11843"/>
                      </a:lnTo>
                      <a:lnTo>
                        <a:pt x="1152" y="11990"/>
                      </a:lnTo>
                      <a:lnTo>
                        <a:pt x="1131" y="12094"/>
                      </a:lnTo>
                      <a:lnTo>
                        <a:pt x="1089" y="12136"/>
                      </a:lnTo>
                      <a:lnTo>
                        <a:pt x="1131" y="12199"/>
                      </a:lnTo>
                      <a:lnTo>
                        <a:pt x="1172" y="12262"/>
                      </a:lnTo>
                      <a:lnTo>
                        <a:pt x="1382" y="12262"/>
                      </a:lnTo>
                      <a:lnTo>
                        <a:pt x="1486" y="12283"/>
                      </a:lnTo>
                      <a:lnTo>
                        <a:pt x="1591" y="12346"/>
                      </a:lnTo>
                      <a:lnTo>
                        <a:pt x="1675" y="12366"/>
                      </a:lnTo>
                      <a:lnTo>
                        <a:pt x="1821" y="12366"/>
                      </a:lnTo>
                      <a:lnTo>
                        <a:pt x="1884" y="12450"/>
                      </a:lnTo>
                      <a:lnTo>
                        <a:pt x="1884" y="12555"/>
                      </a:lnTo>
                      <a:lnTo>
                        <a:pt x="2030" y="12618"/>
                      </a:lnTo>
                      <a:lnTo>
                        <a:pt x="2135" y="12618"/>
                      </a:lnTo>
                      <a:lnTo>
                        <a:pt x="2281" y="12680"/>
                      </a:lnTo>
                      <a:lnTo>
                        <a:pt x="2302" y="12722"/>
                      </a:lnTo>
                      <a:lnTo>
                        <a:pt x="2302" y="12827"/>
                      </a:lnTo>
                      <a:lnTo>
                        <a:pt x="2344" y="12869"/>
                      </a:lnTo>
                      <a:lnTo>
                        <a:pt x="2407" y="12827"/>
                      </a:lnTo>
                      <a:lnTo>
                        <a:pt x="2470" y="12827"/>
                      </a:lnTo>
                      <a:lnTo>
                        <a:pt x="2616" y="12973"/>
                      </a:lnTo>
                      <a:lnTo>
                        <a:pt x="2805" y="13245"/>
                      </a:lnTo>
                      <a:lnTo>
                        <a:pt x="2825" y="13434"/>
                      </a:lnTo>
                      <a:lnTo>
                        <a:pt x="2805" y="13559"/>
                      </a:lnTo>
                      <a:lnTo>
                        <a:pt x="2805" y="13664"/>
                      </a:lnTo>
                      <a:lnTo>
                        <a:pt x="4185" y="13643"/>
                      </a:lnTo>
                      <a:lnTo>
                        <a:pt x="4206" y="13706"/>
                      </a:lnTo>
                      <a:lnTo>
                        <a:pt x="4206" y="13747"/>
                      </a:lnTo>
                      <a:lnTo>
                        <a:pt x="6131" y="14647"/>
                      </a:lnTo>
                      <a:lnTo>
                        <a:pt x="7784" y="14689"/>
                      </a:lnTo>
                      <a:lnTo>
                        <a:pt x="7826" y="14480"/>
                      </a:lnTo>
                      <a:lnTo>
                        <a:pt x="8747" y="14501"/>
                      </a:lnTo>
                      <a:lnTo>
                        <a:pt x="8872" y="14584"/>
                      </a:lnTo>
                      <a:lnTo>
                        <a:pt x="8935" y="14710"/>
                      </a:lnTo>
                      <a:lnTo>
                        <a:pt x="8998" y="14773"/>
                      </a:lnTo>
                      <a:lnTo>
                        <a:pt x="9019" y="14815"/>
                      </a:lnTo>
                      <a:lnTo>
                        <a:pt x="9082" y="14815"/>
                      </a:lnTo>
                      <a:lnTo>
                        <a:pt x="9123" y="14898"/>
                      </a:lnTo>
                      <a:lnTo>
                        <a:pt x="9103" y="14961"/>
                      </a:lnTo>
                      <a:lnTo>
                        <a:pt x="9207" y="14982"/>
                      </a:lnTo>
                      <a:lnTo>
                        <a:pt x="9270" y="15066"/>
                      </a:lnTo>
                      <a:lnTo>
                        <a:pt x="9270" y="15107"/>
                      </a:lnTo>
                      <a:lnTo>
                        <a:pt x="9228" y="15170"/>
                      </a:lnTo>
                      <a:lnTo>
                        <a:pt x="9312" y="15191"/>
                      </a:lnTo>
                      <a:lnTo>
                        <a:pt x="9395" y="15233"/>
                      </a:lnTo>
                      <a:lnTo>
                        <a:pt x="9437" y="15317"/>
                      </a:lnTo>
                      <a:lnTo>
                        <a:pt x="9458" y="15442"/>
                      </a:lnTo>
                      <a:lnTo>
                        <a:pt x="9500" y="15484"/>
                      </a:lnTo>
                      <a:lnTo>
                        <a:pt x="9521" y="15505"/>
                      </a:lnTo>
                      <a:lnTo>
                        <a:pt x="9542" y="15526"/>
                      </a:lnTo>
                      <a:lnTo>
                        <a:pt x="9626" y="15610"/>
                      </a:lnTo>
                      <a:lnTo>
                        <a:pt x="9626" y="15693"/>
                      </a:lnTo>
                      <a:lnTo>
                        <a:pt x="9605" y="15714"/>
                      </a:lnTo>
                      <a:lnTo>
                        <a:pt x="9521" y="15735"/>
                      </a:lnTo>
                      <a:lnTo>
                        <a:pt x="9521" y="15756"/>
                      </a:lnTo>
                      <a:lnTo>
                        <a:pt x="9626" y="15903"/>
                      </a:lnTo>
                      <a:lnTo>
                        <a:pt x="9709" y="15965"/>
                      </a:lnTo>
                      <a:lnTo>
                        <a:pt x="9730" y="16070"/>
                      </a:lnTo>
                      <a:lnTo>
                        <a:pt x="9730" y="16112"/>
                      </a:lnTo>
                      <a:lnTo>
                        <a:pt x="9751" y="16112"/>
                      </a:lnTo>
                      <a:lnTo>
                        <a:pt x="9793" y="16133"/>
                      </a:lnTo>
                      <a:lnTo>
                        <a:pt x="9835" y="16133"/>
                      </a:lnTo>
                      <a:lnTo>
                        <a:pt x="9877" y="16154"/>
                      </a:lnTo>
                      <a:lnTo>
                        <a:pt x="9919" y="16216"/>
                      </a:lnTo>
                      <a:lnTo>
                        <a:pt x="9919" y="16237"/>
                      </a:lnTo>
                      <a:lnTo>
                        <a:pt x="9960" y="16279"/>
                      </a:lnTo>
                      <a:lnTo>
                        <a:pt x="10023" y="16279"/>
                      </a:lnTo>
                      <a:lnTo>
                        <a:pt x="10149" y="16342"/>
                      </a:lnTo>
                      <a:lnTo>
                        <a:pt x="10170" y="16384"/>
                      </a:lnTo>
                      <a:lnTo>
                        <a:pt x="10253" y="16426"/>
                      </a:lnTo>
                      <a:lnTo>
                        <a:pt x="10379" y="16467"/>
                      </a:lnTo>
                      <a:lnTo>
                        <a:pt x="10400" y="16530"/>
                      </a:lnTo>
                      <a:lnTo>
                        <a:pt x="10463" y="16530"/>
                      </a:lnTo>
                      <a:lnTo>
                        <a:pt x="10504" y="16488"/>
                      </a:lnTo>
                      <a:lnTo>
                        <a:pt x="10504" y="16467"/>
                      </a:lnTo>
                      <a:lnTo>
                        <a:pt x="10609" y="16384"/>
                      </a:lnTo>
                      <a:lnTo>
                        <a:pt x="10672" y="16384"/>
                      </a:lnTo>
                      <a:lnTo>
                        <a:pt x="10672" y="16342"/>
                      </a:lnTo>
                      <a:lnTo>
                        <a:pt x="10672" y="16321"/>
                      </a:lnTo>
                      <a:lnTo>
                        <a:pt x="10714" y="16237"/>
                      </a:lnTo>
                      <a:lnTo>
                        <a:pt x="10797" y="16070"/>
                      </a:lnTo>
                      <a:lnTo>
                        <a:pt x="10839" y="16028"/>
                      </a:lnTo>
                      <a:lnTo>
                        <a:pt x="10923" y="16007"/>
                      </a:lnTo>
                      <a:lnTo>
                        <a:pt x="10965" y="16007"/>
                      </a:lnTo>
                      <a:lnTo>
                        <a:pt x="10986" y="16028"/>
                      </a:lnTo>
                      <a:lnTo>
                        <a:pt x="11027" y="16028"/>
                      </a:lnTo>
                      <a:lnTo>
                        <a:pt x="11069" y="15944"/>
                      </a:lnTo>
                      <a:lnTo>
                        <a:pt x="11174" y="15944"/>
                      </a:lnTo>
                      <a:lnTo>
                        <a:pt x="11279" y="15965"/>
                      </a:lnTo>
                      <a:lnTo>
                        <a:pt x="11383" y="15944"/>
                      </a:lnTo>
                      <a:lnTo>
                        <a:pt x="11404" y="15965"/>
                      </a:lnTo>
                      <a:lnTo>
                        <a:pt x="11425" y="16007"/>
                      </a:lnTo>
                      <a:lnTo>
                        <a:pt x="11509" y="16007"/>
                      </a:lnTo>
                      <a:lnTo>
                        <a:pt x="11592" y="16028"/>
                      </a:lnTo>
                      <a:lnTo>
                        <a:pt x="11634" y="16133"/>
                      </a:lnTo>
                      <a:lnTo>
                        <a:pt x="11739" y="16216"/>
                      </a:lnTo>
                      <a:lnTo>
                        <a:pt x="11844" y="16363"/>
                      </a:lnTo>
                      <a:lnTo>
                        <a:pt x="11864" y="16467"/>
                      </a:lnTo>
                      <a:lnTo>
                        <a:pt x="11927" y="16530"/>
                      </a:lnTo>
                      <a:lnTo>
                        <a:pt x="11927" y="16593"/>
                      </a:lnTo>
                      <a:lnTo>
                        <a:pt x="11927" y="16760"/>
                      </a:lnTo>
                      <a:lnTo>
                        <a:pt x="12011" y="16781"/>
                      </a:lnTo>
                      <a:lnTo>
                        <a:pt x="12032" y="16865"/>
                      </a:lnTo>
                      <a:lnTo>
                        <a:pt x="12116" y="17074"/>
                      </a:lnTo>
                      <a:lnTo>
                        <a:pt x="12157" y="17095"/>
                      </a:lnTo>
                      <a:lnTo>
                        <a:pt x="12178" y="17179"/>
                      </a:lnTo>
                      <a:lnTo>
                        <a:pt x="12262" y="17221"/>
                      </a:lnTo>
                      <a:lnTo>
                        <a:pt x="12283" y="17325"/>
                      </a:lnTo>
                      <a:lnTo>
                        <a:pt x="12346" y="17430"/>
                      </a:lnTo>
                      <a:lnTo>
                        <a:pt x="12450" y="17514"/>
                      </a:lnTo>
                      <a:lnTo>
                        <a:pt x="12429" y="17618"/>
                      </a:lnTo>
                      <a:lnTo>
                        <a:pt x="12429" y="17723"/>
                      </a:lnTo>
                      <a:lnTo>
                        <a:pt x="12429" y="17786"/>
                      </a:lnTo>
                      <a:lnTo>
                        <a:pt x="12429" y="17807"/>
                      </a:lnTo>
                      <a:lnTo>
                        <a:pt x="12555" y="18141"/>
                      </a:lnTo>
                      <a:lnTo>
                        <a:pt x="12534" y="18309"/>
                      </a:lnTo>
                      <a:lnTo>
                        <a:pt x="12576" y="18351"/>
                      </a:lnTo>
                      <a:lnTo>
                        <a:pt x="12597" y="18351"/>
                      </a:lnTo>
                      <a:lnTo>
                        <a:pt x="12660" y="18372"/>
                      </a:lnTo>
                      <a:lnTo>
                        <a:pt x="12743" y="18372"/>
                      </a:lnTo>
                      <a:lnTo>
                        <a:pt x="12806" y="18413"/>
                      </a:lnTo>
                      <a:lnTo>
                        <a:pt x="12911" y="18518"/>
                      </a:lnTo>
                      <a:lnTo>
                        <a:pt x="13099" y="18560"/>
                      </a:lnTo>
                      <a:lnTo>
                        <a:pt x="13204" y="18644"/>
                      </a:lnTo>
                      <a:lnTo>
                        <a:pt x="13308" y="18644"/>
                      </a:lnTo>
                      <a:lnTo>
                        <a:pt x="13329" y="18727"/>
                      </a:lnTo>
                      <a:lnTo>
                        <a:pt x="13392" y="18748"/>
                      </a:lnTo>
                      <a:lnTo>
                        <a:pt x="13476" y="18581"/>
                      </a:lnTo>
                      <a:lnTo>
                        <a:pt x="13496" y="18455"/>
                      </a:lnTo>
                      <a:lnTo>
                        <a:pt x="13476" y="18372"/>
                      </a:lnTo>
                      <a:lnTo>
                        <a:pt x="13476" y="18120"/>
                      </a:lnTo>
                      <a:lnTo>
                        <a:pt x="13413" y="18037"/>
                      </a:lnTo>
                      <a:lnTo>
                        <a:pt x="13496" y="17911"/>
                      </a:lnTo>
                      <a:lnTo>
                        <a:pt x="13538" y="17723"/>
                      </a:lnTo>
                      <a:lnTo>
                        <a:pt x="13622" y="17618"/>
                      </a:lnTo>
                      <a:lnTo>
                        <a:pt x="13580" y="17409"/>
                      </a:lnTo>
                      <a:lnTo>
                        <a:pt x="13685" y="17367"/>
                      </a:lnTo>
                      <a:lnTo>
                        <a:pt x="13789" y="17284"/>
                      </a:lnTo>
                      <a:lnTo>
                        <a:pt x="13727" y="17200"/>
                      </a:lnTo>
                      <a:lnTo>
                        <a:pt x="13831" y="17074"/>
                      </a:lnTo>
                      <a:lnTo>
                        <a:pt x="13894" y="17095"/>
                      </a:lnTo>
                      <a:lnTo>
                        <a:pt x="13999" y="17053"/>
                      </a:lnTo>
                      <a:lnTo>
                        <a:pt x="13957" y="16907"/>
                      </a:lnTo>
                      <a:lnTo>
                        <a:pt x="13957" y="16907"/>
                      </a:lnTo>
                      <a:lnTo>
                        <a:pt x="14040" y="16970"/>
                      </a:lnTo>
                      <a:lnTo>
                        <a:pt x="14145" y="16907"/>
                      </a:lnTo>
                      <a:lnTo>
                        <a:pt x="14103" y="16865"/>
                      </a:lnTo>
                      <a:lnTo>
                        <a:pt x="14208" y="16781"/>
                      </a:lnTo>
                      <a:lnTo>
                        <a:pt x="14250" y="16802"/>
                      </a:lnTo>
                      <a:lnTo>
                        <a:pt x="14312" y="16781"/>
                      </a:lnTo>
                      <a:lnTo>
                        <a:pt x="14375" y="16865"/>
                      </a:lnTo>
                      <a:lnTo>
                        <a:pt x="14271" y="16949"/>
                      </a:lnTo>
                      <a:lnTo>
                        <a:pt x="14354" y="16949"/>
                      </a:lnTo>
                      <a:lnTo>
                        <a:pt x="14459" y="16844"/>
                      </a:lnTo>
                      <a:lnTo>
                        <a:pt x="14543" y="16844"/>
                      </a:lnTo>
                      <a:lnTo>
                        <a:pt x="14794" y="16739"/>
                      </a:lnTo>
                      <a:lnTo>
                        <a:pt x="14982" y="16551"/>
                      </a:lnTo>
                      <a:lnTo>
                        <a:pt x="15066" y="16551"/>
                      </a:lnTo>
                      <a:lnTo>
                        <a:pt x="15108" y="16488"/>
                      </a:lnTo>
                      <a:lnTo>
                        <a:pt x="15087" y="16384"/>
                      </a:lnTo>
                      <a:lnTo>
                        <a:pt x="15108" y="16258"/>
                      </a:lnTo>
                      <a:lnTo>
                        <a:pt x="15045" y="16112"/>
                      </a:lnTo>
                      <a:lnTo>
                        <a:pt x="15087" y="16175"/>
                      </a:lnTo>
                      <a:lnTo>
                        <a:pt x="15170" y="16175"/>
                      </a:lnTo>
                      <a:lnTo>
                        <a:pt x="15275" y="16070"/>
                      </a:lnTo>
                      <a:lnTo>
                        <a:pt x="15275" y="16028"/>
                      </a:lnTo>
                      <a:lnTo>
                        <a:pt x="15317" y="16133"/>
                      </a:lnTo>
                      <a:lnTo>
                        <a:pt x="15254" y="16237"/>
                      </a:lnTo>
                      <a:lnTo>
                        <a:pt x="15275" y="16321"/>
                      </a:lnTo>
                      <a:lnTo>
                        <a:pt x="15275" y="16426"/>
                      </a:lnTo>
                      <a:lnTo>
                        <a:pt x="15401" y="16384"/>
                      </a:lnTo>
                      <a:lnTo>
                        <a:pt x="15484" y="16258"/>
                      </a:lnTo>
                      <a:lnTo>
                        <a:pt x="15568" y="16258"/>
                      </a:lnTo>
                      <a:lnTo>
                        <a:pt x="15631" y="16216"/>
                      </a:lnTo>
                      <a:lnTo>
                        <a:pt x="15840" y="16154"/>
                      </a:lnTo>
                      <a:lnTo>
                        <a:pt x="16007" y="16154"/>
                      </a:lnTo>
                      <a:lnTo>
                        <a:pt x="16258" y="16237"/>
                      </a:lnTo>
                      <a:lnTo>
                        <a:pt x="16321" y="16279"/>
                      </a:lnTo>
                      <a:lnTo>
                        <a:pt x="16635" y="16321"/>
                      </a:lnTo>
                      <a:lnTo>
                        <a:pt x="16740" y="16279"/>
                      </a:lnTo>
                      <a:lnTo>
                        <a:pt x="16740" y="16237"/>
                      </a:lnTo>
                      <a:lnTo>
                        <a:pt x="16740" y="16154"/>
                      </a:lnTo>
                      <a:lnTo>
                        <a:pt x="16844" y="16133"/>
                      </a:lnTo>
                      <a:lnTo>
                        <a:pt x="16928" y="16154"/>
                      </a:lnTo>
                      <a:lnTo>
                        <a:pt x="16865" y="16216"/>
                      </a:lnTo>
                      <a:lnTo>
                        <a:pt x="16928" y="16237"/>
                      </a:lnTo>
                      <a:lnTo>
                        <a:pt x="16991" y="16216"/>
                      </a:lnTo>
                      <a:lnTo>
                        <a:pt x="17053" y="16258"/>
                      </a:lnTo>
                      <a:lnTo>
                        <a:pt x="17053" y="16342"/>
                      </a:lnTo>
                      <a:lnTo>
                        <a:pt x="17074" y="16384"/>
                      </a:lnTo>
                      <a:lnTo>
                        <a:pt x="17200" y="16363"/>
                      </a:lnTo>
                      <a:lnTo>
                        <a:pt x="17242" y="16426"/>
                      </a:lnTo>
                      <a:lnTo>
                        <a:pt x="17158" y="16488"/>
                      </a:lnTo>
                      <a:lnTo>
                        <a:pt x="17095" y="16551"/>
                      </a:lnTo>
                      <a:lnTo>
                        <a:pt x="17179" y="16572"/>
                      </a:lnTo>
                      <a:lnTo>
                        <a:pt x="17263" y="16551"/>
                      </a:lnTo>
                      <a:lnTo>
                        <a:pt x="17346" y="16593"/>
                      </a:lnTo>
                      <a:lnTo>
                        <a:pt x="17493" y="16656"/>
                      </a:lnTo>
                      <a:lnTo>
                        <a:pt x="17556" y="16572"/>
                      </a:lnTo>
                      <a:lnTo>
                        <a:pt x="17618" y="16530"/>
                      </a:lnTo>
                      <a:lnTo>
                        <a:pt x="17723" y="16593"/>
                      </a:lnTo>
                      <a:lnTo>
                        <a:pt x="17786" y="16656"/>
                      </a:lnTo>
                      <a:lnTo>
                        <a:pt x="17870" y="16635"/>
                      </a:lnTo>
                      <a:lnTo>
                        <a:pt x="17870" y="16467"/>
                      </a:lnTo>
                      <a:lnTo>
                        <a:pt x="17807" y="16363"/>
                      </a:lnTo>
                      <a:lnTo>
                        <a:pt x="17911" y="16363"/>
                      </a:lnTo>
                      <a:lnTo>
                        <a:pt x="18016" y="16488"/>
                      </a:lnTo>
                      <a:lnTo>
                        <a:pt x="18100" y="16530"/>
                      </a:lnTo>
                      <a:lnTo>
                        <a:pt x="18142" y="16593"/>
                      </a:lnTo>
                      <a:lnTo>
                        <a:pt x="18204" y="16593"/>
                      </a:lnTo>
                      <a:lnTo>
                        <a:pt x="18288" y="16635"/>
                      </a:lnTo>
                      <a:lnTo>
                        <a:pt x="18288" y="16760"/>
                      </a:lnTo>
                      <a:lnTo>
                        <a:pt x="18309" y="16677"/>
                      </a:lnTo>
                      <a:lnTo>
                        <a:pt x="18414" y="16656"/>
                      </a:lnTo>
                      <a:lnTo>
                        <a:pt x="18414" y="16635"/>
                      </a:lnTo>
                      <a:lnTo>
                        <a:pt x="18288" y="16530"/>
                      </a:lnTo>
                      <a:lnTo>
                        <a:pt x="18100" y="16447"/>
                      </a:lnTo>
                      <a:lnTo>
                        <a:pt x="18037" y="16363"/>
                      </a:lnTo>
                      <a:lnTo>
                        <a:pt x="18037" y="16258"/>
                      </a:lnTo>
                      <a:lnTo>
                        <a:pt x="18225" y="16175"/>
                      </a:lnTo>
                      <a:lnTo>
                        <a:pt x="18288" y="16154"/>
                      </a:lnTo>
                      <a:lnTo>
                        <a:pt x="18183" y="16112"/>
                      </a:lnTo>
                      <a:lnTo>
                        <a:pt x="18121" y="16049"/>
                      </a:lnTo>
                      <a:lnTo>
                        <a:pt x="18100" y="16049"/>
                      </a:lnTo>
                      <a:lnTo>
                        <a:pt x="18016" y="16112"/>
                      </a:lnTo>
                      <a:lnTo>
                        <a:pt x="17932" y="16154"/>
                      </a:lnTo>
                      <a:lnTo>
                        <a:pt x="17932" y="16070"/>
                      </a:lnTo>
                      <a:lnTo>
                        <a:pt x="18037" y="15944"/>
                      </a:lnTo>
                      <a:lnTo>
                        <a:pt x="18246" y="15861"/>
                      </a:lnTo>
                      <a:lnTo>
                        <a:pt x="18330" y="15798"/>
                      </a:lnTo>
                      <a:lnTo>
                        <a:pt x="18665" y="15735"/>
                      </a:lnTo>
                      <a:lnTo>
                        <a:pt x="18811" y="15756"/>
                      </a:lnTo>
                      <a:lnTo>
                        <a:pt x="18874" y="15735"/>
                      </a:lnTo>
                      <a:lnTo>
                        <a:pt x="18958" y="15735"/>
                      </a:lnTo>
                      <a:lnTo>
                        <a:pt x="19020" y="15651"/>
                      </a:lnTo>
                      <a:lnTo>
                        <a:pt x="19062" y="15547"/>
                      </a:lnTo>
                      <a:lnTo>
                        <a:pt x="19146" y="15547"/>
                      </a:lnTo>
                      <a:lnTo>
                        <a:pt x="19125" y="15631"/>
                      </a:lnTo>
                      <a:lnTo>
                        <a:pt x="19125" y="15714"/>
                      </a:lnTo>
                      <a:lnTo>
                        <a:pt x="19250" y="15819"/>
                      </a:lnTo>
                      <a:lnTo>
                        <a:pt x="19334" y="15756"/>
                      </a:lnTo>
                      <a:lnTo>
                        <a:pt x="19481" y="15756"/>
                      </a:lnTo>
                      <a:lnTo>
                        <a:pt x="19585" y="15735"/>
                      </a:lnTo>
                      <a:lnTo>
                        <a:pt x="19648" y="15798"/>
                      </a:lnTo>
                      <a:lnTo>
                        <a:pt x="19815" y="15756"/>
                      </a:lnTo>
                      <a:lnTo>
                        <a:pt x="19878" y="15798"/>
                      </a:lnTo>
                      <a:lnTo>
                        <a:pt x="20004" y="15714"/>
                      </a:lnTo>
                      <a:lnTo>
                        <a:pt x="20108" y="15714"/>
                      </a:lnTo>
                      <a:lnTo>
                        <a:pt x="20129" y="15735"/>
                      </a:lnTo>
                      <a:lnTo>
                        <a:pt x="20087" y="15756"/>
                      </a:lnTo>
                      <a:lnTo>
                        <a:pt x="19962" y="15756"/>
                      </a:lnTo>
                      <a:lnTo>
                        <a:pt x="19920" y="15798"/>
                      </a:lnTo>
                      <a:lnTo>
                        <a:pt x="20087" y="15819"/>
                      </a:lnTo>
                      <a:lnTo>
                        <a:pt x="20213" y="15819"/>
                      </a:lnTo>
                      <a:lnTo>
                        <a:pt x="20318" y="15903"/>
                      </a:lnTo>
                      <a:lnTo>
                        <a:pt x="20401" y="15944"/>
                      </a:lnTo>
                      <a:lnTo>
                        <a:pt x="20338" y="15861"/>
                      </a:lnTo>
                      <a:lnTo>
                        <a:pt x="20338" y="15819"/>
                      </a:lnTo>
                      <a:lnTo>
                        <a:pt x="20401" y="15819"/>
                      </a:lnTo>
                      <a:lnTo>
                        <a:pt x="20422" y="15861"/>
                      </a:lnTo>
                      <a:lnTo>
                        <a:pt x="20527" y="15944"/>
                      </a:lnTo>
                      <a:lnTo>
                        <a:pt x="20506" y="16007"/>
                      </a:lnTo>
                      <a:lnTo>
                        <a:pt x="20443" y="15944"/>
                      </a:lnTo>
                      <a:lnTo>
                        <a:pt x="20422" y="15965"/>
                      </a:lnTo>
                      <a:lnTo>
                        <a:pt x="20548" y="16049"/>
                      </a:lnTo>
                      <a:lnTo>
                        <a:pt x="20610" y="16133"/>
                      </a:lnTo>
                      <a:lnTo>
                        <a:pt x="20652" y="16175"/>
                      </a:lnTo>
                      <a:lnTo>
                        <a:pt x="20631" y="16216"/>
                      </a:lnTo>
                      <a:lnTo>
                        <a:pt x="20610" y="16154"/>
                      </a:lnTo>
                      <a:lnTo>
                        <a:pt x="20590" y="16216"/>
                      </a:lnTo>
                      <a:lnTo>
                        <a:pt x="20610" y="16258"/>
                      </a:lnTo>
                      <a:lnTo>
                        <a:pt x="20799" y="16237"/>
                      </a:lnTo>
                      <a:lnTo>
                        <a:pt x="20903" y="16216"/>
                      </a:lnTo>
                      <a:lnTo>
                        <a:pt x="21029" y="16070"/>
                      </a:lnTo>
                      <a:lnTo>
                        <a:pt x="21113" y="16070"/>
                      </a:lnTo>
                      <a:lnTo>
                        <a:pt x="21113" y="16049"/>
                      </a:lnTo>
                      <a:lnTo>
                        <a:pt x="21175" y="15965"/>
                      </a:lnTo>
                      <a:lnTo>
                        <a:pt x="21280" y="15965"/>
                      </a:lnTo>
                      <a:lnTo>
                        <a:pt x="21364" y="16007"/>
                      </a:lnTo>
                      <a:lnTo>
                        <a:pt x="21489" y="16049"/>
                      </a:lnTo>
                      <a:lnTo>
                        <a:pt x="21552" y="16258"/>
                      </a:lnTo>
                      <a:lnTo>
                        <a:pt x="21636" y="16321"/>
                      </a:lnTo>
                      <a:lnTo>
                        <a:pt x="21657" y="16321"/>
                      </a:lnTo>
                      <a:lnTo>
                        <a:pt x="21678" y="16447"/>
                      </a:lnTo>
                      <a:lnTo>
                        <a:pt x="21761" y="16488"/>
                      </a:lnTo>
                      <a:lnTo>
                        <a:pt x="21803" y="16488"/>
                      </a:lnTo>
                      <a:lnTo>
                        <a:pt x="21803" y="16551"/>
                      </a:lnTo>
                      <a:lnTo>
                        <a:pt x="21866" y="16635"/>
                      </a:lnTo>
                      <a:lnTo>
                        <a:pt x="21950" y="16656"/>
                      </a:lnTo>
                      <a:lnTo>
                        <a:pt x="22012" y="16781"/>
                      </a:lnTo>
                      <a:lnTo>
                        <a:pt x="21991" y="16907"/>
                      </a:lnTo>
                      <a:lnTo>
                        <a:pt x="21908" y="17179"/>
                      </a:lnTo>
                      <a:lnTo>
                        <a:pt x="21803" y="17409"/>
                      </a:lnTo>
                      <a:lnTo>
                        <a:pt x="21803" y="17493"/>
                      </a:lnTo>
                      <a:lnTo>
                        <a:pt x="21887" y="17597"/>
                      </a:lnTo>
                      <a:lnTo>
                        <a:pt x="21908" y="17576"/>
                      </a:lnTo>
                      <a:lnTo>
                        <a:pt x="21971" y="17493"/>
                      </a:lnTo>
                      <a:lnTo>
                        <a:pt x="21971" y="17430"/>
                      </a:lnTo>
                      <a:lnTo>
                        <a:pt x="21991" y="17388"/>
                      </a:lnTo>
                      <a:lnTo>
                        <a:pt x="22075" y="17430"/>
                      </a:lnTo>
                      <a:lnTo>
                        <a:pt x="22096" y="17535"/>
                      </a:lnTo>
                      <a:lnTo>
                        <a:pt x="21950" y="17744"/>
                      </a:lnTo>
                      <a:lnTo>
                        <a:pt x="21971" y="17807"/>
                      </a:lnTo>
                      <a:lnTo>
                        <a:pt x="21991" y="17911"/>
                      </a:lnTo>
                      <a:lnTo>
                        <a:pt x="22054" y="18016"/>
                      </a:lnTo>
                      <a:lnTo>
                        <a:pt x="22075" y="18058"/>
                      </a:lnTo>
                      <a:lnTo>
                        <a:pt x="22117" y="18037"/>
                      </a:lnTo>
                      <a:lnTo>
                        <a:pt x="22159" y="18141"/>
                      </a:lnTo>
                      <a:lnTo>
                        <a:pt x="22201" y="18100"/>
                      </a:lnTo>
                      <a:lnTo>
                        <a:pt x="22201" y="18058"/>
                      </a:lnTo>
                      <a:lnTo>
                        <a:pt x="22222" y="18100"/>
                      </a:lnTo>
                      <a:lnTo>
                        <a:pt x="22368" y="18058"/>
                      </a:lnTo>
                      <a:lnTo>
                        <a:pt x="22368" y="18058"/>
                      </a:lnTo>
                      <a:lnTo>
                        <a:pt x="22263" y="18141"/>
                      </a:lnTo>
                      <a:lnTo>
                        <a:pt x="22222" y="18246"/>
                      </a:lnTo>
                      <a:lnTo>
                        <a:pt x="22201" y="18309"/>
                      </a:lnTo>
                      <a:lnTo>
                        <a:pt x="22201" y="18351"/>
                      </a:lnTo>
                      <a:lnTo>
                        <a:pt x="22368" y="18455"/>
                      </a:lnTo>
                      <a:lnTo>
                        <a:pt x="22368" y="18581"/>
                      </a:lnTo>
                      <a:lnTo>
                        <a:pt x="22368" y="18748"/>
                      </a:lnTo>
                      <a:lnTo>
                        <a:pt x="22410" y="18769"/>
                      </a:lnTo>
                      <a:lnTo>
                        <a:pt x="22494" y="18769"/>
                      </a:lnTo>
                      <a:lnTo>
                        <a:pt x="22535" y="18853"/>
                      </a:lnTo>
                      <a:lnTo>
                        <a:pt x="22515" y="18957"/>
                      </a:lnTo>
                      <a:lnTo>
                        <a:pt x="22682" y="19062"/>
                      </a:lnTo>
                      <a:lnTo>
                        <a:pt x="22598" y="19083"/>
                      </a:lnTo>
                      <a:lnTo>
                        <a:pt x="22724" y="19146"/>
                      </a:lnTo>
                      <a:lnTo>
                        <a:pt x="22787" y="19188"/>
                      </a:lnTo>
                      <a:lnTo>
                        <a:pt x="22891" y="19250"/>
                      </a:lnTo>
                      <a:lnTo>
                        <a:pt x="22996" y="19188"/>
                      </a:lnTo>
                      <a:lnTo>
                        <a:pt x="23100" y="19167"/>
                      </a:lnTo>
                      <a:lnTo>
                        <a:pt x="23100" y="18999"/>
                      </a:lnTo>
                      <a:lnTo>
                        <a:pt x="23163" y="18895"/>
                      </a:lnTo>
                      <a:lnTo>
                        <a:pt x="23226" y="18769"/>
                      </a:lnTo>
                      <a:lnTo>
                        <a:pt x="23331" y="18560"/>
                      </a:lnTo>
                      <a:lnTo>
                        <a:pt x="23310" y="18455"/>
                      </a:lnTo>
                      <a:lnTo>
                        <a:pt x="23351" y="18413"/>
                      </a:lnTo>
                      <a:lnTo>
                        <a:pt x="23351" y="18225"/>
                      </a:lnTo>
                      <a:lnTo>
                        <a:pt x="23331" y="18162"/>
                      </a:lnTo>
                      <a:lnTo>
                        <a:pt x="23414" y="18120"/>
                      </a:lnTo>
                      <a:lnTo>
                        <a:pt x="23351" y="17932"/>
                      </a:lnTo>
                      <a:lnTo>
                        <a:pt x="23247" y="17848"/>
                      </a:lnTo>
                      <a:lnTo>
                        <a:pt x="23205" y="17493"/>
                      </a:lnTo>
                      <a:lnTo>
                        <a:pt x="23142" y="17430"/>
                      </a:lnTo>
                      <a:lnTo>
                        <a:pt x="23163" y="17263"/>
                      </a:lnTo>
                      <a:lnTo>
                        <a:pt x="23205" y="17116"/>
                      </a:lnTo>
                      <a:lnTo>
                        <a:pt x="23163" y="17011"/>
                      </a:lnTo>
                      <a:lnTo>
                        <a:pt x="23100" y="16907"/>
                      </a:lnTo>
                      <a:lnTo>
                        <a:pt x="23038" y="16656"/>
                      </a:lnTo>
                      <a:lnTo>
                        <a:pt x="22996" y="16551"/>
                      </a:lnTo>
                      <a:lnTo>
                        <a:pt x="22954" y="16279"/>
                      </a:lnTo>
                      <a:lnTo>
                        <a:pt x="22912" y="16133"/>
                      </a:lnTo>
                      <a:lnTo>
                        <a:pt x="22933" y="15903"/>
                      </a:lnTo>
                      <a:lnTo>
                        <a:pt x="22912" y="15714"/>
                      </a:lnTo>
                      <a:lnTo>
                        <a:pt x="22933" y="15379"/>
                      </a:lnTo>
                      <a:lnTo>
                        <a:pt x="22933" y="15170"/>
                      </a:lnTo>
                      <a:lnTo>
                        <a:pt x="23038" y="15003"/>
                      </a:lnTo>
                      <a:lnTo>
                        <a:pt x="23121" y="14856"/>
                      </a:lnTo>
                      <a:lnTo>
                        <a:pt x="23226" y="14815"/>
                      </a:lnTo>
                      <a:lnTo>
                        <a:pt x="23268" y="14752"/>
                      </a:lnTo>
                      <a:lnTo>
                        <a:pt x="23331" y="14752"/>
                      </a:lnTo>
                      <a:lnTo>
                        <a:pt x="23414" y="14605"/>
                      </a:lnTo>
                      <a:lnTo>
                        <a:pt x="23414" y="14543"/>
                      </a:lnTo>
                      <a:lnTo>
                        <a:pt x="23372" y="14501"/>
                      </a:lnTo>
                      <a:lnTo>
                        <a:pt x="23414" y="14480"/>
                      </a:lnTo>
                      <a:lnTo>
                        <a:pt x="23540" y="14480"/>
                      </a:lnTo>
                      <a:lnTo>
                        <a:pt x="23561" y="14396"/>
                      </a:lnTo>
                      <a:lnTo>
                        <a:pt x="23665" y="14396"/>
                      </a:lnTo>
                      <a:lnTo>
                        <a:pt x="23686" y="14354"/>
                      </a:lnTo>
                      <a:lnTo>
                        <a:pt x="23875" y="14333"/>
                      </a:lnTo>
                      <a:lnTo>
                        <a:pt x="23937" y="14250"/>
                      </a:lnTo>
                      <a:lnTo>
                        <a:pt x="24063" y="14250"/>
                      </a:lnTo>
                      <a:lnTo>
                        <a:pt x="24084" y="14187"/>
                      </a:lnTo>
                      <a:lnTo>
                        <a:pt x="24168" y="14187"/>
                      </a:lnTo>
                      <a:lnTo>
                        <a:pt x="24209" y="14229"/>
                      </a:lnTo>
                      <a:lnTo>
                        <a:pt x="24314" y="14082"/>
                      </a:lnTo>
                      <a:lnTo>
                        <a:pt x="24314" y="14040"/>
                      </a:lnTo>
                      <a:lnTo>
                        <a:pt x="24377" y="14040"/>
                      </a:lnTo>
                      <a:lnTo>
                        <a:pt x="24481" y="13957"/>
                      </a:lnTo>
                      <a:lnTo>
                        <a:pt x="24481" y="13873"/>
                      </a:lnTo>
                      <a:lnTo>
                        <a:pt x="24691" y="13601"/>
                      </a:lnTo>
                      <a:lnTo>
                        <a:pt x="24795" y="13496"/>
                      </a:lnTo>
                      <a:lnTo>
                        <a:pt x="24984" y="13496"/>
                      </a:lnTo>
                      <a:lnTo>
                        <a:pt x="25025" y="13517"/>
                      </a:lnTo>
                      <a:lnTo>
                        <a:pt x="25088" y="13517"/>
                      </a:lnTo>
                      <a:lnTo>
                        <a:pt x="25193" y="13329"/>
                      </a:lnTo>
                      <a:lnTo>
                        <a:pt x="25465" y="13099"/>
                      </a:lnTo>
                      <a:lnTo>
                        <a:pt x="25737" y="12931"/>
                      </a:lnTo>
                      <a:lnTo>
                        <a:pt x="25862" y="12910"/>
                      </a:lnTo>
                      <a:lnTo>
                        <a:pt x="25925" y="12890"/>
                      </a:lnTo>
                      <a:lnTo>
                        <a:pt x="25988" y="12890"/>
                      </a:lnTo>
                      <a:lnTo>
                        <a:pt x="25988" y="12910"/>
                      </a:lnTo>
                      <a:lnTo>
                        <a:pt x="26092" y="12910"/>
                      </a:lnTo>
                      <a:lnTo>
                        <a:pt x="26197" y="12785"/>
                      </a:lnTo>
                      <a:lnTo>
                        <a:pt x="26155" y="12785"/>
                      </a:lnTo>
                      <a:lnTo>
                        <a:pt x="26134" y="12722"/>
                      </a:lnTo>
                      <a:lnTo>
                        <a:pt x="26030" y="12827"/>
                      </a:lnTo>
                      <a:lnTo>
                        <a:pt x="25883" y="12806"/>
                      </a:lnTo>
                      <a:lnTo>
                        <a:pt x="25820" y="12722"/>
                      </a:lnTo>
                      <a:lnTo>
                        <a:pt x="25925" y="12785"/>
                      </a:lnTo>
                      <a:lnTo>
                        <a:pt x="26051" y="12701"/>
                      </a:lnTo>
                      <a:lnTo>
                        <a:pt x="26030" y="12680"/>
                      </a:lnTo>
                      <a:lnTo>
                        <a:pt x="26092" y="12618"/>
                      </a:lnTo>
                      <a:lnTo>
                        <a:pt x="26051" y="12555"/>
                      </a:lnTo>
                      <a:lnTo>
                        <a:pt x="25925" y="12513"/>
                      </a:lnTo>
                      <a:lnTo>
                        <a:pt x="25862" y="12471"/>
                      </a:lnTo>
                      <a:lnTo>
                        <a:pt x="25946" y="12471"/>
                      </a:lnTo>
                      <a:lnTo>
                        <a:pt x="26030" y="12492"/>
                      </a:lnTo>
                      <a:lnTo>
                        <a:pt x="26092" y="12471"/>
                      </a:lnTo>
                      <a:lnTo>
                        <a:pt x="26092" y="12387"/>
                      </a:lnTo>
                      <a:lnTo>
                        <a:pt x="26155" y="12513"/>
                      </a:lnTo>
                      <a:lnTo>
                        <a:pt x="26239" y="12492"/>
                      </a:lnTo>
                      <a:lnTo>
                        <a:pt x="26302" y="12555"/>
                      </a:lnTo>
                      <a:lnTo>
                        <a:pt x="26364" y="12513"/>
                      </a:lnTo>
                      <a:lnTo>
                        <a:pt x="26385" y="12408"/>
                      </a:lnTo>
                      <a:lnTo>
                        <a:pt x="26511" y="12304"/>
                      </a:lnTo>
                      <a:lnTo>
                        <a:pt x="26553" y="12304"/>
                      </a:lnTo>
                      <a:lnTo>
                        <a:pt x="26574" y="12199"/>
                      </a:lnTo>
                      <a:lnTo>
                        <a:pt x="26553" y="12094"/>
                      </a:lnTo>
                      <a:lnTo>
                        <a:pt x="26511" y="12094"/>
                      </a:lnTo>
                      <a:lnTo>
                        <a:pt x="26448" y="12241"/>
                      </a:lnTo>
                      <a:lnTo>
                        <a:pt x="26448" y="12283"/>
                      </a:lnTo>
                      <a:lnTo>
                        <a:pt x="26385" y="12262"/>
                      </a:lnTo>
                      <a:lnTo>
                        <a:pt x="26364" y="12094"/>
                      </a:lnTo>
                      <a:lnTo>
                        <a:pt x="26344" y="12074"/>
                      </a:lnTo>
                      <a:lnTo>
                        <a:pt x="26092" y="12094"/>
                      </a:lnTo>
                      <a:lnTo>
                        <a:pt x="25967" y="12157"/>
                      </a:lnTo>
                      <a:lnTo>
                        <a:pt x="25988" y="12074"/>
                      </a:lnTo>
                      <a:lnTo>
                        <a:pt x="25988" y="11927"/>
                      </a:lnTo>
                      <a:lnTo>
                        <a:pt x="26051" y="11885"/>
                      </a:lnTo>
                      <a:lnTo>
                        <a:pt x="26092" y="11990"/>
                      </a:lnTo>
                      <a:lnTo>
                        <a:pt x="26176" y="12032"/>
                      </a:lnTo>
                      <a:lnTo>
                        <a:pt x="26239" y="11969"/>
                      </a:lnTo>
                      <a:lnTo>
                        <a:pt x="26385" y="11948"/>
                      </a:lnTo>
                      <a:lnTo>
                        <a:pt x="26406" y="11885"/>
                      </a:lnTo>
                      <a:lnTo>
                        <a:pt x="26490" y="11885"/>
                      </a:lnTo>
                      <a:lnTo>
                        <a:pt x="26511" y="11843"/>
                      </a:lnTo>
                      <a:lnTo>
                        <a:pt x="26490" y="11718"/>
                      </a:lnTo>
                      <a:lnTo>
                        <a:pt x="26448" y="11655"/>
                      </a:lnTo>
                      <a:lnTo>
                        <a:pt x="26469" y="11613"/>
                      </a:lnTo>
                      <a:lnTo>
                        <a:pt x="26511" y="11634"/>
                      </a:lnTo>
                      <a:lnTo>
                        <a:pt x="26574" y="11530"/>
                      </a:lnTo>
                      <a:lnTo>
                        <a:pt x="26511" y="11425"/>
                      </a:lnTo>
                      <a:lnTo>
                        <a:pt x="26469" y="11362"/>
                      </a:lnTo>
                      <a:lnTo>
                        <a:pt x="26385" y="11404"/>
                      </a:lnTo>
                      <a:lnTo>
                        <a:pt x="26302" y="11362"/>
                      </a:lnTo>
                      <a:lnTo>
                        <a:pt x="26260" y="11237"/>
                      </a:lnTo>
                      <a:lnTo>
                        <a:pt x="26176" y="11237"/>
                      </a:lnTo>
                      <a:lnTo>
                        <a:pt x="26092" y="11195"/>
                      </a:lnTo>
                      <a:lnTo>
                        <a:pt x="26030" y="11111"/>
                      </a:lnTo>
                      <a:lnTo>
                        <a:pt x="26030" y="11111"/>
                      </a:lnTo>
                      <a:lnTo>
                        <a:pt x="26092" y="11153"/>
                      </a:lnTo>
                      <a:lnTo>
                        <a:pt x="26260" y="11153"/>
                      </a:lnTo>
                      <a:lnTo>
                        <a:pt x="26302" y="11257"/>
                      </a:lnTo>
                      <a:lnTo>
                        <a:pt x="26385" y="11299"/>
                      </a:lnTo>
                      <a:lnTo>
                        <a:pt x="26406" y="11216"/>
                      </a:lnTo>
                      <a:lnTo>
                        <a:pt x="26281" y="11090"/>
                      </a:lnTo>
                      <a:lnTo>
                        <a:pt x="26385" y="11111"/>
                      </a:lnTo>
                      <a:lnTo>
                        <a:pt x="26406" y="11048"/>
                      </a:lnTo>
                      <a:lnTo>
                        <a:pt x="26448" y="11027"/>
                      </a:lnTo>
                      <a:lnTo>
                        <a:pt x="26406" y="10944"/>
                      </a:lnTo>
                      <a:lnTo>
                        <a:pt x="26281" y="10881"/>
                      </a:lnTo>
                      <a:lnTo>
                        <a:pt x="26239" y="10713"/>
                      </a:lnTo>
                      <a:lnTo>
                        <a:pt x="26281" y="10734"/>
                      </a:lnTo>
                      <a:lnTo>
                        <a:pt x="26344" y="10839"/>
                      </a:lnTo>
                      <a:lnTo>
                        <a:pt x="26406" y="10839"/>
                      </a:lnTo>
                      <a:lnTo>
                        <a:pt x="26448" y="10734"/>
                      </a:lnTo>
                      <a:lnTo>
                        <a:pt x="26448" y="10630"/>
                      </a:lnTo>
                      <a:lnTo>
                        <a:pt x="26344" y="10588"/>
                      </a:lnTo>
                      <a:lnTo>
                        <a:pt x="26197" y="10421"/>
                      </a:lnTo>
                      <a:lnTo>
                        <a:pt x="26092" y="10379"/>
                      </a:lnTo>
                      <a:lnTo>
                        <a:pt x="26030" y="10274"/>
                      </a:lnTo>
                      <a:lnTo>
                        <a:pt x="25946" y="10253"/>
                      </a:lnTo>
                      <a:lnTo>
                        <a:pt x="25946" y="10149"/>
                      </a:lnTo>
                      <a:lnTo>
                        <a:pt x="26030" y="10044"/>
                      </a:lnTo>
                      <a:lnTo>
                        <a:pt x="25967" y="10149"/>
                      </a:lnTo>
                      <a:lnTo>
                        <a:pt x="25988" y="10190"/>
                      </a:lnTo>
                      <a:lnTo>
                        <a:pt x="26051" y="10211"/>
                      </a:lnTo>
                      <a:lnTo>
                        <a:pt x="26134" y="10316"/>
                      </a:lnTo>
                      <a:lnTo>
                        <a:pt x="26239" y="10358"/>
                      </a:lnTo>
                      <a:lnTo>
                        <a:pt x="26364" y="10504"/>
                      </a:lnTo>
                      <a:lnTo>
                        <a:pt x="26385" y="10504"/>
                      </a:lnTo>
                      <a:lnTo>
                        <a:pt x="26406" y="10274"/>
                      </a:lnTo>
                      <a:lnTo>
                        <a:pt x="26406" y="10169"/>
                      </a:lnTo>
                      <a:lnTo>
                        <a:pt x="26406" y="10086"/>
                      </a:lnTo>
                      <a:lnTo>
                        <a:pt x="26385" y="10044"/>
                      </a:lnTo>
                      <a:lnTo>
                        <a:pt x="26406" y="9856"/>
                      </a:lnTo>
                      <a:lnTo>
                        <a:pt x="26448" y="9793"/>
                      </a:lnTo>
                      <a:lnTo>
                        <a:pt x="26409" y="9728"/>
                      </a:lnTo>
                      <a:lnTo>
                        <a:pt x="26409" y="9728"/>
                      </a:lnTo>
                      <a:lnTo>
                        <a:pt x="26490" y="9667"/>
                      </a:lnTo>
                      <a:lnTo>
                        <a:pt x="26616" y="9563"/>
                      </a:lnTo>
                      <a:lnTo>
                        <a:pt x="26657" y="9458"/>
                      </a:lnTo>
                      <a:lnTo>
                        <a:pt x="26657" y="9437"/>
                      </a:lnTo>
                      <a:lnTo>
                        <a:pt x="26678" y="9458"/>
                      </a:lnTo>
                      <a:lnTo>
                        <a:pt x="26657" y="9584"/>
                      </a:lnTo>
                      <a:lnTo>
                        <a:pt x="26678" y="9625"/>
                      </a:lnTo>
                      <a:lnTo>
                        <a:pt x="26574" y="9667"/>
                      </a:lnTo>
                      <a:lnTo>
                        <a:pt x="26511" y="9793"/>
                      </a:lnTo>
                      <a:lnTo>
                        <a:pt x="26595" y="9960"/>
                      </a:lnTo>
                      <a:lnTo>
                        <a:pt x="26574" y="10107"/>
                      </a:lnTo>
                      <a:lnTo>
                        <a:pt x="26490" y="10253"/>
                      </a:lnTo>
                      <a:lnTo>
                        <a:pt x="26490" y="10358"/>
                      </a:lnTo>
                      <a:lnTo>
                        <a:pt x="26595" y="10462"/>
                      </a:lnTo>
                      <a:lnTo>
                        <a:pt x="26616" y="10400"/>
                      </a:lnTo>
                      <a:lnTo>
                        <a:pt x="26657" y="10462"/>
                      </a:lnTo>
                      <a:lnTo>
                        <a:pt x="26699" y="10462"/>
                      </a:lnTo>
                      <a:lnTo>
                        <a:pt x="26699" y="10483"/>
                      </a:lnTo>
                      <a:lnTo>
                        <a:pt x="26678" y="10525"/>
                      </a:lnTo>
                      <a:lnTo>
                        <a:pt x="26699" y="10609"/>
                      </a:lnTo>
                      <a:lnTo>
                        <a:pt x="26825" y="10609"/>
                      </a:lnTo>
                      <a:lnTo>
                        <a:pt x="26762" y="10672"/>
                      </a:lnTo>
                      <a:lnTo>
                        <a:pt x="26762" y="10693"/>
                      </a:lnTo>
                      <a:lnTo>
                        <a:pt x="26699" y="10797"/>
                      </a:lnTo>
                      <a:lnTo>
                        <a:pt x="26699" y="10881"/>
                      </a:lnTo>
                      <a:lnTo>
                        <a:pt x="26657" y="10985"/>
                      </a:lnTo>
                      <a:lnTo>
                        <a:pt x="26616" y="11111"/>
                      </a:lnTo>
                      <a:lnTo>
                        <a:pt x="26616" y="11216"/>
                      </a:lnTo>
                      <a:lnTo>
                        <a:pt x="26657" y="11153"/>
                      </a:lnTo>
                      <a:lnTo>
                        <a:pt x="26678" y="11111"/>
                      </a:lnTo>
                      <a:lnTo>
                        <a:pt x="26783" y="10902"/>
                      </a:lnTo>
                      <a:lnTo>
                        <a:pt x="26804" y="10944"/>
                      </a:lnTo>
                      <a:lnTo>
                        <a:pt x="26804" y="11006"/>
                      </a:lnTo>
                      <a:lnTo>
                        <a:pt x="26825" y="10944"/>
                      </a:lnTo>
                      <a:lnTo>
                        <a:pt x="26825" y="10881"/>
                      </a:lnTo>
                      <a:lnTo>
                        <a:pt x="26909" y="10776"/>
                      </a:lnTo>
                      <a:lnTo>
                        <a:pt x="26992" y="10525"/>
                      </a:lnTo>
                      <a:lnTo>
                        <a:pt x="27118" y="10462"/>
                      </a:lnTo>
                      <a:lnTo>
                        <a:pt x="27222" y="10253"/>
                      </a:lnTo>
                      <a:lnTo>
                        <a:pt x="27222" y="10086"/>
                      </a:lnTo>
                      <a:lnTo>
                        <a:pt x="27139" y="9897"/>
                      </a:lnTo>
                      <a:lnTo>
                        <a:pt x="27097" y="9856"/>
                      </a:lnTo>
                      <a:lnTo>
                        <a:pt x="27076" y="9688"/>
                      </a:lnTo>
                      <a:lnTo>
                        <a:pt x="27013" y="9625"/>
                      </a:lnTo>
                      <a:lnTo>
                        <a:pt x="27013" y="9521"/>
                      </a:lnTo>
                      <a:lnTo>
                        <a:pt x="27076" y="9416"/>
                      </a:lnTo>
                      <a:lnTo>
                        <a:pt x="27181" y="9312"/>
                      </a:lnTo>
                      <a:lnTo>
                        <a:pt x="27306" y="9249"/>
                      </a:lnTo>
                      <a:lnTo>
                        <a:pt x="27118" y="9458"/>
                      </a:lnTo>
                      <a:lnTo>
                        <a:pt x="27076" y="9542"/>
                      </a:lnTo>
                      <a:lnTo>
                        <a:pt x="27118" y="9625"/>
                      </a:lnTo>
                      <a:lnTo>
                        <a:pt x="27243" y="9751"/>
                      </a:lnTo>
                      <a:lnTo>
                        <a:pt x="27327" y="9730"/>
                      </a:lnTo>
                      <a:lnTo>
                        <a:pt x="27390" y="9772"/>
                      </a:lnTo>
                      <a:lnTo>
                        <a:pt x="27327" y="9939"/>
                      </a:lnTo>
                      <a:lnTo>
                        <a:pt x="27327" y="9939"/>
                      </a:lnTo>
                      <a:lnTo>
                        <a:pt x="27411" y="9877"/>
                      </a:lnTo>
                      <a:lnTo>
                        <a:pt x="27432" y="9897"/>
                      </a:lnTo>
                      <a:lnTo>
                        <a:pt x="27515" y="9793"/>
                      </a:lnTo>
                      <a:lnTo>
                        <a:pt x="27515" y="9730"/>
                      </a:lnTo>
                      <a:lnTo>
                        <a:pt x="27557" y="9730"/>
                      </a:lnTo>
                      <a:lnTo>
                        <a:pt x="27620" y="9646"/>
                      </a:lnTo>
                      <a:lnTo>
                        <a:pt x="27704" y="9625"/>
                      </a:lnTo>
                      <a:lnTo>
                        <a:pt x="27745" y="9458"/>
                      </a:lnTo>
                      <a:lnTo>
                        <a:pt x="27808" y="9374"/>
                      </a:lnTo>
                      <a:lnTo>
                        <a:pt x="27850" y="9374"/>
                      </a:lnTo>
                      <a:lnTo>
                        <a:pt x="27913" y="9270"/>
                      </a:lnTo>
                      <a:lnTo>
                        <a:pt x="27934" y="9207"/>
                      </a:lnTo>
                      <a:lnTo>
                        <a:pt x="27934" y="9144"/>
                      </a:lnTo>
                      <a:lnTo>
                        <a:pt x="27976" y="9040"/>
                      </a:lnTo>
                      <a:lnTo>
                        <a:pt x="27976" y="8998"/>
                      </a:lnTo>
                      <a:lnTo>
                        <a:pt x="28038" y="8914"/>
                      </a:lnTo>
                      <a:lnTo>
                        <a:pt x="28017" y="8830"/>
                      </a:lnTo>
                      <a:lnTo>
                        <a:pt x="27955" y="8789"/>
                      </a:lnTo>
                      <a:lnTo>
                        <a:pt x="27913" y="8705"/>
                      </a:lnTo>
                      <a:lnTo>
                        <a:pt x="28059" y="8621"/>
                      </a:lnTo>
                      <a:lnTo>
                        <a:pt x="28059" y="8537"/>
                      </a:lnTo>
                      <a:lnTo>
                        <a:pt x="28164" y="8475"/>
                      </a:lnTo>
                      <a:lnTo>
                        <a:pt x="28248" y="8433"/>
                      </a:lnTo>
                      <a:lnTo>
                        <a:pt x="28436" y="8328"/>
                      </a:lnTo>
                      <a:lnTo>
                        <a:pt x="28561" y="8328"/>
                      </a:lnTo>
                      <a:lnTo>
                        <a:pt x="28750" y="8203"/>
                      </a:lnTo>
                      <a:lnTo>
                        <a:pt x="28813" y="8203"/>
                      </a:lnTo>
                      <a:lnTo>
                        <a:pt x="28854" y="8224"/>
                      </a:lnTo>
                      <a:lnTo>
                        <a:pt x="29085" y="8203"/>
                      </a:lnTo>
                      <a:lnTo>
                        <a:pt x="29189" y="8265"/>
                      </a:lnTo>
                      <a:lnTo>
                        <a:pt x="29336" y="8203"/>
                      </a:lnTo>
                      <a:lnTo>
                        <a:pt x="29587" y="8203"/>
                      </a:lnTo>
                      <a:lnTo>
                        <a:pt x="29629" y="8182"/>
                      </a:lnTo>
                      <a:lnTo>
                        <a:pt x="29608" y="8119"/>
                      </a:lnTo>
                      <a:lnTo>
                        <a:pt x="29608" y="7972"/>
                      </a:lnTo>
                      <a:lnTo>
                        <a:pt x="29608" y="7847"/>
                      </a:lnTo>
                      <a:lnTo>
                        <a:pt x="29733" y="7952"/>
                      </a:lnTo>
                      <a:lnTo>
                        <a:pt x="29733" y="8077"/>
                      </a:lnTo>
                      <a:lnTo>
                        <a:pt x="29712" y="8161"/>
                      </a:lnTo>
                      <a:lnTo>
                        <a:pt x="29796" y="8161"/>
                      </a:lnTo>
                      <a:lnTo>
                        <a:pt x="29901" y="8056"/>
                      </a:lnTo>
                      <a:lnTo>
                        <a:pt x="30005" y="7868"/>
                      </a:lnTo>
                      <a:lnTo>
                        <a:pt x="30047" y="7972"/>
                      </a:lnTo>
                      <a:lnTo>
                        <a:pt x="30047" y="8056"/>
                      </a:lnTo>
                      <a:lnTo>
                        <a:pt x="30131" y="8077"/>
                      </a:lnTo>
                      <a:lnTo>
                        <a:pt x="30382" y="7952"/>
                      </a:lnTo>
                      <a:lnTo>
                        <a:pt x="30466" y="7805"/>
                      </a:lnTo>
                      <a:lnTo>
                        <a:pt x="30424" y="7596"/>
                      </a:lnTo>
                      <a:lnTo>
                        <a:pt x="30361" y="7638"/>
                      </a:lnTo>
                      <a:lnTo>
                        <a:pt x="30361" y="7742"/>
                      </a:lnTo>
                      <a:lnTo>
                        <a:pt x="30319" y="7868"/>
                      </a:lnTo>
                      <a:lnTo>
                        <a:pt x="30152" y="7868"/>
                      </a:lnTo>
                      <a:lnTo>
                        <a:pt x="30131" y="7763"/>
                      </a:lnTo>
                      <a:lnTo>
                        <a:pt x="30068" y="7575"/>
                      </a:lnTo>
                      <a:lnTo>
                        <a:pt x="29922" y="7491"/>
                      </a:lnTo>
                      <a:lnTo>
                        <a:pt x="29922" y="7449"/>
                      </a:lnTo>
                      <a:lnTo>
                        <a:pt x="30131" y="7261"/>
                      </a:lnTo>
                      <a:lnTo>
                        <a:pt x="30131" y="7177"/>
                      </a:lnTo>
                      <a:lnTo>
                        <a:pt x="30047" y="7177"/>
                      </a:lnTo>
                      <a:lnTo>
                        <a:pt x="30047" y="7115"/>
                      </a:lnTo>
                      <a:lnTo>
                        <a:pt x="30131" y="7052"/>
                      </a:lnTo>
                      <a:lnTo>
                        <a:pt x="30152" y="6968"/>
                      </a:lnTo>
                      <a:lnTo>
                        <a:pt x="30214" y="6905"/>
                      </a:lnTo>
                      <a:lnTo>
                        <a:pt x="30277" y="6696"/>
                      </a:lnTo>
                      <a:lnTo>
                        <a:pt x="30486" y="6529"/>
                      </a:lnTo>
                      <a:lnTo>
                        <a:pt x="30570" y="6382"/>
                      </a:lnTo>
                      <a:lnTo>
                        <a:pt x="30633" y="6382"/>
                      </a:lnTo>
                      <a:lnTo>
                        <a:pt x="30696" y="6278"/>
                      </a:lnTo>
                      <a:lnTo>
                        <a:pt x="30696" y="6340"/>
                      </a:lnTo>
                      <a:lnTo>
                        <a:pt x="30779" y="6382"/>
                      </a:lnTo>
                      <a:lnTo>
                        <a:pt x="30842" y="6299"/>
                      </a:lnTo>
                      <a:lnTo>
                        <a:pt x="30905" y="6173"/>
                      </a:lnTo>
                      <a:lnTo>
                        <a:pt x="30905" y="6299"/>
                      </a:lnTo>
                      <a:lnTo>
                        <a:pt x="30989" y="6299"/>
                      </a:lnTo>
                      <a:lnTo>
                        <a:pt x="31051" y="6173"/>
                      </a:lnTo>
                      <a:lnTo>
                        <a:pt x="31093" y="6215"/>
                      </a:lnTo>
                      <a:lnTo>
                        <a:pt x="31156" y="6173"/>
                      </a:lnTo>
                      <a:lnTo>
                        <a:pt x="31261" y="6006"/>
                      </a:lnTo>
                      <a:lnTo>
                        <a:pt x="31407" y="5796"/>
                      </a:lnTo>
                      <a:lnTo>
                        <a:pt x="31386" y="5922"/>
                      </a:lnTo>
                      <a:lnTo>
                        <a:pt x="31407" y="6006"/>
                      </a:lnTo>
                      <a:lnTo>
                        <a:pt x="31512" y="6006"/>
                      </a:lnTo>
                      <a:lnTo>
                        <a:pt x="31616" y="5880"/>
                      </a:lnTo>
                      <a:lnTo>
                        <a:pt x="31742" y="5880"/>
                      </a:lnTo>
                      <a:lnTo>
                        <a:pt x="31784" y="6006"/>
                      </a:lnTo>
                      <a:lnTo>
                        <a:pt x="31846" y="6006"/>
                      </a:lnTo>
                      <a:lnTo>
                        <a:pt x="31951" y="5880"/>
                      </a:lnTo>
                      <a:lnTo>
                        <a:pt x="32035" y="5922"/>
                      </a:lnTo>
                      <a:lnTo>
                        <a:pt x="32098" y="5901"/>
                      </a:lnTo>
                      <a:lnTo>
                        <a:pt x="32202" y="5817"/>
                      </a:lnTo>
                      <a:lnTo>
                        <a:pt x="32307" y="5817"/>
                      </a:lnTo>
                      <a:lnTo>
                        <a:pt x="32432" y="5755"/>
                      </a:lnTo>
                      <a:lnTo>
                        <a:pt x="32474" y="5817"/>
                      </a:lnTo>
                      <a:lnTo>
                        <a:pt x="32558" y="5796"/>
                      </a:lnTo>
                      <a:lnTo>
                        <a:pt x="32642" y="5713"/>
                      </a:lnTo>
                      <a:lnTo>
                        <a:pt x="32537" y="5650"/>
                      </a:lnTo>
                      <a:lnTo>
                        <a:pt x="32474" y="5713"/>
                      </a:lnTo>
                      <a:lnTo>
                        <a:pt x="32411" y="5650"/>
                      </a:lnTo>
                      <a:lnTo>
                        <a:pt x="32453" y="5504"/>
                      </a:lnTo>
                      <a:lnTo>
                        <a:pt x="32223" y="5378"/>
                      </a:lnTo>
                      <a:lnTo>
                        <a:pt x="32202" y="5357"/>
                      </a:lnTo>
                      <a:lnTo>
                        <a:pt x="32223" y="5294"/>
                      </a:lnTo>
                      <a:lnTo>
                        <a:pt x="32223" y="5252"/>
                      </a:lnTo>
                      <a:lnTo>
                        <a:pt x="32223" y="5169"/>
                      </a:lnTo>
                      <a:lnTo>
                        <a:pt x="32244" y="5085"/>
                      </a:lnTo>
                      <a:lnTo>
                        <a:pt x="32202" y="5022"/>
                      </a:lnTo>
                      <a:lnTo>
                        <a:pt x="32139" y="4959"/>
                      </a:lnTo>
                      <a:lnTo>
                        <a:pt x="32098" y="4939"/>
                      </a:lnTo>
                      <a:lnTo>
                        <a:pt x="32118" y="4855"/>
                      </a:lnTo>
                      <a:lnTo>
                        <a:pt x="32244" y="4123"/>
                      </a:lnTo>
                      <a:lnTo>
                        <a:pt x="32244" y="3934"/>
                      </a:lnTo>
                      <a:lnTo>
                        <a:pt x="32014" y="3725"/>
                      </a:lnTo>
                      <a:lnTo>
                        <a:pt x="31951" y="3788"/>
                      </a:lnTo>
                      <a:lnTo>
                        <a:pt x="31805" y="3725"/>
                      </a:lnTo>
                      <a:lnTo>
                        <a:pt x="31700" y="3767"/>
                      </a:lnTo>
                      <a:lnTo>
                        <a:pt x="31616" y="3683"/>
                      </a:lnTo>
                      <a:lnTo>
                        <a:pt x="31533" y="3662"/>
                      </a:lnTo>
                      <a:lnTo>
                        <a:pt x="31512" y="3662"/>
                      </a:lnTo>
                      <a:lnTo>
                        <a:pt x="31407" y="3767"/>
                      </a:lnTo>
                      <a:lnTo>
                        <a:pt x="31365" y="3830"/>
                      </a:lnTo>
                      <a:lnTo>
                        <a:pt x="31156" y="4081"/>
                      </a:lnTo>
                      <a:lnTo>
                        <a:pt x="31072" y="4206"/>
                      </a:lnTo>
                      <a:lnTo>
                        <a:pt x="31072" y="4311"/>
                      </a:lnTo>
                      <a:lnTo>
                        <a:pt x="30905" y="4395"/>
                      </a:lnTo>
                      <a:lnTo>
                        <a:pt x="30905" y="4520"/>
                      </a:lnTo>
                      <a:lnTo>
                        <a:pt x="30863" y="4625"/>
                      </a:lnTo>
                      <a:lnTo>
                        <a:pt x="30696" y="4813"/>
                      </a:lnTo>
                      <a:lnTo>
                        <a:pt x="30633" y="4834"/>
                      </a:lnTo>
                      <a:lnTo>
                        <a:pt x="30445" y="5043"/>
                      </a:lnTo>
                      <a:lnTo>
                        <a:pt x="30424" y="5127"/>
                      </a:lnTo>
                      <a:lnTo>
                        <a:pt x="30340" y="5169"/>
                      </a:lnTo>
                      <a:lnTo>
                        <a:pt x="30235" y="5148"/>
                      </a:lnTo>
                      <a:lnTo>
                        <a:pt x="30173" y="5148"/>
                      </a:lnTo>
                      <a:lnTo>
                        <a:pt x="30131" y="5190"/>
                      </a:lnTo>
                      <a:lnTo>
                        <a:pt x="30068" y="5190"/>
                      </a:lnTo>
                      <a:lnTo>
                        <a:pt x="29942" y="5336"/>
                      </a:lnTo>
                      <a:lnTo>
                        <a:pt x="28269" y="5294"/>
                      </a:lnTo>
                      <a:lnTo>
                        <a:pt x="28059" y="5336"/>
                      </a:lnTo>
                      <a:lnTo>
                        <a:pt x="27955" y="5441"/>
                      </a:lnTo>
                      <a:lnTo>
                        <a:pt x="27829" y="5483"/>
                      </a:lnTo>
                      <a:lnTo>
                        <a:pt x="27704" y="5566"/>
                      </a:lnTo>
                      <a:lnTo>
                        <a:pt x="27453" y="5817"/>
                      </a:lnTo>
                      <a:lnTo>
                        <a:pt x="27285" y="5859"/>
                      </a:lnTo>
                      <a:lnTo>
                        <a:pt x="27181" y="5922"/>
                      </a:lnTo>
                      <a:lnTo>
                        <a:pt x="26699" y="6299"/>
                      </a:lnTo>
                      <a:lnTo>
                        <a:pt x="25611" y="6612"/>
                      </a:lnTo>
                      <a:lnTo>
                        <a:pt x="25569" y="6864"/>
                      </a:lnTo>
                      <a:lnTo>
                        <a:pt x="25318" y="6968"/>
                      </a:lnTo>
                      <a:lnTo>
                        <a:pt x="23331" y="7491"/>
                      </a:lnTo>
                      <a:lnTo>
                        <a:pt x="23247" y="7324"/>
                      </a:lnTo>
                      <a:lnTo>
                        <a:pt x="23351" y="7177"/>
                      </a:lnTo>
                      <a:lnTo>
                        <a:pt x="23561" y="7073"/>
                      </a:lnTo>
                      <a:lnTo>
                        <a:pt x="23665" y="6947"/>
                      </a:lnTo>
                      <a:lnTo>
                        <a:pt x="23728" y="6822"/>
                      </a:lnTo>
                      <a:lnTo>
                        <a:pt x="23770" y="6696"/>
                      </a:lnTo>
                      <a:lnTo>
                        <a:pt x="23833" y="5922"/>
                      </a:lnTo>
                      <a:lnTo>
                        <a:pt x="23456" y="4143"/>
                      </a:lnTo>
                      <a:lnTo>
                        <a:pt x="23100" y="3871"/>
                      </a:lnTo>
                      <a:lnTo>
                        <a:pt x="22954" y="3683"/>
                      </a:lnTo>
                      <a:lnTo>
                        <a:pt x="20652" y="2616"/>
                      </a:lnTo>
                      <a:lnTo>
                        <a:pt x="20548" y="2553"/>
                      </a:lnTo>
                      <a:lnTo>
                        <a:pt x="20422" y="2511"/>
                      </a:lnTo>
                      <a:lnTo>
                        <a:pt x="20380" y="2449"/>
                      </a:lnTo>
                      <a:lnTo>
                        <a:pt x="20087" y="2449"/>
                      </a:lnTo>
                      <a:lnTo>
                        <a:pt x="20066" y="2344"/>
                      </a:lnTo>
                      <a:lnTo>
                        <a:pt x="19983" y="2302"/>
                      </a:lnTo>
                      <a:lnTo>
                        <a:pt x="19899" y="2344"/>
                      </a:lnTo>
                      <a:lnTo>
                        <a:pt x="19711" y="2344"/>
                      </a:lnTo>
                      <a:lnTo>
                        <a:pt x="19606" y="2323"/>
                      </a:lnTo>
                      <a:lnTo>
                        <a:pt x="19543" y="2239"/>
                      </a:lnTo>
                      <a:lnTo>
                        <a:pt x="19439" y="2198"/>
                      </a:lnTo>
                      <a:lnTo>
                        <a:pt x="19230" y="2135"/>
                      </a:lnTo>
                      <a:lnTo>
                        <a:pt x="19167" y="2009"/>
                      </a:lnTo>
                      <a:lnTo>
                        <a:pt x="19083" y="2009"/>
                      </a:lnTo>
                      <a:lnTo>
                        <a:pt x="18958" y="1905"/>
                      </a:lnTo>
                      <a:lnTo>
                        <a:pt x="18853" y="1905"/>
                      </a:lnTo>
                      <a:lnTo>
                        <a:pt x="18769" y="1884"/>
                      </a:lnTo>
                      <a:lnTo>
                        <a:pt x="18644" y="1905"/>
                      </a:lnTo>
                      <a:lnTo>
                        <a:pt x="18623" y="1926"/>
                      </a:lnTo>
                      <a:lnTo>
                        <a:pt x="18560" y="1842"/>
                      </a:lnTo>
                      <a:lnTo>
                        <a:pt x="18434" y="1821"/>
                      </a:lnTo>
                      <a:lnTo>
                        <a:pt x="18414" y="1800"/>
                      </a:lnTo>
                      <a:lnTo>
                        <a:pt x="18309" y="1737"/>
                      </a:lnTo>
                      <a:lnTo>
                        <a:pt x="18288" y="1716"/>
                      </a:lnTo>
                      <a:lnTo>
                        <a:pt x="18204" y="1633"/>
                      </a:lnTo>
                      <a:lnTo>
                        <a:pt x="18204" y="1612"/>
                      </a:lnTo>
                      <a:lnTo>
                        <a:pt x="18079" y="1507"/>
                      </a:lnTo>
                      <a:lnTo>
                        <a:pt x="17932" y="1507"/>
                      </a:lnTo>
                      <a:lnTo>
                        <a:pt x="17807" y="1486"/>
                      </a:lnTo>
                      <a:lnTo>
                        <a:pt x="2846" y="1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32" name="Google Shape;12068;p43">
              <a:extLst>
                <a:ext uri="{FF2B5EF4-FFF2-40B4-BE49-F238E27FC236}">
                  <a16:creationId xmlns:a16="http://schemas.microsoft.com/office/drawing/2014/main" id="{AD0EF78B-25D7-2611-B9DD-78681418D598}"/>
                </a:ext>
              </a:extLst>
            </p:cNvPr>
            <p:cNvGrpSpPr/>
            <p:nvPr/>
          </p:nvGrpSpPr>
          <p:grpSpPr>
            <a:xfrm>
              <a:off x="3230417" y="3103734"/>
              <a:ext cx="282982" cy="280332"/>
              <a:chOff x="2605700" y="3152850"/>
              <a:chExt cx="594125" cy="616250"/>
            </a:xfrm>
          </p:grpSpPr>
          <p:sp>
            <p:nvSpPr>
              <p:cNvPr id="248" name="Google Shape;12069;p43">
                <a:extLst>
                  <a:ext uri="{FF2B5EF4-FFF2-40B4-BE49-F238E27FC236}">
                    <a16:creationId xmlns:a16="http://schemas.microsoft.com/office/drawing/2014/main" id="{616CA5D9-5E4F-96C2-87DF-5E9FAA61C39E}"/>
                  </a:ext>
                </a:extLst>
              </p:cNvPr>
              <p:cNvSpPr/>
              <p:nvPr/>
            </p:nvSpPr>
            <p:spPr>
              <a:xfrm>
                <a:off x="2605700" y="3152850"/>
                <a:ext cx="379825" cy="616250"/>
              </a:xfrm>
              <a:custGeom>
                <a:avLst/>
                <a:gdLst/>
                <a:ahLst/>
                <a:cxnLst/>
                <a:rect l="l" t="t" r="r" b="b"/>
                <a:pathLst>
                  <a:path w="15193" h="24650" extrusionOk="0">
                    <a:moveTo>
                      <a:pt x="14024" y="2338"/>
                    </a:moveTo>
                    <a:lnTo>
                      <a:pt x="8818" y="0"/>
                    </a:lnTo>
                    <a:lnTo>
                      <a:pt x="4037" y="1594"/>
                    </a:lnTo>
                    <a:lnTo>
                      <a:pt x="0" y="7225"/>
                    </a:lnTo>
                    <a:lnTo>
                      <a:pt x="2018" y="11156"/>
                    </a:lnTo>
                    <a:lnTo>
                      <a:pt x="7331" y="12325"/>
                    </a:lnTo>
                    <a:lnTo>
                      <a:pt x="10518" y="17531"/>
                    </a:lnTo>
                    <a:lnTo>
                      <a:pt x="11049" y="22843"/>
                    </a:lnTo>
                    <a:lnTo>
                      <a:pt x="13705" y="24650"/>
                    </a:lnTo>
                    <a:lnTo>
                      <a:pt x="15193" y="18700"/>
                    </a:lnTo>
                    <a:lnTo>
                      <a:pt x="12218" y="5844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249" name="Google Shape;12070;p43">
                <a:extLst>
                  <a:ext uri="{FF2B5EF4-FFF2-40B4-BE49-F238E27FC236}">
                    <a16:creationId xmlns:a16="http://schemas.microsoft.com/office/drawing/2014/main" id="{19E5BE66-B8B1-E751-0DDA-980FFC041A56}"/>
                  </a:ext>
                </a:extLst>
              </p:cNvPr>
              <p:cNvSpPr/>
              <p:nvPr/>
            </p:nvSpPr>
            <p:spPr>
              <a:xfrm>
                <a:off x="2632775" y="3168475"/>
                <a:ext cx="567050" cy="590050"/>
              </a:xfrm>
              <a:custGeom>
                <a:avLst/>
                <a:gdLst/>
                <a:ahLst/>
                <a:cxnLst/>
                <a:rect l="l" t="t" r="r" b="b"/>
                <a:pathLst>
                  <a:path w="22682" h="23602" extrusionOk="0">
                    <a:moveTo>
                      <a:pt x="13852" y="21070"/>
                    </a:moveTo>
                    <a:lnTo>
                      <a:pt x="13894" y="21091"/>
                    </a:lnTo>
                    <a:lnTo>
                      <a:pt x="13977" y="21217"/>
                    </a:lnTo>
                    <a:lnTo>
                      <a:pt x="14103" y="21384"/>
                    </a:lnTo>
                    <a:lnTo>
                      <a:pt x="14166" y="21384"/>
                    </a:lnTo>
                    <a:lnTo>
                      <a:pt x="14208" y="21342"/>
                    </a:lnTo>
                    <a:lnTo>
                      <a:pt x="14228" y="21384"/>
                    </a:lnTo>
                    <a:lnTo>
                      <a:pt x="14228" y="21489"/>
                    </a:lnTo>
                    <a:lnTo>
                      <a:pt x="14187" y="21489"/>
                    </a:lnTo>
                    <a:lnTo>
                      <a:pt x="14124" y="21698"/>
                    </a:lnTo>
                    <a:lnTo>
                      <a:pt x="13998" y="21928"/>
                    </a:lnTo>
                    <a:lnTo>
                      <a:pt x="13873" y="21928"/>
                    </a:lnTo>
                    <a:lnTo>
                      <a:pt x="13852" y="22075"/>
                    </a:lnTo>
                    <a:lnTo>
                      <a:pt x="13789" y="22158"/>
                    </a:lnTo>
                    <a:lnTo>
                      <a:pt x="13768" y="22158"/>
                    </a:lnTo>
                    <a:lnTo>
                      <a:pt x="13643" y="22242"/>
                    </a:lnTo>
                    <a:lnTo>
                      <a:pt x="13559" y="22326"/>
                    </a:lnTo>
                    <a:lnTo>
                      <a:pt x="13559" y="22367"/>
                    </a:lnTo>
                    <a:lnTo>
                      <a:pt x="13454" y="22388"/>
                    </a:lnTo>
                    <a:lnTo>
                      <a:pt x="13392" y="22451"/>
                    </a:lnTo>
                    <a:lnTo>
                      <a:pt x="13392" y="22472"/>
                    </a:lnTo>
                    <a:lnTo>
                      <a:pt x="13329" y="22347"/>
                    </a:lnTo>
                    <a:lnTo>
                      <a:pt x="13371" y="22242"/>
                    </a:lnTo>
                    <a:lnTo>
                      <a:pt x="13454" y="22179"/>
                    </a:lnTo>
                    <a:lnTo>
                      <a:pt x="13454" y="22116"/>
                    </a:lnTo>
                    <a:lnTo>
                      <a:pt x="13559" y="22012"/>
                    </a:lnTo>
                    <a:lnTo>
                      <a:pt x="13559" y="21928"/>
                    </a:lnTo>
                    <a:lnTo>
                      <a:pt x="13601" y="21970"/>
                    </a:lnTo>
                    <a:lnTo>
                      <a:pt x="13684" y="21970"/>
                    </a:lnTo>
                    <a:lnTo>
                      <a:pt x="13789" y="21865"/>
                    </a:lnTo>
                    <a:lnTo>
                      <a:pt x="13789" y="21761"/>
                    </a:lnTo>
                    <a:lnTo>
                      <a:pt x="13810" y="21740"/>
                    </a:lnTo>
                    <a:lnTo>
                      <a:pt x="13810" y="21614"/>
                    </a:lnTo>
                    <a:lnTo>
                      <a:pt x="13873" y="21551"/>
                    </a:lnTo>
                    <a:lnTo>
                      <a:pt x="13915" y="21551"/>
                    </a:lnTo>
                    <a:lnTo>
                      <a:pt x="13977" y="21447"/>
                    </a:lnTo>
                    <a:lnTo>
                      <a:pt x="13956" y="21384"/>
                    </a:lnTo>
                    <a:lnTo>
                      <a:pt x="13894" y="21300"/>
                    </a:lnTo>
                    <a:lnTo>
                      <a:pt x="13894" y="21112"/>
                    </a:lnTo>
                    <a:lnTo>
                      <a:pt x="13852" y="21070"/>
                    </a:lnTo>
                    <a:close/>
                    <a:moveTo>
                      <a:pt x="7617" y="0"/>
                    </a:moveTo>
                    <a:lnTo>
                      <a:pt x="7617" y="147"/>
                    </a:lnTo>
                    <a:lnTo>
                      <a:pt x="7575" y="272"/>
                    </a:lnTo>
                    <a:lnTo>
                      <a:pt x="7282" y="481"/>
                    </a:lnTo>
                    <a:lnTo>
                      <a:pt x="7094" y="502"/>
                    </a:lnTo>
                    <a:lnTo>
                      <a:pt x="6842" y="607"/>
                    </a:lnTo>
                    <a:lnTo>
                      <a:pt x="6738" y="565"/>
                    </a:lnTo>
                    <a:lnTo>
                      <a:pt x="6570" y="586"/>
                    </a:lnTo>
                    <a:lnTo>
                      <a:pt x="6382" y="732"/>
                    </a:lnTo>
                    <a:lnTo>
                      <a:pt x="6215" y="795"/>
                    </a:lnTo>
                    <a:lnTo>
                      <a:pt x="6152" y="732"/>
                    </a:lnTo>
                    <a:lnTo>
                      <a:pt x="5901" y="774"/>
                    </a:lnTo>
                    <a:lnTo>
                      <a:pt x="5692" y="774"/>
                    </a:lnTo>
                    <a:lnTo>
                      <a:pt x="5503" y="670"/>
                    </a:lnTo>
                    <a:lnTo>
                      <a:pt x="5315" y="628"/>
                    </a:lnTo>
                    <a:lnTo>
                      <a:pt x="5169" y="586"/>
                    </a:lnTo>
                    <a:lnTo>
                      <a:pt x="5169" y="586"/>
                    </a:lnTo>
                    <a:lnTo>
                      <a:pt x="5231" y="711"/>
                    </a:lnTo>
                    <a:lnTo>
                      <a:pt x="5378" y="774"/>
                    </a:lnTo>
                    <a:lnTo>
                      <a:pt x="5503" y="879"/>
                    </a:lnTo>
                    <a:lnTo>
                      <a:pt x="5545" y="984"/>
                    </a:lnTo>
                    <a:lnTo>
                      <a:pt x="5399" y="1235"/>
                    </a:lnTo>
                    <a:lnTo>
                      <a:pt x="5420" y="1297"/>
                    </a:lnTo>
                    <a:lnTo>
                      <a:pt x="5441" y="1339"/>
                    </a:lnTo>
                    <a:lnTo>
                      <a:pt x="5420" y="1528"/>
                    </a:lnTo>
                    <a:lnTo>
                      <a:pt x="5692" y="1611"/>
                    </a:lnTo>
                    <a:lnTo>
                      <a:pt x="5859" y="1569"/>
                    </a:lnTo>
                    <a:lnTo>
                      <a:pt x="6047" y="1611"/>
                    </a:lnTo>
                    <a:lnTo>
                      <a:pt x="6047" y="1716"/>
                    </a:lnTo>
                    <a:lnTo>
                      <a:pt x="5922" y="1758"/>
                    </a:lnTo>
                    <a:lnTo>
                      <a:pt x="5650" y="1820"/>
                    </a:lnTo>
                    <a:lnTo>
                      <a:pt x="5608" y="1862"/>
                    </a:lnTo>
                    <a:lnTo>
                      <a:pt x="5545" y="1925"/>
                    </a:lnTo>
                    <a:lnTo>
                      <a:pt x="5503" y="2072"/>
                    </a:lnTo>
                    <a:lnTo>
                      <a:pt x="5210" y="2239"/>
                    </a:lnTo>
                    <a:lnTo>
                      <a:pt x="5106" y="2344"/>
                    </a:lnTo>
                    <a:lnTo>
                      <a:pt x="4897" y="2469"/>
                    </a:lnTo>
                    <a:lnTo>
                      <a:pt x="4771" y="2616"/>
                    </a:lnTo>
                    <a:lnTo>
                      <a:pt x="4541" y="2616"/>
                    </a:lnTo>
                    <a:lnTo>
                      <a:pt x="4394" y="2595"/>
                    </a:lnTo>
                    <a:lnTo>
                      <a:pt x="4164" y="2406"/>
                    </a:lnTo>
                    <a:lnTo>
                      <a:pt x="3955" y="2260"/>
                    </a:lnTo>
                    <a:lnTo>
                      <a:pt x="3809" y="2281"/>
                    </a:lnTo>
                    <a:lnTo>
                      <a:pt x="3809" y="2134"/>
                    </a:lnTo>
                    <a:lnTo>
                      <a:pt x="3767" y="1988"/>
                    </a:lnTo>
                    <a:lnTo>
                      <a:pt x="3662" y="1883"/>
                    </a:lnTo>
                    <a:lnTo>
                      <a:pt x="3641" y="1820"/>
                    </a:lnTo>
                    <a:lnTo>
                      <a:pt x="3495" y="1862"/>
                    </a:lnTo>
                    <a:lnTo>
                      <a:pt x="3390" y="1988"/>
                    </a:lnTo>
                    <a:lnTo>
                      <a:pt x="3306" y="1988"/>
                    </a:lnTo>
                    <a:lnTo>
                      <a:pt x="3244" y="1946"/>
                    </a:lnTo>
                    <a:lnTo>
                      <a:pt x="3139" y="1946"/>
                    </a:lnTo>
                    <a:lnTo>
                      <a:pt x="3076" y="2030"/>
                    </a:lnTo>
                    <a:lnTo>
                      <a:pt x="2407" y="2030"/>
                    </a:lnTo>
                    <a:lnTo>
                      <a:pt x="2386" y="2197"/>
                    </a:lnTo>
                    <a:lnTo>
                      <a:pt x="2448" y="2344"/>
                    </a:lnTo>
                    <a:lnTo>
                      <a:pt x="2658" y="2385"/>
                    </a:lnTo>
                    <a:lnTo>
                      <a:pt x="2720" y="2553"/>
                    </a:lnTo>
                    <a:lnTo>
                      <a:pt x="2679" y="2616"/>
                    </a:lnTo>
                    <a:lnTo>
                      <a:pt x="2762" y="2699"/>
                    </a:lnTo>
                    <a:lnTo>
                      <a:pt x="2720" y="2804"/>
                    </a:lnTo>
                    <a:lnTo>
                      <a:pt x="2595" y="2720"/>
                    </a:lnTo>
                    <a:lnTo>
                      <a:pt x="2197" y="2867"/>
                    </a:lnTo>
                    <a:lnTo>
                      <a:pt x="2239" y="3180"/>
                    </a:lnTo>
                    <a:lnTo>
                      <a:pt x="2344" y="3306"/>
                    </a:lnTo>
                    <a:lnTo>
                      <a:pt x="2553" y="3452"/>
                    </a:lnTo>
                    <a:lnTo>
                      <a:pt x="2679" y="3724"/>
                    </a:lnTo>
                    <a:lnTo>
                      <a:pt x="2679" y="3913"/>
                    </a:lnTo>
                    <a:lnTo>
                      <a:pt x="2679" y="3976"/>
                    </a:lnTo>
                    <a:lnTo>
                      <a:pt x="2365" y="5189"/>
                    </a:lnTo>
                    <a:lnTo>
                      <a:pt x="2260" y="5503"/>
                    </a:lnTo>
                    <a:lnTo>
                      <a:pt x="2281" y="5545"/>
                    </a:lnTo>
                    <a:lnTo>
                      <a:pt x="2239" y="5629"/>
                    </a:lnTo>
                    <a:lnTo>
                      <a:pt x="2093" y="5608"/>
                    </a:lnTo>
                    <a:lnTo>
                      <a:pt x="2093" y="5587"/>
                    </a:lnTo>
                    <a:lnTo>
                      <a:pt x="1967" y="5503"/>
                    </a:lnTo>
                    <a:lnTo>
                      <a:pt x="1821" y="5503"/>
                    </a:lnTo>
                    <a:lnTo>
                      <a:pt x="1758" y="5482"/>
                    </a:lnTo>
                    <a:lnTo>
                      <a:pt x="1716" y="5545"/>
                    </a:lnTo>
                    <a:lnTo>
                      <a:pt x="1319" y="5691"/>
                    </a:lnTo>
                    <a:lnTo>
                      <a:pt x="1026" y="5733"/>
                    </a:lnTo>
                    <a:lnTo>
                      <a:pt x="942" y="5817"/>
                    </a:lnTo>
                    <a:lnTo>
                      <a:pt x="879" y="5838"/>
                    </a:lnTo>
                    <a:lnTo>
                      <a:pt x="733" y="5963"/>
                    </a:lnTo>
                    <a:lnTo>
                      <a:pt x="607" y="6026"/>
                    </a:lnTo>
                    <a:lnTo>
                      <a:pt x="503" y="6110"/>
                    </a:lnTo>
                    <a:lnTo>
                      <a:pt x="523" y="6256"/>
                    </a:lnTo>
                    <a:lnTo>
                      <a:pt x="482" y="6340"/>
                    </a:lnTo>
                    <a:lnTo>
                      <a:pt x="503" y="6424"/>
                    </a:lnTo>
                    <a:lnTo>
                      <a:pt x="356" y="6570"/>
                    </a:lnTo>
                    <a:lnTo>
                      <a:pt x="398" y="6779"/>
                    </a:lnTo>
                    <a:lnTo>
                      <a:pt x="461" y="6884"/>
                    </a:lnTo>
                    <a:lnTo>
                      <a:pt x="356" y="6968"/>
                    </a:lnTo>
                    <a:lnTo>
                      <a:pt x="272" y="6947"/>
                    </a:lnTo>
                    <a:lnTo>
                      <a:pt x="105" y="7051"/>
                    </a:lnTo>
                    <a:lnTo>
                      <a:pt x="105" y="7156"/>
                    </a:lnTo>
                    <a:lnTo>
                      <a:pt x="63" y="7198"/>
                    </a:lnTo>
                    <a:lnTo>
                      <a:pt x="84" y="7282"/>
                    </a:lnTo>
                    <a:lnTo>
                      <a:pt x="63" y="7407"/>
                    </a:lnTo>
                    <a:lnTo>
                      <a:pt x="0" y="7512"/>
                    </a:lnTo>
                    <a:lnTo>
                      <a:pt x="63" y="7616"/>
                    </a:lnTo>
                    <a:lnTo>
                      <a:pt x="42" y="7700"/>
                    </a:lnTo>
                    <a:lnTo>
                      <a:pt x="189" y="7846"/>
                    </a:lnTo>
                    <a:lnTo>
                      <a:pt x="482" y="8307"/>
                    </a:lnTo>
                    <a:lnTo>
                      <a:pt x="314" y="8474"/>
                    </a:lnTo>
                    <a:lnTo>
                      <a:pt x="691" y="8453"/>
                    </a:lnTo>
                    <a:lnTo>
                      <a:pt x="879" y="8474"/>
                    </a:lnTo>
                    <a:lnTo>
                      <a:pt x="1005" y="8662"/>
                    </a:lnTo>
                    <a:lnTo>
                      <a:pt x="1026" y="8830"/>
                    </a:lnTo>
                    <a:lnTo>
                      <a:pt x="1256" y="8830"/>
                    </a:lnTo>
                    <a:lnTo>
                      <a:pt x="1549" y="8851"/>
                    </a:lnTo>
                    <a:lnTo>
                      <a:pt x="1779" y="8621"/>
                    </a:lnTo>
                    <a:lnTo>
                      <a:pt x="1988" y="8474"/>
                    </a:lnTo>
                    <a:lnTo>
                      <a:pt x="2051" y="8537"/>
                    </a:lnTo>
                    <a:lnTo>
                      <a:pt x="2030" y="8662"/>
                    </a:lnTo>
                    <a:lnTo>
                      <a:pt x="1967" y="8725"/>
                    </a:lnTo>
                    <a:lnTo>
                      <a:pt x="1967" y="8934"/>
                    </a:lnTo>
                    <a:lnTo>
                      <a:pt x="1988" y="9269"/>
                    </a:lnTo>
                    <a:lnTo>
                      <a:pt x="1988" y="9395"/>
                    </a:lnTo>
                    <a:lnTo>
                      <a:pt x="2072" y="9478"/>
                    </a:lnTo>
                    <a:lnTo>
                      <a:pt x="2176" y="9458"/>
                    </a:lnTo>
                    <a:lnTo>
                      <a:pt x="2281" y="9416"/>
                    </a:lnTo>
                    <a:lnTo>
                      <a:pt x="2469" y="9416"/>
                    </a:lnTo>
                    <a:lnTo>
                      <a:pt x="2511" y="9458"/>
                    </a:lnTo>
                    <a:lnTo>
                      <a:pt x="3076" y="9458"/>
                    </a:lnTo>
                    <a:lnTo>
                      <a:pt x="3223" y="9353"/>
                    </a:lnTo>
                    <a:lnTo>
                      <a:pt x="3306" y="9353"/>
                    </a:lnTo>
                    <a:lnTo>
                      <a:pt x="3432" y="9248"/>
                    </a:lnTo>
                    <a:lnTo>
                      <a:pt x="3557" y="9248"/>
                    </a:lnTo>
                    <a:lnTo>
                      <a:pt x="3725" y="9186"/>
                    </a:lnTo>
                    <a:lnTo>
                      <a:pt x="3829" y="8934"/>
                    </a:lnTo>
                    <a:lnTo>
                      <a:pt x="4081" y="8746"/>
                    </a:lnTo>
                    <a:lnTo>
                      <a:pt x="4269" y="8725"/>
                    </a:lnTo>
                    <a:lnTo>
                      <a:pt x="4457" y="8621"/>
                    </a:lnTo>
                    <a:lnTo>
                      <a:pt x="4583" y="8621"/>
                    </a:lnTo>
                    <a:lnTo>
                      <a:pt x="4687" y="8683"/>
                    </a:lnTo>
                    <a:lnTo>
                      <a:pt x="4813" y="8621"/>
                    </a:lnTo>
                    <a:lnTo>
                      <a:pt x="4897" y="8662"/>
                    </a:lnTo>
                    <a:lnTo>
                      <a:pt x="4876" y="8788"/>
                    </a:lnTo>
                    <a:lnTo>
                      <a:pt x="4959" y="8997"/>
                    </a:lnTo>
                    <a:lnTo>
                      <a:pt x="5085" y="9374"/>
                    </a:lnTo>
                    <a:lnTo>
                      <a:pt x="5169" y="9646"/>
                    </a:lnTo>
                    <a:lnTo>
                      <a:pt x="5106" y="9751"/>
                    </a:lnTo>
                    <a:lnTo>
                      <a:pt x="5210" y="9960"/>
                    </a:lnTo>
                    <a:lnTo>
                      <a:pt x="5357" y="10002"/>
                    </a:lnTo>
                    <a:lnTo>
                      <a:pt x="5399" y="10190"/>
                    </a:lnTo>
                    <a:lnTo>
                      <a:pt x="5524" y="10274"/>
                    </a:lnTo>
                    <a:lnTo>
                      <a:pt x="5713" y="10357"/>
                    </a:lnTo>
                    <a:lnTo>
                      <a:pt x="5838" y="10462"/>
                    </a:lnTo>
                    <a:lnTo>
                      <a:pt x="5901" y="10420"/>
                    </a:lnTo>
                    <a:lnTo>
                      <a:pt x="6131" y="10357"/>
                    </a:lnTo>
                    <a:lnTo>
                      <a:pt x="6340" y="10587"/>
                    </a:lnTo>
                    <a:lnTo>
                      <a:pt x="6508" y="10525"/>
                    </a:lnTo>
                    <a:lnTo>
                      <a:pt x="6717" y="10755"/>
                    </a:lnTo>
                    <a:lnTo>
                      <a:pt x="6822" y="10755"/>
                    </a:lnTo>
                    <a:lnTo>
                      <a:pt x="7073" y="10839"/>
                    </a:lnTo>
                    <a:lnTo>
                      <a:pt x="7240" y="10880"/>
                    </a:lnTo>
                    <a:lnTo>
                      <a:pt x="7261" y="11048"/>
                    </a:lnTo>
                    <a:lnTo>
                      <a:pt x="7366" y="11069"/>
                    </a:lnTo>
                    <a:lnTo>
                      <a:pt x="7512" y="11152"/>
                    </a:lnTo>
                    <a:lnTo>
                      <a:pt x="7868" y="11131"/>
                    </a:lnTo>
                    <a:lnTo>
                      <a:pt x="8098" y="11257"/>
                    </a:lnTo>
                    <a:lnTo>
                      <a:pt x="8140" y="11362"/>
                    </a:lnTo>
                    <a:lnTo>
                      <a:pt x="8119" y="11634"/>
                    </a:lnTo>
                    <a:lnTo>
                      <a:pt x="8182" y="11843"/>
                    </a:lnTo>
                    <a:lnTo>
                      <a:pt x="8098" y="11968"/>
                    </a:lnTo>
                    <a:lnTo>
                      <a:pt x="8307" y="12324"/>
                    </a:lnTo>
                    <a:lnTo>
                      <a:pt x="8286" y="12596"/>
                    </a:lnTo>
                    <a:lnTo>
                      <a:pt x="9290" y="12617"/>
                    </a:lnTo>
                    <a:lnTo>
                      <a:pt x="9353" y="12973"/>
                    </a:lnTo>
                    <a:lnTo>
                      <a:pt x="9332" y="13224"/>
                    </a:lnTo>
                    <a:lnTo>
                      <a:pt x="9604" y="13287"/>
                    </a:lnTo>
                    <a:lnTo>
                      <a:pt x="9897" y="13810"/>
                    </a:lnTo>
                    <a:lnTo>
                      <a:pt x="9918" y="14103"/>
                    </a:lnTo>
                    <a:lnTo>
                      <a:pt x="9646" y="14688"/>
                    </a:lnTo>
                    <a:lnTo>
                      <a:pt x="9667" y="14772"/>
                    </a:lnTo>
                    <a:lnTo>
                      <a:pt x="9583" y="14856"/>
                    </a:lnTo>
                    <a:lnTo>
                      <a:pt x="9646" y="14919"/>
                    </a:lnTo>
                    <a:lnTo>
                      <a:pt x="9604" y="15044"/>
                    </a:lnTo>
                    <a:lnTo>
                      <a:pt x="9751" y="15149"/>
                    </a:lnTo>
                    <a:lnTo>
                      <a:pt x="9751" y="15337"/>
                    </a:lnTo>
                    <a:lnTo>
                      <a:pt x="9855" y="15525"/>
                    </a:lnTo>
                    <a:lnTo>
                      <a:pt x="9793" y="15860"/>
                    </a:lnTo>
                    <a:lnTo>
                      <a:pt x="9814" y="15986"/>
                    </a:lnTo>
                    <a:lnTo>
                      <a:pt x="9772" y="16111"/>
                    </a:lnTo>
                    <a:lnTo>
                      <a:pt x="9814" y="16258"/>
                    </a:lnTo>
                    <a:lnTo>
                      <a:pt x="10023" y="16216"/>
                    </a:lnTo>
                    <a:lnTo>
                      <a:pt x="10107" y="16279"/>
                    </a:lnTo>
                    <a:lnTo>
                      <a:pt x="10379" y="16258"/>
                    </a:lnTo>
                    <a:lnTo>
                      <a:pt x="10525" y="16300"/>
                    </a:lnTo>
                    <a:lnTo>
                      <a:pt x="10797" y="16195"/>
                    </a:lnTo>
                    <a:lnTo>
                      <a:pt x="10923" y="16300"/>
                    </a:lnTo>
                    <a:lnTo>
                      <a:pt x="11027" y="16321"/>
                    </a:lnTo>
                    <a:lnTo>
                      <a:pt x="11069" y="16467"/>
                    </a:lnTo>
                    <a:lnTo>
                      <a:pt x="11236" y="17095"/>
                    </a:lnTo>
                    <a:lnTo>
                      <a:pt x="11341" y="17304"/>
                    </a:lnTo>
                    <a:lnTo>
                      <a:pt x="11446" y="17325"/>
                    </a:lnTo>
                    <a:lnTo>
                      <a:pt x="11676" y="17199"/>
                    </a:lnTo>
                    <a:lnTo>
                      <a:pt x="11801" y="17241"/>
                    </a:lnTo>
                    <a:lnTo>
                      <a:pt x="11885" y="17325"/>
                    </a:lnTo>
                    <a:lnTo>
                      <a:pt x="11969" y="17346"/>
                    </a:lnTo>
                    <a:lnTo>
                      <a:pt x="11906" y="17450"/>
                    </a:lnTo>
                    <a:lnTo>
                      <a:pt x="11885" y="17994"/>
                    </a:lnTo>
                    <a:lnTo>
                      <a:pt x="11864" y="18057"/>
                    </a:lnTo>
                    <a:lnTo>
                      <a:pt x="11822" y="18078"/>
                    </a:lnTo>
                    <a:lnTo>
                      <a:pt x="11822" y="18162"/>
                    </a:lnTo>
                    <a:lnTo>
                      <a:pt x="11801" y="18204"/>
                    </a:lnTo>
                    <a:lnTo>
                      <a:pt x="11801" y="18287"/>
                    </a:lnTo>
                    <a:lnTo>
                      <a:pt x="11906" y="18204"/>
                    </a:lnTo>
                    <a:lnTo>
                      <a:pt x="12178" y="18245"/>
                    </a:lnTo>
                    <a:lnTo>
                      <a:pt x="12178" y="18350"/>
                    </a:lnTo>
                    <a:lnTo>
                      <a:pt x="12283" y="18580"/>
                    </a:lnTo>
                    <a:lnTo>
                      <a:pt x="12283" y="18769"/>
                    </a:lnTo>
                    <a:lnTo>
                      <a:pt x="12303" y="18999"/>
                    </a:lnTo>
                    <a:lnTo>
                      <a:pt x="12324" y="19208"/>
                    </a:lnTo>
                    <a:lnTo>
                      <a:pt x="12303" y="19292"/>
                    </a:lnTo>
                    <a:lnTo>
                      <a:pt x="12199" y="19292"/>
                    </a:lnTo>
                    <a:lnTo>
                      <a:pt x="12073" y="19354"/>
                    </a:lnTo>
                    <a:lnTo>
                      <a:pt x="12031" y="19417"/>
                    </a:lnTo>
                    <a:lnTo>
                      <a:pt x="11969" y="19501"/>
                    </a:lnTo>
                    <a:lnTo>
                      <a:pt x="11927" y="19459"/>
                    </a:lnTo>
                    <a:lnTo>
                      <a:pt x="11697" y="19626"/>
                    </a:lnTo>
                    <a:lnTo>
                      <a:pt x="11655" y="19710"/>
                    </a:lnTo>
                    <a:lnTo>
                      <a:pt x="11571" y="19731"/>
                    </a:lnTo>
                    <a:lnTo>
                      <a:pt x="11362" y="19919"/>
                    </a:lnTo>
                    <a:lnTo>
                      <a:pt x="11278" y="19940"/>
                    </a:lnTo>
                    <a:lnTo>
                      <a:pt x="11278" y="20066"/>
                    </a:lnTo>
                    <a:lnTo>
                      <a:pt x="11195" y="20087"/>
                    </a:lnTo>
                    <a:lnTo>
                      <a:pt x="11132" y="20087"/>
                    </a:lnTo>
                    <a:lnTo>
                      <a:pt x="10943" y="20338"/>
                    </a:lnTo>
                    <a:lnTo>
                      <a:pt x="10923" y="20401"/>
                    </a:lnTo>
                    <a:lnTo>
                      <a:pt x="10923" y="20547"/>
                    </a:lnTo>
                    <a:lnTo>
                      <a:pt x="10839" y="20568"/>
                    </a:lnTo>
                    <a:lnTo>
                      <a:pt x="10776" y="20652"/>
                    </a:lnTo>
                    <a:lnTo>
                      <a:pt x="10671" y="20861"/>
                    </a:lnTo>
                    <a:lnTo>
                      <a:pt x="10609" y="20924"/>
                    </a:lnTo>
                    <a:lnTo>
                      <a:pt x="10504" y="21091"/>
                    </a:lnTo>
                    <a:lnTo>
                      <a:pt x="10504" y="21133"/>
                    </a:lnTo>
                    <a:lnTo>
                      <a:pt x="10399" y="21217"/>
                    </a:lnTo>
                    <a:lnTo>
                      <a:pt x="10358" y="21279"/>
                    </a:lnTo>
                    <a:lnTo>
                      <a:pt x="10441" y="21279"/>
                    </a:lnTo>
                    <a:lnTo>
                      <a:pt x="10504" y="21300"/>
                    </a:lnTo>
                    <a:lnTo>
                      <a:pt x="10776" y="21217"/>
                    </a:lnTo>
                    <a:lnTo>
                      <a:pt x="10923" y="21300"/>
                    </a:lnTo>
                    <a:lnTo>
                      <a:pt x="11048" y="21489"/>
                    </a:lnTo>
                    <a:lnTo>
                      <a:pt x="11153" y="21530"/>
                    </a:lnTo>
                    <a:lnTo>
                      <a:pt x="11236" y="21698"/>
                    </a:lnTo>
                    <a:lnTo>
                      <a:pt x="11362" y="21928"/>
                    </a:lnTo>
                    <a:lnTo>
                      <a:pt x="11446" y="21928"/>
                    </a:lnTo>
                    <a:lnTo>
                      <a:pt x="11550" y="21803"/>
                    </a:lnTo>
                    <a:lnTo>
                      <a:pt x="11592" y="21803"/>
                    </a:lnTo>
                    <a:lnTo>
                      <a:pt x="11718" y="22012"/>
                    </a:lnTo>
                    <a:lnTo>
                      <a:pt x="11885" y="22075"/>
                    </a:lnTo>
                    <a:lnTo>
                      <a:pt x="12011" y="22116"/>
                    </a:lnTo>
                    <a:lnTo>
                      <a:pt x="12136" y="22242"/>
                    </a:lnTo>
                    <a:lnTo>
                      <a:pt x="12136" y="22388"/>
                    </a:lnTo>
                    <a:lnTo>
                      <a:pt x="12241" y="22367"/>
                    </a:lnTo>
                    <a:lnTo>
                      <a:pt x="12492" y="22472"/>
                    </a:lnTo>
                    <a:lnTo>
                      <a:pt x="12617" y="22639"/>
                    </a:lnTo>
                    <a:lnTo>
                      <a:pt x="12743" y="22849"/>
                    </a:lnTo>
                    <a:lnTo>
                      <a:pt x="12868" y="22911"/>
                    </a:lnTo>
                    <a:lnTo>
                      <a:pt x="12848" y="23079"/>
                    </a:lnTo>
                    <a:lnTo>
                      <a:pt x="12743" y="23225"/>
                    </a:lnTo>
                    <a:lnTo>
                      <a:pt x="12806" y="23414"/>
                    </a:lnTo>
                    <a:lnTo>
                      <a:pt x="12827" y="23476"/>
                    </a:lnTo>
                    <a:lnTo>
                      <a:pt x="12848" y="23497"/>
                    </a:lnTo>
                    <a:lnTo>
                      <a:pt x="12931" y="23581"/>
                    </a:lnTo>
                    <a:lnTo>
                      <a:pt x="12952" y="23602"/>
                    </a:lnTo>
                    <a:lnTo>
                      <a:pt x="13161" y="23414"/>
                    </a:lnTo>
                    <a:lnTo>
                      <a:pt x="13245" y="23225"/>
                    </a:lnTo>
                    <a:lnTo>
                      <a:pt x="13350" y="22849"/>
                    </a:lnTo>
                    <a:lnTo>
                      <a:pt x="13433" y="22577"/>
                    </a:lnTo>
                    <a:lnTo>
                      <a:pt x="13454" y="22535"/>
                    </a:lnTo>
                    <a:lnTo>
                      <a:pt x="13426" y="22507"/>
                    </a:lnTo>
                    <a:lnTo>
                      <a:pt x="13426" y="22507"/>
                    </a:lnTo>
                    <a:lnTo>
                      <a:pt x="13496" y="22535"/>
                    </a:lnTo>
                    <a:lnTo>
                      <a:pt x="13873" y="22242"/>
                    </a:lnTo>
                    <a:lnTo>
                      <a:pt x="14061" y="22033"/>
                    </a:lnTo>
                    <a:lnTo>
                      <a:pt x="14312" y="21551"/>
                    </a:lnTo>
                    <a:lnTo>
                      <a:pt x="14417" y="21321"/>
                    </a:lnTo>
                    <a:lnTo>
                      <a:pt x="14521" y="21028"/>
                    </a:lnTo>
                    <a:lnTo>
                      <a:pt x="14793" y="20547"/>
                    </a:lnTo>
                    <a:lnTo>
                      <a:pt x="15044" y="20233"/>
                    </a:lnTo>
                    <a:lnTo>
                      <a:pt x="15107" y="20129"/>
                    </a:lnTo>
                    <a:lnTo>
                      <a:pt x="15065" y="20087"/>
                    </a:lnTo>
                    <a:lnTo>
                      <a:pt x="15065" y="20024"/>
                    </a:lnTo>
                    <a:lnTo>
                      <a:pt x="15128" y="19982"/>
                    </a:lnTo>
                    <a:lnTo>
                      <a:pt x="15170" y="19857"/>
                    </a:lnTo>
                    <a:lnTo>
                      <a:pt x="15254" y="19815"/>
                    </a:lnTo>
                    <a:lnTo>
                      <a:pt x="15233" y="19710"/>
                    </a:lnTo>
                    <a:lnTo>
                      <a:pt x="15254" y="19626"/>
                    </a:lnTo>
                    <a:lnTo>
                      <a:pt x="15233" y="19606"/>
                    </a:lnTo>
                    <a:lnTo>
                      <a:pt x="15296" y="19585"/>
                    </a:lnTo>
                    <a:lnTo>
                      <a:pt x="15296" y="19480"/>
                    </a:lnTo>
                    <a:lnTo>
                      <a:pt x="15191" y="19313"/>
                    </a:lnTo>
                    <a:lnTo>
                      <a:pt x="15191" y="19229"/>
                    </a:lnTo>
                    <a:lnTo>
                      <a:pt x="15212" y="19166"/>
                    </a:lnTo>
                    <a:lnTo>
                      <a:pt x="15191" y="19082"/>
                    </a:lnTo>
                    <a:lnTo>
                      <a:pt x="15149" y="18915"/>
                    </a:lnTo>
                    <a:lnTo>
                      <a:pt x="15107" y="18748"/>
                    </a:lnTo>
                    <a:lnTo>
                      <a:pt x="15149" y="18685"/>
                    </a:lnTo>
                    <a:lnTo>
                      <a:pt x="15316" y="18664"/>
                    </a:lnTo>
                    <a:lnTo>
                      <a:pt x="15296" y="18559"/>
                    </a:lnTo>
                    <a:lnTo>
                      <a:pt x="15212" y="18497"/>
                    </a:lnTo>
                    <a:lnTo>
                      <a:pt x="15337" y="18476"/>
                    </a:lnTo>
                    <a:lnTo>
                      <a:pt x="15337" y="18371"/>
                    </a:lnTo>
                    <a:lnTo>
                      <a:pt x="15212" y="18308"/>
                    </a:lnTo>
                    <a:lnTo>
                      <a:pt x="15316" y="18287"/>
                    </a:lnTo>
                    <a:lnTo>
                      <a:pt x="15379" y="18183"/>
                    </a:lnTo>
                    <a:lnTo>
                      <a:pt x="15442" y="18245"/>
                    </a:lnTo>
                    <a:lnTo>
                      <a:pt x="15630" y="18057"/>
                    </a:lnTo>
                    <a:lnTo>
                      <a:pt x="15735" y="17973"/>
                    </a:lnTo>
                    <a:lnTo>
                      <a:pt x="15735" y="17932"/>
                    </a:lnTo>
                    <a:lnTo>
                      <a:pt x="15881" y="17785"/>
                    </a:lnTo>
                    <a:lnTo>
                      <a:pt x="16070" y="17681"/>
                    </a:lnTo>
                    <a:lnTo>
                      <a:pt x="16300" y="17429"/>
                    </a:lnTo>
                    <a:lnTo>
                      <a:pt x="16509" y="17409"/>
                    </a:lnTo>
                    <a:lnTo>
                      <a:pt x="16614" y="17304"/>
                    </a:lnTo>
                    <a:lnTo>
                      <a:pt x="16739" y="17199"/>
                    </a:lnTo>
                    <a:lnTo>
                      <a:pt x="16844" y="17199"/>
                    </a:lnTo>
                    <a:lnTo>
                      <a:pt x="16928" y="17241"/>
                    </a:lnTo>
                    <a:lnTo>
                      <a:pt x="17011" y="17283"/>
                    </a:lnTo>
                    <a:lnTo>
                      <a:pt x="17011" y="17199"/>
                    </a:lnTo>
                    <a:lnTo>
                      <a:pt x="17095" y="17032"/>
                    </a:lnTo>
                    <a:lnTo>
                      <a:pt x="17325" y="16885"/>
                    </a:lnTo>
                    <a:lnTo>
                      <a:pt x="17430" y="16865"/>
                    </a:lnTo>
                    <a:lnTo>
                      <a:pt x="17430" y="16802"/>
                    </a:lnTo>
                    <a:lnTo>
                      <a:pt x="17367" y="16781"/>
                    </a:lnTo>
                    <a:lnTo>
                      <a:pt x="17304" y="16739"/>
                    </a:lnTo>
                    <a:lnTo>
                      <a:pt x="17262" y="16676"/>
                    </a:lnTo>
                    <a:lnTo>
                      <a:pt x="17346" y="16634"/>
                    </a:lnTo>
                    <a:lnTo>
                      <a:pt x="17513" y="16572"/>
                    </a:lnTo>
                    <a:lnTo>
                      <a:pt x="17576" y="16593"/>
                    </a:lnTo>
                    <a:lnTo>
                      <a:pt x="17681" y="16593"/>
                    </a:lnTo>
                    <a:lnTo>
                      <a:pt x="17765" y="16530"/>
                    </a:lnTo>
                    <a:lnTo>
                      <a:pt x="17869" y="16530"/>
                    </a:lnTo>
                    <a:lnTo>
                      <a:pt x="17869" y="16593"/>
                    </a:lnTo>
                    <a:lnTo>
                      <a:pt x="17744" y="16676"/>
                    </a:lnTo>
                    <a:lnTo>
                      <a:pt x="17576" y="16697"/>
                    </a:lnTo>
                    <a:lnTo>
                      <a:pt x="17555" y="16718"/>
                    </a:lnTo>
                    <a:lnTo>
                      <a:pt x="17618" y="16739"/>
                    </a:lnTo>
                    <a:lnTo>
                      <a:pt x="17848" y="16676"/>
                    </a:lnTo>
                    <a:lnTo>
                      <a:pt x="18099" y="16572"/>
                    </a:lnTo>
                    <a:lnTo>
                      <a:pt x="18078" y="16509"/>
                    </a:lnTo>
                    <a:lnTo>
                      <a:pt x="18162" y="16467"/>
                    </a:lnTo>
                    <a:lnTo>
                      <a:pt x="18246" y="16467"/>
                    </a:lnTo>
                    <a:lnTo>
                      <a:pt x="18204" y="16509"/>
                    </a:lnTo>
                    <a:cubicBezTo>
                      <a:pt x="18204" y="16509"/>
                      <a:pt x="18204" y="16613"/>
                      <a:pt x="18246" y="16613"/>
                    </a:cubicBezTo>
                    <a:lnTo>
                      <a:pt x="18392" y="16634"/>
                    </a:lnTo>
                    <a:lnTo>
                      <a:pt x="18497" y="16593"/>
                    </a:lnTo>
                    <a:lnTo>
                      <a:pt x="18664" y="16593"/>
                    </a:lnTo>
                    <a:lnTo>
                      <a:pt x="18832" y="16613"/>
                    </a:lnTo>
                    <a:lnTo>
                      <a:pt x="18936" y="16551"/>
                    </a:lnTo>
                    <a:lnTo>
                      <a:pt x="18936" y="16488"/>
                    </a:lnTo>
                    <a:lnTo>
                      <a:pt x="18915" y="16467"/>
                    </a:lnTo>
                    <a:lnTo>
                      <a:pt x="18936" y="16404"/>
                    </a:lnTo>
                    <a:lnTo>
                      <a:pt x="19208" y="16237"/>
                    </a:lnTo>
                    <a:lnTo>
                      <a:pt x="19418" y="16153"/>
                    </a:lnTo>
                    <a:lnTo>
                      <a:pt x="19522" y="16069"/>
                    </a:lnTo>
                    <a:lnTo>
                      <a:pt x="19543" y="15986"/>
                    </a:lnTo>
                    <a:lnTo>
                      <a:pt x="19522" y="15944"/>
                    </a:lnTo>
                    <a:lnTo>
                      <a:pt x="19418" y="15735"/>
                    </a:lnTo>
                    <a:lnTo>
                      <a:pt x="19501" y="15567"/>
                    </a:lnTo>
                    <a:lnTo>
                      <a:pt x="19564" y="15463"/>
                    </a:lnTo>
                    <a:lnTo>
                      <a:pt x="19564" y="15358"/>
                    </a:lnTo>
                    <a:lnTo>
                      <a:pt x="19627" y="15316"/>
                    </a:lnTo>
                    <a:lnTo>
                      <a:pt x="19731" y="15232"/>
                    </a:lnTo>
                    <a:lnTo>
                      <a:pt x="19752" y="15128"/>
                    </a:lnTo>
                    <a:lnTo>
                      <a:pt x="19731" y="15107"/>
                    </a:lnTo>
                    <a:lnTo>
                      <a:pt x="19878" y="14835"/>
                    </a:lnTo>
                    <a:lnTo>
                      <a:pt x="20087" y="14584"/>
                    </a:lnTo>
                    <a:lnTo>
                      <a:pt x="20087" y="14479"/>
                    </a:lnTo>
                    <a:lnTo>
                      <a:pt x="20045" y="14103"/>
                    </a:lnTo>
                    <a:lnTo>
                      <a:pt x="20003" y="14082"/>
                    </a:lnTo>
                    <a:lnTo>
                      <a:pt x="20066" y="13872"/>
                    </a:lnTo>
                    <a:lnTo>
                      <a:pt x="20129" y="13789"/>
                    </a:lnTo>
                    <a:lnTo>
                      <a:pt x="20129" y="13726"/>
                    </a:lnTo>
                    <a:lnTo>
                      <a:pt x="20317" y="13580"/>
                    </a:lnTo>
                    <a:lnTo>
                      <a:pt x="20338" y="13496"/>
                    </a:lnTo>
                    <a:lnTo>
                      <a:pt x="20275" y="13287"/>
                    </a:lnTo>
                    <a:lnTo>
                      <a:pt x="20359" y="13036"/>
                    </a:lnTo>
                    <a:lnTo>
                      <a:pt x="20338" y="12826"/>
                    </a:lnTo>
                    <a:lnTo>
                      <a:pt x="20359" y="12659"/>
                    </a:lnTo>
                    <a:lnTo>
                      <a:pt x="20359" y="12596"/>
                    </a:lnTo>
                    <a:lnTo>
                      <a:pt x="20422" y="12387"/>
                    </a:lnTo>
                    <a:lnTo>
                      <a:pt x="20359" y="11592"/>
                    </a:lnTo>
                    <a:lnTo>
                      <a:pt x="20359" y="11445"/>
                    </a:lnTo>
                    <a:lnTo>
                      <a:pt x="20422" y="11341"/>
                    </a:lnTo>
                    <a:lnTo>
                      <a:pt x="20422" y="11236"/>
                    </a:lnTo>
                    <a:lnTo>
                      <a:pt x="20359" y="11278"/>
                    </a:lnTo>
                    <a:lnTo>
                      <a:pt x="20275" y="11194"/>
                    </a:lnTo>
                    <a:lnTo>
                      <a:pt x="20275" y="11131"/>
                    </a:lnTo>
                    <a:lnTo>
                      <a:pt x="20359" y="10985"/>
                    </a:lnTo>
                    <a:lnTo>
                      <a:pt x="20338" y="10859"/>
                    </a:lnTo>
                    <a:lnTo>
                      <a:pt x="20359" y="10776"/>
                    </a:lnTo>
                    <a:lnTo>
                      <a:pt x="20443" y="10755"/>
                    </a:lnTo>
                    <a:lnTo>
                      <a:pt x="20464" y="10629"/>
                    </a:lnTo>
                    <a:lnTo>
                      <a:pt x="20380" y="10504"/>
                    </a:lnTo>
                    <a:lnTo>
                      <a:pt x="20234" y="10420"/>
                    </a:lnTo>
                    <a:lnTo>
                      <a:pt x="20275" y="10399"/>
                    </a:lnTo>
                    <a:lnTo>
                      <a:pt x="20317" y="10336"/>
                    </a:lnTo>
                    <a:lnTo>
                      <a:pt x="20338" y="10399"/>
                    </a:lnTo>
                    <a:lnTo>
                      <a:pt x="20422" y="10441"/>
                    </a:lnTo>
                    <a:lnTo>
                      <a:pt x="20485" y="10462"/>
                    </a:lnTo>
                    <a:lnTo>
                      <a:pt x="20526" y="10336"/>
                    </a:lnTo>
                    <a:lnTo>
                      <a:pt x="20589" y="10336"/>
                    </a:lnTo>
                    <a:lnTo>
                      <a:pt x="20631" y="10420"/>
                    </a:lnTo>
                    <a:lnTo>
                      <a:pt x="20673" y="10441"/>
                    </a:lnTo>
                    <a:lnTo>
                      <a:pt x="20631" y="10525"/>
                    </a:lnTo>
                    <a:lnTo>
                      <a:pt x="20547" y="10567"/>
                    </a:lnTo>
                    <a:lnTo>
                      <a:pt x="20526" y="10650"/>
                    </a:lnTo>
                    <a:lnTo>
                      <a:pt x="20568" y="10650"/>
                    </a:lnTo>
                    <a:lnTo>
                      <a:pt x="20673" y="10546"/>
                    </a:lnTo>
                    <a:lnTo>
                      <a:pt x="20840" y="10462"/>
                    </a:lnTo>
                    <a:lnTo>
                      <a:pt x="21008" y="10190"/>
                    </a:lnTo>
                    <a:lnTo>
                      <a:pt x="21091" y="9981"/>
                    </a:lnTo>
                    <a:lnTo>
                      <a:pt x="21112" y="9834"/>
                    </a:lnTo>
                    <a:lnTo>
                      <a:pt x="21196" y="9771"/>
                    </a:lnTo>
                    <a:lnTo>
                      <a:pt x="21280" y="9562"/>
                    </a:lnTo>
                    <a:lnTo>
                      <a:pt x="21363" y="9374"/>
                    </a:lnTo>
                    <a:lnTo>
                      <a:pt x="21677" y="9165"/>
                    </a:lnTo>
                    <a:lnTo>
                      <a:pt x="21698" y="9060"/>
                    </a:lnTo>
                    <a:lnTo>
                      <a:pt x="21803" y="9039"/>
                    </a:lnTo>
                    <a:lnTo>
                      <a:pt x="21887" y="8934"/>
                    </a:lnTo>
                    <a:lnTo>
                      <a:pt x="22138" y="8683"/>
                    </a:lnTo>
                    <a:lnTo>
                      <a:pt x="22368" y="8370"/>
                    </a:lnTo>
                    <a:lnTo>
                      <a:pt x="22431" y="8307"/>
                    </a:lnTo>
                    <a:lnTo>
                      <a:pt x="22556" y="7993"/>
                    </a:lnTo>
                    <a:lnTo>
                      <a:pt x="22577" y="7846"/>
                    </a:lnTo>
                    <a:lnTo>
                      <a:pt x="22661" y="7742"/>
                    </a:lnTo>
                    <a:lnTo>
                      <a:pt x="22661" y="7637"/>
                    </a:lnTo>
                    <a:lnTo>
                      <a:pt x="22577" y="7533"/>
                    </a:lnTo>
                    <a:lnTo>
                      <a:pt x="22619" y="7449"/>
                    </a:lnTo>
                    <a:lnTo>
                      <a:pt x="22682" y="7449"/>
                    </a:lnTo>
                    <a:lnTo>
                      <a:pt x="22661" y="7156"/>
                    </a:lnTo>
                    <a:lnTo>
                      <a:pt x="22577" y="7093"/>
                    </a:lnTo>
                    <a:lnTo>
                      <a:pt x="22556" y="6968"/>
                    </a:lnTo>
                    <a:lnTo>
                      <a:pt x="22347" y="6528"/>
                    </a:lnTo>
                    <a:lnTo>
                      <a:pt x="22347" y="6361"/>
                    </a:lnTo>
                    <a:lnTo>
                      <a:pt x="22326" y="6193"/>
                    </a:lnTo>
                    <a:lnTo>
                      <a:pt x="21949" y="6026"/>
                    </a:lnTo>
                    <a:lnTo>
                      <a:pt x="21740" y="6026"/>
                    </a:lnTo>
                    <a:lnTo>
                      <a:pt x="21594" y="6110"/>
                    </a:lnTo>
                    <a:lnTo>
                      <a:pt x="21489" y="5942"/>
                    </a:lnTo>
                    <a:lnTo>
                      <a:pt x="21342" y="5921"/>
                    </a:lnTo>
                    <a:lnTo>
                      <a:pt x="21217" y="5796"/>
                    </a:lnTo>
                    <a:lnTo>
                      <a:pt x="21070" y="5712"/>
                    </a:lnTo>
                    <a:lnTo>
                      <a:pt x="20966" y="5691"/>
                    </a:lnTo>
                    <a:lnTo>
                      <a:pt x="20694" y="5398"/>
                    </a:lnTo>
                    <a:lnTo>
                      <a:pt x="20485" y="5105"/>
                    </a:lnTo>
                    <a:lnTo>
                      <a:pt x="20380" y="5085"/>
                    </a:lnTo>
                    <a:lnTo>
                      <a:pt x="20254" y="4959"/>
                    </a:lnTo>
                    <a:lnTo>
                      <a:pt x="20129" y="4959"/>
                    </a:lnTo>
                    <a:lnTo>
                      <a:pt x="19773" y="4687"/>
                    </a:lnTo>
                    <a:lnTo>
                      <a:pt x="19627" y="4687"/>
                    </a:lnTo>
                    <a:lnTo>
                      <a:pt x="19438" y="4603"/>
                    </a:lnTo>
                    <a:lnTo>
                      <a:pt x="19334" y="4666"/>
                    </a:lnTo>
                    <a:lnTo>
                      <a:pt x="19187" y="4666"/>
                    </a:lnTo>
                    <a:lnTo>
                      <a:pt x="19083" y="4603"/>
                    </a:lnTo>
                    <a:lnTo>
                      <a:pt x="18978" y="4666"/>
                    </a:lnTo>
                    <a:lnTo>
                      <a:pt x="18915" y="4750"/>
                    </a:lnTo>
                    <a:lnTo>
                      <a:pt x="18832" y="4666"/>
                    </a:lnTo>
                    <a:lnTo>
                      <a:pt x="18685" y="4561"/>
                    </a:lnTo>
                    <a:lnTo>
                      <a:pt x="18685" y="4666"/>
                    </a:lnTo>
                    <a:lnTo>
                      <a:pt x="18602" y="4624"/>
                    </a:lnTo>
                    <a:lnTo>
                      <a:pt x="18581" y="4687"/>
                    </a:lnTo>
                    <a:lnTo>
                      <a:pt x="18581" y="4750"/>
                    </a:lnTo>
                    <a:lnTo>
                      <a:pt x="18476" y="4666"/>
                    </a:lnTo>
                    <a:lnTo>
                      <a:pt x="18455" y="4624"/>
                    </a:lnTo>
                    <a:lnTo>
                      <a:pt x="18371" y="4582"/>
                    </a:lnTo>
                    <a:lnTo>
                      <a:pt x="18371" y="4582"/>
                    </a:lnTo>
                    <a:lnTo>
                      <a:pt x="18392" y="4645"/>
                    </a:lnTo>
                    <a:lnTo>
                      <a:pt x="18371" y="4666"/>
                    </a:lnTo>
                    <a:lnTo>
                      <a:pt x="18183" y="4582"/>
                    </a:lnTo>
                    <a:lnTo>
                      <a:pt x="18141" y="4582"/>
                    </a:lnTo>
                    <a:lnTo>
                      <a:pt x="17995" y="4561"/>
                    </a:lnTo>
                    <a:lnTo>
                      <a:pt x="17702" y="4394"/>
                    </a:lnTo>
                    <a:lnTo>
                      <a:pt x="17555" y="4394"/>
                    </a:lnTo>
                    <a:lnTo>
                      <a:pt x="17555" y="4436"/>
                    </a:lnTo>
                    <a:lnTo>
                      <a:pt x="17597" y="4478"/>
                    </a:lnTo>
                    <a:lnTo>
                      <a:pt x="17555" y="4520"/>
                    </a:lnTo>
                    <a:lnTo>
                      <a:pt x="17472" y="4478"/>
                    </a:lnTo>
                    <a:lnTo>
                      <a:pt x="17451" y="4520"/>
                    </a:lnTo>
                    <a:lnTo>
                      <a:pt x="17430" y="4561"/>
                    </a:lnTo>
                    <a:lnTo>
                      <a:pt x="17325" y="4603"/>
                    </a:lnTo>
                    <a:lnTo>
                      <a:pt x="17262" y="4666"/>
                    </a:lnTo>
                    <a:lnTo>
                      <a:pt x="17241" y="4792"/>
                    </a:lnTo>
                    <a:lnTo>
                      <a:pt x="17200" y="4687"/>
                    </a:lnTo>
                    <a:lnTo>
                      <a:pt x="17158" y="4603"/>
                    </a:lnTo>
                    <a:lnTo>
                      <a:pt x="17116" y="4645"/>
                    </a:lnTo>
                    <a:lnTo>
                      <a:pt x="17116" y="4750"/>
                    </a:lnTo>
                    <a:lnTo>
                      <a:pt x="17011" y="4917"/>
                    </a:lnTo>
                    <a:lnTo>
                      <a:pt x="17011" y="5085"/>
                    </a:lnTo>
                    <a:lnTo>
                      <a:pt x="16990" y="4917"/>
                    </a:lnTo>
                    <a:lnTo>
                      <a:pt x="17011" y="4771"/>
                    </a:lnTo>
                    <a:lnTo>
                      <a:pt x="16990" y="4645"/>
                    </a:lnTo>
                    <a:lnTo>
                      <a:pt x="17032" y="4457"/>
                    </a:lnTo>
                    <a:lnTo>
                      <a:pt x="17095" y="4394"/>
                    </a:lnTo>
                    <a:lnTo>
                      <a:pt x="17032" y="4373"/>
                    </a:lnTo>
                    <a:lnTo>
                      <a:pt x="16928" y="4373"/>
                    </a:lnTo>
                    <a:lnTo>
                      <a:pt x="17053" y="4248"/>
                    </a:lnTo>
                    <a:lnTo>
                      <a:pt x="16907" y="4059"/>
                    </a:lnTo>
                    <a:lnTo>
                      <a:pt x="16823" y="3913"/>
                    </a:lnTo>
                    <a:lnTo>
                      <a:pt x="16739" y="3913"/>
                    </a:lnTo>
                    <a:lnTo>
                      <a:pt x="16614" y="3871"/>
                    </a:lnTo>
                    <a:lnTo>
                      <a:pt x="16530" y="3976"/>
                    </a:lnTo>
                    <a:lnTo>
                      <a:pt x="16467" y="4017"/>
                    </a:lnTo>
                    <a:lnTo>
                      <a:pt x="16425" y="3934"/>
                    </a:lnTo>
                    <a:lnTo>
                      <a:pt x="16384" y="3913"/>
                    </a:lnTo>
                    <a:lnTo>
                      <a:pt x="16363" y="3829"/>
                    </a:lnTo>
                    <a:lnTo>
                      <a:pt x="16279" y="3766"/>
                    </a:lnTo>
                    <a:lnTo>
                      <a:pt x="16195" y="3766"/>
                    </a:lnTo>
                    <a:lnTo>
                      <a:pt x="16153" y="3724"/>
                    </a:lnTo>
                    <a:lnTo>
                      <a:pt x="16070" y="3704"/>
                    </a:lnTo>
                    <a:lnTo>
                      <a:pt x="16007" y="3745"/>
                    </a:lnTo>
                    <a:lnTo>
                      <a:pt x="16007" y="3704"/>
                    </a:lnTo>
                    <a:lnTo>
                      <a:pt x="15965" y="3662"/>
                    </a:lnTo>
                    <a:lnTo>
                      <a:pt x="15902" y="3599"/>
                    </a:lnTo>
                    <a:lnTo>
                      <a:pt x="15840" y="3620"/>
                    </a:lnTo>
                    <a:lnTo>
                      <a:pt x="15693" y="3599"/>
                    </a:lnTo>
                    <a:lnTo>
                      <a:pt x="15526" y="3494"/>
                    </a:lnTo>
                    <a:lnTo>
                      <a:pt x="15463" y="3494"/>
                    </a:lnTo>
                    <a:lnTo>
                      <a:pt x="15442" y="3536"/>
                    </a:lnTo>
                    <a:lnTo>
                      <a:pt x="15337" y="3452"/>
                    </a:lnTo>
                    <a:lnTo>
                      <a:pt x="15254" y="3452"/>
                    </a:lnTo>
                    <a:lnTo>
                      <a:pt x="15233" y="3536"/>
                    </a:lnTo>
                    <a:lnTo>
                      <a:pt x="15170" y="3536"/>
                    </a:lnTo>
                    <a:lnTo>
                      <a:pt x="15149" y="3452"/>
                    </a:lnTo>
                    <a:lnTo>
                      <a:pt x="15024" y="3452"/>
                    </a:lnTo>
                    <a:lnTo>
                      <a:pt x="14919" y="3515"/>
                    </a:lnTo>
                    <a:lnTo>
                      <a:pt x="14856" y="3620"/>
                    </a:lnTo>
                    <a:lnTo>
                      <a:pt x="14856" y="3704"/>
                    </a:lnTo>
                    <a:lnTo>
                      <a:pt x="14731" y="3829"/>
                    </a:lnTo>
                    <a:lnTo>
                      <a:pt x="14584" y="3934"/>
                    </a:lnTo>
                    <a:lnTo>
                      <a:pt x="14375" y="4059"/>
                    </a:lnTo>
                    <a:lnTo>
                      <a:pt x="14270" y="4185"/>
                    </a:lnTo>
                    <a:lnTo>
                      <a:pt x="14208" y="4352"/>
                    </a:lnTo>
                    <a:lnTo>
                      <a:pt x="14187" y="4499"/>
                    </a:lnTo>
                    <a:lnTo>
                      <a:pt x="14124" y="4582"/>
                    </a:lnTo>
                    <a:lnTo>
                      <a:pt x="14019" y="4687"/>
                    </a:lnTo>
                    <a:lnTo>
                      <a:pt x="14019" y="4771"/>
                    </a:lnTo>
                    <a:lnTo>
                      <a:pt x="14061" y="4896"/>
                    </a:lnTo>
                    <a:lnTo>
                      <a:pt x="14019" y="5105"/>
                    </a:lnTo>
                    <a:lnTo>
                      <a:pt x="13998" y="4980"/>
                    </a:lnTo>
                    <a:lnTo>
                      <a:pt x="13915" y="4854"/>
                    </a:lnTo>
                    <a:lnTo>
                      <a:pt x="13915" y="4750"/>
                    </a:lnTo>
                    <a:lnTo>
                      <a:pt x="13998" y="4645"/>
                    </a:lnTo>
                    <a:lnTo>
                      <a:pt x="14103" y="4561"/>
                    </a:lnTo>
                    <a:lnTo>
                      <a:pt x="14082" y="4394"/>
                    </a:lnTo>
                    <a:lnTo>
                      <a:pt x="14124" y="4269"/>
                    </a:lnTo>
                    <a:lnTo>
                      <a:pt x="14124" y="4185"/>
                    </a:lnTo>
                    <a:lnTo>
                      <a:pt x="14061" y="4185"/>
                    </a:lnTo>
                    <a:lnTo>
                      <a:pt x="13915" y="4248"/>
                    </a:lnTo>
                    <a:lnTo>
                      <a:pt x="13768" y="4185"/>
                    </a:lnTo>
                    <a:lnTo>
                      <a:pt x="13643" y="4185"/>
                    </a:lnTo>
                    <a:lnTo>
                      <a:pt x="13538" y="4227"/>
                    </a:lnTo>
                    <a:lnTo>
                      <a:pt x="13454" y="4164"/>
                    </a:lnTo>
                    <a:lnTo>
                      <a:pt x="13538" y="4164"/>
                    </a:lnTo>
                    <a:lnTo>
                      <a:pt x="13643" y="4080"/>
                    </a:lnTo>
                    <a:lnTo>
                      <a:pt x="13747" y="4059"/>
                    </a:lnTo>
                    <a:lnTo>
                      <a:pt x="13915" y="4080"/>
                    </a:lnTo>
                    <a:lnTo>
                      <a:pt x="14019" y="4059"/>
                    </a:lnTo>
                    <a:lnTo>
                      <a:pt x="14103" y="3955"/>
                    </a:lnTo>
                    <a:lnTo>
                      <a:pt x="14166" y="3955"/>
                    </a:lnTo>
                    <a:lnTo>
                      <a:pt x="14208" y="4017"/>
                    </a:lnTo>
                    <a:lnTo>
                      <a:pt x="14270" y="3976"/>
                    </a:lnTo>
                    <a:lnTo>
                      <a:pt x="14375" y="3934"/>
                    </a:lnTo>
                    <a:lnTo>
                      <a:pt x="14521" y="3871"/>
                    </a:lnTo>
                    <a:lnTo>
                      <a:pt x="14521" y="3745"/>
                    </a:lnTo>
                    <a:lnTo>
                      <a:pt x="14689" y="3557"/>
                    </a:lnTo>
                    <a:lnTo>
                      <a:pt x="14689" y="3432"/>
                    </a:lnTo>
                    <a:lnTo>
                      <a:pt x="14731" y="3348"/>
                    </a:lnTo>
                    <a:lnTo>
                      <a:pt x="14731" y="3243"/>
                    </a:lnTo>
                    <a:lnTo>
                      <a:pt x="14584" y="3222"/>
                    </a:lnTo>
                    <a:lnTo>
                      <a:pt x="14438" y="3118"/>
                    </a:lnTo>
                    <a:lnTo>
                      <a:pt x="14333" y="3118"/>
                    </a:lnTo>
                    <a:lnTo>
                      <a:pt x="14187" y="3222"/>
                    </a:lnTo>
                    <a:lnTo>
                      <a:pt x="14061" y="3222"/>
                    </a:lnTo>
                    <a:lnTo>
                      <a:pt x="13852" y="3139"/>
                    </a:lnTo>
                    <a:lnTo>
                      <a:pt x="13643" y="3118"/>
                    </a:lnTo>
                    <a:lnTo>
                      <a:pt x="13475" y="3285"/>
                    </a:lnTo>
                    <a:lnTo>
                      <a:pt x="13475" y="3348"/>
                    </a:lnTo>
                    <a:lnTo>
                      <a:pt x="13538" y="3390"/>
                    </a:lnTo>
                    <a:lnTo>
                      <a:pt x="13559" y="3432"/>
                    </a:lnTo>
                    <a:lnTo>
                      <a:pt x="13475" y="3432"/>
                    </a:lnTo>
                    <a:lnTo>
                      <a:pt x="13433" y="3452"/>
                    </a:lnTo>
                    <a:lnTo>
                      <a:pt x="13371" y="3557"/>
                    </a:lnTo>
                    <a:lnTo>
                      <a:pt x="13350" y="3494"/>
                    </a:lnTo>
                    <a:lnTo>
                      <a:pt x="13287" y="3452"/>
                    </a:lnTo>
                    <a:lnTo>
                      <a:pt x="13161" y="3515"/>
                    </a:lnTo>
                    <a:lnTo>
                      <a:pt x="13036" y="3704"/>
                    </a:lnTo>
                    <a:lnTo>
                      <a:pt x="12848" y="3913"/>
                    </a:lnTo>
                    <a:lnTo>
                      <a:pt x="12973" y="3724"/>
                    </a:lnTo>
                    <a:lnTo>
                      <a:pt x="12973" y="3599"/>
                    </a:lnTo>
                    <a:lnTo>
                      <a:pt x="13015" y="3515"/>
                    </a:lnTo>
                    <a:lnTo>
                      <a:pt x="13015" y="3432"/>
                    </a:lnTo>
                    <a:lnTo>
                      <a:pt x="12952" y="3432"/>
                    </a:lnTo>
                    <a:lnTo>
                      <a:pt x="12848" y="3536"/>
                    </a:lnTo>
                    <a:lnTo>
                      <a:pt x="12806" y="3662"/>
                    </a:lnTo>
                    <a:lnTo>
                      <a:pt x="12743" y="3829"/>
                    </a:lnTo>
                    <a:lnTo>
                      <a:pt x="12638" y="3871"/>
                    </a:lnTo>
                    <a:lnTo>
                      <a:pt x="12722" y="3704"/>
                    </a:lnTo>
                    <a:lnTo>
                      <a:pt x="12743" y="3557"/>
                    </a:lnTo>
                    <a:lnTo>
                      <a:pt x="12952" y="3306"/>
                    </a:lnTo>
                    <a:lnTo>
                      <a:pt x="13015" y="3118"/>
                    </a:lnTo>
                    <a:lnTo>
                      <a:pt x="13078" y="3013"/>
                    </a:lnTo>
                    <a:lnTo>
                      <a:pt x="13182" y="2971"/>
                    </a:lnTo>
                    <a:lnTo>
                      <a:pt x="13329" y="2888"/>
                    </a:lnTo>
                    <a:lnTo>
                      <a:pt x="13392" y="2867"/>
                    </a:lnTo>
                    <a:lnTo>
                      <a:pt x="13496" y="2699"/>
                    </a:lnTo>
                    <a:lnTo>
                      <a:pt x="13768" y="2448"/>
                    </a:lnTo>
                    <a:lnTo>
                      <a:pt x="13789" y="2364"/>
                    </a:lnTo>
                    <a:lnTo>
                      <a:pt x="13852" y="2302"/>
                    </a:lnTo>
                    <a:lnTo>
                      <a:pt x="13789" y="2239"/>
                    </a:lnTo>
                    <a:lnTo>
                      <a:pt x="13810" y="2155"/>
                    </a:lnTo>
                    <a:lnTo>
                      <a:pt x="13852" y="2134"/>
                    </a:lnTo>
                    <a:lnTo>
                      <a:pt x="13852" y="2030"/>
                    </a:lnTo>
                    <a:lnTo>
                      <a:pt x="13747" y="1946"/>
                    </a:lnTo>
                    <a:lnTo>
                      <a:pt x="13601" y="1946"/>
                    </a:lnTo>
                    <a:lnTo>
                      <a:pt x="13580" y="1988"/>
                    </a:lnTo>
                    <a:lnTo>
                      <a:pt x="13538" y="1883"/>
                    </a:lnTo>
                    <a:lnTo>
                      <a:pt x="13454" y="1674"/>
                    </a:lnTo>
                    <a:lnTo>
                      <a:pt x="13329" y="1360"/>
                    </a:lnTo>
                    <a:lnTo>
                      <a:pt x="13224" y="1214"/>
                    </a:lnTo>
                    <a:lnTo>
                      <a:pt x="13140" y="1004"/>
                    </a:lnTo>
                    <a:lnTo>
                      <a:pt x="13140" y="879"/>
                    </a:lnTo>
                    <a:lnTo>
                      <a:pt x="13120" y="732"/>
                    </a:lnTo>
                    <a:lnTo>
                      <a:pt x="13057" y="691"/>
                    </a:lnTo>
                    <a:lnTo>
                      <a:pt x="13036" y="586"/>
                    </a:lnTo>
                    <a:lnTo>
                      <a:pt x="12952" y="460"/>
                    </a:lnTo>
                    <a:lnTo>
                      <a:pt x="12931" y="481"/>
                    </a:lnTo>
                    <a:lnTo>
                      <a:pt x="12931" y="565"/>
                    </a:lnTo>
                    <a:lnTo>
                      <a:pt x="12868" y="628"/>
                    </a:lnTo>
                    <a:lnTo>
                      <a:pt x="12743" y="711"/>
                    </a:lnTo>
                    <a:lnTo>
                      <a:pt x="12701" y="795"/>
                    </a:lnTo>
                    <a:lnTo>
                      <a:pt x="12555" y="984"/>
                    </a:lnTo>
                    <a:lnTo>
                      <a:pt x="12408" y="1151"/>
                    </a:lnTo>
                    <a:lnTo>
                      <a:pt x="12408" y="1256"/>
                    </a:lnTo>
                    <a:lnTo>
                      <a:pt x="12303" y="1507"/>
                    </a:lnTo>
                    <a:lnTo>
                      <a:pt x="12199" y="1653"/>
                    </a:lnTo>
                    <a:lnTo>
                      <a:pt x="12115" y="1779"/>
                    </a:lnTo>
                    <a:lnTo>
                      <a:pt x="12011" y="1820"/>
                    </a:lnTo>
                    <a:lnTo>
                      <a:pt x="11969" y="1862"/>
                    </a:lnTo>
                    <a:lnTo>
                      <a:pt x="11927" y="1967"/>
                    </a:lnTo>
                    <a:lnTo>
                      <a:pt x="11822" y="2051"/>
                    </a:lnTo>
                    <a:lnTo>
                      <a:pt x="11759" y="2030"/>
                    </a:lnTo>
                    <a:lnTo>
                      <a:pt x="11759" y="1862"/>
                    </a:lnTo>
                    <a:lnTo>
                      <a:pt x="11697" y="1841"/>
                    </a:lnTo>
                    <a:lnTo>
                      <a:pt x="11676" y="1779"/>
                    </a:lnTo>
                    <a:lnTo>
                      <a:pt x="11613" y="1779"/>
                    </a:lnTo>
                    <a:lnTo>
                      <a:pt x="11550" y="1820"/>
                    </a:lnTo>
                    <a:lnTo>
                      <a:pt x="11487" y="1883"/>
                    </a:lnTo>
                    <a:lnTo>
                      <a:pt x="11383" y="1862"/>
                    </a:lnTo>
                    <a:lnTo>
                      <a:pt x="11299" y="1779"/>
                    </a:lnTo>
                    <a:lnTo>
                      <a:pt x="11299" y="1737"/>
                    </a:lnTo>
                    <a:lnTo>
                      <a:pt x="11278" y="1716"/>
                    </a:lnTo>
                    <a:lnTo>
                      <a:pt x="11257" y="1611"/>
                    </a:lnTo>
                    <a:lnTo>
                      <a:pt x="11236" y="1548"/>
                    </a:lnTo>
                    <a:lnTo>
                      <a:pt x="11153" y="1528"/>
                    </a:lnTo>
                    <a:lnTo>
                      <a:pt x="11048" y="1423"/>
                    </a:lnTo>
                    <a:lnTo>
                      <a:pt x="10881" y="1423"/>
                    </a:lnTo>
                    <a:lnTo>
                      <a:pt x="10776" y="1465"/>
                    </a:lnTo>
                    <a:lnTo>
                      <a:pt x="10546" y="1465"/>
                    </a:lnTo>
                    <a:lnTo>
                      <a:pt x="10420" y="1444"/>
                    </a:lnTo>
                    <a:lnTo>
                      <a:pt x="10316" y="1528"/>
                    </a:lnTo>
                    <a:lnTo>
                      <a:pt x="10295" y="1632"/>
                    </a:lnTo>
                    <a:lnTo>
                      <a:pt x="10399" y="1737"/>
                    </a:lnTo>
                    <a:lnTo>
                      <a:pt x="10420" y="1820"/>
                    </a:lnTo>
                    <a:lnTo>
                      <a:pt x="10462" y="1946"/>
                    </a:lnTo>
                    <a:lnTo>
                      <a:pt x="10441" y="1988"/>
                    </a:lnTo>
                    <a:lnTo>
                      <a:pt x="10337" y="1988"/>
                    </a:lnTo>
                    <a:lnTo>
                      <a:pt x="10190" y="1946"/>
                    </a:lnTo>
                    <a:lnTo>
                      <a:pt x="10148" y="1925"/>
                    </a:lnTo>
                    <a:lnTo>
                      <a:pt x="9918" y="1925"/>
                    </a:lnTo>
                    <a:lnTo>
                      <a:pt x="9814" y="1946"/>
                    </a:lnTo>
                    <a:lnTo>
                      <a:pt x="9772" y="1883"/>
                    </a:lnTo>
                    <a:lnTo>
                      <a:pt x="9604" y="1883"/>
                    </a:lnTo>
                    <a:lnTo>
                      <a:pt x="9479" y="1946"/>
                    </a:lnTo>
                    <a:lnTo>
                      <a:pt x="9395" y="2134"/>
                    </a:lnTo>
                    <a:lnTo>
                      <a:pt x="9165" y="2134"/>
                    </a:lnTo>
                    <a:lnTo>
                      <a:pt x="9039" y="2155"/>
                    </a:lnTo>
                    <a:lnTo>
                      <a:pt x="8998" y="2197"/>
                    </a:lnTo>
                    <a:lnTo>
                      <a:pt x="8935" y="2302"/>
                    </a:lnTo>
                    <a:lnTo>
                      <a:pt x="8788" y="2302"/>
                    </a:lnTo>
                    <a:lnTo>
                      <a:pt x="8767" y="2281"/>
                    </a:lnTo>
                    <a:lnTo>
                      <a:pt x="8684" y="2302"/>
                    </a:lnTo>
                    <a:lnTo>
                      <a:pt x="8621" y="2385"/>
                    </a:lnTo>
                    <a:lnTo>
                      <a:pt x="8537" y="2364"/>
                    </a:lnTo>
                    <a:lnTo>
                      <a:pt x="8307" y="2176"/>
                    </a:lnTo>
                    <a:lnTo>
                      <a:pt x="8223" y="2072"/>
                    </a:lnTo>
                    <a:lnTo>
                      <a:pt x="8223" y="1988"/>
                    </a:lnTo>
                    <a:lnTo>
                      <a:pt x="8098" y="1862"/>
                    </a:lnTo>
                    <a:lnTo>
                      <a:pt x="7993" y="1758"/>
                    </a:lnTo>
                    <a:lnTo>
                      <a:pt x="7993" y="1653"/>
                    </a:lnTo>
                    <a:lnTo>
                      <a:pt x="8014" y="1569"/>
                    </a:lnTo>
                    <a:lnTo>
                      <a:pt x="7993" y="1528"/>
                    </a:lnTo>
                    <a:lnTo>
                      <a:pt x="8014" y="1423"/>
                    </a:lnTo>
                    <a:lnTo>
                      <a:pt x="8056" y="1339"/>
                    </a:lnTo>
                    <a:lnTo>
                      <a:pt x="8056" y="1214"/>
                    </a:lnTo>
                    <a:lnTo>
                      <a:pt x="8161" y="1025"/>
                    </a:lnTo>
                    <a:lnTo>
                      <a:pt x="8202" y="879"/>
                    </a:lnTo>
                    <a:lnTo>
                      <a:pt x="8307" y="732"/>
                    </a:lnTo>
                    <a:lnTo>
                      <a:pt x="8307" y="691"/>
                    </a:lnTo>
                    <a:lnTo>
                      <a:pt x="8202" y="691"/>
                    </a:lnTo>
                    <a:lnTo>
                      <a:pt x="8140" y="607"/>
                    </a:lnTo>
                    <a:lnTo>
                      <a:pt x="8119" y="523"/>
                    </a:lnTo>
                    <a:lnTo>
                      <a:pt x="7993" y="523"/>
                    </a:lnTo>
                    <a:lnTo>
                      <a:pt x="7889" y="481"/>
                    </a:lnTo>
                    <a:lnTo>
                      <a:pt x="7930" y="398"/>
                    </a:lnTo>
                    <a:lnTo>
                      <a:pt x="8014" y="293"/>
                    </a:lnTo>
                    <a:lnTo>
                      <a:pt x="8014" y="147"/>
                    </a:lnTo>
                    <a:lnTo>
                      <a:pt x="7910" y="0"/>
                    </a:lnTo>
                    <a:lnTo>
                      <a:pt x="7784" y="0"/>
                    </a:lnTo>
                    <a:lnTo>
                      <a:pt x="7721" y="63"/>
                    </a:lnTo>
                    <a:lnTo>
                      <a:pt x="7679" y="0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FF6B65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3" name="Google Shape;12071;p43">
              <a:extLst>
                <a:ext uri="{FF2B5EF4-FFF2-40B4-BE49-F238E27FC236}">
                  <a16:creationId xmlns:a16="http://schemas.microsoft.com/office/drawing/2014/main" id="{4A46D284-D0A2-3A9E-4F56-4FCCC92B0B93}"/>
                </a:ext>
              </a:extLst>
            </p:cNvPr>
            <p:cNvGrpSpPr/>
            <p:nvPr/>
          </p:nvGrpSpPr>
          <p:grpSpPr>
            <a:xfrm>
              <a:off x="3265985" y="3226989"/>
              <a:ext cx="87151" cy="346202"/>
              <a:chOff x="2680375" y="3423800"/>
              <a:chExt cx="182975" cy="761050"/>
            </a:xfrm>
          </p:grpSpPr>
          <p:sp>
            <p:nvSpPr>
              <p:cNvPr id="246" name="Google Shape;12072;p43">
                <a:extLst>
                  <a:ext uri="{FF2B5EF4-FFF2-40B4-BE49-F238E27FC236}">
                    <a16:creationId xmlns:a16="http://schemas.microsoft.com/office/drawing/2014/main" id="{DC807F76-C0E8-6D40-6ECE-8AB9C52BC03D}"/>
                  </a:ext>
                </a:extLst>
              </p:cNvPr>
              <p:cNvSpPr/>
              <p:nvPr/>
            </p:nvSpPr>
            <p:spPr>
              <a:xfrm>
                <a:off x="2698650" y="3423800"/>
                <a:ext cx="164700" cy="703875"/>
              </a:xfrm>
              <a:custGeom>
                <a:avLst/>
                <a:gdLst/>
                <a:ahLst/>
                <a:cxnLst/>
                <a:rect l="l" t="t" r="r" b="b"/>
                <a:pathLst>
                  <a:path w="6588" h="28155" extrusionOk="0">
                    <a:moveTo>
                      <a:pt x="319" y="4568"/>
                    </a:moveTo>
                    <a:lnTo>
                      <a:pt x="107" y="1274"/>
                    </a:lnTo>
                    <a:lnTo>
                      <a:pt x="319" y="0"/>
                    </a:lnTo>
                    <a:lnTo>
                      <a:pt x="6588" y="4356"/>
                    </a:lnTo>
                    <a:lnTo>
                      <a:pt x="4994" y="7331"/>
                    </a:lnTo>
                    <a:lnTo>
                      <a:pt x="1913" y="16149"/>
                    </a:lnTo>
                    <a:lnTo>
                      <a:pt x="2656" y="24330"/>
                    </a:lnTo>
                    <a:lnTo>
                      <a:pt x="4144" y="28155"/>
                    </a:lnTo>
                    <a:lnTo>
                      <a:pt x="1700" y="27836"/>
                    </a:lnTo>
                    <a:lnTo>
                      <a:pt x="532" y="25605"/>
                    </a:lnTo>
                    <a:lnTo>
                      <a:pt x="1063" y="22736"/>
                    </a:lnTo>
                    <a:lnTo>
                      <a:pt x="0" y="17530"/>
                    </a:lnTo>
                    <a:lnTo>
                      <a:pt x="638" y="14024"/>
                    </a:lnTo>
                    <a:lnTo>
                      <a:pt x="213" y="11793"/>
                    </a:lnTo>
                    <a:lnTo>
                      <a:pt x="744" y="7756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247" name="Google Shape;12073;p43">
                <a:extLst>
                  <a:ext uri="{FF2B5EF4-FFF2-40B4-BE49-F238E27FC236}">
                    <a16:creationId xmlns:a16="http://schemas.microsoft.com/office/drawing/2014/main" id="{5ACD19DB-9DA2-615A-F038-742CBBE10B50}"/>
                  </a:ext>
                </a:extLst>
              </p:cNvPr>
              <p:cNvSpPr/>
              <p:nvPr/>
            </p:nvSpPr>
            <p:spPr>
              <a:xfrm>
                <a:off x="2680375" y="3510050"/>
                <a:ext cx="137075" cy="674800"/>
              </a:xfrm>
              <a:custGeom>
                <a:avLst/>
                <a:gdLst/>
                <a:ahLst/>
                <a:cxnLst/>
                <a:rect l="l" t="t" r="r" b="b"/>
                <a:pathLst>
                  <a:path w="5483" h="26992" extrusionOk="0">
                    <a:moveTo>
                      <a:pt x="984" y="23016"/>
                    </a:moveTo>
                    <a:lnTo>
                      <a:pt x="984" y="23121"/>
                    </a:lnTo>
                    <a:lnTo>
                      <a:pt x="1026" y="23058"/>
                    </a:lnTo>
                    <a:lnTo>
                      <a:pt x="1088" y="23016"/>
                    </a:lnTo>
                    <a:close/>
                    <a:moveTo>
                      <a:pt x="1047" y="0"/>
                    </a:moveTo>
                    <a:lnTo>
                      <a:pt x="984" y="105"/>
                    </a:lnTo>
                    <a:lnTo>
                      <a:pt x="963" y="209"/>
                    </a:lnTo>
                    <a:lnTo>
                      <a:pt x="1068" y="314"/>
                    </a:lnTo>
                    <a:lnTo>
                      <a:pt x="1005" y="419"/>
                    </a:lnTo>
                    <a:lnTo>
                      <a:pt x="900" y="502"/>
                    </a:lnTo>
                    <a:lnTo>
                      <a:pt x="837" y="461"/>
                    </a:lnTo>
                    <a:lnTo>
                      <a:pt x="691" y="544"/>
                    </a:lnTo>
                    <a:lnTo>
                      <a:pt x="565" y="628"/>
                    </a:lnTo>
                    <a:lnTo>
                      <a:pt x="628" y="670"/>
                    </a:lnTo>
                    <a:lnTo>
                      <a:pt x="628" y="837"/>
                    </a:lnTo>
                    <a:lnTo>
                      <a:pt x="586" y="963"/>
                    </a:lnTo>
                    <a:lnTo>
                      <a:pt x="628" y="1130"/>
                    </a:lnTo>
                    <a:lnTo>
                      <a:pt x="733" y="1549"/>
                    </a:lnTo>
                    <a:lnTo>
                      <a:pt x="733" y="1695"/>
                    </a:lnTo>
                    <a:lnTo>
                      <a:pt x="691" y="1800"/>
                    </a:lnTo>
                    <a:lnTo>
                      <a:pt x="649" y="1883"/>
                    </a:lnTo>
                    <a:lnTo>
                      <a:pt x="691" y="2093"/>
                    </a:lnTo>
                    <a:lnTo>
                      <a:pt x="775" y="2302"/>
                    </a:lnTo>
                    <a:lnTo>
                      <a:pt x="858" y="2490"/>
                    </a:lnTo>
                    <a:lnTo>
                      <a:pt x="858" y="2762"/>
                    </a:lnTo>
                    <a:lnTo>
                      <a:pt x="837" y="2846"/>
                    </a:lnTo>
                    <a:lnTo>
                      <a:pt x="796" y="2909"/>
                    </a:lnTo>
                    <a:lnTo>
                      <a:pt x="837" y="3327"/>
                    </a:lnTo>
                    <a:lnTo>
                      <a:pt x="837" y="3432"/>
                    </a:lnTo>
                    <a:lnTo>
                      <a:pt x="754" y="3474"/>
                    </a:lnTo>
                    <a:lnTo>
                      <a:pt x="670" y="3536"/>
                    </a:lnTo>
                    <a:lnTo>
                      <a:pt x="670" y="3766"/>
                    </a:lnTo>
                    <a:lnTo>
                      <a:pt x="691" y="3829"/>
                    </a:lnTo>
                    <a:lnTo>
                      <a:pt x="775" y="3766"/>
                    </a:lnTo>
                    <a:lnTo>
                      <a:pt x="837" y="3829"/>
                    </a:lnTo>
                    <a:lnTo>
                      <a:pt x="754" y="3892"/>
                    </a:lnTo>
                    <a:lnTo>
                      <a:pt x="754" y="4499"/>
                    </a:lnTo>
                    <a:lnTo>
                      <a:pt x="837" y="4729"/>
                    </a:lnTo>
                    <a:lnTo>
                      <a:pt x="858" y="4917"/>
                    </a:lnTo>
                    <a:lnTo>
                      <a:pt x="837" y="5064"/>
                    </a:lnTo>
                    <a:lnTo>
                      <a:pt x="733" y="5231"/>
                    </a:lnTo>
                    <a:lnTo>
                      <a:pt x="733" y="5399"/>
                    </a:lnTo>
                    <a:lnTo>
                      <a:pt x="837" y="5566"/>
                    </a:lnTo>
                    <a:lnTo>
                      <a:pt x="796" y="5712"/>
                    </a:lnTo>
                    <a:lnTo>
                      <a:pt x="796" y="5984"/>
                    </a:lnTo>
                    <a:lnTo>
                      <a:pt x="754" y="6089"/>
                    </a:lnTo>
                    <a:lnTo>
                      <a:pt x="754" y="6256"/>
                    </a:lnTo>
                    <a:lnTo>
                      <a:pt x="775" y="6340"/>
                    </a:lnTo>
                    <a:lnTo>
                      <a:pt x="775" y="6403"/>
                    </a:lnTo>
                    <a:lnTo>
                      <a:pt x="670" y="6570"/>
                    </a:lnTo>
                    <a:lnTo>
                      <a:pt x="670" y="6717"/>
                    </a:lnTo>
                    <a:lnTo>
                      <a:pt x="628" y="6821"/>
                    </a:lnTo>
                    <a:lnTo>
                      <a:pt x="649" y="7010"/>
                    </a:lnTo>
                    <a:lnTo>
                      <a:pt x="628" y="7093"/>
                    </a:lnTo>
                    <a:lnTo>
                      <a:pt x="524" y="7303"/>
                    </a:lnTo>
                    <a:lnTo>
                      <a:pt x="524" y="7407"/>
                    </a:lnTo>
                    <a:lnTo>
                      <a:pt x="628" y="7554"/>
                    </a:lnTo>
                    <a:lnTo>
                      <a:pt x="649" y="7721"/>
                    </a:lnTo>
                    <a:lnTo>
                      <a:pt x="733" y="7826"/>
                    </a:lnTo>
                    <a:lnTo>
                      <a:pt x="649" y="7867"/>
                    </a:lnTo>
                    <a:lnTo>
                      <a:pt x="586" y="8014"/>
                    </a:lnTo>
                    <a:lnTo>
                      <a:pt x="670" y="8119"/>
                    </a:lnTo>
                    <a:lnTo>
                      <a:pt x="586" y="8202"/>
                    </a:lnTo>
                    <a:lnTo>
                      <a:pt x="524" y="8244"/>
                    </a:lnTo>
                    <a:lnTo>
                      <a:pt x="524" y="8391"/>
                    </a:lnTo>
                    <a:lnTo>
                      <a:pt x="544" y="8537"/>
                    </a:lnTo>
                    <a:lnTo>
                      <a:pt x="544" y="8663"/>
                    </a:lnTo>
                    <a:lnTo>
                      <a:pt x="670" y="8997"/>
                    </a:lnTo>
                    <a:lnTo>
                      <a:pt x="670" y="9186"/>
                    </a:lnTo>
                    <a:lnTo>
                      <a:pt x="628" y="9228"/>
                    </a:lnTo>
                    <a:lnTo>
                      <a:pt x="628" y="9332"/>
                    </a:lnTo>
                    <a:lnTo>
                      <a:pt x="754" y="9520"/>
                    </a:lnTo>
                    <a:lnTo>
                      <a:pt x="754" y="9730"/>
                    </a:lnTo>
                    <a:lnTo>
                      <a:pt x="733" y="9855"/>
                    </a:lnTo>
                    <a:lnTo>
                      <a:pt x="733" y="9918"/>
                    </a:lnTo>
                    <a:lnTo>
                      <a:pt x="754" y="10023"/>
                    </a:lnTo>
                    <a:lnTo>
                      <a:pt x="733" y="10106"/>
                    </a:lnTo>
                    <a:lnTo>
                      <a:pt x="691" y="10211"/>
                    </a:lnTo>
                    <a:lnTo>
                      <a:pt x="733" y="10253"/>
                    </a:lnTo>
                    <a:lnTo>
                      <a:pt x="858" y="10441"/>
                    </a:lnTo>
                    <a:lnTo>
                      <a:pt x="879" y="10546"/>
                    </a:lnTo>
                    <a:lnTo>
                      <a:pt x="837" y="10650"/>
                    </a:lnTo>
                    <a:lnTo>
                      <a:pt x="754" y="10692"/>
                    </a:lnTo>
                    <a:lnTo>
                      <a:pt x="670" y="10860"/>
                    </a:lnTo>
                    <a:lnTo>
                      <a:pt x="670" y="10901"/>
                    </a:lnTo>
                    <a:lnTo>
                      <a:pt x="733" y="10964"/>
                    </a:lnTo>
                    <a:lnTo>
                      <a:pt x="670" y="11090"/>
                    </a:lnTo>
                    <a:lnTo>
                      <a:pt x="586" y="11173"/>
                    </a:lnTo>
                    <a:lnTo>
                      <a:pt x="586" y="11278"/>
                    </a:lnTo>
                    <a:lnTo>
                      <a:pt x="565" y="11466"/>
                    </a:lnTo>
                    <a:lnTo>
                      <a:pt x="524" y="11571"/>
                    </a:lnTo>
                    <a:lnTo>
                      <a:pt x="524" y="11676"/>
                    </a:lnTo>
                    <a:lnTo>
                      <a:pt x="482" y="11717"/>
                    </a:lnTo>
                    <a:lnTo>
                      <a:pt x="482" y="11843"/>
                    </a:lnTo>
                    <a:lnTo>
                      <a:pt x="419" y="11927"/>
                    </a:lnTo>
                    <a:lnTo>
                      <a:pt x="419" y="11989"/>
                    </a:lnTo>
                    <a:lnTo>
                      <a:pt x="461" y="12052"/>
                    </a:lnTo>
                    <a:lnTo>
                      <a:pt x="377" y="12157"/>
                    </a:lnTo>
                    <a:lnTo>
                      <a:pt x="377" y="12324"/>
                    </a:lnTo>
                    <a:lnTo>
                      <a:pt x="377" y="12429"/>
                    </a:lnTo>
                    <a:lnTo>
                      <a:pt x="314" y="12471"/>
                    </a:lnTo>
                    <a:lnTo>
                      <a:pt x="314" y="12575"/>
                    </a:lnTo>
                    <a:lnTo>
                      <a:pt x="272" y="12659"/>
                    </a:lnTo>
                    <a:lnTo>
                      <a:pt x="272" y="12743"/>
                    </a:lnTo>
                    <a:lnTo>
                      <a:pt x="314" y="12847"/>
                    </a:lnTo>
                    <a:lnTo>
                      <a:pt x="314" y="12952"/>
                    </a:lnTo>
                    <a:lnTo>
                      <a:pt x="231" y="13057"/>
                    </a:lnTo>
                    <a:lnTo>
                      <a:pt x="147" y="13057"/>
                    </a:lnTo>
                    <a:lnTo>
                      <a:pt x="63" y="12994"/>
                    </a:lnTo>
                    <a:lnTo>
                      <a:pt x="0" y="13015"/>
                    </a:lnTo>
                    <a:lnTo>
                      <a:pt x="0" y="13098"/>
                    </a:lnTo>
                    <a:lnTo>
                      <a:pt x="21" y="13224"/>
                    </a:lnTo>
                    <a:lnTo>
                      <a:pt x="21" y="13412"/>
                    </a:lnTo>
                    <a:lnTo>
                      <a:pt x="105" y="13517"/>
                    </a:lnTo>
                    <a:lnTo>
                      <a:pt x="231" y="13621"/>
                    </a:lnTo>
                    <a:lnTo>
                      <a:pt x="252" y="13747"/>
                    </a:lnTo>
                    <a:lnTo>
                      <a:pt x="231" y="13914"/>
                    </a:lnTo>
                    <a:lnTo>
                      <a:pt x="398" y="14228"/>
                    </a:lnTo>
                    <a:lnTo>
                      <a:pt x="440" y="14312"/>
                    </a:lnTo>
                    <a:lnTo>
                      <a:pt x="524" y="14375"/>
                    </a:lnTo>
                    <a:lnTo>
                      <a:pt x="524" y="14563"/>
                    </a:lnTo>
                    <a:lnTo>
                      <a:pt x="461" y="14835"/>
                    </a:lnTo>
                    <a:lnTo>
                      <a:pt x="419" y="14856"/>
                    </a:lnTo>
                    <a:lnTo>
                      <a:pt x="440" y="14940"/>
                    </a:lnTo>
                    <a:lnTo>
                      <a:pt x="419" y="15002"/>
                    </a:lnTo>
                    <a:lnTo>
                      <a:pt x="356" y="14982"/>
                    </a:lnTo>
                    <a:lnTo>
                      <a:pt x="314" y="14982"/>
                    </a:lnTo>
                    <a:lnTo>
                      <a:pt x="272" y="15086"/>
                    </a:lnTo>
                    <a:lnTo>
                      <a:pt x="314" y="15191"/>
                    </a:lnTo>
                    <a:lnTo>
                      <a:pt x="377" y="15254"/>
                    </a:lnTo>
                    <a:lnTo>
                      <a:pt x="335" y="15484"/>
                    </a:lnTo>
                    <a:lnTo>
                      <a:pt x="356" y="15588"/>
                    </a:lnTo>
                    <a:lnTo>
                      <a:pt x="314" y="15672"/>
                    </a:lnTo>
                    <a:lnTo>
                      <a:pt x="356" y="15714"/>
                    </a:lnTo>
                    <a:lnTo>
                      <a:pt x="335" y="15798"/>
                    </a:lnTo>
                    <a:lnTo>
                      <a:pt x="314" y="15818"/>
                    </a:lnTo>
                    <a:lnTo>
                      <a:pt x="335" y="15881"/>
                    </a:lnTo>
                    <a:lnTo>
                      <a:pt x="524" y="16153"/>
                    </a:lnTo>
                    <a:lnTo>
                      <a:pt x="565" y="16216"/>
                    </a:lnTo>
                    <a:lnTo>
                      <a:pt x="565" y="16362"/>
                    </a:lnTo>
                    <a:lnTo>
                      <a:pt x="524" y="16342"/>
                    </a:lnTo>
                    <a:lnTo>
                      <a:pt x="377" y="16342"/>
                    </a:lnTo>
                    <a:lnTo>
                      <a:pt x="314" y="16425"/>
                    </a:lnTo>
                    <a:lnTo>
                      <a:pt x="314" y="16467"/>
                    </a:lnTo>
                    <a:lnTo>
                      <a:pt x="356" y="16530"/>
                    </a:lnTo>
                    <a:lnTo>
                      <a:pt x="356" y="16614"/>
                    </a:lnTo>
                    <a:lnTo>
                      <a:pt x="314" y="16655"/>
                    </a:lnTo>
                    <a:lnTo>
                      <a:pt x="272" y="16739"/>
                    </a:lnTo>
                    <a:lnTo>
                      <a:pt x="314" y="16823"/>
                    </a:lnTo>
                    <a:lnTo>
                      <a:pt x="335" y="16844"/>
                    </a:lnTo>
                    <a:lnTo>
                      <a:pt x="377" y="16969"/>
                    </a:lnTo>
                    <a:lnTo>
                      <a:pt x="419" y="17304"/>
                    </a:lnTo>
                    <a:lnTo>
                      <a:pt x="356" y="17451"/>
                    </a:lnTo>
                    <a:lnTo>
                      <a:pt x="482" y="17492"/>
                    </a:lnTo>
                    <a:lnTo>
                      <a:pt x="670" y="17471"/>
                    </a:lnTo>
                    <a:lnTo>
                      <a:pt x="670" y="17409"/>
                    </a:lnTo>
                    <a:lnTo>
                      <a:pt x="670" y="17283"/>
                    </a:lnTo>
                    <a:lnTo>
                      <a:pt x="733" y="17199"/>
                    </a:lnTo>
                    <a:lnTo>
                      <a:pt x="837" y="17241"/>
                    </a:lnTo>
                    <a:lnTo>
                      <a:pt x="858" y="17199"/>
                    </a:lnTo>
                    <a:lnTo>
                      <a:pt x="733" y="17095"/>
                    </a:lnTo>
                    <a:lnTo>
                      <a:pt x="775" y="17053"/>
                    </a:lnTo>
                    <a:lnTo>
                      <a:pt x="649" y="16927"/>
                    </a:lnTo>
                    <a:lnTo>
                      <a:pt x="649" y="16844"/>
                    </a:lnTo>
                    <a:lnTo>
                      <a:pt x="733" y="16844"/>
                    </a:lnTo>
                    <a:lnTo>
                      <a:pt x="837" y="16886"/>
                    </a:lnTo>
                    <a:lnTo>
                      <a:pt x="837" y="16865"/>
                    </a:lnTo>
                    <a:lnTo>
                      <a:pt x="775" y="16823"/>
                    </a:lnTo>
                    <a:lnTo>
                      <a:pt x="649" y="16718"/>
                    </a:lnTo>
                    <a:lnTo>
                      <a:pt x="775" y="16739"/>
                    </a:lnTo>
                    <a:lnTo>
                      <a:pt x="775" y="16634"/>
                    </a:lnTo>
                    <a:lnTo>
                      <a:pt x="754" y="16572"/>
                    </a:lnTo>
                    <a:lnTo>
                      <a:pt x="754" y="16425"/>
                    </a:lnTo>
                    <a:lnTo>
                      <a:pt x="733" y="16362"/>
                    </a:lnTo>
                    <a:cubicBezTo>
                      <a:pt x="733" y="16321"/>
                      <a:pt x="754" y="16258"/>
                      <a:pt x="775" y="16237"/>
                    </a:cubicBezTo>
                    <a:lnTo>
                      <a:pt x="837" y="16258"/>
                    </a:lnTo>
                    <a:lnTo>
                      <a:pt x="879" y="16237"/>
                    </a:lnTo>
                    <a:cubicBezTo>
                      <a:pt x="879" y="16342"/>
                      <a:pt x="900" y="16467"/>
                      <a:pt x="900" y="16572"/>
                    </a:cubicBezTo>
                    <a:lnTo>
                      <a:pt x="1068" y="17764"/>
                    </a:lnTo>
                    <a:lnTo>
                      <a:pt x="1047" y="17785"/>
                    </a:lnTo>
                    <a:lnTo>
                      <a:pt x="1068" y="17869"/>
                    </a:lnTo>
                    <a:lnTo>
                      <a:pt x="1068" y="18036"/>
                    </a:lnTo>
                    <a:lnTo>
                      <a:pt x="1005" y="18078"/>
                    </a:lnTo>
                    <a:lnTo>
                      <a:pt x="1047" y="18120"/>
                    </a:lnTo>
                    <a:lnTo>
                      <a:pt x="1047" y="18287"/>
                    </a:lnTo>
                    <a:lnTo>
                      <a:pt x="1005" y="18350"/>
                    </a:lnTo>
                    <a:lnTo>
                      <a:pt x="1047" y="18434"/>
                    </a:lnTo>
                    <a:lnTo>
                      <a:pt x="1047" y="18455"/>
                    </a:lnTo>
                    <a:cubicBezTo>
                      <a:pt x="1047" y="18643"/>
                      <a:pt x="1005" y="18852"/>
                      <a:pt x="963" y="19041"/>
                    </a:cubicBezTo>
                    <a:cubicBezTo>
                      <a:pt x="921" y="19187"/>
                      <a:pt x="900" y="19334"/>
                      <a:pt x="858" y="19459"/>
                    </a:cubicBezTo>
                    <a:lnTo>
                      <a:pt x="796" y="19480"/>
                    </a:lnTo>
                    <a:lnTo>
                      <a:pt x="691" y="19564"/>
                    </a:lnTo>
                    <a:lnTo>
                      <a:pt x="649" y="19564"/>
                    </a:lnTo>
                    <a:lnTo>
                      <a:pt x="649" y="19501"/>
                    </a:lnTo>
                    <a:lnTo>
                      <a:pt x="754" y="19480"/>
                    </a:lnTo>
                    <a:lnTo>
                      <a:pt x="837" y="19438"/>
                    </a:lnTo>
                    <a:lnTo>
                      <a:pt x="837" y="19271"/>
                    </a:lnTo>
                    <a:lnTo>
                      <a:pt x="775" y="19250"/>
                    </a:lnTo>
                    <a:lnTo>
                      <a:pt x="670" y="19292"/>
                    </a:lnTo>
                    <a:lnTo>
                      <a:pt x="461" y="19292"/>
                    </a:lnTo>
                    <a:lnTo>
                      <a:pt x="377" y="19271"/>
                    </a:lnTo>
                    <a:lnTo>
                      <a:pt x="293" y="19292"/>
                    </a:lnTo>
                    <a:lnTo>
                      <a:pt x="293" y="19375"/>
                    </a:lnTo>
                    <a:lnTo>
                      <a:pt x="356" y="19501"/>
                    </a:lnTo>
                    <a:lnTo>
                      <a:pt x="398" y="19501"/>
                    </a:lnTo>
                    <a:lnTo>
                      <a:pt x="440" y="19585"/>
                    </a:lnTo>
                    <a:lnTo>
                      <a:pt x="356" y="19585"/>
                    </a:lnTo>
                    <a:lnTo>
                      <a:pt x="335" y="19689"/>
                    </a:lnTo>
                    <a:lnTo>
                      <a:pt x="252" y="19752"/>
                    </a:lnTo>
                    <a:lnTo>
                      <a:pt x="189" y="19857"/>
                    </a:lnTo>
                    <a:lnTo>
                      <a:pt x="42" y="19919"/>
                    </a:lnTo>
                    <a:lnTo>
                      <a:pt x="42" y="20003"/>
                    </a:lnTo>
                    <a:lnTo>
                      <a:pt x="189" y="20192"/>
                    </a:lnTo>
                    <a:lnTo>
                      <a:pt x="272" y="20192"/>
                    </a:lnTo>
                    <a:lnTo>
                      <a:pt x="335" y="20129"/>
                    </a:lnTo>
                    <a:lnTo>
                      <a:pt x="335" y="20066"/>
                    </a:lnTo>
                    <a:lnTo>
                      <a:pt x="231" y="20024"/>
                    </a:lnTo>
                    <a:lnTo>
                      <a:pt x="231" y="19982"/>
                    </a:lnTo>
                    <a:lnTo>
                      <a:pt x="272" y="19878"/>
                    </a:lnTo>
                    <a:lnTo>
                      <a:pt x="440" y="19878"/>
                    </a:lnTo>
                    <a:lnTo>
                      <a:pt x="461" y="19857"/>
                    </a:lnTo>
                    <a:lnTo>
                      <a:pt x="482" y="19982"/>
                    </a:lnTo>
                    <a:lnTo>
                      <a:pt x="586" y="20066"/>
                    </a:lnTo>
                    <a:lnTo>
                      <a:pt x="712" y="20066"/>
                    </a:lnTo>
                    <a:lnTo>
                      <a:pt x="754" y="20003"/>
                    </a:lnTo>
                    <a:lnTo>
                      <a:pt x="754" y="20003"/>
                    </a:lnTo>
                    <a:cubicBezTo>
                      <a:pt x="670" y="20317"/>
                      <a:pt x="649" y="20631"/>
                      <a:pt x="649" y="20924"/>
                    </a:cubicBezTo>
                    <a:lnTo>
                      <a:pt x="586" y="20966"/>
                    </a:lnTo>
                    <a:lnTo>
                      <a:pt x="649" y="21008"/>
                    </a:lnTo>
                    <a:lnTo>
                      <a:pt x="649" y="21154"/>
                    </a:lnTo>
                    <a:lnTo>
                      <a:pt x="565" y="21028"/>
                    </a:lnTo>
                    <a:lnTo>
                      <a:pt x="461" y="21008"/>
                    </a:lnTo>
                    <a:lnTo>
                      <a:pt x="440" y="21049"/>
                    </a:lnTo>
                    <a:lnTo>
                      <a:pt x="440" y="21133"/>
                    </a:lnTo>
                    <a:lnTo>
                      <a:pt x="461" y="21259"/>
                    </a:lnTo>
                    <a:lnTo>
                      <a:pt x="565" y="21280"/>
                    </a:lnTo>
                    <a:lnTo>
                      <a:pt x="649" y="21342"/>
                    </a:lnTo>
                    <a:lnTo>
                      <a:pt x="649" y="21384"/>
                    </a:lnTo>
                    <a:lnTo>
                      <a:pt x="691" y="21552"/>
                    </a:lnTo>
                    <a:lnTo>
                      <a:pt x="754" y="21572"/>
                    </a:lnTo>
                    <a:cubicBezTo>
                      <a:pt x="754" y="21635"/>
                      <a:pt x="775" y="21656"/>
                      <a:pt x="796" y="21698"/>
                    </a:cubicBezTo>
                    <a:lnTo>
                      <a:pt x="670" y="21656"/>
                    </a:lnTo>
                    <a:lnTo>
                      <a:pt x="649" y="21635"/>
                    </a:lnTo>
                    <a:lnTo>
                      <a:pt x="586" y="21677"/>
                    </a:lnTo>
                    <a:lnTo>
                      <a:pt x="649" y="21865"/>
                    </a:lnTo>
                    <a:lnTo>
                      <a:pt x="649" y="21949"/>
                    </a:lnTo>
                    <a:lnTo>
                      <a:pt x="691" y="21970"/>
                    </a:lnTo>
                    <a:lnTo>
                      <a:pt x="796" y="21803"/>
                    </a:lnTo>
                    <a:lnTo>
                      <a:pt x="858" y="21782"/>
                    </a:lnTo>
                    <a:cubicBezTo>
                      <a:pt x="879" y="21844"/>
                      <a:pt x="900" y="21886"/>
                      <a:pt x="921" y="21970"/>
                    </a:cubicBezTo>
                    <a:lnTo>
                      <a:pt x="921" y="22012"/>
                    </a:lnTo>
                    <a:lnTo>
                      <a:pt x="816" y="22054"/>
                    </a:lnTo>
                    <a:lnTo>
                      <a:pt x="921" y="22284"/>
                    </a:lnTo>
                    <a:lnTo>
                      <a:pt x="963" y="22409"/>
                    </a:lnTo>
                    <a:cubicBezTo>
                      <a:pt x="963" y="22493"/>
                      <a:pt x="984" y="22577"/>
                      <a:pt x="1005" y="22640"/>
                    </a:cubicBezTo>
                    <a:lnTo>
                      <a:pt x="984" y="22681"/>
                    </a:lnTo>
                    <a:lnTo>
                      <a:pt x="984" y="22744"/>
                    </a:lnTo>
                    <a:lnTo>
                      <a:pt x="921" y="22807"/>
                    </a:lnTo>
                    <a:lnTo>
                      <a:pt x="1005" y="22849"/>
                    </a:lnTo>
                    <a:lnTo>
                      <a:pt x="1026" y="22932"/>
                    </a:lnTo>
                    <a:lnTo>
                      <a:pt x="1068" y="22932"/>
                    </a:lnTo>
                    <a:cubicBezTo>
                      <a:pt x="1068" y="22953"/>
                      <a:pt x="1068" y="22995"/>
                      <a:pt x="1088" y="23016"/>
                    </a:cubicBezTo>
                    <a:cubicBezTo>
                      <a:pt x="1130" y="23163"/>
                      <a:pt x="1193" y="23330"/>
                      <a:pt x="1235" y="23456"/>
                    </a:cubicBezTo>
                    <a:lnTo>
                      <a:pt x="1277" y="23518"/>
                    </a:lnTo>
                    <a:cubicBezTo>
                      <a:pt x="1277" y="23539"/>
                      <a:pt x="1277" y="23539"/>
                      <a:pt x="1298" y="23560"/>
                    </a:cubicBezTo>
                    <a:lnTo>
                      <a:pt x="1235" y="23665"/>
                    </a:lnTo>
                    <a:lnTo>
                      <a:pt x="1193" y="23728"/>
                    </a:lnTo>
                    <a:lnTo>
                      <a:pt x="1235" y="23749"/>
                    </a:lnTo>
                    <a:lnTo>
                      <a:pt x="1381" y="23728"/>
                    </a:lnTo>
                    <a:lnTo>
                      <a:pt x="1444" y="23874"/>
                    </a:lnTo>
                    <a:lnTo>
                      <a:pt x="1423" y="23874"/>
                    </a:lnTo>
                    <a:lnTo>
                      <a:pt x="1444" y="23937"/>
                    </a:lnTo>
                    <a:lnTo>
                      <a:pt x="1486" y="23958"/>
                    </a:lnTo>
                    <a:lnTo>
                      <a:pt x="1423" y="24000"/>
                    </a:lnTo>
                    <a:lnTo>
                      <a:pt x="1402" y="24062"/>
                    </a:lnTo>
                    <a:lnTo>
                      <a:pt x="1423" y="24146"/>
                    </a:lnTo>
                    <a:lnTo>
                      <a:pt x="1486" y="24167"/>
                    </a:lnTo>
                    <a:lnTo>
                      <a:pt x="1549" y="24188"/>
                    </a:lnTo>
                    <a:lnTo>
                      <a:pt x="1507" y="24104"/>
                    </a:lnTo>
                    <a:lnTo>
                      <a:pt x="1549" y="24083"/>
                    </a:lnTo>
                    <a:cubicBezTo>
                      <a:pt x="1612" y="24167"/>
                      <a:pt x="1653" y="24272"/>
                      <a:pt x="1716" y="24355"/>
                    </a:cubicBezTo>
                    <a:lnTo>
                      <a:pt x="1716" y="24397"/>
                    </a:lnTo>
                    <a:lnTo>
                      <a:pt x="1653" y="24460"/>
                    </a:lnTo>
                    <a:lnTo>
                      <a:pt x="1695" y="24481"/>
                    </a:lnTo>
                    <a:lnTo>
                      <a:pt x="1737" y="24460"/>
                    </a:lnTo>
                    <a:lnTo>
                      <a:pt x="1758" y="24418"/>
                    </a:lnTo>
                    <a:cubicBezTo>
                      <a:pt x="1967" y="24753"/>
                      <a:pt x="2218" y="25004"/>
                      <a:pt x="2469" y="25234"/>
                    </a:cubicBezTo>
                    <a:lnTo>
                      <a:pt x="2449" y="25234"/>
                    </a:lnTo>
                    <a:lnTo>
                      <a:pt x="2365" y="25192"/>
                    </a:lnTo>
                    <a:lnTo>
                      <a:pt x="2260" y="25150"/>
                    </a:lnTo>
                    <a:lnTo>
                      <a:pt x="2156" y="25150"/>
                    </a:lnTo>
                    <a:lnTo>
                      <a:pt x="2072" y="25109"/>
                    </a:lnTo>
                    <a:lnTo>
                      <a:pt x="1946" y="24983"/>
                    </a:lnTo>
                    <a:lnTo>
                      <a:pt x="1863" y="24920"/>
                    </a:lnTo>
                    <a:lnTo>
                      <a:pt x="1842" y="24983"/>
                    </a:lnTo>
                    <a:lnTo>
                      <a:pt x="1863" y="25088"/>
                    </a:lnTo>
                    <a:lnTo>
                      <a:pt x="1946" y="25213"/>
                    </a:lnTo>
                    <a:lnTo>
                      <a:pt x="2072" y="25234"/>
                    </a:lnTo>
                    <a:lnTo>
                      <a:pt x="2239" y="25318"/>
                    </a:lnTo>
                    <a:lnTo>
                      <a:pt x="2281" y="25401"/>
                    </a:lnTo>
                    <a:lnTo>
                      <a:pt x="2365" y="25401"/>
                    </a:lnTo>
                    <a:lnTo>
                      <a:pt x="2428" y="25360"/>
                    </a:lnTo>
                    <a:lnTo>
                      <a:pt x="2574" y="25422"/>
                    </a:lnTo>
                    <a:lnTo>
                      <a:pt x="2679" y="25464"/>
                    </a:lnTo>
                    <a:lnTo>
                      <a:pt x="2783" y="25464"/>
                    </a:lnTo>
                    <a:cubicBezTo>
                      <a:pt x="2804" y="25464"/>
                      <a:pt x="2846" y="25506"/>
                      <a:pt x="2846" y="25527"/>
                    </a:cubicBezTo>
                    <a:lnTo>
                      <a:pt x="2804" y="25527"/>
                    </a:lnTo>
                    <a:lnTo>
                      <a:pt x="2700" y="25569"/>
                    </a:lnTo>
                    <a:lnTo>
                      <a:pt x="2658" y="25548"/>
                    </a:lnTo>
                    <a:lnTo>
                      <a:pt x="2595" y="25506"/>
                    </a:lnTo>
                    <a:lnTo>
                      <a:pt x="2532" y="25506"/>
                    </a:lnTo>
                    <a:lnTo>
                      <a:pt x="2490" y="25548"/>
                    </a:lnTo>
                    <a:lnTo>
                      <a:pt x="2490" y="25611"/>
                    </a:lnTo>
                    <a:lnTo>
                      <a:pt x="2595" y="25653"/>
                    </a:lnTo>
                    <a:lnTo>
                      <a:pt x="2658" y="25757"/>
                    </a:lnTo>
                    <a:lnTo>
                      <a:pt x="2762" y="25799"/>
                    </a:lnTo>
                    <a:lnTo>
                      <a:pt x="2867" y="25925"/>
                    </a:lnTo>
                    <a:lnTo>
                      <a:pt x="2951" y="25945"/>
                    </a:lnTo>
                    <a:lnTo>
                      <a:pt x="3076" y="25925"/>
                    </a:lnTo>
                    <a:lnTo>
                      <a:pt x="3118" y="25945"/>
                    </a:lnTo>
                    <a:lnTo>
                      <a:pt x="3118" y="26029"/>
                    </a:lnTo>
                    <a:lnTo>
                      <a:pt x="3202" y="26092"/>
                    </a:lnTo>
                    <a:lnTo>
                      <a:pt x="3285" y="26071"/>
                    </a:lnTo>
                    <a:lnTo>
                      <a:pt x="3265" y="26029"/>
                    </a:lnTo>
                    <a:lnTo>
                      <a:pt x="3327" y="25945"/>
                    </a:lnTo>
                    <a:lnTo>
                      <a:pt x="3327" y="25883"/>
                    </a:lnTo>
                    <a:lnTo>
                      <a:pt x="3285" y="25862"/>
                    </a:lnTo>
                    <a:lnTo>
                      <a:pt x="3327" y="25841"/>
                    </a:lnTo>
                    <a:lnTo>
                      <a:pt x="3411" y="25841"/>
                    </a:lnTo>
                    <a:lnTo>
                      <a:pt x="3369" y="25757"/>
                    </a:lnTo>
                    <a:lnTo>
                      <a:pt x="3285" y="25736"/>
                    </a:lnTo>
                    <a:lnTo>
                      <a:pt x="3160" y="25757"/>
                    </a:lnTo>
                    <a:lnTo>
                      <a:pt x="3118" y="25715"/>
                    </a:lnTo>
                    <a:lnTo>
                      <a:pt x="3118" y="25715"/>
                    </a:lnTo>
                    <a:cubicBezTo>
                      <a:pt x="3141" y="25721"/>
                      <a:pt x="3164" y="25724"/>
                      <a:pt x="3189" y="25724"/>
                    </a:cubicBezTo>
                    <a:cubicBezTo>
                      <a:pt x="3256" y="25724"/>
                      <a:pt x="3329" y="25704"/>
                      <a:pt x="3390" y="25673"/>
                    </a:cubicBezTo>
                    <a:lnTo>
                      <a:pt x="3411" y="25715"/>
                    </a:lnTo>
                    <a:lnTo>
                      <a:pt x="3578" y="25736"/>
                    </a:lnTo>
                    <a:lnTo>
                      <a:pt x="3683" y="25778"/>
                    </a:lnTo>
                    <a:lnTo>
                      <a:pt x="3746" y="25778"/>
                    </a:lnTo>
                    <a:lnTo>
                      <a:pt x="3829" y="25841"/>
                    </a:lnTo>
                    <a:lnTo>
                      <a:pt x="3892" y="25778"/>
                    </a:lnTo>
                    <a:lnTo>
                      <a:pt x="3955" y="25653"/>
                    </a:lnTo>
                    <a:lnTo>
                      <a:pt x="3913" y="25464"/>
                    </a:lnTo>
                    <a:lnTo>
                      <a:pt x="3934" y="25401"/>
                    </a:lnTo>
                    <a:lnTo>
                      <a:pt x="3934" y="25318"/>
                    </a:lnTo>
                    <a:lnTo>
                      <a:pt x="3955" y="25150"/>
                    </a:lnTo>
                    <a:lnTo>
                      <a:pt x="3955" y="25109"/>
                    </a:lnTo>
                    <a:cubicBezTo>
                      <a:pt x="4018" y="25213"/>
                      <a:pt x="4060" y="25318"/>
                      <a:pt x="4143" y="25422"/>
                    </a:cubicBezTo>
                    <a:lnTo>
                      <a:pt x="4122" y="25527"/>
                    </a:lnTo>
                    <a:lnTo>
                      <a:pt x="4060" y="25632"/>
                    </a:lnTo>
                    <a:lnTo>
                      <a:pt x="4122" y="25736"/>
                    </a:lnTo>
                    <a:lnTo>
                      <a:pt x="4060" y="25820"/>
                    </a:lnTo>
                    <a:lnTo>
                      <a:pt x="4060" y="25883"/>
                    </a:lnTo>
                    <a:lnTo>
                      <a:pt x="4164" y="25945"/>
                    </a:lnTo>
                    <a:lnTo>
                      <a:pt x="4269" y="25966"/>
                    </a:lnTo>
                    <a:lnTo>
                      <a:pt x="4332" y="25987"/>
                    </a:lnTo>
                    <a:lnTo>
                      <a:pt x="4373" y="25945"/>
                    </a:lnTo>
                    <a:lnTo>
                      <a:pt x="4248" y="25841"/>
                    </a:lnTo>
                    <a:lnTo>
                      <a:pt x="4332" y="25757"/>
                    </a:lnTo>
                    <a:lnTo>
                      <a:pt x="4562" y="26155"/>
                    </a:lnTo>
                    <a:lnTo>
                      <a:pt x="4562" y="26155"/>
                    </a:lnTo>
                    <a:lnTo>
                      <a:pt x="4520" y="26134"/>
                    </a:lnTo>
                    <a:lnTo>
                      <a:pt x="4332" y="26050"/>
                    </a:lnTo>
                    <a:lnTo>
                      <a:pt x="4227" y="25987"/>
                    </a:lnTo>
                    <a:lnTo>
                      <a:pt x="4206" y="26029"/>
                    </a:lnTo>
                    <a:lnTo>
                      <a:pt x="4248" y="26071"/>
                    </a:lnTo>
                    <a:lnTo>
                      <a:pt x="4520" y="26197"/>
                    </a:lnTo>
                    <a:lnTo>
                      <a:pt x="4541" y="26259"/>
                    </a:lnTo>
                    <a:lnTo>
                      <a:pt x="4436" y="26259"/>
                    </a:lnTo>
                    <a:lnTo>
                      <a:pt x="4436" y="26322"/>
                    </a:lnTo>
                    <a:lnTo>
                      <a:pt x="4373" y="26322"/>
                    </a:lnTo>
                    <a:lnTo>
                      <a:pt x="4353" y="26238"/>
                    </a:lnTo>
                    <a:lnTo>
                      <a:pt x="4227" y="26155"/>
                    </a:lnTo>
                    <a:lnTo>
                      <a:pt x="4206" y="26176"/>
                    </a:lnTo>
                    <a:lnTo>
                      <a:pt x="4206" y="26259"/>
                    </a:lnTo>
                    <a:lnTo>
                      <a:pt x="4122" y="26259"/>
                    </a:lnTo>
                    <a:lnTo>
                      <a:pt x="3934" y="26280"/>
                    </a:lnTo>
                    <a:lnTo>
                      <a:pt x="3892" y="26322"/>
                    </a:lnTo>
                    <a:lnTo>
                      <a:pt x="3934" y="26364"/>
                    </a:lnTo>
                    <a:lnTo>
                      <a:pt x="3913" y="26385"/>
                    </a:lnTo>
                    <a:lnTo>
                      <a:pt x="3809" y="26364"/>
                    </a:lnTo>
                    <a:lnTo>
                      <a:pt x="3704" y="26385"/>
                    </a:lnTo>
                    <a:lnTo>
                      <a:pt x="3725" y="26448"/>
                    </a:lnTo>
                    <a:lnTo>
                      <a:pt x="3850" y="26469"/>
                    </a:lnTo>
                    <a:lnTo>
                      <a:pt x="3955" y="26469"/>
                    </a:lnTo>
                    <a:lnTo>
                      <a:pt x="3997" y="26427"/>
                    </a:lnTo>
                    <a:lnTo>
                      <a:pt x="4018" y="26385"/>
                    </a:lnTo>
                    <a:lnTo>
                      <a:pt x="4101" y="26427"/>
                    </a:lnTo>
                    <a:lnTo>
                      <a:pt x="4206" y="26490"/>
                    </a:lnTo>
                    <a:lnTo>
                      <a:pt x="4248" y="26469"/>
                    </a:lnTo>
                    <a:lnTo>
                      <a:pt x="4269" y="26531"/>
                    </a:lnTo>
                    <a:lnTo>
                      <a:pt x="4269" y="26573"/>
                    </a:lnTo>
                    <a:lnTo>
                      <a:pt x="4353" y="26636"/>
                    </a:lnTo>
                    <a:lnTo>
                      <a:pt x="4269" y="26678"/>
                    </a:lnTo>
                    <a:lnTo>
                      <a:pt x="4227" y="26782"/>
                    </a:lnTo>
                    <a:lnTo>
                      <a:pt x="4269" y="26866"/>
                    </a:lnTo>
                    <a:lnTo>
                      <a:pt x="4353" y="26866"/>
                    </a:lnTo>
                    <a:lnTo>
                      <a:pt x="4436" y="26887"/>
                    </a:lnTo>
                    <a:lnTo>
                      <a:pt x="4541" y="26992"/>
                    </a:lnTo>
                    <a:lnTo>
                      <a:pt x="4625" y="26992"/>
                    </a:lnTo>
                    <a:lnTo>
                      <a:pt x="4646" y="26971"/>
                    </a:lnTo>
                    <a:lnTo>
                      <a:pt x="4562" y="26908"/>
                    </a:lnTo>
                    <a:lnTo>
                      <a:pt x="4457" y="26845"/>
                    </a:lnTo>
                    <a:lnTo>
                      <a:pt x="4436" y="26782"/>
                    </a:lnTo>
                    <a:lnTo>
                      <a:pt x="4457" y="26782"/>
                    </a:lnTo>
                    <a:lnTo>
                      <a:pt x="4541" y="26803"/>
                    </a:lnTo>
                    <a:lnTo>
                      <a:pt x="4625" y="26762"/>
                    </a:lnTo>
                    <a:lnTo>
                      <a:pt x="4646" y="26699"/>
                    </a:lnTo>
                    <a:lnTo>
                      <a:pt x="4562" y="26678"/>
                    </a:lnTo>
                    <a:lnTo>
                      <a:pt x="4520" y="26636"/>
                    </a:lnTo>
                    <a:lnTo>
                      <a:pt x="4750" y="26531"/>
                    </a:lnTo>
                    <a:lnTo>
                      <a:pt x="4855" y="26469"/>
                    </a:lnTo>
                    <a:lnTo>
                      <a:pt x="4938" y="26490"/>
                    </a:lnTo>
                    <a:cubicBezTo>
                      <a:pt x="4959" y="26531"/>
                      <a:pt x="4959" y="26552"/>
                      <a:pt x="4980" y="26552"/>
                    </a:cubicBezTo>
                    <a:lnTo>
                      <a:pt x="5001" y="26552"/>
                    </a:lnTo>
                    <a:lnTo>
                      <a:pt x="5001" y="26531"/>
                    </a:lnTo>
                    <a:lnTo>
                      <a:pt x="5294" y="26594"/>
                    </a:lnTo>
                    <a:lnTo>
                      <a:pt x="5357" y="26573"/>
                    </a:lnTo>
                    <a:lnTo>
                      <a:pt x="5357" y="26510"/>
                    </a:lnTo>
                    <a:lnTo>
                      <a:pt x="5482" y="26510"/>
                    </a:lnTo>
                    <a:lnTo>
                      <a:pt x="5420" y="26322"/>
                    </a:lnTo>
                    <a:lnTo>
                      <a:pt x="5357" y="26322"/>
                    </a:lnTo>
                    <a:lnTo>
                      <a:pt x="5252" y="26238"/>
                    </a:lnTo>
                    <a:lnTo>
                      <a:pt x="5106" y="26176"/>
                    </a:lnTo>
                    <a:lnTo>
                      <a:pt x="5106" y="26113"/>
                    </a:lnTo>
                    <a:lnTo>
                      <a:pt x="5273" y="26218"/>
                    </a:lnTo>
                    <a:lnTo>
                      <a:pt x="5399" y="26238"/>
                    </a:lnTo>
                    <a:lnTo>
                      <a:pt x="5148" y="25171"/>
                    </a:lnTo>
                    <a:lnTo>
                      <a:pt x="5106" y="25171"/>
                    </a:lnTo>
                    <a:lnTo>
                      <a:pt x="5106" y="25129"/>
                    </a:lnTo>
                    <a:lnTo>
                      <a:pt x="4959" y="24481"/>
                    </a:lnTo>
                    <a:lnTo>
                      <a:pt x="4792" y="24544"/>
                    </a:lnTo>
                    <a:lnTo>
                      <a:pt x="4750" y="24585"/>
                    </a:lnTo>
                    <a:lnTo>
                      <a:pt x="4666" y="24502"/>
                    </a:lnTo>
                    <a:lnTo>
                      <a:pt x="4583" y="24481"/>
                    </a:lnTo>
                    <a:lnTo>
                      <a:pt x="4562" y="24544"/>
                    </a:lnTo>
                    <a:cubicBezTo>
                      <a:pt x="4562" y="24502"/>
                      <a:pt x="4541" y="24502"/>
                      <a:pt x="4541" y="24481"/>
                    </a:cubicBezTo>
                    <a:lnTo>
                      <a:pt x="4541" y="24334"/>
                    </a:lnTo>
                    <a:lnTo>
                      <a:pt x="4625" y="24272"/>
                    </a:lnTo>
                    <a:lnTo>
                      <a:pt x="4750" y="24251"/>
                    </a:lnTo>
                    <a:lnTo>
                      <a:pt x="4897" y="24334"/>
                    </a:lnTo>
                    <a:lnTo>
                      <a:pt x="4980" y="24272"/>
                    </a:lnTo>
                    <a:lnTo>
                      <a:pt x="5001" y="24272"/>
                    </a:lnTo>
                    <a:lnTo>
                      <a:pt x="4855" y="24146"/>
                    </a:lnTo>
                    <a:lnTo>
                      <a:pt x="4520" y="23937"/>
                    </a:lnTo>
                    <a:lnTo>
                      <a:pt x="4457" y="23874"/>
                    </a:lnTo>
                    <a:lnTo>
                      <a:pt x="3725" y="23874"/>
                    </a:lnTo>
                    <a:lnTo>
                      <a:pt x="3306" y="23958"/>
                    </a:lnTo>
                    <a:lnTo>
                      <a:pt x="3202" y="23895"/>
                    </a:lnTo>
                    <a:lnTo>
                      <a:pt x="2930" y="23874"/>
                    </a:lnTo>
                    <a:lnTo>
                      <a:pt x="2846" y="23644"/>
                    </a:lnTo>
                    <a:lnTo>
                      <a:pt x="2783" y="23435"/>
                    </a:lnTo>
                    <a:lnTo>
                      <a:pt x="2658" y="23330"/>
                    </a:lnTo>
                    <a:lnTo>
                      <a:pt x="2637" y="22995"/>
                    </a:lnTo>
                    <a:lnTo>
                      <a:pt x="2637" y="22828"/>
                    </a:lnTo>
                    <a:lnTo>
                      <a:pt x="2511" y="22828"/>
                    </a:lnTo>
                    <a:lnTo>
                      <a:pt x="2323" y="22912"/>
                    </a:lnTo>
                    <a:lnTo>
                      <a:pt x="2218" y="23016"/>
                    </a:lnTo>
                    <a:lnTo>
                      <a:pt x="2093" y="23016"/>
                    </a:lnTo>
                    <a:lnTo>
                      <a:pt x="1842" y="22577"/>
                    </a:lnTo>
                    <a:cubicBezTo>
                      <a:pt x="1821" y="22493"/>
                      <a:pt x="1800" y="22409"/>
                      <a:pt x="1800" y="22326"/>
                    </a:cubicBezTo>
                    <a:lnTo>
                      <a:pt x="1884" y="21844"/>
                    </a:lnTo>
                    <a:lnTo>
                      <a:pt x="2009" y="21656"/>
                    </a:lnTo>
                    <a:lnTo>
                      <a:pt x="2218" y="21447"/>
                    </a:lnTo>
                    <a:lnTo>
                      <a:pt x="2260" y="21154"/>
                    </a:lnTo>
                    <a:lnTo>
                      <a:pt x="2218" y="20840"/>
                    </a:lnTo>
                    <a:lnTo>
                      <a:pt x="2135" y="20610"/>
                    </a:lnTo>
                    <a:lnTo>
                      <a:pt x="2197" y="20338"/>
                    </a:lnTo>
                    <a:lnTo>
                      <a:pt x="2302" y="20212"/>
                    </a:lnTo>
                    <a:lnTo>
                      <a:pt x="2197" y="19961"/>
                    </a:lnTo>
                    <a:lnTo>
                      <a:pt x="2218" y="19815"/>
                    </a:lnTo>
                    <a:lnTo>
                      <a:pt x="2323" y="19710"/>
                    </a:lnTo>
                    <a:lnTo>
                      <a:pt x="2239" y="19480"/>
                    </a:lnTo>
                    <a:lnTo>
                      <a:pt x="2197" y="19166"/>
                    </a:lnTo>
                    <a:lnTo>
                      <a:pt x="2114" y="19020"/>
                    </a:lnTo>
                    <a:lnTo>
                      <a:pt x="2114" y="18915"/>
                    </a:lnTo>
                    <a:lnTo>
                      <a:pt x="2260" y="18769"/>
                    </a:lnTo>
                    <a:lnTo>
                      <a:pt x="2260" y="18643"/>
                    </a:lnTo>
                    <a:lnTo>
                      <a:pt x="2135" y="18434"/>
                    </a:lnTo>
                    <a:lnTo>
                      <a:pt x="1946" y="18308"/>
                    </a:lnTo>
                    <a:lnTo>
                      <a:pt x="1821" y="18308"/>
                    </a:lnTo>
                    <a:lnTo>
                      <a:pt x="1800" y="18329"/>
                    </a:lnTo>
                    <a:lnTo>
                      <a:pt x="1716" y="18246"/>
                    </a:lnTo>
                    <a:lnTo>
                      <a:pt x="1779" y="18141"/>
                    </a:lnTo>
                    <a:lnTo>
                      <a:pt x="2030" y="18141"/>
                    </a:lnTo>
                    <a:lnTo>
                      <a:pt x="2156" y="17995"/>
                    </a:lnTo>
                    <a:lnTo>
                      <a:pt x="2156" y="17869"/>
                    </a:lnTo>
                    <a:lnTo>
                      <a:pt x="2093" y="17827"/>
                    </a:lnTo>
                    <a:lnTo>
                      <a:pt x="2009" y="17890"/>
                    </a:lnTo>
                    <a:lnTo>
                      <a:pt x="1905" y="17869"/>
                    </a:lnTo>
                    <a:lnTo>
                      <a:pt x="1842" y="17597"/>
                    </a:lnTo>
                    <a:lnTo>
                      <a:pt x="1737" y="17367"/>
                    </a:lnTo>
                    <a:lnTo>
                      <a:pt x="1737" y="17199"/>
                    </a:lnTo>
                    <a:lnTo>
                      <a:pt x="1737" y="17032"/>
                    </a:lnTo>
                    <a:lnTo>
                      <a:pt x="1570" y="16969"/>
                    </a:lnTo>
                    <a:lnTo>
                      <a:pt x="1570" y="16948"/>
                    </a:lnTo>
                    <a:cubicBezTo>
                      <a:pt x="1528" y="16865"/>
                      <a:pt x="1528" y="16760"/>
                      <a:pt x="1507" y="16676"/>
                    </a:cubicBezTo>
                    <a:lnTo>
                      <a:pt x="1486" y="16362"/>
                    </a:lnTo>
                    <a:lnTo>
                      <a:pt x="1612" y="16300"/>
                    </a:lnTo>
                    <a:lnTo>
                      <a:pt x="1633" y="16132"/>
                    </a:lnTo>
                    <a:lnTo>
                      <a:pt x="1591" y="16028"/>
                    </a:lnTo>
                    <a:lnTo>
                      <a:pt x="1486" y="15986"/>
                    </a:lnTo>
                    <a:lnTo>
                      <a:pt x="1423" y="15714"/>
                    </a:lnTo>
                    <a:lnTo>
                      <a:pt x="1402" y="15358"/>
                    </a:lnTo>
                    <a:lnTo>
                      <a:pt x="1423" y="14940"/>
                    </a:lnTo>
                    <a:lnTo>
                      <a:pt x="1319" y="14751"/>
                    </a:lnTo>
                    <a:lnTo>
                      <a:pt x="1298" y="14542"/>
                    </a:lnTo>
                    <a:lnTo>
                      <a:pt x="1507" y="14249"/>
                    </a:lnTo>
                    <a:lnTo>
                      <a:pt x="1528" y="13935"/>
                    </a:lnTo>
                    <a:lnTo>
                      <a:pt x="1695" y="13852"/>
                    </a:lnTo>
                    <a:lnTo>
                      <a:pt x="1779" y="13747"/>
                    </a:lnTo>
                    <a:lnTo>
                      <a:pt x="1423" y="13077"/>
                    </a:lnTo>
                    <a:lnTo>
                      <a:pt x="1486" y="12847"/>
                    </a:lnTo>
                    <a:lnTo>
                      <a:pt x="1486" y="12680"/>
                    </a:lnTo>
                    <a:lnTo>
                      <a:pt x="1486" y="12282"/>
                    </a:lnTo>
                    <a:lnTo>
                      <a:pt x="1612" y="12052"/>
                    </a:lnTo>
                    <a:lnTo>
                      <a:pt x="1737" y="11927"/>
                    </a:lnTo>
                    <a:lnTo>
                      <a:pt x="1716" y="11717"/>
                    </a:lnTo>
                    <a:lnTo>
                      <a:pt x="1612" y="11529"/>
                    </a:lnTo>
                    <a:lnTo>
                      <a:pt x="1528" y="11445"/>
                    </a:lnTo>
                    <a:lnTo>
                      <a:pt x="1674" y="11278"/>
                    </a:lnTo>
                    <a:lnTo>
                      <a:pt x="1633" y="11027"/>
                    </a:lnTo>
                    <a:lnTo>
                      <a:pt x="1737" y="10797"/>
                    </a:lnTo>
                    <a:lnTo>
                      <a:pt x="1842" y="10776"/>
                    </a:lnTo>
                    <a:lnTo>
                      <a:pt x="1884" y="10504"/>
                    </a:lnTo>
                    <a:lnTo>
                      <a:pt x="1821" y="10064"/>
                    </a:lnTo>
                    <a:lnTo>
                      <a:pt x="1737" y="9981"/>
                    </a:lnTo>
                    <a:lnTo>
                      <a:pt x="1674" y="9646"/>
                    </a:lnTo>
                    <a:lnTo>
                      <a:pt x="1591" y="9458"/>
                    </a:lnTo>
                    <a:lnTo>
                      <a:pt x="1444" y="9248"/>
                    </a:lnTo>
                    <a:lnTo>
                      <a:pt x="1423" y="9144"/>
                    </a:lnTo>
                    <a:lnTo>
                      <a:pt x="1319" y="9018"/>
                    </a:lnTo>
                    <a:lnTo>
                      <a:pt x="1277" y="8725"/>
                    </a:lnTo>
                    <a:lnTo>
                      <a:pt x="1298" y="8516"/>
                    </a:lnTo>
                    <a:lnTo>
                      <a:pt x="1444" y="8453"/>
                    </a:lnTo>
                    <a:lnTo>
                      <a:pt x="1444" y="8160"/>
                    </a:lnTo>
                    <a:lnTo>
                      <a:pt x="1528" y="8056"/>
                    </a:lnTo>
                    <a:lnTo>
                      <a:pt x="1528" y="7784"/>
                    </a:lnTo>
                    <a:lnTo>
                      <a:pt x="1423" y="7616"/>
                    </a:lnTo>
                    <a:lnTo>
                      <a:pt x="1402" y="7240"/>
                    </a:lnTo>
                    <a:lnTo>
                      <a:pt x="1486" y="7156"/>
                    </a:lnTo>
                    <a:lnTo>
                      <a:pt x="1528" y="6738"/>
                    </a:lnTo>
                    <a:lnTo>
                      <a:pt x="1633" y="6591"/>
                    </a:lnTo>
                    <a:lnTo>
                      <a:pt x="1800" y="6194"/>
                    </a:lnTo>
                    <a:lnTo>
                      <a:pt x="1946" y="6047"/>
                    </a:lnTo>
                    <a:lnTo>
                      <a:pt x="2051" y="5984"/>
                    </a:lnTo>
                    <a:lnTo>
                      <a:pt x="2135" y="5880"/>
                    </a:lnTo>
                    <a:lnTo>
                      <a:pt x="2093" y="5838"/>
                    </a:lnTo>
                    <a:lnTo>
                      <a:pt x="2093" y="5671"/>
                    </a:lnTo>
                    <a:lnTo>
                      <a:pt x="2030" y="5587"/>
                    </a:lnTo>
                    <a:lnTo>
                      <a:pt x="1946" y="5545"/>
                    </a:lnTo>
                    <a:lnTo>
                      <a:pt x="1988" y="5440"/>
                    </a:lnTo>
                    <a:lnTo>
                      <a:pt x="2093" y="5357"/>
                    </a:lnTo>
                    <a:lnTo>
                      <a:pt x="2093" y="5210"/>
                    </a:lnTo>
                    <a:lnTo>
                      <a:pt x="1946" y="5043"/>
                    </a:lnTo>
                    <a:lnTo>
                      <a:pt x="1925" y="4854"/>
                    </a:lnTo>
                    <a:lnTo>
                      <a:pt x="2009" y="4729"/>
                    </a:lnTo>
                    <a:lnTo>
                      <a:pt x="1988" y="4624"/>
                    </a:lnTo>
                    <a:lnTo>
                      <a:pt x="1842" y="4520"/>
                    </a:lnTo>
                    <a:lnTo>
                      <a:pt x="1905" y="4373"/>
                    </a:lnTo>
                    <a:lnTo>
                      <a:pt x="2574" y="3997"/>
                    </a:lnTo>
                    <a:lnTo>
                      <a:pt x="2741" y="3348"/>
                    </a:lnTo>
                    <a:lnTo>
                      <a:pt x="2658" y="3181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344" y="3285"/>
                    </a:lnTo>
                    <a:lnTo>
                      <a:pt x="1925" y="2134"/>
                    </a:lnTo>
                    <a:lnTo>
                      <a:pt x="1633" y="1883"/>
                    </a:lnTo>
                    <a:lnTo>
                      <a:pt x="1570" y="1779"/>
                    </a:lnTo>
                    <a:lnTo>
                      <a:pt x="1695" y="1465"/>
                    </a:lnTo>
                    <a:lnTo>
                      <a:pt x="1633" y="1360"/>
                    </a:lnTo>
                    <a:lnTo>
                      <a:pt x="1716" y="1193"/>
                    </a:lnTo>
                    <a:lnTo>
                      <a:pt x="1695" y="1130"/>
                    </a:lnTo>
                    <a:lnTo>
                      <a:pt x="1423" y="921"/>
                    </a:lnTo>
                    <a:lnTo>
                      <a:pt x="1360" y="774"/>
                    </a:lnTo>
                    <a:lnTo>
                      <a:pt x="1319" y="607"/>
                    </a:lnTo>
                    <a:lnTo>
                      <a:pt x="1298" y="544"/>
                    </a:lnTo>
                    <a:lnTo>
                      <a:pt x="1319" y="440"/>
                    </a:lnTo>
                    <a:lnTo>
                      <a:pt x="1298" y="335"/>
                    </a:lnTo>
                    <a:lnTo>
                      <a:pt x="1256" y="293"/>
                    </a:lnTo>
                    <a:lnTo>
                      <a:pt x="1151" y="189"/>
                    </a:lnTo>
                    <a:lnTo>
                      <a:pt x="1151" y="21"/>
                    </a:lnTo>
                    <a:lnTo>
                      <a:pt x="1109" y="21"/>
                    </a:lnTo>
                    <a:lnTo>
                      <a:pt x="1047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4" name="Google Shape;12074;p43">
              <a:extLst>
                <a:ext uri="{FF2B5EF4-FFF2-40B4-BE49-F238E27FC236}">
                  <a16:creationId xmlns:a16="http://schemas.microsoft.com/office/drawing/2014/main" id="{BB1CDA8B-8043-E011-E2D4-A1BA8F484C67}"/>
                </a:ext>
              </a:extLst>
            </p:cNvPr>
            <p:cNvGrpSpPr/>
            <p:nvPr/>
          </p:nvGrpSpPr>
          <p:grpSpPr>
            <a:xfrm>
              <a:off x="3855466" y="3289811"/>
              <a:ext cx="112514" cy="94210"/>
              <a:chOff x="3918000" y="3561900"/>
              <a:chExt cx="236225" cy="207100"/>
            </a:xfrm>
          </p:grpSpPr>
          <p:sp>
            <p:nvSpPr>
              <p:cNvPr id="244" name="Google Shape;12075;p43">
                <a:extLst>
                  <a:ext uri="{FF2B5EF4-FFF2-40B4-BE49-F238E27FC236}">
                    <a16:creationId xmlns:a16="http://schemas.microsoft.com/office/drawing/2014/main" id="{76170C51-D8FB-80C6-4115-A51A1CC8C37B}"/>
                  </a:ext>
                </a:extLst>
              </p:cNvPr>
              <p:cNvSpPr/>
              <p:nvPr/>
            </p:nvSpPr>
            <p:spPr>
              <a:xfrm>
                <a:off x="3925800" y="3561900"/>
                <a:ext cx="228425" cy="170000"/>
              </a:xfrm>
              <a:custGeom>
                <a:avLst/>
                <a:gdLst/>
                <a:ahLst/>
                <a:cxnLst/>
                <a:rect l="l" t="t" r="r" b="b"/>
                <a:pathLst>
                  <a:path w="9137" h="6800" extrusionOk="0">
                    <a:moveTo>
                      <a:pt x="0" y="4356"/>
                    </a:moveTo>
                    <a:lnTo>
                      <a:pt x="1381" y="1594"/>
                    </a:lnTo>
                    <a:lnTo>
                      <a:pt x="7012" y="0"/>
                    </a:lnTo>
                    <a:lnTo>
                      <a:pt x="9137" y="532"/>
                    </a:lnTo>
                    <a:lnTo>
                      <a:pt x="8500" y="2444"/>
                    </a:lnTo>
                    <a:lnTo>
                      <a:pt x="6906" y="5206"/>
                    </a:lnTo>
                    <a:lnTo>
                      <a:pt x="3719" y="680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</p:sp>
          <p:sp>
            <p:nvSpPr>
              <p:cNvPr id="245" name="Google Shape;12076;p43">
                <a:extLst>
                  <a:ext uri="{FF2B5EF4-FFF2-40B4-BE49-F238E27FC236}">
                    <a16:creationId xmlns:a16="http://schemas.microsoft.com/office/drawing/2014/main" id="{479BC856-C12C-35B4-E5DE-90EEE961D3F9}"/>
                  </a:ext>
                </a:extLst>
              </p:cNvPr>
              <p:cNvSpPr/>
              <p:nvPr/>
            </p:nvSpPr>
            <p:spPr>
              <a:xfrm>
                <a:off x="3918000" y="3569675"/>
                <a:ext cx="229150" cy="199325"/>
              </a:xfrm>
              <a:custGeom>
                <a:avLst/>
                <a:gdLst/>
                <a:ahLst/>
                <a:cxnLst/>
                <a:rect l="l" t="t" r="r" b="b"/>
                <a:pathLst>
                  <a:path w="9166" h="7973" extrusionOk="0">
                    <a:moveTo>
                      <a:pt x="6696" y="3976"/>
                    </a:moveTo>
                    <a:lnTo>
                      <a:pt x="6738" y="4018"/>
                    </a:lnTo>
                    <a:lnTo>
                      <a:pt x="6780" y="3997"/>
                    </a:lnTo>
                    <a:lnTo>
                      <a:pt x="6843" y="4039"/>
                    </a:lnTo>
                    <a:lnTo>
                      <a:pt x="6926" y="4018"/>
                    </a:lnTo>
                    <a:lnTo>
                      <a:pt x="7052" y="4122"/>
                    </a:lnTo>
                    <a:lnTo>
                      <a:pt x="7136" y="4353"/>
                    </a:lnTo>
                    <a:lnTo>
                      <a:pt x="7136" y="4499"/>
                    </a:lnTo>
                    <a:lnTo>
                      <a:pt x="7094" y="4583"/>
                    </a:lnTo>
                    <a:lnTo>
                      <a:pt x="6989" y="4625"/>
                    </a:lnTo>
                    <a:lnTo>
                      <a:pt x="6989" y="4708"/>
                    </a:lnTo>
                    <a:lnTo>
                      <a:pt x="7031" y="4750"/>
                    </a:lnTo>
                    <a:lnTo>
                      <a:pt x="7031" y="4834"/>
                    </a:lnTo>
                    <a:lnTo>
                      <a:pt x="6926" y="4918"/>
                    </a:lnTo>
                    <a:lnTo>
                      <a:pt x="6843" y="4876"/>
                    </a:lnTo>
                    <a:lnTo>
                      <a:pt x="6738" y="4918"/>
                    </a:lnTo>
                    <a:lnTo>
                      <a:pt x="6675" y="4959"/>
                    </a:lnTo>
                    <a:lnTo>
                      <a:pt x="6571" y="5001"/>
                    </a:lnTo>
                    <a:lnTo>
                      <a:pt x="6508" y="5127"/>
                    </a:lnTo>
                    <a:lnTo>
                      <a:pt x="6466" y="5169"/>
                    </a:lnTo>
                    <a:lnTo>
                      <a:pt x="6424" y="5231"/>
                    </a:lnTo>
                    <a:lnTo>
                      <a:pt x="6320" y="5231"/>
                    </a:lnTo>
                    <a:lnTo>
                      <a:pt x="6194" y="5169"/>
                    </a:lnTo>
                    <a:lnTo>
                      <a:pt x="6152" y="5106"/>
                    </a:lnTo>
                    <a:lnTo>
                      <a:pt x="6069" y="5022"/>
                    </a:lnTo>
                    <a:lnTo>
                      <a:pt x="6069" y="4918"/>
                    </a:lnTo>
                    <a:lnTo>
                      <a:pt x="5985" y="4834"/>
                    </a:lnTo>
                    <a:lnTo>
                      <a:pt x="5964" y="4771"/>
                    </a:lnTo>
                    <a:lnTo>
                      <a:pt x="5880" y="4708"/>
                    </a:lnTo>
                    <a:lnTo>
                      <a:pt x="5838" y="4604"/>
                    </a:lnTo>
                    <a:lnTo>
                      <a:pt x="5901" y="4541"/>
                    </a:lnTo>
                    <a:lnTo>
                      <a:pt x="6069" y="4415"/>
                    </a:lnTo>
                    <a:lnTo>
                      <a:pt x="6110" y="4248"/>
                    </a:lnTo>
                    <a:lnTo>
                      <a:pt x="6257" y="4164"/>
                    </a:lnTo>
                    <a:lnTo>
                      <a:pt x="6466" y="4122"/>
                    </a:lnTo>
                    <a:lnTo>
                      <a:pt x="6508" y="4081"/>
                    </a:lnTo>
                    <a:lnTo>
                      <a:pt x="6592" y="4018"/>
                    </a:lnTo>
                    <a:lnTo>
                      <a:pt x="6613" y="3976"/>
                    </a:lnTo>
                    <a:close/>
                    <a:moveTo>
                      <a:pt x="7659" y="1"/>
                    </a:moveTo>
                    <a:lnTo>
                      <a:pt x="7470" y="21"/>
                    </a:lnTo>
                    <a:lnTo>
                      <a:pt x="7387" y="21"/>
                    </a:lnTo>
                    <a:lnTo>
                      <a:pt x="7345" y="63"/>
                    </a:lnTo>
                    <a:lnTo>
                      <a:pt x="7240" y="63"/>
                    </a:lnTo>
                    <a:lnTo>
                      <a:pt x="7178" y="126"/>
                    </a:lnTo>
                    <a:lnTo>
                      <a:pt x="7178" y="168"/>
                    </a:lnTo>
                    <a:lnTo>
                      <a:pt x="7157" y="252"/>
                    </a:lnTo>
                    <a:lnTo>
                      <a:pt x="7073" y="273"/>
                    </a:lnTo>
                    <a:lnTo>
                      <a:pt x="7010" y="356"/>
                    </a:lnTo>
                    <a:lnTo>
                      <a:pt x="6843" y="356"/>
                    </a:lnTo>
                    <a:lnTo>
                      <a:pt x="6822" y="335"/>
                    </a:lnTo>
                    <a:lnTo>
                      <a:pt x="6717" y="356"/>
                    </a:lnTo>
                    <a:lnTo>
                      <a:pt x="6592" y="461"/>
                    </a:lnTo>
                    <a:lnTo>
                      <a:pt x="6529" y="524"/>
                    </a:lnTo>
                    <a:lnTo>
                      <a:pt x="6445" y="565"/>
                    </a:lnTo>
                    <a:lnTo>
                      <a:pt x="6424" y="628"/>
                    </a:lnTo>
                    <a:lnTo>
                      <a:pt x="6341" y="649"/>
                    </a:lnTo>
                    <a:lnTo>
                      <a:pt x="6299" y="691"/>
                    </a:lnTo>
                    <a:lnTo>
                      <a:pt x="6236" y="733"/>
                    </a:lnTo>
                    <a:lnTo>
                      <a:pt x="6173" y="754"/>
                    </a:lnTo>
                    <a:lnTo>
                      <a:pt x="6006" y="963"/>
                    </a:lnTo>
                    <a:lnTo>
                      <a:pt x="5985" y="1089"/>
                    </a:lnTo>
                    <a:lnTo>
                      <a:pt x="6006" y="1151"/>
                    </a:lnTo>
                    <a:lnTo>
                      <a:pt x="6006" y="1214"/>
                    </a:lnTo>
                    <a:lnTo>
                      <a:pt x="5922" y="1256"/>
                    </a:lnTo>
                    <a:lnTo>
                      <a:pt x="5901" y="1298"/>
                    </a:lnTo>
                    <a:lnTo>
                      <a:pt x="5859" y="1319"/>
                    </a:lnTo>
                    <a:lnTo>
                      <a:pt x="5776" y="1402"/>
                    </a:lnTo>
                    <a:lnTo>
                      <a:pt x="5755" y="1486"/>
                    </a:lnTo>
                    <a:lnTo>
                      <a:pt x="5713" y="1507"/>
                    </a:lnTo>
                    <a:lnTo>
                      <a:pt x="5692" y="1570"/>
                    </a:lnTo>
                    <a:lnTo>
                      <a:pt x="5608" y="1570"/>
                    </a:lnTo>
                    <a:lnTo>
                      <a:pt x="5545" y="1612"/>
                    </a:lnTo>
                    <a:lnTo>
                      <a:pt x="5399" y="1633"/>
                    </a:lnTo>
                    <a:lnTo>
                      <a:pt x="5357" y="1737"/>
                    </a:lnTo>
                    <a:lnTo>
                      <a:pt x="5357" y="1905"/>
                    </a:lnTo>
                    <a:lnTo>
                      <a:pt x="5294" y="1967"/>
                    </a:lnTo>
                    <a:lnTo>
                      <a:pt x="5294" y="2030"/>
                    </a:lnTo>
                    <a:lnTo>
                      <a:pt x="5273" y="2135"/>
                    </a:lnTo>
                    <a:lnTo>
                      <a:pt x="5294" y="2197"/>
                    </a:lnTo>
                    <a:lnTo>
                      <a:pt x="5169" y="2260"/>
                    </a:lnTo>
                    <a:lnTo>
                      <a:pt x="5085" y="2239"/>
                    </a:lnTo>
                    <a:lnTo>
                      <a:pt x="5043" y="2197"/>
                    </a:lnTo>
                    <a:lnTo>
                      <a:pt x="4834" y="2197"/>
                    </a:lnTo>
                    <a:lnTo>
                      <a:pt x="4709" y="2218"/>
                    </a:lnTo>
                    <a:lnTo>
                      <a:pt x="4604" y="2197"/>
                    </a:lnTo>
                    <a:lnTo>
                      <a:pt x="4520" y="2218"/>
                    </a:lnTo>
                    <a:lnTo>
                      <a:pt x="4311" y="2093"/>
                    </a:lnTo>
                    <a:lnTo>
                      <a:pt x="4227" y="2093"/>
                    </a:lnTo>
                    <a:lnTo>
                      <a:pt x="4185" y="2009"/>
                    </a:lnTo>
                    <a:lnTo>
                      <a:pt x="3997" y="1988"/>
                    </a:lnTo>
                    <a:lnTo>
                      <a:pt x="3872" y="2009"/>
                    </a:lnTo>
                    <a:lnTo>
                      <a:pt x="3704" y="2135"/>
                    </a:lnTo>
                    <a:lnTo>
                      <a:pt x="3621" y="2365"/>
                    </a:lnTo>
                    <a:lnTo>
                      <a:pt x="3516" y="2469"/>
                    </a:lnTo>
                    <a:lnTo>
                      <a:pt x="3349" y="2553"/>
                    </a:lnTo>
                    <a:lnTo>
                      <a:pt x="3286" y="2637"/>
                    </a:lnTo>
                    <a:lnTo>
                      <a:pt x="3181" y="2721"/>
                    </a:lnTo>
                    <a:lnTo>
                      <a:pt x="3056" y="2742"/>
                    </a:lnTo>
                    <a:lnTo>
                      <a:pt x="2972" y="2783"/>
                    </a:lnTo>
                    <a:lnTo>
                      <a:pt x="2846" y="2762"/>
                    </a:lnTo>
                    <a:lnTo>
                      <a:pt x="2763" y="2825"/>
                    </a:lnTo>
                    <a:lnTo>
                      <a:pt x="2616" y="2783"/>
                    </a:lnTo>
                    <a:lnTo>
                      <a:pt x="2449" y="2825"/>
                    </a:lnTo>
                    <a:lnTo>
                      <a:pt x="2449" y="2721"/>
                    </a:lnTo>
                    <a:lnTo>
                      <a:pt x="2532" y="2532"/>
                    </a:lnTo>
                    <a:lnTo>
                      <a:pt x="2532" y="2365"/>
                    </a:lnTo>
                    <a:lnTo>
                      <a:pt x="2365" y="2051"/>
                    </a:lnTo>
                    <a:lnTo>
                      <a:pt x="2323" y="1905"/>
                    </a:lnTo>
                    <a:lnTo>
                      <a:pt x="2135" y="1779"/>
                    </a:lnTo>
                    <a:lnTo>
                      <a:pt x="2051" y="3871"/>
                    </a:lnTo>
                    <a:lnTo>
                      <a:pt x="1821" y="3871"/>
                    </a:lnTo>
                    <a:lnTo>
                      <a:pt x="1675" y="3934"/>
                    </a:lnTo>
                    <a:lnTo>
                      <a:pt x="1612" y="4039"/>
                    </a:lnTo>
                    <a:lnTo>
                      <a:pt x="1528" y="4081"/>
                    </a:lnTo>
                    <a:lnTo>
                      <a:pt x="1486" y="4122"/>
                    </a:lnTo>
                    <a:lnTo>
                      <a:pt x="1486" y="4248"/>
                    </a:lnTo>
                    <a:lnTo>
                      <a:pt x="1403" y="4227"/>
                    </a:lnTo>
                    <a:lnTo>
                      <a:pt x="1319" y="4227"/>
                    </a:lnTo>
                    <a:lnTo>
                      <a:pt x="1277" y="4143"/>
                    </a:lnTo>
                    <a:lnTo>
                      <a:pt x="1193" y="4143"/>
                    </a:lnTo>
                    <a:lnTo>
                      <a:pt x="1152" y="4206"/>
                    </a:lnTo>
                    <a:lnTo>
                      <a:pt x="1047" y="4185"/>
                    </a:lnTo>
                    <a:lnTo>
                      <a:pt x="984" y="4143"/>
                    </a:lnTo>
                    <a:lnTo>
                      <a:pt x="880" y="4185"/>
                    </a:lnTo>
                    <a:lnTo>
                      <a:pt x="754" y="4102"/>
                    </a:lnTo>
                    <a:lnTo>
                      <a:pt x="566" y="4039"/>
                    </a:lnTo>
                    <a:lnTo>
                      <a:pt x="482" y="3871"/>
                    </a:lnTo>
                    <a:lnTo>
                      <a:pt x="545" y="3725"/>
                    </a:lnTo>
                    <a:lnTo>
                      <a:pt x="440" y="3725"/>
                    </a:lnTo>
                    <a:lnTo>
                      <a:pt x="356" y="3599"/>
                    </a:lnTo>
                    <a:lnTo>
                      <a:pt x="231" y="3662"/>
                    </a:lnTo>
                    <a:lnTo>
                      <a:pt x="168" y="3767"/>
                    </a:lnTo>
                    <a:lnTo>
                      <a:pt x="210" y="3788"/>
                    </a:lnTo>
                    <a:lnTo>
                      <a:pt x="210" y="3871"/>
                    </a:lnTo>
                    <a:lnTo>
                      <a:pt x="64" y="3892"/>
                    </a:lnTo>
                    <a:lnTo>
                      <a:pt x="1" y="3934"/>
                    </a:lnTo>
                    <a:lnTo>
                      <a:pt x="22" y="4122"/>
                    </a:lnTo>
                    <a:lnTo>
                      <a:pt x="210" y="4248"/>
                    </a:lnTo>
                    <a:lnTo>
                      <a:pt x="336" y="4625"/>
                    </a:lnTo>
                    <a:lnTo>
                      <a:pt x="336" y="4771"/>
                    </a:lnTo>
                    <a:lnTo>
                      <a:pt x="461" y="5085"/>
                    </a:lnTo>
                    <a:lnTo>
                      <a:pt x="545" y="5441"/>
                    </a:lnTo>
                    <a:lnTo>
                      <a:pt x="691" y="5650"/>
                    </a:lnTo>
                    <a:lnTo>
                      <a:pt x="691" y="5775"/>
                    </a:lnTo>
                    <a:lnTo>
                      <a:pt x="859" y="6027"/>
                    </a:lnTo>
                    <a:lnTo>
                      <a:pt x="859" y="6110"/>
                    </a:lnTo>
                    <a:lnTo>
                      <a:pt x="900" y="6299"/>
                    </a:lnTo>
                    <a:lnTo>
                      <a:pt x="880" y="6487"/>
                    </a:lnTo>
                    <a:lnTo>
                      <a:pt x="796" y="6550"/>
                    </a:lnTo>
                    <a:lnTo>
                      <a:pt x="754" y="6550"/>
                    </a:lnTo>
                    <a:lnTo>
                      <a:pt x="691" y="6508"/>
                    </a:lnTo>
                    <a:lnTo>
                      <a:pt x="649" y="6550"/>
                    </a:lnTo>
                    <a:lnTo>
                      <a:pt x="649" y="6717"/>
                    </a:lnTo>
                    <a:lnTo>
                      <a:pt x="733" y="6863"/>
                    </a:lnTo>
                    <a:lnTo>
                      <a:pt x="838" y="6968"/>
                    </a:lnTo>
                    <a:lnTo>
                      <a:pt x="942" y="7156"/>
                    </a:lnTo>
                    <a:lnTo>
                      <a:pt x="859" y="7282"/>
                    </a:lnTo>
                    <a:lnTo>
                      <a:pt x="880" y="7449"/>
                    </a:lnTo>
                    <a:lnTo>
                      <a:pt x="838" y="7554"/>
                    </a:lnTo>
                    <a:lnTo>
                      <a:pt x="838" y="7659"/>
                    </a:lnTo>
                    <a:lnTo>
                      <a:pt x="900" y="7700"/>
                    </a:lnTo>
                    <a:lnTo>
                      <a:pt x="900" y="7596"/>
                    </a:lnTo>
                    <a:lnTo>
                      <a:pt x="1005" y="7533"/>
                    </a:lnTo>
                    <a:lnTo>
                      <a:pt x="1152" y="7554"/>
                    </a:lnTo>
                    <a:lnTo>
                      <a:pt x="1172" y="7679"/>
                    </a:lnTo>
                    <a:lnTo>
                      <a:pt x="1110" y="7721"/>
                    </a:lnTo>
                    <a:lnTo>
                      <a:pt x="1172" y="7742"/>
                    </a:lnTo>
                    <a:lnTo>
                      <a:pt x="1256" y="7679"/>
                    </a:lnTo>
                    <a:lnTo>
                      <a:pt x="1361" y="7742"/>
                    </a:lnTo>
                    <a:lnTo>
                      <a:pt x="1361" y="7868"/>
                    </a:lnTo>
                    <a:lnTo>
                      <a:pt x="1403" y="7847"/>
                    </a:lnTo>
                    <a:lnTo>
                      <a:pt x="1696" y="7972"/>
                    </a:lnTo>
                    <a:lnTo>
                      <a:pt x="1737" y="7951"/>
                    </a:lnTo>
                    <a:lnTo>
                      <a:pt x="1800" y="7972"/>
                    </a:lnTo>
                    <a:lnTo>
                      <a:pt x="1821" y="7889"/>
                    </a:lnTo>
                    <a:lnTo>
                      <a:pt x="1926" y="7868"/>
                    </a:lnTo>
                    <a:lnTo>
                      <a:pt x="2051" y="7742"/>
                    </a:lnTo>
                    <a:lnTo>
                      <a:pt x="2198" y="7763"/>
                    </a:lnTo>
                    <a:lnTo>
                      <a:pt x="2219" y="7721"/>
                    </a:lnTo>
                    <a:lnTo>
                      <a:pt x="2344" y="7721"/>
                    </a:lnTo>
                    <a:lnTo>
                      <a:pt x="2512" y="7763"/>
                    </a:lnTo>
                    <a:lnTo>
                      <a:pt x="2574" y="7742"/>
                    </a:lnTo>
                    <a:lnTo>
                      <a:pt x="2721" y="7742"/>
                    </a:lnTo>
                    <a:lnTo>
                      <a:pt x="2742" y="7679"/>
                    </a:lnTo>
                    <a:lnTo>
                      <a:pt x="2784" y="7638"/>
                    </a:lnTo>
                    <a:lnTo>
                      <a:pt x="2867" y="7596"/>
                    </a:lnTo>
                    <a:lnTo>
                      <a:pt x="2930" y="7638"/>
                    </a:lnTo>
                    <a:lnTo>
                      <a:pt x="2951" y="7533"/>
                    </a:lnTo>
                    <a:lnTo>
                      <a:pt x="3035" y="7470"/>
                    </a:lnTo>
                    <a:lnTo>
                      <a:pt x="3349" y="7470"/>
                    </a:lnTo>
                    <a:lnTo>
                      <a:pt x="3474" y="7554"/>
                    </a:lnTo>
                    <a:lnTo>
                      <a:pt x="3558" y="7533"/>
                    </a:lnTo>
                    <a:lnTo>
                      <a:pt x="3558" y="7470"/>
                    </a:lnTo>
                    <a:lnTo>
                      <a:pt x="3725" y="7449"/>
                    </a:lnTo>
                    <a:lnTo>
                      <a:pt x="3997" y="7533"/>
                    </a:lnTo>
                    <a:lnTo>
                      <a:pt x="4081" y="7575"/>
                    </a:lnTo>
                    <a:lnTo>
                      <a:pt x="4353" y="7638"/>
                    </a:lnTo>
                    <a:lnTo>
                      <a:pt x="4395" y="7596"/>
                    </a:lnTo>
                    <a:lnTo>
                      <a:pt x="4353" y="7533"/>
                    </a:lnTo>
                    <a:lnTo>
                      <a:pt x="4437" y="7449"/>
                    </a:lnTo>
                    <a:lnTo>
                      <a:pt x="4541" y="7449"/>
                    </a:lnTo>
                    <a:lnTo>
                      <a:pt x="4667" y="7491"/>
                    </a:lnTo>
                    <a:lnTo>
                      <a:pt x="4876" y="7491"/>
                    </a:lnTo>
                    <a:lnTo>
                      <a:pt x="4876" y="7470"/>
                    </a:lnTo>
                    <a:lnTo>
                      <a:pt x="4813" y="7387"/>
                    </a:lnTo>
                    <a:lnTo>
                      <a:pt x="4855" y="7303"/>
                    </a:lnTo>
                    <a:lnTo>
                      <a:pt x="5022" y="7240"/>
                    </a:lnTo>
                    <a:lnTo>
                      <a:pt x="5190" y="7240"/>
                    </a:lnTo>
                    <a:lnTo>
                      <a:pt x="5253" y="7303"/>
                    </a:lnTo>
                    <a:lnTo>
                      <a:pt x="5378" y="7303"/>
                    </a:lnTo>
                    <a:lnTo>
                      <a:pt x="5504" y="7219"/>
                    </a:lnTo>
                    <a:lnTo>
                      <a:pt x="5713" y="7156"/>
                    </a:lnTo>
                    <a:lnTo>
                      <a:pt x="5713" y="7135"/>
                    </a:lnTo>
                    <a:lnTo>
                      <a:pt x="5859" y="7073"/>
                    </a:lnTo>
                    <a:lnTo>
                      <a:pt x="5922" y="6968"/>
                    </a:lnTo>
                    <a:lnTo>
                      <a:pt x="6320" y="6717"/>
                    </a:lnTo>
                    <a:lnTo>
                      <a:pt x="6424" y="6612"/>
                    </a:lnTo>
                    <a:lnTo>
                      <a:pt x="6424" y="6591"/>
                    </a:lnTo>
                    <a:lnTo>
                      <a:pt x="6508" y="6591"/>
                    </a:lnTo>
                    <a:lnTo>
                      <a:pt x="7115" y="5985"/>
                    </a:lnTo>
                    <a:lnTo>
                      <a:pt x="7136" y="5922"/>
                    </a:lnTo>
                    <a:lnTo>
                      <a:pt x="7198" y="5922"/>
                    </a:lnTo>
                    <a:lnTo>
                      <a:pt x="7282" y="5796"/>
                    </a:lnTo>
                    <a:lnTo>
                      <a:pt x="7387" y="5755"/>
                    </a:lnTo>
                    <a:lnTo>
                      <a:pt x="7429" y="5587"/>
                    </a:lnTo>
                    <a:lnTo>
                      <a:pt x="7596" y="5399"/>
                    </a:lnTo>
                    <a:lnTo>
                      <a:pt x="7847" y="5022"/>
                    </a:lnTo>
                    <a:lnTo>
                      <a:pt x="7910" y="4834"/>
                    </a:lnTo>
                    <a:lnTo>
                      <a:pt x="8014" y="4834"/>
                    </a:lnTo>
                    <a:lnTo>
                      <a:pt x="8077" y="4708"/>
                    </a:lnTo>
                    <a:lnTo>
                      <a:pt x="8077" y="4646"/>
                    </a:lnTo>
                    <a:lnTo>
                      <a:pt x="8182" y="4520"/>
                    </a:lnTo>
                    <a:lnTo>
                      <a:pt x="8266" y="4394"/>
                    </a:lnTo>
                    <a:lnTo>
                      <a:pt x="8391" y="4311"/>
                    </a:lnTo>
                    <a:lnTo>
                      <a:pt x="8433" y="4227"/>
                    </a:lnTo>
                    <a:lnTo>
                      <a:pt x="8538" y="4185"/>
                    </a:lnTo>
                    <a:lnTo>
                      <a:pt x="8579" y="4122"/>
                    </a:lnTo>
                    <a:lnTo>
                      <a:pt x="8621" y="4122"/>
                    </a:lnTo>
                    <a:lnTo>
                      <a:pt x="8789" y="3934"/>
                    </a:lnTo>
                    <a:lnTo>
                      <a:pt x="8810" y="3830"/>
                    </a:lnTo>
                    <a:lnTo>
                      <a:pt x="8893" y="3725"/>
                    </a:lnTo>
                    <a:lnTo>
                      <a:pt x="8935" y="3516"/>
                    </a:lnTo>
                    <a:lnTo>
                      <a:pt x="9019" y="3348"/>
                    </a:lnTo>
                    <a:lnTo>
                      <a:pt x="9040" y="3160"/>
                    </a:lnTo>
                    <a:lnTo>
                      <a:pt x="9123" y="2951"/>
                    </a:lnTo>
                    <a:lnTo>
                      <a:pt x="9103" y="2951"/>
                    </a:lnTo>
                    <a:lnTo>
                      <a:pt x="9165" y="2846"/>
                    </a:lnTo>
                    <a:lnTo>
                      <a:pt x="9165" y="2825"/>
                    </a:lnTo>
                    <a:lnTo>
                      <a:pt x="9061" y="2825"/>
                    </a:lnTo>
                    <a:lnTo>
                      <a:pt x="8935" y="2762"/>
                    </a:lnTo>
                    <a:lnTo>
                      <a:pt x="8830" y="2762"/>
                    </a:lnTo>
                    <a:lnTo>
                      <a:pt x="8768" y="2825"/>
                    </a:lnTo>
                    <a:lnTo>
                      <a:pt x="8768" y="2909"/>
                    </a:lnTo>
                    <a:lnTo>
                      <a:pt x="8726" y="3014"/>
                    </a:lnTo>
                    <a:lnTo>
                      <a:pt x="8663" y="3034"/>
                    </a:lnTo>
                    <a:lnTo>
                      <a:pt x="8454" y="3034"/>
                    </a:lnTo>
                    <a:lnTo>
                      <a:pt x="8266" y="2930"/>
                    </a:lnTo>
                    <a:lnTo>
                      <a:pt x="8182" y="2804"/>
                    </a:lnTo>
                    <a:lnTo>
                      <a:pt x="8140" y="2742"/>
                    </a:lnTo>
                    <a:lnTo>
                      <a:pt x="8098" y="2658"/>
                    </a:lnTo>
                    <a:lnTo>
                      <a:pt x="8161" y="2532"/>
                    </a:lnTo>
                    <a:lnTo>
                      <a:pt x="8286" y="2281"/>
                    </a:lnTo>
                    <a:lnTo>
                      <a:pt x="8307" y="2177"/>
                    </a:lnTo>
                    <a:lnTo>
                      <a:pt x="8412" y="2114"/>
                    </a:lnTo>
                    <a:lnTo>
                      <a:pt x="8579" y="2197"/>
                    </a:lnTo>
                    <a:lnTo>
                      <a:pt x="8663" y="2260"/>
                    </a:lnTo>
                    <a:lnTo>
                      <a:pt x="8768" y="2323"/>
                    </a:lnTo>
                    <a:lnTo>
                      <a:pt x="8768" y="2135"/>
                    </a:lnTo>
                    <a:lnTo>
                      <a:pt x="8768" y="1988"/>
                    </a:lnTo>
                    <a:lnTo>
                      <a:pt x="8810" y="1800"/>
                    </a:lnTo>
                    <a:lnTo>
                      <a:pt x="8810" y="1361"/>
                    </a:lnTo>
                    <a:lnTo>
                      <a:pt x="8789" y="1214"/>
                    </a:lnTo>
                    <a:lnTo>
                      <a:pt x="8747" y="1109"/>
                    </a:lnTo>
                    <a:lnTo>
                      <a:pt x="8747" y="1005"/>
                    </a:lnTo>
                    <a:lnTo>
                      <a:pt x="8747" y="984"/>
                    </a:lnTo>
                    <a:lnTo>
                      <a:pt x="8747" y="733"/>
                    </a:lnTo>
                    <a:lnTo>
                      <a:pt x="8684" y="586"/>
                    </a:lnTo>
                    <a:lnTo>
                      <a:pt x="8642" y="440"/>
                    </a:lnTo>
                    <a:lnTo>
                      <a:pt x="8621" y="273"/>
                    </a:lnTo>
                    <a:lnTo>
                      <a:pt x="8517" y="168"/>
                    </a:lnTo>
                    <a:lnTo>
                      <a:pt x="8328" y="126"/>
                    </a:lnTo>
                    <a:lnTo>
                      <a:pt x="8182" y="147"/>
                    </a:lnTo>
                    <a:lnTo>
                      <a:pt x="8098" y="168"/>
                    </a:lnTo>
                    <a:lnTo>
                      <a:pt x="8056" y="147"/>
                    </a:lnTo>
                    <a:lnTo>
                      <a:pt x="7910" y="105"/>
                    </a:lnTo>
                    <a:lnTo>
                      <a:pt x="7847" y="105"/>
                    </a:lnTo>
                    <a:lnTo>
                      <a:pt x="7784" y="21"/>
                    </a:lnTo>
                    <a:lnTo>
                      <a:pt x="765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5" name="Google Shape;12077;p43">
              <a:extLst>
                <a:ext uri="{FF2B5EF4-FFF2-40B4-BE49-F238E27FC236}">
                  <a16:creationId xmlns:a16="http://schemas.microsoft.com/office/drawing/2014/main" id="{D36A9747-8F04-7DBA-62FC-A65C722E060D}"/>
                </a:ext>
              </a:extLst>
            </p:cNvPr>
            <p:cNvSpPr/>
            <p:nvPr/>
          </p:nvSpPr>
          <p:spPr>
            <a:xfrm>
              <a:off x="3292646" y="3020419"/>
              <a:ext cx="18695" cy="5482"/>
            </a:xfrm>
            <a:custGeom>
              <a:avLst/>
              <a:gdLst/>
              <a:ahLst/>
              <a:cxnLst/>
              <a:rect l="l" t="t" r="r" b="b"/>
              <a:pathLst>
                <a:path w="1570" h="482" extrusionOk="0">
                  <a:moveTo>
                    <a:pt x="189" y="0"/>
                  </a:moveTo>
                  <a:lnTo>
                    <a:pt x="126" y="84"/>
                  </a:lnTo>
                  <a:lnTo>
                    <a:pt x="21" y="147"/>
                  </a:lnTo>
                  <a:lnTo>
                    <a:pt x="21" y="209"/>
                  </a:lnTo>
                  <a:lnTo>
                    <a:pt x="0" y="272"/>
                  </a:lnTo>
                  <a:lnTo>
                    <a:pt x="42" y="377"/>
                  </a:lnTo>
                  <a:lnTo>
                    <a:pt x="314" y="377"/>
                  </a:lnTo>
                  <a:lnTo>
                    <a:pt x="398" y="398"/>
                  </a:lnTo>
                  <a:lnTo>
                    <a:pt x="607" y="356"/>
                  </a:lnTo>
                  <a:lnTo>
                    <a:pt x="691" y="377"/>
                  </a:lnTo>
                  <a:lnTo>
                    <a:pt x="837" y="293"/>
                  </a:lnTo>
                  <a:cubicBezTo>
                    <a:pt x="1026" y="398"/>
                    <a:pt x="1235" y="356"/>
                    <a:pt x="1423" y="481"/>
                  </a:cubicBezTo>
                  <a:lnTo>
                    <a:pt x="1570" y="460"/>
                  </a:lnTo>
                  <a:lnTo>
                    <a:pt x="1528" y="398"/>
                  </a:lnTo>
                  <a:lnTo>
                    <a:pt x="1444" y="460"/>
                  </a:lnTo>
                  <a:lnTo>
                    <a:pt x="1444" y="440"/>
                  </a:lnTo>
                  <a:cubicBezTo>
                    <a:pt x="1360" y="377"/>
                    <a:pt x="1318" y="356"/>
                    <a:pt x="1235" y="335"/>
                  </a:cubicBezTo>
                  <a:lnTo>
                    <a:pt x="1277" y="293"/>
                  </a:lnTo>
                  <a:lnTo>
                    <a:pt x="1130" y="251"/>
                  </a:lnTo>
                  <a:lnTo>
                    <a:pt x="1046" y="335"/>
                  </a:lnTo>
                  <a:cubicBezTo>
                    <a:pt x="1005" y="335"/>
                    <a:pt x="942" y="335"/>
                    <a:pt x="921" y="293"/>
                  </a:cubicBezTo>
                  <a:lnTo>
                    <a:pt x="921" y="272"/>
                  </a:lnTo>
                  <a:lnTo>
                    <a:pt x="1046" y="147"/>
                  </a:lnTo>
                  <a:lnTo>
                    <a:pt x="942" y="105"/>
                  </a:lnTo>
                  <a:lnTo>
                    <a:pt x="921" y="42"/>
                  </a:lnTo>
                  <a:lnTo>
                    <a:pt x="837" y="0"/>
                  </a:lnTo>
                  <a:lnTo>
                    <a:pt x="607" y="42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Google Shape;12078;p43">
              <a:extLst>
                <a:ext uri="{FF2B5EF4-FFF2-40B4-BE49-F238E27FC236}">
                  <a16:creationId xmlns:a16="http://schemas.microsoft.com/office/drawing/2014/main" id="{DC2B4749-2EC1-DDCE-7253-15CF7254DAEF}"/>
                </a:ext>
              </a:extLst>
            </p:cNvPr>
            <p:cNvSpPr/>
            <p:nvPr/>
          </p:nvSpPr>
          <p:spPr>
            <a:xfrm>
              <a:off x="3260258" y="3010662"/>
              <a:ext cx="26423" cy="16661"/>
            </a:xfrm>
            <a:custGeom>
              <a:avLst/>
              <a:gdLst/>
              <a:ahLst/>
              <a:cxnLst/>
              <a:rect l="l" t="t" r="r" b="b"/>
              <a:pathLst>
                <a:path w="2219" h="1465" extrusionOk="0">
                  <a:moveTo>
                    <a:pt x="481" y="0"/>
                  </a:moveTo>
                  <a:lnTo>
                    <a:pt x="293" y="42"/>
                  </a:lnTo>
                  <a:lnTo>
                    <a:pt x="230" y="147"/>
                  </a:lnTo>
                  <a:lnTo>
                    <a:pt x="230" y="209"/>
                  </a:lnTo>
                  <a:lnTo>
                    <a:pt x="189" y="314"/>
                  </a:lnTo>
                  <a:lnTo>
                    <a:pt x="230" y="398"/>
                  </a:lnTo>
                  <a:lnTo>
                    <a:pt x="189" y="523"/>
                  </a:lnTo>
                  <a:lnTo>
                    <a:pt x="105" y="586"/>
                  </a:lnTo>
                  <a:lnTo>
                    <a:pt x="84" y="607"/>
                  </a:lnTo>
                  <a:lnTo>
                    <a:pt x="126" y="733"/>
                  </a:lnTo>
                  <a:lnTo>
                    <a:pt x="126" y="837"/>
                  </a:lnTo>
                  <a:lnTo>
                    <a:pt x="126" y="900"/>
                  </a:lnTo>
                  <a:lnTo>
                    <a:pt x="0" y="1046"/>
                  </a:lnTo>
                  <a:lnTo>
                    <a:pt x="0" y="1109"/>
                  </a:lnTo>
                  <a:lnTo>
                    <a:pt x="63" y="1130"/>
                  </a:lnTo>
                  <a:lnTo>
                    <a:pt x="126" y="1256"/>
                  </a:lnTo>
                  <a:lnTo>
                    <a:pt x="84" y="1339"/>
                  </a:lnTo>
                  <a:lnTo>
                    <a:pt x="189" y="1402"/>
                  </a:lnTo>
                  <a:lnTo>
                    <a:pt x="230" y="1444"/>
                  </a:lnTo>
                  <a:lnTo>
                    <a:pt x="293" y="1465"/>
                  </a:lnTo>
                  <a:lnTo>
                    <a:pt x="377" y="1318"/>
                  </a:lnTo>
                  <a:lnTo>
                    <a:pt x="502" y="1130"/>
                  </a:lnTo>
                  <a:lnTo>
                    <a:pt x="502" y="1088"/>
                  </a:lnTo>
                  <a:lnTo>
                    <a:pt x="544" y="984"/>
                  </a:lnTo>
                  <a:lnTo>
                    <a:pt x="607" y="1046"/>
                  </a:lnTo>
                  <a:lnTo>
                    <a:pt x="691" y="1046"/>
                  </a:lnTo>
                  <a:lnTo>
                    <a:pt x="753" y="921"/>
                  </a:lnTo>
                  <a:lnTo>
                    <a:pt x="837" y="984"/>
                  </a:lnTo>
                  <a:lnTo>
                    <a:pt x="837" y="1088"/>
                  </a:lnTo>
                  <a:lnTo>
                    <a:pt x="921" y="1130"/>
                  </a:lnTo>
                  <a:lnTo>
                    <a:pt x="1067" y="1088"/>
                  </a:lnTo>
                  <a:lnTo>
                    <a:pt x="1235" y="942"/>
                  </a:lnTo>
                  <a:lnTo>
                    <a:pt x="1381" y="900"/>
                  </a:lnTo>
                  <a:lnTo>
                    <a:pt x="1569" y="921"/>
                  </a:lnTo>
                  <a:lnTo>
                    <a:pt x="1674" y="900"/>
                  </a:lnTo>
                  <a:lnTo>
                    <a:pt x="1758" y="942"/>
                  </a:lnTo>
                  <a:lnTo>
                    <a:pt x="1883" y="984"/>
                  </a:lnTo>
                  <a:lnTo>
                    <a:pt x="2072" y="1005"/>
                  </a:lnTo>
                  <a:lnTo>
                    <a:pt x="2093" y="921"/>
                  </a:lnTo>
                  <a:lnTo>
                    <a:pt x="2176" y="921"/>
                  </a:lnTo>
                  <a:lnTo>
                    <a:pt x="2218" y="816"/>
                  </a:lnTo>
                  <a:lnTo>
                    <a:pt x="2176" y="733"/>
                  </a:lnTo>
                  <a:lnTo>
                    <a:pt x="1946" y="607"/>
                  </a:lnTo>
                  <a:lnTo>
                    <a:pt x="1862" y="607"/>
                  </a:lnTo>
                  <a:lnTo>
                    <a:pt x="1695" y="565"/>
                  </a:lnTo>
                  <a:lnTo>
                    <a:pt x="1632" y="565"/>
                  </a:lnTo>
                  <a:lnTo>
                    <a:pt x="1465" y="502"/>
                  </a:lnTo>
                  <a:lnTo>
                    <a:pt x="1277" y="398"/>
                  </a:lnTo>
                  <a:lnTo>
                    <a:pt x="1172" y="398"/>
                  </a:lnTo>
                  <a:lnTo>
                    <a:pt x="1256" y="377"/>
                  </a:lnTo>
                  <a:lnTo>
                    <a:pt x="1423" y="419"/>
                  </a:lnTo>
                  <a:lnTo>
                    <a:pt x="1674" y="419"/>
                  </a:lnTo>
                  <a:lnTo>
                    <a:pt x="1779" y="398"/>
                  </a:lnTo>
                  <a:lnTo>
                    <a:pt x="1695" y="356"/>
                  </a:lnTo>
                  <a:lnTo>
                    <a:pt x="1632" y="356"/>
                  </a:lnTo>
                  <a:lnTo>
                    <a:pt x="1444" y="314"/>
                  </a:lnTo>
                  <a:lnTo>
                    <a:pt x="1360" y="147"/>
                  </a:lnTo>
                  <a:lnTo>
                    <a:pt x="1256" y="147"/>
                  </a:lnTo>
                  <a:lnTo>
                    <a:pt x="1214" y="168"/>
                  </a:lnTo>
                  <a:lnTo>
                    <a:pt x="1130" y="105"/>
                  </a:lnTo>
                  <a:lnTo>
                    <a:pt x="649" y="0"/>
                  </a:lnTo>
                  <a:lnTo>
                    <a:pt x="586" y="42"/>
                  </a:lnTo>
                  <a:lnTo>
                    <a:pt x="48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Google Shape;12079;p43">
              <a:extLst>
                <a:ext uri="{FF2B5EF4-FFF2-40B4-BE49-F238E27FC236}">
                  <a16:creationId xmlns:a16="http://schemas.microsoft.com/office/drawing/2014/main" id="{79B0D233-CEAF-B20E-07B5-50884720B525}"/>
                </a:ext>
              </a:extLst>
            </p:cNvPr>
            <p:cNvSpPr/>
            <p:nvPr/>
          </p:nvSpPr>
          <p:spPr>
            <a:xfrm>
              <a:off x="3408744" y="2329870"/>
              <a:ext cx="289769" cy="354333"/>
            </a:xfrm>
            <a:custGeom>
              <a:avLst/>
              <a:gdLst/>
              <a:ahLst/>
              <a:cxnLst/>
              <a:rect l="l" t="t" r="r" b="b"/>
              <a:pathLst>
                <a:path w="24335" h="31157" extrusionOk="0">
                  <a:moveTo>
                    <a:pt x="19167" y="16300"/>
                  </a:moveTo>
                  <a:lnTo>
                    <a:pt x="19161" y="16311"/>
                  </a:lnTo>
                  <a:lnTo>
                    <a:pt x="19167" y="16321"/>
                  </a:lnTo>
                  <a:lnTo>
                    <a:pt x="19167" y="16300"/>
                  </a:lnTo>
                  <a:close/>
                  <a:moveTo>
                    <a:pt x="16572" y="17849"/>
                  </a:moveTo>
                  <a:lnTo>
                    <a:pt x="16593" y="17870"/>
                  </a:lnTo>
                  <a:lnTo>
                    <a:pt x="16509" y="17870"/>
                  </a:lnTo>
                  <a:lnTo>
                    <a:pt x="16509" y="17849"/>
                  </a:lnTo>
                  <a:close/>
                  <a:moveTo>
                    <a:pt x="4771" y="22933"/>
                  </a:moveTo>
                  <a:lnTo>
                    <a:pt x="4813" y="22996"/>
                  </a:lnTo>
                  <a:lnTo>
                    <a:pt x="4792" y="23038"/>
                  </a:lnTo>
                  <a:lnTo>
                    <a:pt x="4750" y="23038"/>
                  </a:lnTo>
                  <a:lnTo>
                    <a:pt x="4688" y="23059"/>
                  </a:lnTo>
                  <a:lnTo>
                    <a:pt x="4709" y="23142"/>
                  </a:lnTo>
                  <a:lnTo>
                    <a:pt x="4792" y="23205"/>
                  </a:lnTo>
                  <a:lnTo>
                    <a:pt x="4960" y="23205"/>
                  </a:lnTo>
                  <a:lnTo>
                    <a:pt x="4981" y="23163"/>
                  </a:lnTo>
                  <a:lnTo>
                    <a:pt x="4960" y="23121"/>
                  </a:lnTo>
                  <a:lnTo>
                    <a:pt x="4960" y="23059"/>
                  </a:lnTo>
                  <a:lnTo>
                    <a:pt x="5001" y="23038"/>
                  </a:lnTo>
                  <a:lnTo>
                    <a:pt x="5127" y="23059"/>
                  </a:lnTo>
                  <a:lnTo>
                    <a:pt x="5169" y="23121"/>
                  </a:lnTo>
                  <a:lnTo>
                    <a:pt x="5106" y="23163"/>
                  </a:lnTo>
                  <a:lnTo>
                    <a:pt x="4960" y="23226"/>
                  </a:lnTo>
                  <a:lnTo>
                    <a:pt x="4750" y="23226"/>
                  </a:lnTo>
                  <a:lnTo>
                    <a:pt x="4750" y="23268"/>
                  </a:lnTo>
                  <a:lnTo>
                    <a:pt x="4855" y="23435"/>
                  </a:lnTo>
                  <a:lnTo>
                    <a:pt x="4981" y="23519"/>
                  </a:lnTo>
                  <a:lnTo>
                    <a:pt x="5064" y="23540"/>
                  </a:lnTo>
                  <a:lnTo>
                    <a:pt x="5085" y="23519"/>
                  </a:lnTo>
                  <a:lnTo>
                    <a:pt x="5190" y="23477"/>
                  </a:lnTo>
                  <a:lnTo>
                    <a:pt x="5211" y="23540"/>
                  </a:lnTo>
                  <a:lnTo>
                    <a:pt x="5190" y="23561"/>
                  </a:lnTo>
                  <a:lnTo>
                    <a:pt x="5127" y="23561"/>
                  </a:lnTo>
                  <a:lnTo>
                    <a:pt x="5064" y="23582"/>
                  </a:lnTo>
                  <a:lnTo>
                    <a:pt x="4897" y="23540"/>
                  </a:lnTo>
                  <a:lnTo>
                    <a:pt x="4771" y="23477"/>
                  </a:lnTo>
                  <a:lnTo>
                    <a:pt x="4646" y="23352"/>
                  </a:lnTo>
                  <a:lnTo>
                    <a:pt x="4541" y="23310"/>
                  </a:lnTo>
                  <a:lnTo>
                    <a:pt x="4436" y="23310"/>
                  </a:lnTo>
                  <a:lnTo>
                    <a:pt x="4332" y="23205"/>
                  </a:lnTo>
                  <a:lnTo>
                    <a:pt x="4185" y="23142"/>
                  </a:lnTo>
                  <a:lnTo>
                    <a:pt x="4164" y="23121"/>
                  </a:lnTo>
                  <a:lnTo>
                    <a:pt x="4081" y="23121"/>
                  </a:lnTo>
                  <a:lnTo>
                    <a:pt x="4018" y="23142"/>
                  </a:lnTo>
                  <a:lnTo>
                    <a:pt x="3913" y="23142"/>
                  </a:lnTo>
                  <a:lnTo>
                    <a:pt x="3892" y="23132"/>
                  </a:lnTo>
                  <a:lnTo>
                    <a:pt x="3892" y="23132"/>
                  </a:lnTo>
                  <a:lnTo>
                    <a:pt x="3913" y="23121"/>
                  </a:lnTo>
                  <a:lnTo>
                    <a:pt x="3976" y="23121"/>
                  </a:lnTo>
                  <a:lnTo>
                    <a:pt x="4123" y="23100"/>
                  </a:lnTo>
                  <a:lnTo>
                    <a:pt x="4164" y="23038"/>
                  </a:lnTo>
                  <a:lnTo>
                    <a:pt x="4185" y="23038"/>
                  </a:lnTo>
                  <a:lnTo>
                    <a:pt x="4185" y="23100"/>
                  </a:lnTo>
                  <a:lnTo>
                    <a:pt x="4248" y="23121"/>
                  </a:lnTo>
                  <a:lnTo>
                    <a:pt x="4332" y="23121"/>
                  </a:lnTo>
                  <a:lnTo>
                    <a:pt x="4436" y="23247"/>
                  </a:lnTo>
                  <a:lnTo>
                    <a:pt x="4478" y="23268"/>
                  </a:lnTo>
                  <a:lnTo>
                    <a:pt x="4562" y="23226"/>
                  </a:lnTo>
                  <a:lnTo>
                    <a:pt x="4604" y="23142"/>
                  </a:lnTo>
                  <a:lnTo>
                    <a:pt x="4604" y="23059"/>
                  </a:lnTo>
                  <a:lnTo>
                    <a:pt x="4583" y="23017"/>
                  </a:lnTo>
                  <a:lnTo>
                    <a:pt x="4583" y="22954"/>
                  </a:lnTo>
                  <a:lnTo>
                    <a:pt x="4688" y="22954"/>
                  </a:lnTo>
                  <a:lnTo>
                    <a:pt x="4709" y="22933"/>
                  </a:lnTo>
                  <a:close/>
                  <a:moveTo>
                    <a:pt x="4269" y="25193"/>
                  </a:moveTo>
                  <a:lnTo>
                    <a:pt x="4290" y="25277"/>
                  </a:lnTo>
                  <a:lnTo>
                    <a:pt x="4395" y="25297"/>
                  </a:lnTo>
                  <a:lnTo>
                    <a:pt x="4436" y="25339"/>
                  </a:lnTo>
                  <a:lnTo>
                    <a:pt x="4353" y="25339"/>
                  </a:lnTo>
                  <a:lnTo>
                    <a:pt x="4290" y="25318"/>
                  </a:lnTo>
                  <a:lnTo>
                    <a:pt x="4123" y="25318"/>
                  </a:lnTo>
                  <a:lnTo>
                    <a:pt x="4060" y="25381"/>
                  </a:lnTo>
                  <a:lnTo>
                    <a:pt x="4039" y="25318"/>
                  </a:lnTo>
                  <a:lnTo>
                    <a:pt x="3976" y="25339"/>
                  </a:lnTo>
                  <a:lnTo>
                    <a:pt x="3955" y="25444"/>
                  </a:lnTo>
                  <a:lnTo>
                    <a:pt x="3913" y="25486"/>
                  </a:lnTo>
                  <a:lnTo>
                    <a:pt x="3851" y="25528"/>
                  </a:lnTo>
                  <a:lnTo>
                    <a:pt x="3725" y="25549"/>
                  </a:lnTo>
                  <a:lnTo>
                    <a:pt x="3641" y="25611"/>
                  </a:lnTo>
                  <a:lnTo>
                    <a:pt x="3725" y="25528"/>
                  </a:lnTo>
                  <a:lnTo>
                    <a:pt x="3830" y="25507"/>
                  </a:lnTo>
                  <a:lnTo>
                    <a:pt x="3872" y="25444"/>
                  </a:lnTo>
                  <a:lnTo>
                    <a:pt x="3913" y="25381"/>
                  </a:lnTo>
                  <a:lnTo>
                    <a:pt x="3955" y="25318"/>
                  </a:lnTo>
                  <a:lnTo>
                    <a:pt x="4018" y="25318"/>
                  </a:lnTo>
                  <a:lnTo>
                    <a:pt x="4227" y="25193"/>
                  </a:lnTo>
                  <a:close/>
                  <a:moveTo>
                    <a:pt x="16614" y="1"/>
                  </a:moveTo>
                  <a:lnTo>
                    <a:pt x="16530" y="22"/>
                  </a:lnTo>
                  <a:lnTo>
                    <a:pt x="16489" y="84"/>
                  </a:lnTo>
                  <a:lnTo>
                    <a:pt x="16489" y="168"/>
                  </a:lnTo>
                  <a:lnTo>
                    <a:pt x="16509" y="273"/>
                  </a:lnTo>
                  <a:lnTo>
                    <a:pt x="16509" y="336"/>
                  </a:lnTo>
                  <a:lnTo>
                    <a:pt x="16468" y="398"/>
                  </a:lnTo>
                  <a:lnTo>
                    <a:pt x="16405" y="336"/>
                  </a:lnTo>
                  <a:lnTo>
                    <a:pt x="16384" y="210"/>
                  </a:lnTo>
                  <a:lnTo>
                    <a:pt x="16321" y="126"/>
                  </a:lnTo>
                  <a:lnTo>
                    <a:pt x="16279" y="126"/>
                  </a:lnTo>
                  <a:lnTo>
                    <a:pt x="16216" y="84"/>
                  </a:lnTo>
                  <a:lnTo>
                    <a:pt x="16175" y="64"/>
                  </a:lnTo>
                  <a:lnTo>
                    <a:pt x="16154" y="105"/>
                  </a:lnTo>
                  <a:lnTo>
                    <a:pt x="16112" y="210"/>
                  </a:lnTo>
                  <a:lnTo>
                    <a:pt x="16070" y="273"/>
                  </a:lnTo>
                  <a:lnTo>
                    <a:pt x="15986" y="231"/>
                  </a:lnTo>
                  <a:lnTo>
                    <a:pt x="15903" y="273"/>
                  </a:lnTo>
                  <a:lnTo>
                    <a:pt x="15882" y="377"/>
                  </a:lnTo>
                  <a:lnTo>
                    <a:pt x="15924" y="440"/>
                  </a:lnTo>
                  <a:lnTo>
                    <a:pt x="15965" y="503"/>
                  </a:lnTo>
                  <a:lnTo>
                    <a:pt x="15882" y="587"/>
                  </a:lnTo>
                  <a:lnTo>
                    <a:pt x="15777" y="712"/>
                  </a:lnTo>
                  <a:lnTo>
                    <a:pt x="15777" y="754"/>
                  </a:lnTo>
                  <a:lnTo>
                    <a:pt x="15861" y="796"/>
                  </a:lnTo>
                  <a:lnTo>
                    <a:pt x="15882" y="838"/>
                  </a:lnTo>
                  <a:lnTo>
                    <a:pt x="15840" y="901"/>
                  </a:lnTo>
                  <a:lnTo>
                    <a:pt x="15777" y="901"/>
                  </a:lnTo>
                  <a:lnTo>
                    <a:pt x="15631" y="817"/>
                  </a:lnTo>
                  <a:lnTo>
                    <a:pt x="15421" y="817"/>
                  </a:lnTo>
                  <a:lnTo>
                    <a:pt x="15380" y="963"/>
                  </a:lnTo>
                  <a:lnTo>
                    <a:pt x="15421" y="1131"/>
                  </a:lnTo>
                  <a:lnTo>
                    <a:pt x="15484" y="1277"/>
                  </a:lnTo>
                  <a:lnTo>
                    <a:pt x="15631" y="1340"/>
                  </a:lnTo>
                  <a:lnTo>
                    <a:pt x="15672" y="1382"/>
                  </a:lnTo>
                  <a:lnTo>
                    <a:pt x="15672" y="1445"/>
                  </a:lnTo>
                  <a:lnTo>
                    <a:pt x="15547" y="1403"/>
                  </a:lnTo>
                  <a:lnTo>
                    <a:pt x="15421" y="1340"/>
                  </a:lnTo>
                  <a:lnTo>
                    <a:pt x="15317" y="1152"/>
                  </a:lnTo>
                  <a:lnTo>
                    <a:pt x="15128" y="1026"/>
                  </a:lnTo>
                  <a:lnTo>
                    <a:pt x="15045" y="963"/>
                  </a:lnTo>
                  <a:lnTo>
                    <a:pt x="15024" y="1026"/>
                  </a:lnTo>
                  <a:lnTo>
                    <a:pt x="15045" y="1068"/>
                  </a:lnTo>
                  <a:lnTo>
                    <a:pt x="15045" y="1173"/>
                  </a:lnTo>
                  <a:lnTo>
                    <a:pt x="15066" y="1256"/>
                  </a:lnTo>
                  <a:lnTo>
                    <a:pt x="15128" y="1340"/>
                  </a:lnTo>
                  <a:lnTo>
                    <a:pt x="15128" y="1465"/>
                  </a:lnTo>
                  <a:lnTo>
                    <a:pt x="15045" y="1549"/>
                  </a:lnTo>
                  <a:lnTo>
                    <a:pt x="15045" y="1382"/>
                  </a:lnTo>
                  <a:lnTo>
                    <a:pt x="15003" y="1256"/>
                  </a:lnTo>
                  <a:lnTo>
                    <a:pt x="14919" y="1110"/>
                  </a:lnTo>
                  <a:lnTo>
                    <a:pt x="14919" y="1026"/>
                  </a:lnTo>
                  <a:lnTo>
                    <a:pt x="14836" y="921"/>
                  </a:lnTo>
                  <a:lnTo>
                    <a:pt x="14731" y="859"/>
                  </a:lnTo>
                  <a:lnTo>
                    <a:pt x="14647" y="984"/>
                  </a:lnTo>
                  <a:lnTo>
                    <a:pt x="14605" y="1068"/>
                  </a:lnTo>
                  <a:lnTo>
                    <a:pt x="14543" y="984"/>
                  </a:lnTo>
                  <a:lnTo>
                    <a:pt x="14605" y="921"/>
                  </a:lnTo>
                  <a:lnTo>
                    <a:pt x="14605" y="859"/>
                  </a:lnTo>
                  <a:lnTo>
                    <a:pt x="14522" y="817"/>
                  </a:lnTo>
                  <a:lnTo>
                    <a:pt x="14501" y="733"/>
                  </a:lnTo>
                  <a:lnTo>
                    <a:pt x="14480" y="691"/>
                  </a:lnTo>
                  <a:lnTo>
                    <a:pt x="14375" y="691"/>
                  </a:lnTo>
                  <a:lnTo>
                    <a:pt x="14292" y="733"/>
                  </a:lnTo>
                  <a:lnTo>
                    <a:pt x="14271" y="712"/>
                  </a:lnTo>
                  <a:lnTo>
                    <a:pt x="14292" y="628"/>
                  </a:lnTo>
                  <a:lnTo>
                    <a:pt x="14375" y="545"/>
                  </a:lnTo>
                  <a:lnTo>
                    <a:pt x="14271" y="566"/>
                  </a:lnTo>
                  <a:lnTo>
                    <a:pt x="14166" y="670"/>
                  </a:lnTo>
                  <a:lnTo>
                    <a:pt x="14124" y="754"/>
                  </a:lnTo>
                  <a:lnTo>
                    <a:pt x="14020" y="817"/>
                  </a:lnTo>
                  <a:lnTo>
                    <a:pt x="13957" y="838"/>
                  </a:lnTo>
                  <a:lnTo>
                    <a:pt x="13852" y="984"/>
                  </a:lnTo>
                  <a:lnTo>
                    <a:pt x="13810" y="984"/>
                  </a:lnTo>
                  <a:lnTo>
                    <a:pt x="13768" y="880"/>
                  </a:lnTo>
                  <a:lnTo>
                    <a:pt x="13685" y="817"/>
                  </a:lnTo>
                  <a:lnTo>
                    <a:pt x="13643" y="817"/>
                  </a:lnTo>
                  <a:lnTo>
                    <a:pt x="13601" y="880"/>
                  </a:lnTo>
                  <a:lnTo>
                    <a:pt x="13580" y="963"/>
                  </a:lnTo>
                  <a:lnTo>
                    <a:pt x="13601" y="1089"/>
                  </a:lnTo>
                  <a:lnTo>
                    <a:pt x="13768" y="1193"/>
                  </a:lnTo>
                  <a:lnTo>
                    <a:pt x="13768" y="1256"/>
                  </a:lnTo>
                  <a:lnTo>
                    <a:pt x="13685" y="1256"/>
                  </a:lnTo>
                  <a:lnTo>
                    <a:pt x="13643" y="1382"/>
                  </a:lnTo>
                  <a:lnTo>
                    <a:pt x="13643" y="1507"/>
                  </a:lnTo>
                  <a:lnTo>
                    <a:pt x="13768" y="1591"/>
                  </a:lnTo>
                  <a:lnTo>
                    <a:pt x="13852" y="1570"/>
                  </a:lnTo>
                  <a:lnTo>
                    <a:pt x="13915" y="1507"/>
                  </a:lnTo>
                  <a:lnTo>
                    <a:pt x="14103" y="1507"/>
                  </a:lnTo>
                  <a:lnTo>
                    <a:pt x="14229" y="1675"/>
                  </a:lnTo>
                  <a:lnTo>
                    <a:pt x="14333" y="1717"/>
                  </a:lnTo>
                  <a:lnTo>
                    <a:pt x="14396" y="1800"/>
                  </a:lnTo>
                  <a:lnTo>
                    <a:pt x="14375" y="1863"/>
                  </a:lnTo>
                  <a:lnTo>
                    <a:pt x="14375" y="1926"/>
                  </a:lnTo>
                  <a:lnTo>
                    <a:pt x="14396" y="2072"/>
                  </a:lnTo>
                  <a:lnTo>
                    <a:pt x="14333" y="2219"/>
                  </a:lnTo>
                  <a:lnTo>
                    <a:pt x="14333" y="2302"/>
                  </a:lnTo>
                  <a:lnTo>
                    <a:pt x="14417" y="2407"/>
                  </a:lnTo>
                  <a:lnTo>
                    <a:pt x="14417" y="2533"/>
                  </a:lnTo>
                  <a:lnTo>
                    <a:pt x="14438" y="2616"/>
                  </a:lnTo>
                  <a:lnTo>
                    <a:pt x="14543" y="2700"/>
                  </a:lnTo>
                  <a:lnTo>
                    <a:pt x="14626" y="2700"/>
                  </a:lnTo>
                  <a:lnTo>
                    <a:pt x="14710" y="2784"/>
                  </a:lnTo>
                  <a:lnTo>
                    <a:pt x="14836" y="2846"/>
                  </a:lnTo>
                  <a:lnTo>
                    <a:pt x="14836" y="2909"/>
                  </a:lnTo>
                  <a:lnTo>
                    <a:pt x="14856" y="2993"/>
                  </a:lnTo>
                  <a:lnTo>
                    <a:pt x="14731" y="2888"/>
                  </a:lnTo>
                  <a:lnTo>
                    <a:pt x="14584" y="2805"/>
                  </a:lnTo>
                  <a:lnTo>
                    <a:pt x="14417" y="2805"/>
                  </a:lnTo>
                  <a:lnTo>
                    <a:pt x="14333" y="2742"/>
                  </a:lnTo>
                  <a:lnTo>
                    <a:pt x="14312" y="2679"/>
                  </a:lnTo>
                  <a:lnTo>
                    <a:pt x="14312" y="2533"/>
                  </a:lnTo>
                  <a:lnTo>
                    <a:pt x="14271" y="2323"/>
                  </a:lnTo>
                  <a:lnTo>
                    <a:pt x="14312" y="2219"/>
                  </a:lnTo>
                  <a:lnTo>
                    <a:pt x="14312" y="2114"/>
                  </a:lnTo>
                  <a:lnTo>
                    <a:pt x="14208" y="2009"/>
                  </a:lnTo>
                  <a:lnTo>
                    <a:pt x="14208" y="1926"/>
                  </a:lnTo>
                  <a:lnTo>
                    <a:pt x="14166" y="1779"/>
                  </a:lnTo>
                  <a:lnTo>
                    <a:pt x="14103" y="1737"/>
                  </a:lnTo>
                  <a:lnTo>
                    <a:pt x="14020" y="1696"/>
                  </a:lnTo>
                  <a:lnTo>
                    <a:pt x="13957" y="1654"/>
                  </a:lnTo>
                  <a:lnTo>
                    <a:pt x="13852" y="1633"/>
                  </a:lnTo>
                  <a:lnTo>
                    <a:pt x="13748" y="1675"/>
                  </a:lnTo>
                  <a:lnTo>
                    <a:pt x="13601" y="1696"/>
                  </a:lnTo>
                  <a:lnTo>
                    <a:pt x="13538" y="1675"/>
                  </a:lnTo>
                  <a:lnTo>
                    <a:pt x="13476" y="1675"/>
                  </a:lnTo>
                  <a:lnTo>
                    <a:pt x="13434" y="1863"/>
                  </a:lnTo>
                  <a:lnTo>
                    <a:pt x="13476" y="1905"/>
                  </a:lnTo>
                  <a:lnTo>
                    <a:pt x="13476" y="2009"/>
                  </a:lnTo>
                  <a:lnTo>
                    <a:pt x="13434" y="2072"/>
                  </a:lnTo>
                  <a:lnTo>
                    <a:pt x="13266" y="1989"/>
                  </a:lnTo>
                  <a:lnTo>
                    <a:pt x="13078" y="1779"/>
                  </a:lnTo>
                  <a:lnTo>
                    <a:pt x="13036" y="1779"/>
                  </a:lnTo>
                  <a:lnTo>
                    <a:pt x="12973" y="1821"/>
                  </a:lnTo>
                  <a:lnTo>
                    <a:pt x="12931" y="1821"/>
                  </a:lnTo>
                  <a:lnTo>
                    <a:pt x="12869" y="1758"/>
                  </a:lnTo>
                  <a:lnTo>
                    <a:pt x="12701" y="1717"/>
                  </a:lnTo>
                  <a:lnTo>
                    <a:pt x="12639" y="1779"/>
                  </a:lnTo>
                  <a:lnTo>
                    <a:pt x="12639" y="1884"/>
                  </a:lnTo>
                  <a:lnTo>
                    <a:pt x="12701" y="2009"/>
                  </a:lnTo>
                  <a:lnTo>
                    <a:pt x="12639" y="2093"/>
                  </a:lnTo>
                  <a:lnTo>
                    <a:pt x="12701" y="2198"/>
                  </a:lnTo>
                  <a:lnTo>
                    <a:pt x="12743" y="2344"/>
                  </a:lnTo>
                  <a:lnTo>
                    <a:pt x="12722" y="2491"/>
                  </a:lnTo>
                  <a:lnTo>
                    <a:pt x="12743" y="2533"/>
                  </a:lnTo>
                  <a:lnTo>
                    <a:pt x="12764" y="2700"/>
                  </a:lnTo>
                  <a:lnTo>
                    <a:pt x="12743" y="2742"/>
                  </a:lnTo>
                  <a:lnTo>
                    <a:pt x="12743" y="2846"/>
                  </a:lnTo>
                  <a:lnTo>
                    <a:pt x="12827" y="3014"/>
                  </a:lnTo>
                  <a:lnTo>
                    <a:pt x="12848" y="3118"/>
                  </a:lnTo>
                  <a:lnTo>
                    <a:pt x="12827" y="3265"/>
                  </a:lnTo>
                  <a:lnTo>
                    <a:pt x="12827" y="3349"/>
                  </a:lnTo>
                  <a:lnTo>
                    <a:pt x="12911" y="3453"/>
                  </a:lnTo>
                  <a:lnTo>
                    <a:pt x="12931" y="3579"/>
                  </a:lnTo>
                  <a:lnTo>
                    <a:pt x="12931" y="3662"/>
                  </a:lnTo>
                  <a:lnTo>
                    <a:pt x="13057" y="3767"/>
                  </a:lnTo>
                  <a:lnTo>
                    <a:pt x="13120" y="3851"/>
                  </a:lnTo>
                  <a:lnTo>
                    <a:pt x="13120" y="3955"/>
                  </a:lnTo>
                  <a:lnTo>
                    <a:pt x="13162" y="3997"/>
                  </a:lnTo>
                  <a:lnTo>
                    <a:pt x="13245" y="3997"/>
                  </a:lnTo>
                  <a:lnTo>
                    <a:pt x="13245" y="4060"/>
                  </a:lnTo>
                  <a:lnTo>
                    <a:pt x="13266" y="4123"/>
                  </a:lnTo>
                  <a:lnTo>
                    <a:pt x="13371" y="4186"/>
                  </a:lnTo>
                  <a:lnTo>
                    <a:pt x="13392" y="4206"/>
                  </a:lnTo>
                  <a:lnTo>
                    <a:pt x="13371" y="4227"/>
                  </a:lnTo>
                  <a:lnTo>
                    <a:pt x="13266" y="4227"/>
                  </a:lnTo>
                  <a:lnTo>
                    <a:pt x="13224" y="4206"/>
                  </a:lnTo>
                  <a:lnTo>
                    <a:pt x="13141" y="4206"/>
                  </a:lnTo>
                  <a:lnTo>
                    <a:pt x="13078" y="4165"/>
                  </a:lnTo>
                  <a:lnTo>
                    <a:pt x="13078" y="4081"/>
                  </a:lnTo>
                  <a:lnTo>
                    <a:pt x="13057" y="4018"/>
                  </a:lnTo>
                  <a:lnTo>
                    <a:pt x="12973" y="3997"/>
                  </a:lnTo>
                  <a:lnTo>
                    <a:pt x="12911" y="4018"/>
                  </a:lnTo>
                  <a:lnTo>
                    <a:pt x="12848" y="4018"/>
                  </a:lnTo>
                  <a:lnTo>
                    <a:pt x="12827" y="3976"/>
                  </a:lnTo>
                  <a:lnTo>
                    <a:pt x="12827" y="3872"/>
                  </a:lnTo>
                  <a:lnTo>
                    <a:pt x="12806" y="3851"/>
                  </a:lnTo>
                  <a:lnTo>
                    <a:pt x="12743" y="3893"/>
                  </a:lnTo>
                  <a:lnTo>
                    <a:pt x="12659" y="4060"/>
                  </a:lnTo>
                  <a:lnTo>
                    <a:pt x="12534" y="4102"/>
                  </a:lnTo>
                  <a:lnTo>
                    <a:pt x="12450" y="4102"/>
                  </a:lnTo>
                  <a:lnTo>
                    <a:pt x="12325" y="3997"/>
                  </a:lnTo>
                  <a:lnTo>
                    <a:pt x="12220" y="3997"/>
                  </a:lnTo>
                  <a:lnTo>
                    <a:pt x="12178" y="3914"/>
                  </a:lnTo>
                  <a:lnTo>
                    <a:pt x="12178" y="3809"/>
                  </a:lnTo>
                  <a:lnTo>
                    <a:pt x="12199" y="3683"/>
                  </a:lnTo>
                  <a:lnTo>
                    <a:pt x="12115" y="3495"/>
                  </a:lnTo>
                  <a:lnTo>
                    <a:pt x="12074" y="3453"/>
                  </a:lnTo>
                  <a:lnTo>
                    <a:pt x="12032" y="3328"/>
                  </a:lnTo>
                  <a:lnTo>
                    <a:pt x="12032" y="3244"/>
                  </a:lnTo>
                  <a:lnTo>
                    <a:pt x="12095" y="3181"/>
                  </a:lnTo>
                  <a:lnTo>
                    <a:pt x="12115" y="3139"/>
                  </a:lnTo>
                  <a:lnTo>
                    <a:pt x="12095" y="2867"/>
                  </a:lnTo>
                  <a:lnTo>
                    <a:pt x="12011" y="2742"/>
                  </a:lnTo>
                  <a:lnTo>
                    <a:pt x="11906" y="2595"/>
                  </a:lnTo>
                  <a:lnTo>
                    <a:pt x="11906" y="2491"/>
                  </a:lnTo>
                  <a:lnTo>
                    <a:pt x="11802" y="2240"/>
                  </a:lnTo>
                  <a:lnTo>
                    <a:pt x="11760" y="2135"/>
                  </a:lnTo>
                  <a:lnTo>
                    <a:pt x="11676" y="2093"/>
                  </a:lnTo>
                  <a:lnTo>
                    <a:pt x="11655" y="2009"/>
                  </a:lnTo>
                  <a:lnTo>
                    <a:pt x="11571" y="1989"/>
                  </a:lnTo>
                  <a:lnTo>
                    <a:pt x="11467" y="1968"/>
                  </a:lnTo>
                  <a:lnTo>
                    <a:pt x="11383" y="1905"/>
                  </a:lnTo>
                  <a:lnTo>
                    <a:pt x="11279" y="1926"/>
                  </a:lnTo>
                  <a:lnTo>
                    <a:pt x="11237" y="1989"/>
                  </a:lnTo>
                  <a:lnTo>
                    <a:pt x="11237" y="2114"/>
                  </a:lnTo>
                  <a:lnTo>
                    <a:pt x="11195" y="2177"/>
                  </a:lnTo>
                  <a:lnTo>
                    <a:pt x="11237" y="2240"/>
                  </a:lnTo>
                  <a:lnTo>
                    <a:pt x="11195" y="2323"/>
                  </a:lnTo>
                  <a:lnTo>
                    <a:pt x="11132" y="2533"/>
                  </a:lnTo>
                  <a:lnTo>
                    <a:pt x="11132" y="2658"/>
                  </a:lnTo>
                  <a:lnTo>
                    <a:pt x="11153" y="2825"/>
                  </a:lnTo>
                  <a:lnTo>
                    <a:pt x="11195" y="2867"/>
                  </a:lnTo>
                  <a:lnTo>
                    <a:pt x="11174" y="3035"/>
                  </a:lnTo>
                  <a:lnTo>
                    <a:pt x="11132" y="3181"/>
                  </a:lnTo>
                  <a:lnTo>
                    <a:pt x="11153" y="3286"/>
                  </a:lnTo>
                  <a:lnTo>
                    <a:pt x="11153" y="3495"/>
                  </a:lnTo>
                  <a:lnTo>
                    <a:pt x="11090" y="3537"/>
                  </a:lnTo>
                  <a:lnTo>
                    <a:pt x="11048" y="3474"/>
                  </a:lnTo>
                  <a:lnTo>
                    <a:pt x="10986" y="3453"/>
                  </a:lnTo>
                  <a:lnTo>
                    <a:pt x="10944" y="3495"/>
                  </a:lnTo>
                  <a:lnTo>
                    <a:pt x="10860" y="3474"/>
                  </a:lnTo>
                  <a:lnTo>
                    <a:pt x="10839" y="3453"/>
                  </a:lnTo>
                  <a:lnTo>
                    <a:pt x="10755" y="3432"/>
                  </a:lnTo>
                  <a:lnTo>
                    <a:pt x="10630" y="3390"/>
                  </a:lnTo>
                  <a:lnTo>
                    <a:pt x="10546" y="3328"/>
                  </a:lnTo>
                  <a:lnTo>
                    <a:pt x="10504" y="3328"/>
                  </a:lnTo>
                  <a:lnTo>
                    <a:pt x="10462" y="3349"/>
                  </a:lnTo>
                  <a:lnTo>
                    <a:pt x="10504" y="3432"/>
                  </a:lnTo>
                  <a:lnTo>
                    <a:pt x="10567" y="3495"/>
                  </a:lnTo>
                  <a:lnTo>
                    <a:pt x="10567" y="3558"/>
                  </a:lnTo>
                  <a:lnTo>
                    <a:pt x="10546" y="3600"/>
                  </a:lnTo>
                  <a:lnTo>
                    <a:pt x="10525" y="3662"/>
                  </a:lnTo>
                  <a:lnTo>
                    <a:pt x="10462" y="3662"/>
                  </a:lnTo>
                  <a:lnTo>
                    <a:pt x="10442" y="3641"/>
                  </a:lnTo>
                  <a:lnTo>
                    <a:pt x="10358" y="3641"/>
                  </a:lnTo>
                  <a:lnTo>
                    <a:pt x="10316" y="3579"/>
                  </a:lnTo>
                  <a:lnTo>
                    <a:pt x="10316" y="3432"/>
                  </a:lnTo>
                  <a:lnTo>
                    <a:pt x="10232" y="3286"/>
                  </a:lnTo>
                  <a:lnTo>
                    <a:pt x="10211" y="3160"/>
                  </a:lnTo>
                  <a:lnTo>
                    <a:pt x="10190" y="3056"/>
                  </a:lnTo>
                  <a:lnTo>
                    <a:pt x="10107" y="2972"/>
                  </a:lnTo>
                  <a:lnTo>
                    <a:pt x="10107" y="2909"/>
                  </a:lnTo>
                  <a:lnTo>
                    <a:pt x="10044" y="2825"/>
                  </a:lnTo>
                  <a:lnTo>
                    <a:pt x="9981" y="2909"/>
                  </a:lnTo>
                  <a:lnTo>
                    <a:pt x="10023" y="2993"/>
                  </a:lnTo>
                  <a:lnTo>
                    <a:pt x="9981" y="3035"/>
                  </a:lnTo>
                  <a:lnTo>
                    <a:pt x="9981" y="3118"/>
                  </a:lnTo>
                  <a:lnTo>
                    <a:pt x="9939" y="3202"/>
                  </a:lnTo>
                  <a:lnTo>
                    <a:pt x="9898" y="3244"/>
                  </a:lnTo>
                  <a:lnTo>
                    <a:pt x="9814" y="3265"/>
                  </a:lnTo>
                  <a:lnTo>
                    <a:pt x="9772" y="3369"/>
                  </a:lnTo>
                  <a:lnTo>
                    <a:pt x="9667" y="3537"/>
                  </a:lnTo>
                  <a:lnTo>
                    <a:pt x="9584" y="3621"/>
                  </a:lnTo>
                  <a:lnTo>
                    <a:pt x="9584" y="3662"/>
                  </a:lnTo>
                  <a:lnTo>
                    <a:pt x="9521" y="3725"/>
                  </a:lnTo>
                  <a:lnTo>
                    <a:pt x="9458" y="3851"/>
                  </a:lnTo>
                  <a:lnTo>
                    <a:pt x="9395" y="3851"/>
                  </a:lnTo>
                  <a:lnTo>
                    <a:pt x="9374" y="3788"/>
                  </a:lnTo>
                  <a:lnTo>
                    <a:pt x="9395" y="3683"/>
                  </a:lnTo>
                  <a:lnTo>
                    <a:pt x="9479" y="3579"/>
                  </a:lnTo>
                  <a:lnTo>
                    <a:pt x="9500" y="3474"/>
                  </a:lnTo>
                  <a:lnTo>
                    <a:pt x="9563" y="3432"/>
                  </a:lnTo>
                  <a:lnTo>
                    <a:pt x="9667" y="3369"/>
                  </a:lnTo>
                  <a:lnTo>
                    <a:pt x="9709" y="3244"/>
                  </a:lnTo>
                  <a:lnTo>
                    <a:pt x="9793" y="3160"/>
                  </a:lnTo>
                  <a:lnTo>
                    <a:pt x="9814" y="3077"/>
                  </a:lnTo>
                  <a:lnTo>
                    <a:pt x="9814" y="3035"/>
                  </a:lnTo>
                  <a:lnTo>
                    <a:pt x="9772" y="2993"/>
                  </a:lnTo>
                  <a:lnTo>
                    <a:pt x="9793" y="2930"/>
                  </a:lnTo>
                  <a:lnTo>
                    <a:pt x="9877" y="2909"/>
                  </a:lnTo>
                  <a:lnTo>
                    <a:pt x="9898" y="2825"/>
                  </a:lnTo>
                  <a:lnTo>
                    <a:pt x="9898" y="2742"/>
                  </a:lnTo>
                  <a:lnTo>
                    <a:pt x="9939" y="2637"/>
                  </a:lnTo>
                  <a:lnTo>
                    <a:pt x="10023" y="2470"/>
                  </a:lnTo>
                  <a:lnTo>
                    <a:pt x="10023" y="2365"/>
                  </a:lnTo>
                  <a:lnTo>
                    <a:pt x="10086" y="2198"/>
                  </a:lnTo>
                  <a:lnTo>
                    <a:pt x="10107" y="1947"/>
                  </a:lnTo>
                  <a:lnTo>
                    <a:pt x="10086" y="1863"/>
                  </a:lnTo>
                  <a:lnTo>
                    <a:pt x="9918" y="1842"/>
                  </a:lnTo>
                  <a:lnTo>
                    <a:pt x="9814" y="1863"/>
                  </a:lnTo>
                  <a:lnTo>
                    <a:pt x="9709" y="1947"/>
                  </a:lnTo>
                  <a:lnTo>
                    <a:pt x="9605" y="1884"/>
                  </a:lnTo>
                  <a:lnTo>
                    <a:pt x="9521" y="1863"/>
                  </a:lnTo>
                  <a:lnTo>
                    <a:pt x="9479" y="1884"/>
                  </a:lnTo>
                  <a:lnTo>
                    <a:pt x="9500" y="1968"/>
                  </a:lnTo>
                  <a:lnTo>
                    <a:pt x="9584" y="2051"/>
                  </a:lnTo>
                  <a:lnTo>
                    <a:pt x="9584" y="2198"/>
                  </a:lnTo>
                  <a:lnTo>
                    <a:pt x="9563" y="2281"/>
                  </a:lnTo>
                  <a:lnTo>
                    <a:pt x="9500" y="2219"/>
                  </a:lnTo>
                  <a:lnTo>
                    <a:pt x="9479" y="2093"/>
                  </a:lnTo>
                  <a:lnTo>
                    <a:pt x="9395" y="2009"/>
                  </a:lnTo>
                  <a:lnTo>
                    <a:pt x="9312" y="1989"/>
                  </a:lnTo>
                  <a:lnTo>
                    <a:pt x="9165" y="2114"/>
                  </a:lnTo>
                  <a:lnTo>
                    <a:pt x="9165" y="2219"/>
                  </a:lnTo>
                  <a:lnTo>
                    <a:pt x="9207" y="2302"/>
                  </a:lnTo>
                  <a:lnTo>
                    <a:pt x="9165" y="2386"/>
                  </a:lnTo>
                  <a:lnTo>
                    <a:pt x="9061" y="2386"/>
                  </a:lnTo>
                  <a:lnTo>
                    <a:pt x="9061" y="2323"/>
                  </a:lnTo>
                  <a:lnTo>
                    <a:pt x="9061" y="2219"/>
                  </a:lnTo>
                  <a:lnTo>
                    <a:pt x="9040" y="2114"/>
                  </a:lnTo>
                  <a:lnTo>
                    <a:pt x="8956" y="2072"/>
                  </a:lnTo>
                  <a:lnTo>
                    <a:pt x="8747" y="2072"/>
                  </a:lnTo>
                  <a:lnTo>
                    <a:pt x="8538" y="2156"/>
                  </a:lnTo>
                  <a:lnTo>
                    <a:pt x="8307" y="2156"/>
                  </a:lnTo>
                  <a:lnTo>
                    <a:pt x="8140" y="2093"/>
                  </a:lnTo>
                  <a:lnTo>
                    <a:pt x="8056" y="2093"/>
                  </a:lnTo>
                  <a:lnTo>
                    <a:pt x="7994" y="2114"/>
                  </a:lnTo>
                  <a:lnTo>
                    <a:pt x="7910" y="2093"/>
                  </a:lnTo>
                  <a:lnTo>
                    <a:pt x="7805" y="2093"/>
                  </a:lnTo>
                  <a:lnTo>
                    <a:pt x="7701" y="2177"/>
                  </a:lnTo>
                  <a:lnTo>
                    <a:pt x="7680" y="2219"/>
                  </a:lnTo>
                  <a:lnTo>
                    <a:pt x="7722" y="2302"/>
                  </a:lnTo>
                  <a:lnTo>
                    <a:pt x="7722" y="2386"/>
                  </a:lnTo>
                  <a:lnTo>
                    <a:pt x="7784" y="2491"/>
                  </a:lnTo>
                  <a:lnTo>
                    <a:pt x="7805" y="2533"/>
                  </a:lnTo>
                  <a:lnTo>
                    <a:pt x="7784" y="2616"/>
                  </a:lnTo>
                  <a:lnTo>
                    <a:pt x="7722" y="2784"/>
                  </a:lnTo>
                  <a:lnTo>
                    <a:pt x="7742" y="2930"/>
                  </a:lnTo>
                  <a:lnTo>
                    <a:pt x="7889" y="3118"/>
                  </a:lnTo>
                  <a:lnTo>
                    <a:pt x="7889" y="3223"/>
                  </a:lnTo>
                  <a:lnTo>
                    <a:pt x="7910" y="3432"/>
                  </a:lnTo>
                  <a:lnTo>
                    <a:pt x="7889" y="3453"/>
                  </a:lnTo>
                  <a:lnTo>
                    <a:pt x="7826" y="3411"/>
                  </a:lnTo>
                  <a:lnTo>
                    <a:pt x="7784" y="3307"/>
                  </a:lnTo>
                  <a:lnTo>
                    <a:pt x="7638" y="3160"/>
                  </a:lnTo>
                  <a:lnTo>
                    <a:pt x="7596" y="3118"/>
                  </a:lnTo>
                  <a:lnTo>
                    <a:pt x="7596" y="2909"/>
                  </a:lnTo>
                  <a:lnTo>
                    <a:pt x="7617" y="2700"/>
                  </a:lnTo>
                  <a:lnTo>
                    <a:pt x="7617" y="2595"/>
                  </a:lnTo>
                  <a:lnTo>
                    <a:pt x="7512" y="2428"/>
                  </a:lnTo>
                  <a:lnTo>
                    <a:pt x="7512" y="2323"/>
                  </a:lnTo>
                  <a:lnTo>
                    <a:pt x="7491" y="2281"/>
                  </a:lnTo>
                  <a:lnTo>
                    <a:pt x="7429" y="2261"/>
                  </a:lnTo>
                  <a:lnTo>
                    <a:pt x="7303" y="2302"/>
                  </a:lnTo>
                  <a:lnTo>
                    <a:pt x="7177" y="2386"/>
                  </a:lnTo>
                  <a:lnTo>
                    <a:pt x="7010" y="2407"/>
                  </a:lnTo>
                  <a:lnTo>
                    <a:pt x="6947" y="2470"/>
                  </a:lnTo>
                  <a:lnTo>
                    <a:pt x="6905" y="2595"/>
                  </a:lnTo>
                  <a:lnTo>
                    <a:pt x="6947" y="2700"/>
                  </a:lnTo>
                  <a:lnTo>
                    <a:pt x="6905" y="2825"/>
                  </a:lnTo>
                  <a:lnTo>
                    <a:pt x="6843" y="2930"/>
                  </a:lnTo>
                  <a:lnTo>
                    <a:pt x="6801" y="2993"/>
                  </a:lnTo>
                  <a:lnTo>
                    <a:pt x="6843" y="3035"/>
                  </a:lnTo>
                  <a:lnTo>
                    <a:pt x="6885" y="3035"/>
                  </a:lnTo>
                  <a:lnTo>
                    <a:pt x="6947" y="3056"/>
                  </a:lnTo>
                  <a:lnTo>
                    <a:pt x="6947" y="3202"/>
                  </a:lnTo>
                  <a:lnTo>
                    <a:pt x="6885" y="3307"/>
                  </a:lnTo>
                  <a:lnTo>
                    <a:pt x="6738" y="3411"/>
                  </a:lnTo>
                  <a:lnTo>
                    <a:pt x="6633" y="3411"/>
                  </a:lnTo>
                  <a:lnTo>
                    <a:pt x="6592" y="3453"/>
                  </a:lnTo>
                  <a:lnTo>
                    <a:pt x="6571" y="3558"/>
                  </a:lnTo>
                  <a:lnTo>
                    <a:pt x="6529" y="3621"/>
                  </a:lnTo>
                  <a:lnTo>
                    <a:pt x="6487" y="3683"/>
                  </a:lnTo>
                  <a:lnTo>
                    <a:pt x="6529" y="3767"/>
                  </a:lnTo>
                  <a:lnTo>
                    <a:pt x="6487" y="3830"/>
                  </a:lnTo>
                  <a:lnTo>
                    <a:pt x="6424" y="3830"/>
                  </a:lnTo>
                  <a:lnTo>
                    <a:pt x="6382" y="3851"/>
                  </a:lnTo>
                  <a:lnTo>
                    <a:pt x="6236" y="3872"/>
                  </a:lnTo>
                  <a:lnTo>
                    <a:pt x="6131" y="3830"/>
                  </a:lnTo>
                  <a:lnTo>
                    <a:pt x="6089" y="3767"/>
                  </a:lnTo>
                  <a:lnTo>
                    <a:pt x="6089" y="3683"/>
                  </a:lnTo>
                  <a:lnTo>
                    <a:pt x="6048" y="3662"/>
                  </a:lnTo>
                  <a:lnTo>
                    <a:pt x="5985" y="3662"/>
                  </a:lnTo>
                  <a:lnTo>
                    <a:pt x="5964" y="3621"/>
                  </a:lnTo>
                  <a:lnTo>
                    <a:pt x="5943" y="3537"/>
                  </a:lnTo>
                  <a:lnTo>
                    <a:pt x="5838" y="3537"/>
                  </a:lnTo>
                  <a:lnTo>
                    <a:pt x="5797" y="3579"/>
                  </a:lnTo>
                  <a:lnTo>
                    <a:pt x="5755" y="3641"/>
                  </a:lnTo>
                  <a:lnTo>
                    <a:pt x="5671" y="3641"/>
                  </a:lnTo>
                  <a:lnTo>
                    <a:pt x="5629" y="3662"/>
                  </a:lnTo>
                  <a:lnTo>
                    <a:pt x="5629" y="3830"/>
                  </a:lnTo>
                  <a:lnTo>
                    <a:pt x="5608" y="3893"/>
                  </a:lnTo>
                  <a:lnTo>
                    <a:pt x="5608" y="3997"/>
                  </a:lnTo>
                  <a:lnTo>
                    <a:pt x="5650" y="4165"/>
                  </a:lnTo>
                  <a:lnTo>
                    <a:pt x="5629" y="4353"/>
                  </a:lnTo>
                  <a:lnTo>
                    <a:pt x="5566" y="4416"/>
                  </a:lnTo>
                  <a:lnTo>
                    <a:pt x="5525" y="4416"/>
                  </a:lnTo>
                  <a:lnTo>
                    <a:pt x="5545" y="4206"/>
                  </a:lnTo>
                  <a:lnTo>
                    <a:pt x="5545" y="4060"/>
                  </a:lnTo>
                  <a:lnTo>
                    <a:pt x="5525" y="3976"/>
                  </a:lnTo>
                  <a:lnTo>
                    <a:pt x="5525" y="3767"/>
                  </a:lnTo>
                  <a:lnTo>
                    <a:pt x="5504" y="3662"/>
                  </a:lnTo>
                  <a:lnTo>
                    <a:pt x="5462" y="3641"/>
                  </a:lnTo>
                  <a:lnTo>
                    <a:pt x="5420" y="3662"/>
                  </a:lnTo>
                  <a:lnTo>
                    <a:pt x="5336" y="3662"/>
                  </a:lnTo>
                  <a:lnTo>
                    <a:pt x="5253" y="3767"/>
                  </a:lnTo>
                  <a:lnTo>
                    <a:pt x="5190" y="3788"/>
                  </a:lnTo>
                  <a:lnTo>
                    <a:pt x="5085" y="3872"/>
                  </a:lnTo>
                  <a:lnTo>
                    <a:pt x="5043" y="3955"/>
                  </a:lnTo>
                  <a:lnTo>
                    <a:pt x="5043" y="4039"/>
                  </a:lnTo>
                  <a:lnTo>
                    <a:pt x="4918" y="4186"/>
                  </a:lnTo>
                  <a:lnTo>
                    <a:pt x="4876" y="4206"/>
                  </a:lnTo>
                  <a:lnTo>
                    <a:pt x="4834" y="4165"/>
                  </a:lnTo>
                  <a:lnTo>
                    <a:pt x="4729" y="4165"/>
                  </a:lnTo>
                  <a:lnTo>
                    <a:pt x="4688" y="4186"/>
                  </a:lnTo>
                  <a:lnTo>
                    <a:pt x="4688" y="4248"/>
                  </a:lnTo>
                  <a:lnTo>
                    <a:pt x="4771" y="4269"/>
                  </a:lnTo>
                  <a:lnTo>
                    <a:pt x="4792" y="4290"/>
                  </a:lnTo>
                  <a:lnTo>
                    <a:pt x="4709" y="4311"/>
                  </a:lnTo>
                  <a:lnTo>
                    <a:pt x="4562" y="4311"/>
                  </a:lnTo>
                  <a:lnTo>
                    <a:pt x="4478" y="4353"/>
                  </a:lnTo>
                  <a:lnTo>
                    <a:pt x="4416" y="4416"/>
                  </a:lnTo>
                  <a:lnTo>
                    <a:pt x="4248" y="4478"/>
                  </a:lnTo>
                  <a:lnTo>
                    <a:pt x="4248" y="4520"/>
                  </a:lnTo>
                  <a:lnTo>
                    <a:pt x="4185" y="4583"/>
                  </a:lnTo>
                  <a:lnTo>
                    <a:pt x="4081" y="4625"/>
                  </a:lnTo>
                  <a:lnTo>
                    <a:pt x="3997" y="4625"/>
                  </a:lnTo>
                  <a:lnTo>
                    <a:pt x="3976" y="4688"/>
                  </a:lnTo>
                  <a:lnTo>
                    <a:pt x="3976" y="4771"/>
                  </a:lnTo>
                  <a:lnTo>
                    <a:pt x="4039" y="4813"/>
                  </a:lnTo>
                  <a:lnTo>
                    <a:pt x="3997" y="4876"/>
                  </a:lnTo>
                  <a:lnTo>
                    <a:pt x="3955" y="4897"/>
                  </a:lnTo>
                  <a:lnTo>
                    <a:pt x="3892" y="4939"/>
                  </a:lnTo>
                  <a:lnTo>
                    <a:pt x="3851" y="5022"/>
                  </a:lnTo>
                  <a:lnTo>
                    <a:pt x="3767" y="5043"/>
                  </a:lnTo>
                  <a:lnTo>
                    <a:pt x="3746" y="5127"/>
                  </a:lnTo>
                  <a:lnTo>
                    <a:pt x="3746" y="5169"/>
                  </a:lnTo>
                  <a:lnTo>
                    <a:pt x="3767" y="5211"/>
                  </a:lnTo>
                  <a:lnTo>
                    <a:pt x="3767" y="5294"/>
                  </a:lnTo>
                  <a:lnTo>
                    <a:pt x="3767" y="5336"/>
                  </a:lnTo>
                  <a:lnTo>
                    <a:pt x="3830" y="5357"/>
                  </a:lnTo>
                  <a:lnTo>
                    <a:pt x="3892" y="5357"/>
                  </a:lnTo>
                  <a:lnTo>
                    <a:pt x="3976" y="5420"/>
                  </a:lnTo>
                  <a:lnTo>
                    <a:pt x="4039" y="5420"/>
                  </a:lnTo>
                  <a:lnTo>
                    <a:pt x="4081" y="5357"/>
                  </a:lnTo>
                  <a:lnTo>
                    <a:pt x="4144" y="5357"/>
                  </a:lnTo>
                  <a:lnTo>
                    <a:pt x="4248" y="5441"/>
                  </a:lnTo>
                  <a:lnTo>
                    <a:pt x="4269" y="5525"/>
                  </a:lnTo>
                  <a:lnTo>
                    <a:pt x="4353" y="5525"/>
                  </a:lnTo>
                  <a:lnTo>
                    <a:pt x="4457" y="5441"/>
                  </a:lnTo>
                  <a:lnTo>
                    <a:pt x="4499" y="5441"/>
                  </a:lnTo>
                  <a:lnTo>
                    <a:pt x="4604" y="5462"/>
                  </a:lnTo>
                  <a:lnTo>
                    <a:pt x="4792" y="5462"/>
                  </a:lnTo>
                  <a:lnTo>
                    <a:pt x="4834" y="5441"/>
                  </a:lnTo>
                  <a:lnTo>
                    <a:pt x="4834" y="5336"/>
                  </a:lnTo>
                  <a:lnTo>
                    <a:pt x="4918" y="5253"/>
                  </a:lnTo>
                  <a:lnTo>
                    <a:pt x="4939" y="5253"/>
                  </a:lnTo>
                  <a:lnTo>
                    <a:pt x="4939" y="5357"/>
                  </a:lnTo>
                  <a:lnTo>
                    <a:pt x="4981" y="5378"/>
                  </a:lnTo>
                  <a:lnTo>
                    <a:pt x="4939" y="5441"/>
                  </a:lnTo>
                  <a:lnTo>
                    <a:pt x="4813" y="5483"/>
                  </a:lnTo>
                  <a:lnTo>
                    <a:pt x="4709" y="5566"/>
                  </a:lnTo>
                  <a:lnTo>
                    <a:pt x="4562" y="5546"/>
                  </a:lnTo>
                  <a:lnTo>
                    <a:pt x="4457" y="5566"/>
                  </a:lnTo>
                  <a:lnTo>
                    <a:pt x="4416" y="5629"/>
                  </a:lnTo>
                  <a:lnTo>
                    <a:pt x="4416" y="5671"/>
                  </a:lnTo>
                  <a:lnTo>
                    <a:pt x="4520" y="5755"/>
                  </a:lnTo>
                  <a:lnTo>
                    <a:pt x="4667" y="5755"/>
                  </a:lnTo>
                  <a:lnTo>
                    <a:pt x="4688" y="5776"/>
                  </a:lnTo>
                  <a:lnTo>
                    <a:pt x="4667" y="5859"/>
                  </a:lnTo>
                  <a:lnTo>
                    <a:pt x="4520" y="5943"/>
                  </a:lnTo>
                  <a:lnTo>
                    <a:pt x="4290" y="5943"/>
                  </a:lnTo>
                  <a:lnTo>
                    <a:pt x="4206" y="6048"/>
                  </a:lnTo>
                  <a:lnTo>
                    <a:pt x="4206" y="6152"/>
                  </a:lnTo>
                  <a:lnTo>
                    <a:pt x="4290" y="6194"/>
                  </a:lnTo>
                  <a:lnTo>
                    <a:pt x="4269" y="6299"/>
                  </a:lnTo>
                  <a:lnTo>
                    <a:pt x="4185" y="6320"/>
                  </a:lnTo>
                  <a:lnTo>
                    <a:pt x="4081" y="6487"/>
                  </a:lnTo>
                  <a:lnTo>
                    <a:pt x="4039" y="6571"/>
                  </a:lnTo>
                  <a:lnTo>
                    <a:pt x="3892" y="6613"/>
                  </a:lnTo>
                  <a:lnTo>
                    <a:pt x="3788" y="6738"/>
                  </a:lnTo>
                  <a:lnTo>
                    <a:pt x="3725" y="6843"/>
                  </a:lnTo>
                  <a:lnTo>
                    <a:pt x="3620" y="6947"/>
                  </a:lnTo>
                  <a:lnTo>
                    <a:pt x="3620" y="7010"/>
                  </a:lnTo>
                  <a:lnTo>
                    <a:pt x="3537" y="7031"/>
                  </a:lnTo>
                  <a:lnTo>
                    <a:pt x="3453" y="7031"/>
                  </a:lnTo>
                  <a:lnTo>
                    <a:pt x="3348" y="6947"/>
                  </a:lnTo>
                  <a:lnTo>
                    <a:pt x="3307" y="6906"/>
                  </a:lnTo>
                  <a:lnTo>
                    <a:pt x="3202" y="6885"/>
                  </a:lnTo>
                  <a:lnTo>
                    <a:pt x="3139" y="6822"/>
                  </a:lnTo>
                  <a:lnTo>
                    <a:pt x="3014" y="6801"/>
                  </a:lnTo>
                  <a:lnTo>
                    <a:pt x="2888" y="6822"/>
                  </a:lnTo>
                  <a:lnTo>
                    <a:pt x="2784" y="6885"/>
                  </a:lnTo>
                  <a:lnTo>
                    <a:pt x="2679" y="6843"/>
                  </a:lnTo>
                  <a:lnTo>
                    <a:pt x="2616" y="6822"/>
                  </a:lnTo>
                  <a:lnTo>
                    <a:pt x="2512" y="6843"/>
                  </a:lnTo>
                  <a:lnTo>
                    <a:pt x="2344" y="6843"/>
                  </a:lnTo>
                  <a:lnTo>
                    <a:pt x="2177" y="6927"/>
                  </a:lnTo>
                  <a:lnTo>
                    <a:pt x="2156" y="7010"/>
                  </a:lnTo>
                  <a:lnTo>
                    <a:pt x="2198" y="7052"/>
                  </a:lnTo>
                  <a:lnTo>
                    <a:pt x="2177" y="7115"/>
                  </a:lnTo>
                  <a:lnTo>
                    <a:pt x="2156" y="7052"/>
                  </a:lnTo>
                  <a:lnTo>
                    <a:pt x="2072" y="7052"/>
                  </a:lnTo>
                  <a:lnTo>
                    <a:pt x="1654" y="7157"/>
                  </a:lnTo>
                  <a:lnTo>
                    <a:pt x="1549" y="7157"/>
                  </a:lnTo>
                  <a:lnTo>
                    <a:pt x="1486" y="7199"/>
                  </a:lnTo>
                  <a:lnTo>
                    <a:pt x="1465" y="7199"/>
                  </a:lnTo>
                  <a:lnTo>
                    <a:pt x="1382" y="7157"/>
                  </a:lnTo>
                  <a:lnTo>
                    <a:pt x="1319" y="7219"/>
                  </a:lnTo>
                  <a:lnTo>
                    <a:pt x="1277" y="7261"/>
                  </a:lnTo>
                  <a:lnTo>
                    <a:pt x="1214" y="7303"/>
                  </a:lnTo>
                  <a:lnTo>
                    <a:pt x="1172" y="7261"/>
                  </a:lnTo>
                  <a:lnTo>
                    <a:pt x="1172" y="7240"/>
                  </a:lnTo>
                  <a:lnTo>
                    <a:pt x="1110" y="7219"/>
                  </a:lnTo>
                  <a:lnTo>
                    <a:pt x="1026" y="7219"/>
                  </a:lnTo>
                  <a:lnTo>
                    <a:pt x="942" y="7261"/>
                  </a:lnTo>
                  <a:lnTo>
                    <a:pt x="859" y="7261"/>
                  </a:lnTo>
                  <a:lnTo>
                    <a:pt x="817" y="7240"/>
                  </a:lnTo>
                  <a:lnTo>
                    <a:pt x="733" y="7240"/>
                  </a:lnTo>
                  <a:lnTo>
                    <a:pt x="691" y="7303"/>
                  </a:lnTo>
                  <a:lnTo>
                    <a:pt x="607" y="7324"/>
                  </a:lnTo>
                  <a:lnTo>
                    <a:pt x="607" y="7366"/>
                  </a:lnTo>
                  <a:lnTo>
                    <a:pt x="607" y="7429"/>
                  </a:lnTo>
                  <a:lnTo>
                    <a:pt x="419" y="7512"/>
                  </a:lnTo>
                  <a:lnTo>
                    <a:pt x="315" y="7512"/>
                  </a:lnTo>
                  <a:lnTo>
                    <a:pt x="294" y="7554"/>
                  </a:lnTo>
                  <a:lnTo>
                    <a:pt x="335" y="7638"/>
                  </a:lnTo>
                  <a:lnTo>
                    <a:pt x="419" y="7638"/>
                  </a:lnTo>
                  <a:lnTo>
                    <a:pt x="482" y="7659"/>
                  </a:lnTo>
                  <a:lnTo>
                    <a:pt x="482" y="7722"/>
                  </a:lnTo>
                  <a:lnTo>
                    <a:pt x="398" y="7722"/>
                  </a:lnTo>
                  <a:lnTo>
                    <a:pt x="377" y="7680"/>
                  </a:lnTo>
                  <a:lnTo>
                    <a:pt x="335" y="7722"/>
                  </a:lnTo>
                  <a:lnTo>
                    <a:pt x="294" y="7784"/>
                  </a:lnTo>
                  <a:lnTo>
                    <a:pt x="189" y="7847"/>
                  </a:lnTo>
                  <a:lnTo>
                    <a:pt x="105" y="7868"/>
                  </a:lnTo>
                  <a:lnTo>
                    <a:pt x="168" y="7931"/>
                  </a:lnTo>
                  <a:lnTo>
                    <a:pt x="273" y="7973"/>
                  </a:lnTo>
                  <a:lnTo>
                    <a:pt x="315" y="8035"/>
                  </a:lnTo>
                  <a:lnTo>
                    <a:pt x="419" y="8266"/>
                  </a:lnTo>
                  <a:lnTo>
                    <a:pt x="482" y="8307"/>
                  </a:lnTo>
                  <a:lnTo>
                    <a:pt x="587" y="8307"/>
                  </a:lnTo>
                  <a:lnTo>
                    <a:pt x="628" y="8349"/>
                  </a:lnTo>
                  <a:lnTo>
                    <a:pt x="649" y="8391"/>
                  </a:lnTo>
                  <a:lnTo>
                    <a:pt x="607" y="8454"/>
                  </a:lnTo>
                  <a:lnTo>
                    <a:pt x="545" y="8496"/>
                  </a:lnTo>
                  <a:lnTo>
                    <a:pt x="524" y="8559"/>
                  </a:lnTo>
                  <a:lnTo>
                    <a:pt x="587" y="8621"/>
                  </a:lnTo>
                  <a:lnTo>
                    <a:pt x="691" y="8663"/>
                  </a:lnTo>
                  <a:lnTo>
                    <a:pt x="817" y="8621"/>
                  </a:lnTo>
                  <a:lnTo>
                    <a:pt x="921" y="8559"/>
                  </a:lnTo>
                  <a:lnTo>
                    <a:pt x="963" y="8496"/>
                  </a:lnTo>
                  <a:lnTo>
                    <a:pt x="1005" y="8475"/>
                  </a:lnTo>
                  <a:lnTo>
                    <a:pt x="1047" y="8496"/>
                  </a:lnTo>
                  <a:lnTo>
                    <a:pt x="1068" y="8559"/>
                  </a:lnTo>
                  <a:lnTo>
                    <a:pt x="1005" y="8684"/>
                  </a:lnTo>
                  <a:lnTo>
                    <a:pt x="900" y="8726"/>
                  </a:lnTo>
                  <a:lnTo>
                    <a:pt x="796" y="8768"/>
                  </a:lnTo>
                  <a:lnTo>
                    <a:pt x="754" y="8810"/>
                  </a:lnTo>
                  <a:lnTo>
                    <a:pt x="796" y="8893"/>
                  </a:lnTo>
                  <a:lnTo>
                    <a:pt x="900" y="8914"/>
                  </a:lnTo>
                  <a:lnTo>
                    <a:pt x="963" y="8872"/>
                  </a:lnTo>
                  <a:lnTo>
                    <a:pt x="1110" y="8810"/>
                  </a:lnTo>
                  <a:lnTo>
                    <a:pt x="1151" y="8831"/>
                  </a:lnTo>
                  <a:lnTo>
                    <a:pt x="1151" y="8872"/>
                  </a:lnTo>
                  <a:lnTo>
                    <a:pt x="963" y="8935"/>
                  </a:lnTo>
                  <a:lnTo>
                    <a:pt x="838" y="8998"/>
                  </a:lnTo>
                  <a:lnTo>
                    <a:pt x="817" y="9040"/>
                  </a:lnTo>
                  <a:lnTo>
                    <a:pt x="1005" y="9228"/>
                  </a:lnTo>
                  <a:lnTo>
                    <a:pt x="1131" y="9291"/>
                  </a:lnTo>
                  <a:lnTo>
                    <a:pt x="1277" y="9291"/>
                  </a:lnTo>
                  <a:lnTo>
                    <a:pt x="1340" y="9228"/>
                  </a:lnTo>
                  <a:lnTo>
                    <a:pt x="1361" y="9103"/>
                  </a:lnTo>
                  <a:lnTo>
                    <a:pt x="1319" y="9040"/>
                  </a:lnTo>
                  <a:lnTo>
                    <a:pt x="1277" y="8998"/>
                  </a:lnTo>
                  <a:lnTo>
                    <a:pt x="1319" y="8977"/>
                  </a:lnTo>
                  <a:lnTo>
                    <a:pt x="1361" y="8977"/>
                  </a:lnTo>
                  <a:lnTo>
                    <a:pt x="1444" y="9082"/>
                  </a:lnTo>
                  <a:lnTo>
                    <a:pt x="1465" y="9103"/>
                  </a:lnTo>
                  <a:lnTo>
                    <a:pt x="1465" y="9144"/>
                  </a:lnTo>
                  <a:lnTo>
                    <a:pt x="1570" y="9207"/>
                  </a:lnTo>
                  <a:lnTo>
                    <a:pt x="1758" y="9228"/>
                  </a:lnTo>
                  <a:lnTo>
                    <a:pt x="1884" y="9228"/>
                  </a:lnTo>
                  <a:lnTo>
                    <a:pt x="1988" y="9144"/>
                  </a:lnTo>
                  <a:lnTo>
                    <a:pt x="2051" y="9123"/>
                  </a:lnTo>
                  <a:lnTo>
                    <a:pt x="2114" y="9144"/>
                  </a:lnTo>
                  <a:lnTo>
                    <a:pt x="2114" y="9228"/>
                  </a:lnTo>
                  <a:lnTo>
                    <a:pt x="2177" y="9291"/>
                  </a:lnTo>
                  <a:lnTo>
                    <a:pt x="2219" y="9291"/>
                  </a:lnTo>
                  <a:lnTo>
                    <a:pt x="2281" y="9312"/>
                  </a:lnTo>
                  <a:lnTo>
                    <a:pt x="2302" y="9458"/>
                  </a:lnTo>
                  <a:lnTo>
                    <a:pt x="2260" y="9458"/>
                  </a:lnTo>
                  <a:lnTo>
                    <a:pt x="2114" y="9542"/>
                  </a:lnTo>
                  <a:lnTo>
                    <a:pt x="2114" y="9626"/>
                  </a:lnTo>
                  <a:lnTo>
                    <a:pt x="2156" y="9667"/>
                  </a:lnTo>
                  <a:lnTo>
                    <a:pt x="2156" y="9730"/>
                  </a:lnTo>
                  <a:lnTo>
                    <a:pt x="2072" y="9667"/>
                  </a:lnTo>
                  <a:lnTo>
                    <a:pt x="2051" y="9647"/>
                  </a:lnTo>
                  <a:lnTo>
                    <a:pt x="1968" y="9626"/>
                  </a:lnTo>
                  <a:lnTo>
                    <a:pt x="1884" y="9542"/>
                  </a:lnTo>
                  <a:lnTo>
                    <a:pt x="1696" y="9458"/>
                  </a:lnTo>
                  <a:lnTo>
                    <a:pt x="1465" y="9458"/>
                  </a:lnTo>
                  <a:lnTo>
                    <a:pt x="1319" y="9437"/>
                  </a:lnTo>
                  <a:lnTo>
                    <a:pt x="1110" y="9500"/>
                  </a:lnTo>
                  <a:lnTo>
                    <a:pt x="1110" y="9542"/>
                  </a:lnTo>
                  <a:lnTo>
                    <a:pt x="1214" y="9626"/>
                  </a:lnTo>
                  <a:lnTo>
                    <a:pt x="1361" y="9647"/>
                  </a:lnTo>
                  <a:lnTo>
                    <a:pt x="1486" y="9667"/>
                  </a:lnTo>
                  <a:lnTo>
                    <a:pt x="1654" y="9772"/>
                  </a:lnTo>
                  <a:lnTo>
                    <a:pt x="1842" y="9856"/>
                  </a:lnTo>
                  <a:lnTo>
                    <a:pt x="1947" y="9856"/>
                  </a:lnTo>
                  <a:lnTo>
                    <a:pt x="2009" y="9877"/>
                  </a:lnTo>
                  <a:lnTo>
                    <a:pt x="1884" y="9940"/>
                  </a:lnTo>
                  <a:lnTo>
                    <a:pt x="1654" y="9940"/>
                  </a:lnTo>
                  <a:lnTo>
                    <a:pt x="1444" y="9814"/>
                  </a:lnTo>
                  <a:lnTo>
                    <a:pt x="1361" y="9751"/>
                  </a:lnTo>
                  <a:lnTo>
                    <a:pt x="1214" y="9751"/>
                  </a:lnTo>
                  <a:lnTo>
                    <a:pt x="1005" y="9647"/>
                  </a:lnTo>
                  <a:lnTo>
                    <a:pt x="796" y="9647"/>
                  </a:lnTo>
                  <a:lnTo>
                    <a:pt x="649" y="9563"/>
                  </a:lnTo>
                  <a:lnTo>
                    <a:pt x="482" y="9521"/>
                  </a:lnTo>
                  <a:lnTo>
                    <a:pt x="294" y="9605"/>
                  </a:lnTo>
                  <a:lnTo>
                    <a:pt x="294" y="9730"/>
                  </a:lnTo>
                  <a:lnTo>
                    <a:pt x="231" y="9667"/>
                  </a:lnTo>
                  <a:lnTo>
                    <a:pt x="168" y="9667"/>
                  </a:lnTo>
                  <a:lnTo>
                    <a:pt x="105" y="9730"/>
                  </a:lnTo>
                  <a:lnTo>
                    <a:pt x="63" y="9730"/>
                  </a:lnTo>
                  <a:lnTo>
                    <a:pt x="1" y="9814"/>
                  </a:lnTo>
                  <a:lnTo>
                    <a:pt x="1" y="9877"/>
                  </a:lnTo>
                  <a:lnTo>
                    <a:pt x="1" y="9960"/>
                  </a:lnTo>
                  <a:lnTo>
                    <a:pt x="63" y="9940"/>
                  </a:lnTo>
                  <a:lnTo>
                    <a:pt x="105" y="9940"/>
                  </a:lnTo>
                  <a:lnTo>
                    <a:pt x="147" y="9960"/>
                  </a:lnTo>
                  <a:lnTo>
                    <a:pt x="63" y="10023"/>
                  </a:lnTo>
                  <a:lnTo>
                    <a:pt x="22" y="10086"/>
                  </a:lnTo>
                  <a:lnTo>
                    <a:pt x="63" y="10191"/>
                  </a:lnTo>
                  <a:lnTo>
                    <a:pt x="189" y="10253"/>
                  </a:lnTo>
                  <a:lnTo>
                    <a:pt x="273" y="10170"/>
                  </a:lnTo>
                  <a:lnTo>
                    <a:pt x="315" y="10149"/>
                  </a:lnTo>
                  <a:lnTo>
                    <a:pt x="377" y="10149"/>
                  </a:lnTo>
                  <a:lnTo>
                    <a:pt x="440" y="10023"/>
                  </a:lnTo>
                  <a:lnTo>
                    <a:pt x="503" y="9981"/>
                  </a:lnTo>
                  <a:lnTo>
                    <a:pt x="587" y="9981"/>
                  </a:lnTo>
                  <a:lnTo>
                    <a:pt x="524" y="10044"/>
                  </a:lnTo>
                  <a:lnTo>
                    <a:pt x="482" y="10170"/>
                  </a:lnTo>
                  <a:lnTo>
                    <a:pt x="398" y="10232"/>
                  </a:lnTo>
                  <a:lnTo>
                    <a:pt x="315" y="10274"/>
                  </a:lnTo>
                  <a:lnTo>
                    <a:pt x="356" y="10442"/>
                  </a:lnTo>
                  <a:lnTo>
                    <a:pt x="503" y="10588"/>
                  </a:lnTo>
                  <a:lnTo>
                    <a:pt x="566" y="10546"/>
                  </a:lnTo>
                  <a:lnTo>
                    <a:pt x="607" y="10546"/>
                  </a:lnTo>
                  <a:lnTo>
                    <a:pt x="775" y="10609"/>
                  </a:lnTo>
                  <a:lnTo>
                    <a:pt x="879" y="10609"/>
                  </a:lnTo>
                  <a:lnTo>
                    <a:pt x="879" y="10672"/>
                  </a:lnTo>
                  <a:lnTo>
                    <a:pt x="817" y="10756"/>
                  </a:lnTo>
                  <a:lnTo>
                    <a:pt x="733" y="10797"/>
                  </a:lnTo>
                  <a:lnTo>
                    <a:pt x="712" y="10776"/>
                  </a:lnTo>
                  <a:lnTo>
                    <a:pt x="545" y="10776"/>
                  </a:lnTo>
                  <a:lnTo>
                    <a:pt x="482" y="10797"/>
                  </a:lnTo>
                  <a:lnTo>
                    <a:pt x="419" y="10881"/>
                  </a:lnTo>
                  <a:lnTo>
                    <a:pt x="273" y="10881"/>
                  </a:lnTo>
                  <a:lnTo>
                    <a:pt x="210" y="10923"/>
                  </a:lnTo>
                  <a:lnTo>
                    <a:pt x="210" y="11069"/>
                  </a:lnTo>
                  <a:lnTo>
                    <a:pt x="294" y="11174"/>
                  </a:lnTo>
                  <a:lnTo>
                    <a:pt x="335" y="11237"/>
                  </a:lnTo>
                  <a:lnTo>
                    <a:pt x="419" y="11425"/>
                  </a:lnTo>
                  <a:lnTo>
                    <a:pt x="545" y="11488"/>
                  </a:lnTo>
                  <a:lnTo>
                    <a:pt x="503" y="11509"/>
                  </a:lnTo>
                  <a:lnTo>
                    <a:pt x="503" y="11530"/>
                  </a:lnTo>
                  <a:lnTo>
                    <a:pt x="587" y="11592"/>
                  </a:lnTo>
                  <a:lnTo>
                    <a:pt x="670" y="11697"/>
                  </a:lnTo>
                  <a:lnTo>
                    <a:pt x="754" y="11760"/>
                  </a:lnTo>
                  <a:lnTo>
                    <a:pt x="859" y="11823"/>
                  </a:lnTo>
                  <a:lnTo>
                    <a:pt x="963" y="11927"/>
                  </a:lnTo>
                  <a:lnTo>
                    <a:pt x="1047" y="11969"/>
                  </a:lnTo>
                  <a:lnTo>
                    <a:pt x="1068" y="11948"/>
                  </a:lnTo>
                  <a:lnTo>
                    <a:pt x="1068" y="11864"/>
                  </a:lnTo>
                  <a:lnTo>
                    <a:pt x="1047" y="11718"/>
                  </a:lnTo>
                  <a:lnTo>
                    <a:pt x="1047" y="11634"/>
                  </a:lnTo>
                  <a:lnTo>
                    <a:pt x="1110" y="11592"/>
                  </a:lnTo>
                  <a:lnTo>
                    <a:pt x="1131" y="11488"/>
                  </a:lnTo>
                  <a:lnTo>
                    <a:pt x="1131" y="11404"/>
                  </a:lnTo>
                  <a:lnTo>
                    <a:pt x="1172" y="11383"/>
                  </a:lnTo>
                  <a:lnTo>
                    <a:pt x="1214" y="11383"/>
                  </a:lnTo>
                  <a:lnTo>
                    <a:pt x="1235" y="11488"/>
                  </a:lnTo>
                  <a:lnTo>
                    <a:pt x="1277" y="11592"/>
                  </a:lnTo>
                  <a:lnTo>
                    <a:pt x="1277" y="11655"/>
                  </a:lnTo>
                  <a:lnTo>
                    <a:pt x="1319" y="11718"/>
                  </a:lnTo>
                  <a:lnTo>
                    <a:pt x="1340" y="11697"/>
                  </a:lnTo>
                  <a:lnTo>
                    <a:pt x="1361" y="11634"/>
                  </a:lnTo>
                  <a:lnTo>
                    <a:pt x="1444" y="11634"/>
                  </a:lnTo>
                  <a:lnTo>
                    <a:pt x="1549" y="11551"/>
                  </a:lnTo>
                  <a:lnTo>
                    <a:pt x="1570" y="11592"/>
                  </a:lnTo>
                  <a:lnTo>
                    <a:pt x="1654" y="11592"/>
                  </a:lnTo>
                  <a:lnTo>
                    <a:pt x="1675" y="11634"/>
                  </a:lnTo>
                  <a:lnTo>
                    <a:pt x="1612" y="11718"/>
                  </a:lnTo>
                  <a:lnTo>
                    <a:pt x="1549" y="11823"/>
                  </a:lnTo>
                  <a:lnTo>
                    <a:pt x="1549" y="11927"/>
                  </a:lnTo>
                  <a:lnTo>
                    <a:pt x="1633" y="11948"/>
                  </a:lnTo>
                  <a:lnTo>
                    <a:pt x="1675" y="11927"/>
                  </a:lnTo>
                  <a:lnTo>
                    <a:pt x="1737" y="11739"/>
                  </a:lnTo>
                  <a:lnTo>
                    <a:pt x="1758" y="11655"/>
                  </a:lnTo>
                  <a:lnTo>
                    <a:pt x="1842" y="11697"/>
                  </a:lnTo>
                  <a:lnTo>
                    <a:pt x="1926" y="11823"/>
                  </a:lnTo>
                  <a:lnTo>
                    <a:pt x="1968" y="11844"/>
                  </a:lnTo>
                  <a:lnTo>
                    <a:pt x="2051" y="11802"/>
                  </a:lnTo>
                  <a:lnTo>
                    <a:pt x="2051" y="11718"/>
                  </a:lnTo>
                  <a:lnTo>
                    <a:pt x="2093" y="11634"/>
                  </a:lnTo>
                  <a:lnTo>
                    <a:pt x="2198" y="11634"/>
                  </a:lnTo>
                  <a:lnTo>
                    <a:pt x="2240" y="11655"/>
                  </a:lnTo>
                  <a:lnTo>
                    <a:pt x="2240" y="11760"/>
                  </a:lnTo>
                  <a:lnTo>
                    <a:pt x="2177" y="11864"/>
                  </a:lnTo>
                  <a:lnTo>
                    <a:pt x="2177" y="11969"/>
                  </a:lnTo>
                  <a:lnTo>
                    <a:pt x="2240" y="11927"/>
                  </a:lnTo>
                  <a:lnTo>
                    <a:pt x="2344" y="11844"/>
                  </a:lnTo>
                  <a:lnTo>
                    <a:pt x="2386" y="11739"/>
                  </a:lnTo>
                  <a:lnTo>
                    <a:pt x="2470" y="11655"/>
                  </a:lnTo>
                  <a:lnTo>
                    <a:pt x="2595" y="11634"/>
                  </a:lnTo>
                  <a:lnTo>
                    <a:pt x="2700" y="11655"/>
                  </a:lnTo>
                  <a:lnTo>
                    <a:pt x="2784" y="11739"/>
                  </a:lnTo>
                  <a:lnTo>
                    <a:pt x="2909" y="11802"/>
                  </a:lnTo>
                  <a:lnTo>
                    <a:pt x="3076" y="11927"/>
                  </a:lnTo>
                  <a:lnTo>
                    <a:pt x="3181" y="11948"/>
                  </a:lnTo>
                  <a:lnTo>
                    <a:pt x="3223" y="11906"/>
                  </a:lnTo>
                  <a:lnTo>
                    <a:pt x="3286" y="11906"/>
                  </a:lnTo>
                  <a:lnTo>
                    <a:pt x="3390" y="12011"/>
                  </a:lnTo>
                  <a:lnTo>
                    <a:pt x="3516" y="12116"/>
                  </a:lnTo>
                  <a:lnTo>
                    <a:pt x="3495" y="12220"/>
                  </a:lnTo>
                  <a:lnTo>
                    <a:pt x="3495" y="12241"/>
                  </a:lnTo>
                  <a:lnTo>
                    <a:pt x="3537" y="12241"/>
                  </a:lnTo>
                  <a:lnTo>
                    <a:pt x="3558" y="12220"/>
                  </a:lnTo>
                  <a:lnTo>
                    <a:pt x="3620" y="12241"/>
                  </a:lnTo>
                  <a:lnTo>
                    <a:pt x="3662" y="12325"/>
                  </a:lnTo>
                  <a:lnTo>
                    <a:pt x="3746" y="12367"/>
                  </a:lnTo>
                  <a:lnTo>
                    <a:pt x="3809" y="12429"/>
                  </a:lnTo>
                  <a:lnTo>
                    <a:pt x="3830" y="12492"/>
                  </a:lnTo>
                  <a:lnTo>
                    <a:pt x="3851" y="12534"/>
                  </a:lnTo>
                  <a:lnTo>
                    <a:pt x="3913" y="12534"/>
                  </a:lnTo>
                  <a:lnTo>
                    <a:pt x="3913" y="12471"/>
                  </a:lnTo>
                  <a:lnTo>
                    <a:pt x="3955" y="12471"/>
                  </a:lnTo>
                  <a:lnTo>
                    <a:pt x="4018" y="12492"/>
                  </a:lnTo>
                  <a:lnTo>
                    <a:pt x="4039" y="12576"/>
                  </a:lnTo>
                  <a:lnTo>
                    <a:pt x="4164" y="12681"/>
                  </a:lnTo>
                  <a:lnTo>
                    <a:pt x="4248" y="12785"/>
                  </a:lnTo>
                  <a:lnTo>
                    <a:pt x="4290" y="12806"/>
                  </a:lnTo>
                  <a:lnTo>
                    <a:pt x="4353" y="12869"/>
                  </a:lnTo>
                  <a:lnTo>
                    <a:pt x="4332" y="12953"/>
                  </a:lnTo>
                  <a:lnTo>
                    <a:pt x="4353" y="12973"/>
                  </a:lnTo>
                  <a:lnTo>
                    <a:pt x="4353" y="13015"/>
                  </a:lnTo>
                  <a:lnTo>
                    <a:pt x="4290" y="13078"/>
                  </a:lnTo>
                  <a:lnTo>
                    <a:pt x="4248" y="13183"/>
                  </a:lnTo>
                  <a:lnTo>
                    <a:pt x="4164" y="13225"/>
                  </a:lnTo>
                  <a:lnTo>
                    <a:pt x="4164" y="13266"/>
                  </a:lnTo>
                  <a:lnTo>
                    <a:pt x="4269" y="13266"/>
                  </a:lnTo>
                  <a:lnTo>
                    <a:pt x="4290" y="13287"/>
                  </a:lnTo>
                  <a:lnTo>
                    <a:pt x="4269" y="13329"/>
                  </a:lnTo>
                  <a:lnTo>
                    <a:pt x="4227" y="13371"/>
                  </a:lnTo>
                  <a:lnTo>
                    <a:pt x="4123" y="13476"/>
                  </a:lnTo>
                  <a:lnTo>
                    <a:pt x="4081" y="13497"/>
                  </a:lnTo>
                  <a:lnTo>
                    <a:pt x="4081" y="13538"/>
                  </a:lnTo>
                  <a:lnTo>
                    <a:pt x="4144" y="13601"/>
                  </a:lnTo>
                  <a:lnTo>
                    <a:pt x="4185" y="13685"/>
                  </a:lnTo>
                  <a:lnTo>
                    <a:pt x="4185" y="13727"/>
                  </a:lnTo>
                  <a:lnTo>
                    <a:pt x="4374" y="13894"/>
                  </a:lnTo>
                  <a:lnTo>
                    <a:pt x="4416" y="13957"/>
                  </a:lnTo>
                  <a:lnTo>
                    <a:pt x="4416" y="14061"/>
                  </a:lnTo>
                  <a:lnTo>
                    <a:pt x="4457" y="14124"/>
                  </a:lnTo>
                  <a:lnTo>
                    <a:pt x="4416" y="14166"/>
                  </a:lnTo>
                  <a:lnTo>
                    <a:pt x="4416" y="14250"/>
                  </a:lnTo>
                  <a:lnTo>
                    <a:pt x="4478" y="14333"/>
                  </a:lnTo>
                  <a:lnTo>
                    <a:pt x="4520" y="14333"/>
                  </a:lnTo>
                  <a:lnTo>
                    <a:pt x="4562" y="14354"/>
                  </a:lnTo>
                  <a:lnTo>
                    <a:pt x="4583" y="14438"/>
                  </a:lnTo>
                  <a:lnTo>
                    <a:pt x="4667" y="14543"/>
                  </a:lnTo>
                  <a:lnTo>
                    <a:pt x="4709" y="14585"/>
                  </a:lnTo>
                  <a:lnTo>
                    <a:pt x="4709" y="14668"/>
                  </a:lnTo>
                  <a:lnTo>
                    <a:pt x="4688" y="14752"/>
                  </a:lnTo>
                  <a:lnTo>
                    <a:pt x="4604" y="14773"/>
                  </a:lnTo>
                  <a:lnTo>
                    <a:pt x="4520" y="14857"/>
                  </a:lnTo>
                  <a:lnTo>
                    <a:pt x="4499" y="14940"/>
                  </a:lnTo>
                  <a:lnTo>
                    <a:pt x="4457" y="15003"/>
                  </a:lnTo>
                  <a:lnTo>
                    <a:pt x="4395" y="15003"/>
                  </a:lnTo>
                  <a:lnTo>
                    <a:pt x="4290" y="15087"/>
                  </a:lnTo>
                  <a:lnTo>
                    <a:pt x="4269" y="15149"/>
                  </a:lnTo>
                  <a:lnTo>
                    <a:pt x="4311" y="15170"/>
                  </a:lnTo>
                  <a:lnTo>
                    <a:pt x="4374" y="15149"/>
                  </a:lnTo>
                  <a:lnTo>
                    <a:pt x="4416" y="15087"/>
                  </a:lnTo>
                  <a:lnTo>
                    <a:pt x="4478" y="15087"/>
                  </a:lnTo>
                  <a:lnTo>
                    <a:pt x="4583" y="14982"/>
                  </a:lnTo>
                  <a:lnTo>
                    <a:pt x="4688" y="14982"/>
                  </a:lnTo>
                  <a:lnTo>
                    <a:pt x="4667" y="15108"/>
                  </a:lnTo>
                  <a:lnTo>
                    <a:pt x="4625" y="15170"/>
                  </a:lnTo>
                  <a:lnTo>
                    <a:pt x="4667" y="15254"/>
                  </a:lnTo>
                  <a:lnTo>
                    <a:pt x="4667" y="15317"/>
                  </a:lnTo>
                  <a:lnTo>
                    <a:pt x="4709" y="15421"/>
                  </a:lnTo>
                  <a:lnTo>
                    <a:pt x="4729" y="15526"/>
                  </a:lnTo>
                  <a:lnTo>
                    <a:pt x="4688" y="15631"/>
                  </a:lnTo>
                  <a:lnTo>
                    <a:pt x="4688" y="15694"/>
                  </a:lnTo>
                  <a:lnTo>
                    <a:pt x="4709" y="15777"/>
                  </a:lnTo>
                  <a:lnTo>
                    <a:pt x="4709" y="15798"/>
                  </a:lnTo>
                  <a:lnTo>
                    <a:pt x="4667" y="15735"/>
                  </a:lnTo>
                  <a:lnTo>
                    <a:pt x="4604" y="15777"/>
                  </a:lnTo>
                  <a:lnTo>
                    <a:pt x="4625" y="15903"/>
                  </a:lnTo>
                  <a:lnTo>
                    <a:pt x="4688" y="16007"/>
                  </a:lnTo>
                  <a:lnTo>
                    <a:pt x="4688" y="16049"/>
                  </a:lnTo>
                  <a:lnTo>
                    <a:pt x="4667" y="16049"/>
                  </a:lnTo>
                  <a:lnTo>
                    <a:pt x="4604" y="16112"/>
                  </a:lnTo>
                  <a:lnTo>
                    <a:pt x="4625" y="16196"/>
                  </a:lnTo>
                  <a:lnTo>
                    <a:pt x="4667" y="16238"/>
                  </a:lnTo>
                  <a:lnTo>
                    <a:pt x="4729" y="16238"/>
                  </a:lnTo>
                  <a:lnTo>
                    <a:pt x="4792" y="16300"/>
                  </a:lnTo>
                  <a:lnTo>
                    <a:pt x="4792" y="16342"/>
                  </a:lnTo>
                  <a:lnTo>
                    <a:pt x="4729" y="16405"/>
                  </a:lnTo>
                  <a:lnTo>
                    <a:pt x="4729" y="16468"/>
                  </a:lnTo>
                  <a:lnTo>
                    <a:pt x="4667" y="16551"/>
                  </a:lnTo>
                  <a:lnTo>
                    <a:pt x="4604" y="16572"/>
                  </a:lnTo>
                  <a:lnTo>
                    <a:pt x="4520" y="16551"/>
                  </a:lnTo>
                  <a:lnTo>
                    <a:pt x="4478" y="16572"/>
                  </a:lnTo>
                  <a:lnTo>
                    <a:pt x="4478" y="16635"/>
                  </a:lnTo>
                  <a:lnTo>
                    <a:pt x="4562" y="16656"/>
                  </a:lnTo>
                  <a:lnTo>
                    <a:pt x="4625" y="16656"/>
                  </a:lnTo>
                  <a:lnTo>
                    <a:pt x="4688" y="16719"/>
                  </a:lnTo>
                  <a:lnTo>
                    <a:pt x="4729" y="16719"/>
                  </a:lnTo>
                  <a:lnTo>
                    <a:pt x="4813" y="16740"/>
                  </a:lnTo>
                  <a:lnTo>
                    <a:pt x="4855" y="16782"/>
                  </a:lnTo>
                  <a:lnTo>
                    <a:pt x="4855" y="16886"/>
                  </a:lnTo>
                  <a:lnTo>
                    <a:pt x="4876" y="17033"/>
                  </a:lnTo>
                  <a:lnTo>
                    <a:pt x="4771" y="17137"/>
                  </a:lnTo>
                  <a:lnTo>
                    <a:pt x="4750" y="17200"/>
                  </a:lnTo>
                  <a:lnTo>
                    <a:pt x="4792" y="17263"/>
                  </a:lnTo>
                  <a:lnTo>
                    <a:pt x="4709" y="17409"/>
                  </a:lnTo>
                  <a:lnTo>
                    <a:pt x="4604" y="17472"/>
                  </a:lnTo>
                  <a:lnTo>
                    <a:pt x="4541" y="17472"/>
                  </a:lnTo>
                  <a:lnTo>
                    <a:pt x="4478" y="17409"/>
                  </a:lnTo>
                  <a:lnTo>
                    <a:pt x="4436" y="17409"/>
                  </a:lnTo>
                  <a:lnTo>
                    <a:pt x="4332" y="17493"/>
                  </a:lnTo>
                  <a:lnTo>
                    <a:pt x="4290" y="17577"/>
                  </a:lnTo>
                  <a:lnTo>
                    <a:pt x="4332" y="17598"/>
                  </a:lnTo>
                  <a:lnTo>
                    <a:pt x="4374" y="17598"/>
                  </a:lnTo>
                  <a:lnTo>
                    <a:pt x="4541" y="17618"/>
                  </a:lnTo>
                  <a:lnTo>
                    <a:pt x="4583" y="17577"/>
                  </a:lnTo>
                  <a:lnTo>
                    <a:pt x="4604" y="17556"/>
                  </a:lnTo>
                  <a:lnTo>
                    <a:pt x="4646" y="17577"/>
                  </a:lnTo>
                  <a:lnTo>
                    <a:pt x="4646" y="17618"/>
                  </a:lnTo>
                  <a:lnTo>
                    <a:pt x="4667" y="17660"/>
                  </a:lnTo>
                  <a:lnTo>
                    <a:pt x="4604" y="17702"/>
                  </a:lnTo>
                  <a:lnTo>
                    <a:pt x="4562" y="17702"/>
                  </a:lnTo>
                  <a:lnTo>
                    <a:pt x="4541" y="17723"/>
                  </a:lnTo>
                  <a:lnTo>
                    <a:pt x="4541" y="17807"/>
                  </a:lnTo>
                  <a:lnTo>
                    <a:pt x="4499" y="17828"/>
                  </a:lnTo>
                  <a:lnTo>
                    <a:pt x="4436" y="17828"/>
                  </a:lnTo>
                  <a:lnTo>
                    <a:pt x="4290" y="17932"/>
                  </a:lnTo>
                  <a:lnTo>
                    <a:pt x="4185" y="17995"/>
                  </a:lnTo>
                  <a:lnTo>
                    <a:pt x="4185" y="18037"/>
                  </a:lnTo>
                  <a:lnTo>
                    <a:pt x="4269" y="18121"/>
                  </a:lnTo>
                  <a:lnTo>
                    <a:pt x="4395" y="18142"/>
                  </a:lnTo>
                  <a:lnTo>
                    <a:pt x="4499" y="18121"/>
                  </a:lnTo>
                  <a:lnTo>
                    <a:pt x="4583" y="18016"/>
                  </a:lnTo>
                  <a:lnTo>
                    <a:pt x="4646" y="17911"/>
                  </a:lnTo>
                  <a:lnTo>
                    <a:pt x="4688" y="17870"/>
                  </a:lnTo>
                  <a:lnTo>
                    <a:pt x="4709" y="17870"/>
                  </a:lnTo>
                  <a:lnTo>
                    <a:pt x="4709" y="17911"/>
                  </a:lnTo>
                  <a:lnTo>
                    <a:pt x="4604" y="18079"/>
                  </a:lnTo>
                  <a:lnTo>
                    <a:pt x="4478" y="18204"/>
                  </a:lnTo>
                  <a:lnTo>
                    <a:pt x="4436" y="18183"/>
                  </a:lnTo>
                  <a:lnTo>
                    <a:pt x="4269" y="18204"/>
                  </a:lnTo>
                  <a:lnTo>
                    <a:pt x="4227" y="18225"/>
                  </a:lnTo>
                  <a:lnTo>
                    <a:pt x="4164" y="18309"/>
                  </a:lnTo>
                  <a:lnTo>
                    <a:pt x="4144" y="18288"/>
                  </a:lnTo>
                  <a:lnTo>
                    <a:pt x="4039" y="18288"/>
                  </a:lnTo>
                  <a:lnTo>
                    <a:pt x="3934" y="18330"/>
                  </a:lnTo>
                  <a:lnTo>
                    <a:pt x="3934" y="18393"/>
                  </a:lnTo>
                  <a:lnTo>
                    <a:pt x="3955" y="18414"/>
                  </a:lnTo>
                  <a:lnTo>
                    <a:pt x="3976" y="18455"/>
                  </a:lnTo>
                  <a:lnTo>
                    <a:pt x="3955" y="18539"/>
                  </a:lnTo>
                  <a:lnTo>
                    <a:pt x="4018" y="18665"/>
                  </a:lnTo>
                  <a:lnTo>
                    <a:pt x="4039" y="18665"/>
                  </a:lnTo>
                  <a:lnTo>
                    <a:pt x="4060" y="18602"/>
                  </a:lnTo>
                  <a:lnTo>
                    <a:pt x="4123" y="18602"/>
                  </a:lnTo>
                  <a:lnTo>
                    <a:pt x="4164" y="18644"/>
                  </a:lnTo>
                  <a:lnTo>
                    <a:pt x="4185" y="18707"/>
                  </a:lnTo>
                  <a:lnTo>
                    <a:pt x="4185" y="18769"/>
                  </a:lnTo>
                  <a:lnTo>
                    <a:pt x="4248" y="18832"/>
                  </a:lnTo>
                  <a:lnTo>
                    <a:pt x="4374" y="18832"/>
                  </a:lnTo>
                  <a:lnTo>
                    <a:pt x="4457" y="18769"/>
                  </a:lnTo>
                  <a:lnTo>
                    <a:pt x="4478" y="18748"/>
                  </a:lnTo>
                  <a:lnTo>
                    <a:pt x="4541" y="18748"/>
                  </a:lnTo>
                  <a:lnTo>
                    <a:pt x="4646" y="18727"/>
                  </a:lnTo>
                  <a:lnTo>
                    <a:pt x="4688" y="18665"/>
                  </a:lnTo>
                  <a:lnTo>
                    <a:pt x="4709" y="18560"/>
                  </a:lnTo>
                  <a:lnTo>
                    <a:pt x="4688" y="18497"/>
                  </a:lnTo>
                  <a:lnTo>
                    <a:pt x="4646" y="18434"/>
                  </a:lnTo>
                  <a:lnTo>
                    <a:pt x="4750" y="18434"/>
                  </a:lnTo>
                  <a:lnTo>
                    <a:pt x="4750" y="18393"/>
                  </a:lnTo>
                  <a:lnTo>
                    <a:pt x="4771" y="18225"/>
                  </a:lnTo>
                  <a:lnTo>
                    <a:pt x="4813" y="18309"/>
                  </a:lnTo>
                  <a:lnTo>
                    <a:pt x="4876" y="18351"/>
                  </a:lnTo>
                  <a:lnTo>
                    <a:pt x="4918" y="18351"/>
                  </a:lnTo>
                  <a:lnTo>
                    <a:pt x="4981" y="18288"/>
                  </a:lnTo>
                  <a:lnTo>
                    <a:pt x="4981" y="18121"/>
                  </a:lnTo>
                  <a:lnTo>
                    <a:pt x="4981" y="18016"/>
                  </a:lnTo>
                  <a:lnTo>
                    <a:pt x="4918" y="17911"/>
                  </a:lnTo>
                  <a:lnTo>
                    <a:pt x="4897" y="17828"/>
                  </a:lnTo>
                  <a:lnTo>
                    <a:pt x="4918" y="17618"/>
                  </a:lnTo>
                  <a:lnTo>
                    <a:pt x="4960" y="17577"/>
                  </a:lnTo>
                  <a:lnTo>
                    <a:pt x="4981" y="17577"/>
                  </a:lnTo>
                  <a:lnTo>
                    <a:pt x="4981" y="17660"/>
                  </a:lnTo>
                  <a:lnTo>
                    <a:pt x="4960" y="17723"/>
                  </a:lnTo>
                  <a:lnTo>
                    <a:pt x="4981" y="17828"/>
                  </a:lnTo>
                  <a:lnTo>
                    <a:pt x="5022" y="17932"/>
                  </a:lnTo>
                  <a:lnTo>
                    <a:pt x="5022" y="18079"/>
                  </a:lnTo>
                  <a:lnTo>
                    <a:pt x="5001" y="18204"/>
                  </a:lnTo>
                  <a:lnTo>
                    <a:pt x="5001" y="18309"/>
                  </a:lnTo>
                  <a:lnTo>
                    <a:pt x="5064" y="18309"/>
                  </a:lnTo>
                  <a:lnTo>
                    <a:pt x="5085" y="18288"/>
                  </a:lnTo>
                  <a:lnTo>
                    <a:pt x="5169" y="18225"/>
                  </a:lnTo>
                  <a:lnTo>
                    <a:pt x="5169" y="18183"/>
                  </a:lnTo>
                  <a:lnTo>
                    <a:pt x="5273" y="18037"/>
                  </a:lnTo>
                  <a:lnTo>
                    <a:pt x="5378" y="17995"/>
                  </a:lnTo>
                  <a:lnTo>
                    <a:pt x="5420" y="17995"/>
                  </a:lnTo>
                  <a:lnTo>
                    <a:pt x="5420" y="18016"/>
                  </a:lnTo>
                  <a:lnTo>
                    <a:pt x="5336" y="18079"/>
                  </a:lnTo>
                  <a:lnTo>
                    <a:pt x="5294" y="18121"/>
                  </a:lnTo>
                  <a:lnTo>
                    <a:pt x="5232" y="18246"/>
                  </a:lnTo>
                  <a:lnTo>
                    <a:pt x="5169" y="18330"/>
                  </a:lnTo>
                  <a:lnTo>
                    <a:pt x="5169" y="18393"/>
                  </a:lnTo>
                  <a:lnTo>
                    <a:pt x="5211" y="18414"/>
                  </a:lnTo>
                  <a:lnTo>
                    <a:pt x="5294" y="18414"/>
                  </a:lnTo>
                  <a:lnTo>
                    <a:pt x="5336" y="18434"/>
                  </a:lnTo>
                  <a:lnTo>
                    <a:pt x="5399" y="18518"/>
                  </a:lnTo>
                  <a:lnTo>
                    <a:pt x="5483" y="18539"/>
                  </a:lnTo>
                  <a:lnTo>
                    <a:pt x="5587" y="18518"/>
                  </a:lnTo>
                  <a:lnTo>
                    <a:pt x="5650" y="18455"/>
                  </a:lnTo>
                  <a:lnTo>
                    <a:pt x="5713" y="18455"/>
                  </a:lnTo>
                  <a:lnTo>
                    <a:pt x="5734" y="18497"/>
                  </a:lnTo>
                  <a:lnTo>
                    <a:pt x="5734" y="18539"/>
                  </a:lnTo>
                  <a:lnTo>
                    <a:pt x="5608" y="18623"/>
                  </a:lnTo>
                  <a:lnTo>
                    <a:pt x="5420" y="18665"/>
                  </a:lnTo>
                  <a:lnTo>
                    <a:pt x="5294" y="18665"/>
                  </a:lnTo>
                  <a:lnTo>
                    <a:pt x="5211" y="18727"/>
                  </a:lnTo>
                  <a:lnTo>
                    <a:pt x="5169" y="18769"/>
                  </a:lnTo>
                  <a:lnTo>
                    <a:pt x="5169" y="18832"/>
                  </a:lnTo>
                  <a:lnTo>
                    <a:pt x="5190" y="18853"/>
                  </a:lnTo>
                  <a:lnTo>
                    <a:pt x="5315" y="18832"/>
                  </a:lnTo>
                  <a:lnTo>
                    <a:pt x="5378" y="18853"/>
                  </a:lnTo>
                  <a:lnTo>
                    <a:pt x="5420" y="18832"/>
                  </a:lnTo>
                  <a:lnTo>
                    <a:pt x="5504" y="18769"/>
                  </a:lnTo>
                  <a:lnTo>
                    <a:pt x="5629" y="18769"/>
                  </a:lnTo>
                  <a:lnTo>
                    <a:pt x="5650" y="18811"/>
                  </a:lnTo>
                  <a:lnTo>
                    <a:pt x="5629" y="18853"/>
                  </a:lnTo>
                  <a:lnTo>
                    <a:pt x="5545" y="18874"/>
                  </a:lnTo>
                  <a:lnTo>
                    <a:pt x="5483" y="18937"/>
                  </a:lnTo>
                  <a:lnTo>
                    <a:pt x="5336" y="18937"/>
                  </a:lnTo>
                  <a:lnTo>
                    <a:pt x="5294" y="19020"/>
                  </a:lnTo>
                  <a:lnTo>
                    <a:pt x="5273" y="19083"/>
                  </a:lnTo>
                  <a:lnTo>
                    <a:pt x="5211" y="19146"/>
                  </a:lnTo>
                  <a:lnTo>
                    <a:pt x="5211" y="19188"/>
                  </a:lnTo>
                  <a:lnTo>
                    <a:pt x="5273" y="19188"/>
                  </a:lnTo>
                  <a:lnTo>
                    <a:pt x="5420" y="19062"/>
                  </a:lnTo>
                  <a:lnTo>
                    <a:pt x="5483" y="19041"/>
                  </a:lnTo>
                  <a:lnTo>
                    <a:pt x="5545" y="19041"/>
                  </a:lnTo>
                  <a:lnTo>
                    <a:pt x="5587" y="19020"/>
                  </a:lnTo>
                  <a:lnTo>
                    <a:pt x="5629" y="19020"/>
                  </a:lnTo>
                  <a:lnTo>
                    <a:pt x="5692" y="19083"/>
                  </a:lnTo>
                  <a:lnTo>
                    <a:pt x="5692" y="19146"/>
                  </a:lnTo>
                  <a:lnTo>
                    <a:pt x="5650" y="19188"/>
                  </a:lnTo>
                  <a:lnTo>
                    <a:pt x="5587" y="19146"/>
                  </a:lnTo>
                  <a:lnTo>
                    <a:pt x="5525" y="19125"/>
                  </a:lnTo>
                  <a:lnTo>
                    <a:pt x="5399" y="19167"/>
                  </a:lnTo>
                  <a:lnTo>
                    <a:pt x="5378" y="19230"/>
                  </a:lnTo>
                  <a:lnTo>
                    <a:pt x="5399" y="19271"/>
                  </a:lnTo>
                  <a:lnTo>
                    <a:pt x="5587" y="19271"/>
                  </a:lnTo>
                  <a:lnTo>
                    <a:pt x="5650" y="19230"/>
                  </a:lnTo>
                  <a:lnTo>
                    <a:pt x="5713" y="19230"/>
                  </a:lnTo>
                  <a:lnTo>
                    <a:pt x="5797" y="19334"/>
                  </a:lnTo>
                  <a:lnTo>
                    <a:pt x="5797" y="19397"/>
                  </a:lnTo>
                  <a:lnTo>
                    <a:pt x="5734" y="19439"/>
                  </a:lnTo>
                  <a:lnTo>
                    <a:pt x="5525" y="19355"/>
                  </a:lnTo>
                  <a:lnTo>
                    <a:pt x="5420" y="19292"/>
                  </a:lnTo>
                  <a:lnTo>
                    <a:pt x="5399" y="19355"/>
                  </a:lnTo>
                  <a:lnTo>
                    <a:pt x="5420" y="19439"/>
                  </a:lnTo>
                  <a:lnTo>
                    <a:pt x="5525" y="19502"/>
                  </a:lnTo>
                  <a:lnTo>
                    <a:pt x="5629" y="19648"/>
                  </a:lnTo>
                  <a:lnTo>
                    <a:pt x="5692" y="19753"/>
                  </a:lnTo>
                  <a:lnTo>
                    <a:pt x="5629" y="19753"/>
                  </a:lnTo>
                  <a:lnTo>
                    <a:pt x="5545" y="19648"/>
                  </a:lnTo>
                  <a:lnTo>
                    <a:pt x="5525" y="19648"/>
                  </a:lnTo>
                  <a:lnTo>
                    <a:pt x="5504" y="19690"/>
                  </a:lnTo>
                  <a:lnTo>
                    <a:pt x="5525" y="19774"/>
                  </a:lnTo>
                  <a:lnTo>
                    <a:pt x="5650" y="19878"/>
                  </a:lnTo>
                  <a:lnTo>
                    <a:pt x="5797" y="19983"/>
                  </a:lnTo>
                  <a:lnTo>
                    <a:pt x="5797" y="20025"/>
                  </a:lnTo>
                  <a:lnTo>
                    <a:pt x="5734" y="20025"/>
                  </a:lnTo>
                  <a:lnTo>
                    <a:pt x="5734" y="20087"/>
                  </a:lnTo>
                  <a:lnTo>
                    <a:pt x="5692" y="20087"/>
                  </a:lnTo>
                  <a:lnTo>
                    <a:pt x="5587" y="19983"/>
                  </a:lnTo>
                  <a:lnTo>
                    <a:pt x="5545" y="19983"/>
                  </a:lnTo>
                  <a:lnTo>
                    <a:pt x="5545" y="20025"/>
                  </a:lnTo>
                  <a:lnTo>
                    <a:pt x="5650" y="20171"/>
                  </a:lnTo>
                  <a:lnTo>
                    <a:pt x="5713" y="20213"/>
                  </a:lnTo>
                  <a:lnTo>
                    <a:pt x="5755" y="20213"/>
                  </a:lnTo>
                  <a:lnTo>
                    <a:pt x="5817" y="20192"/>
                  </a:lnTo>
                  <a:lnTo>
                    <a:pt x="5838" y="20213"/>
                  </a:lnTo>
                  <a:lnTo>
                    <a:pt x="5797" y="20297"/>
                  </a:lnTo>
                  <a:lnTo>
                    <a:pt x="5734" y="20318"/>
                  </a:lnTo>
                  <a:lnTo>
                    <a:pt x="5629" y="20276"/>
                  </a:lnTo>
                  <a:lnTo>
                    <a:pt x="5545" y="20192"/>
                  </a:lnTo>
                  <a:lnTo>
                    <a:pt x="5441" y="20108"/>
                  </a:lnTo>
                  <a:lnTo>
                    <a:pt x="5378" y="20004"/>
                  </a:lnTo>
                  <a:lnTo>
                    <a:pt x="5294" y="19795"/>
                  </a:lnTo>
                  <a:lnTo>
                    <a:pt x="5232" y="19711"/>
                  </a:lnTo>
                  <a:lnTo>
                    <a:pt x="5169" y="19690"/>
                  </a:lnTo>
                  <a:lnTo>
                    <a:pt x="5085" y="19648"/>
                  </a:lnTo>
                  <a:lnTo>
                    <a:pt x="4981" y="19606"/>
                  </a:lnTo>
                  <a:lnTo>
                    <a:pt x="4876" y="19606"/>
                  </a:lnTo>
                  <a:lnTo>
                    <a:pt x="4813" y="19585"/>
                  </a:lnTo>
                  <a:lnTo>
                    <a:pt x="4750" y="19585"/>
                  </a:lnTo>
                  <a:lnTo>
                    <a:pt x="4646" y="19564"/>
                  </a:lnTo>
                  <a:lnTo>
                    <a:pt x="4541" y="19460"/>
                  </a:lnTo>
                  <a:lnTo>
                    <a:pt x="4436" y="19460"/>
                  </a:lnTo>
                  <a:lnTo>
                    <a:pt x="4353" y="19439"/>
                  </a:lnTo>
                  <a:lnTo>
                    <a:pt x="4290" y="19460"/>
                  </a:lnTo>
                  <a:lnTo>
                    <a:pt x="4185" y="19460"/>
                  </a:lnTo>
                  <a:lnTo>
                    <a:pt x="4060" y="19564"/>
                  </a:lnTo>
                  <a:lnTo>
                    <a:pt x="4060" y="19606"/>
                  </a:lnTo>
                  <a:lnTo>
                    <a:pt x="4123" y="19669"/>
                  </a:lnTo>
                  <a:lnTo>
                    <a:pt x="4185" y="19753"/>
                  </a:lnTo>
                  <a:lnTo>
                    <a:pt x="4248" y="19878"/>
                  </a:lnTo>
                  <a:lnTo>
                    <a:pt x="4248" y="19962"/>
                  </a:lnTo>
                  <a:lnTo>
                    <a:pt x="4353" y="20067"/>
                  </a:lnTo>
                  <a:lnTo>
                    <a:pt x="4499" y="20108"/>
                  </a:lnTo>
                  <a:lnTo>
                    <a:pt x="4709" y="20192"/>
                  </a:lnTo>
                  <a:lnTo>
                    <a:pt x="4855" y="20276"/>
                  </a:lnTo>
                  <a:lnTo>
                    <a:pt x="4897" y="20380"/>
                  </a:lnTo>
                  <a:lnTo>
                    <a:pt x="4897" y="20422"/>
                  </a:lnTo>
                  <a:lnTo>
                    <a:pt x="4981" y="20443"/>
                  </a:lnTo>
                  <a:lnTo>
                    <a:pt x="5064" y="20443"/>
                  </a:lnTo>
                  <a:lnTo>
                    <a:pt x="5127" y="20527"/>
                  </a:lnTo>
                  <a:lnTo>
                    <a:pt x="5211" y="20548"/>
                  </a:lnTo>
                  <a:lnTo>
                    <a:pt x="5273" y="20527"/>
                  </a:lnTo>
                  <a:lnTo>
                    <a:pt x="5315" y="20590"/>
                  </a:lnTo>
                  <a:lnTo>
                    <a:pt x="5399" y="20590"/>
                  </a:lnTo>
                  <a:lnTo>
                    <a:pt x="5441" y="20548"/>
                  </a:lnTo>
                  <a:lnTo>
                    <a:pt x="5504" y="20631"/>
                  </a:lnTo>
                  <a:lnTo>
                    <a:pt x="5608" y="20631"/>
                  </a:lnTo>
                  <a:lnTo>
                    <a:pt x="5692" y="20548"/>
                  </a:lnTo>
                  <a:lnTo>
                    <a:pt x="5797" y="20548"/>
                  </a:lnTo>
                  <a:lnTo>
                    <a:pt x="5838" y="20590"/>
                  </a:lnTo>
                  <a:lnTo>
                    <a:pt x="5838" y="20652"/>
                  </a:lnTo>
                  <a:lnTo>
                    <a:pt x="5755" y="20652"/>
                  </a:lnTo>
                  <a:lnTo>
                    <a:pt x="5692" y="20694"/>
                  </a:lnTo>
                  <a:lnTo>
                    <a:pt x="5692" y="20736"/>
                  </a:lnTo>
                  <a:lnTo>
                    <a:pt x="5755" y="20736"/>
                  </a:lnTo>
                  <a:lnTo>
                    <a:pt x="5817" y="20820"/>
                  </a:lnTo>
                  <a:lnTo>
                    <a:pt x="5734" y="20862"/>
                  </a:lnTo>
                  <a:lnTo>
                    <a:pt x="5734" y="20903"/>
                  </a:lnTo>
                  <a:lnTo>
                    <a:pt x="5650" y="20924"/>
                  </a:lnTo>
                  <a:lnTo>
                    <a:pt x="5608" y="20966"/>
                  </a:lnTo>
                  <a:lnTo>
                    <a:pt x="5504" y="21029"/>
                  </a:lnTo>
                  <a:lnTo>
                    <a:pt x="5483" y="21071"/>
                  </a:lnTo>
                  <a:lnTo>
                    <a:pt x="5504" y="21113"/>
                  </a:lnTo>
                  <a:lnTo>
                    <a:pt x="5608" y="21113"/>
                  </a:lnTo>
                  <a:lnTo>
                    <a:pt x="5692" y="21134"/>
                  </a:lnTo>
                  <a:lnTo>
                    <a:pt x="5713" y="21175"/>
                  </a:lnTo>
                  <a:lnTo>
                    <a:pt x="5629" y="21175"/>
                  </a:lnTo>
                  <a:lnTo>
                    <a:pt x="5587" y="21217"/>
                  </a:lnTo>
                  <a:lnTo>
                    <a:pt x="5545" y="21175"/>
                  </a:lnTo>
                  <a:lnTo>
                    <a:pt x="5504" y="21238"/>
                  </a:lnTo>
                  <a:lnTo>
                    <a:pt x="5420" y="21364"/>
                  </a:lnTo>
                  <a:lnTo>
                    <a:pt x="5378" y="21364"/>
                  </a:lnTo>
                  <a:lnTo>
                    <a:pt x="5315" y="21427"/>
                  </a:lnTo>
                  <a:lnTo>
                    <a:pt x="5315" y="21468"/>
                  </a:lnTo>
                  <a:lnTo>
                    <a:pt x="5399" y="21489"/>
                  </a:lnTo>
                  <a:lnTo>
                    <a:pt x="5441" y="21489"/>
                  </a:lnTo>
                  <a:lnTo>
                    <a:pt x="5504" y="21468"/>
                  </a:lnTo>
                  <a:lnTo>
                    <a:pt x="5525" y="21489"/>
                  </a:lnTo>
                  <a:lnTo>
                    <a:pt x="5545" y="21552"/>
                  </a:lnTo>
                  <a:lnTo>
                    <a:pt x="5608" y="21552"/>
                  </a:lnTo>
                  <a:lnTo>
                    <a:pt x="5650" y="21573"/>
                  </a:lnTo>
                  <a:lnTo>
                    <a:pt x="5650" y="21636"/>
                  </a:lnTo>
                  <a:lnTo>
                    <a:pt x="5545" y="21657"/>
                  </a:lnTo>
                  <a:lnTo>
                    <a:pt x="5483" y="21678"/>
                  </a:lnTo>
                  <a:lnTo>
                    <a:pt x="5483" y="21699"/>
                  </a:lnTo>
                  <a:lnTo>
                    <a:pt x="5608" y="21699"/>
                  </a:lnTo>
                  <a:lnTo>
                    <a:pt x="5650" y="21761"/>
                  </a:lnTo>
                  <a:lnTo>
                    <a:pt x="5650" y="21803"/>
                  </a:lnTo>
                  <a:lnTo>
                    <a:pt x="5608" y="21803"/>
                  </a:lnTo>
                  <a:lnTo>
                    <a:pt x="5545" y="21782"/>
                  </a:lnTo>
                  <a:lnTo>
                    <a:pt x="5525" y="21803"/>
                  </a:lnTo>
                  <a:lnTo>
                    <a:pt x="5483" y="21803"/>
                  </a:lnTo>
                  <a:lnTo>
                    <a:pt x="5420" y="21761"/>
                  </a:lnTo>
                  <a:lnTo>
                    <a:pt x="5336" y="21761"/>
                  </a:lnTo>
                  <a:lnTo>
                    <a:pt x="5232" y="21740"/>
                  </a:lnTo>
                  <a:lnTo>
                    <a:pt x="5232" y="21678"/>
                  </a:lnTo>
                  <a:lnTo>
                    <a:pt x="5273" y="21657"/>
                  </a:lnTo>
                  <a:lnTo>
                    <a:pt x="5211" y="21552"/>
                  </a:lnTo>
                  <a:lnTo>
                    <a:pt x="5190" y="21531"/>
                  </a:lnTo>
                  <a:lnTo>
                    <a:pt x="5127" y="21552"/>
                  </a:lnTo>
                  <a:lnTo>
                    <a:pt x="5127" y="21657"/>
                  </a:lnTo>
                  <a:lnTo>
                    <a:pt x="5064" y="21866"/>
                  </a:lnTo>
                  <a:lnTo>
                    <a:pt x="5001" y="21950"/>
                  </a:lnTo>
                  <a:lnTo>
                    <a:pt x="5022" y="21992"/>
                  </a:lnTo>
                  <a:lnTo>
                    <a:pt x="5085" y="21992"/>
                  </a:lnTo>
                  <a:lnTo>
                    <a:pt x="5169" y="21950"/>
                  </a:lnTo>
                  <a:lnTo>
                    <a:pt x="5190" y="21950"/>
                  </a:lnTo>
                  <a:lnTo>
                    <a:pt x="5169" y="21992"/>
                  </a:lnTo>
                  <a:lnTo>
                    <a:pt x="5085" y="22054"/>
                  </a:lnTo>
                  <a:lnTo>
                    <a:pt x="5022" y="22096"/>
                  </a:lnTo>
                  <a:lnTo>
                    <a:pt x="4981" y="22117"/>
                  </a:lnTo>
                  <a:lnTo>
                    <a:pt x="4981" y="22180"/>
                  </a:lnTo>
                  <a:lnTo>
                    <a:pt x="4855" y="22159"/>
                  </a:lnTo>
                  <a:lnTo>
                    <a:pt x="4750" y="22159"/>
                  </a:lnTo>
                  <a:lnTo>
                    <a:pt x="4646" y="22180"/>
                  </a:lnTo>
                  <a:lnTo>
                    <a:pt x="4604" y="22159"/>
                  </a:lnTo>
                  <a:lnTo>
                    <a:pt x="4478" y="22159"/>
                  </a:lnTo>
                  <a:lnTo>
                    <a:pt x="4395" y="22180"/>
                  </a:lnTo>
                  <a:lnTo>
                    <a:pt x="4248" y="22264"/>
                  </a:lnTo>
                  <a:lnTo>
                    <a:pt x="4123" y="22284"/>
                  </a:lnTo>
                  <a:lnTo>
                    <a:pt x="4144" y="22305"/>
                  </a:lnTo>
                  <a:lnTo>
                    <a:pt x="4248" y="22284"/>
                  </a:lnTo>
                  <a:lnTo>
                    <a:pt x="4290" y="22284"/>
                  </a:lnTo>
                  <a:lnTo>
                    <a:pt x="4248" y="22326"/>
                  </a:lnTo>
                  <a:lnTo>
                    <a:pt x="4185" y="22368"/>
                  </a:lnTo>
                  <a:lnTo>
                    <a:pt x="4227" y="22410"/>
                  </a:lnTo>
                  <a:lnTo>
                    <a:pt x="4290" y="22431"/>
                  </a:lnTo>
                  <a:lnTo>
                    <a:pt x="4353" y="22515"/>
                  </a:lnTo>
                  <a:lnTo>
                    <a:pt x="4457" y="22494"/>
                  </a:lnTo>
                  <a:lnTo>
                    <a:pt x="4541" y="22515"/>
                  </a:lnTo>
                  <a:lnTo>
                    <a:pt x="4583" y="22494"/>
                  </a:lnTo>
                  <a:lnTo>
                    <a:pt x="4709" y="22494"/>
                  </a:lnTo>
                  <a:lnTo>
                    <a:pt x="4750" y="22473"/>
                  </a:lnTo>
                  <a:lnTo>
                    <a:pt x="4667" y="22410"/>
                  </a:lnTo>
                  <a:lnTo>
                    <a:pt x="4646" y="22389"/>
                  </a:lnTo>
                  <a:lnTo>
                    <a:pt x="4688" y="22326"/>
                  </a:lnTo>
                  <a:lnTo>
                    <a:pt x="4855" y="22326"/>
                  </a:lnTo>
                  <a:lnTo>
                    <a:pt x="4918" y="22305"/>
                  </a:lnTo>
                  <a:lnTo>
                    <a:pt x="5001" y="22305"/>
                  </a:lnTo>
                  <a:lnTo>
                    <a:pt x="5001" y="22326"/>
                  </a:lnTo>
                  <a:lnTo>
                    <a:pt x="4960" y="22368"/>
                  </a:lnTo>
                  <a:lnTo>
                    <a:pt x="4918" y="22431"/>
                  </a:lnTo>
                  <a:lnTo>
                    <a:pt x="4918" y="22515"/>
                  </a:lnTo>
                  <a:lnTo>
                    <a:pt x="4792" y="22577"/>
                  </a:lnTo>
                  <a:lnTo>
                    <a:pt x="4792" y="22619"/>
                  </a:lnTo>
                  <a:lnTo>
                    <a:pt x="4813" y="22682"/>
                  </a:lnTo>
                  <a:lnTo>
                    <a:pt x="5064" y="22849"/>
                  </a:lnTo>
                  <a:lnTo>
                    <a:pt x="5169" y="22933"/>
                  </a:lnTo>
                  <a:lnTo>
                    <a:pt x="5169" y="22954"/>
                  </a:lnTo>
                  <a:lnTo>
                    <a:pt x="5085" y="22954"/>
                  </a:lnTo>
                  <a:lnTo>
                    <a:pt x="5064" y="22933"/>
                  </a:lnTo>
                  <a:lnTo>
                    <a:pt x="4960" y="22891"/>
                  </a:lnTo>
                  <a:lnTo>
                    <a:pt x="4813" y="22808"/>
                  </a:lnTo>
                  <a:lnTo>
                    <a:pt x="4771" y="22745"/>
                  </a:lnTo>
                  <a:lnTo>
                    <a:pt x="4667" y="22745"/>
                  </a:lnTo>
                  <a:lnTo>
                    <a:pt x="4604" y="22787"/>
                  </a:lnTo>
                  <a:lnTo>
                    <a:pt x="4541" y="22808"/>
                  </a:lnTo>
                  <a:lnTo>
                    <a:pt x="4332" y="22682"/>
                  </a:lnTo>
                  <a:lnTo>
                    <a:pt x="4290" y="22598"/>
                  </a:lnTo>
                  <a:lnTo>
                    <a:pt x="4248" y="22515"/>
                  </a:lnTo>
                  <a:lnTo>
                    <a:pt x="4227" y="22515"/>
                  </a:lnTo>
                  <a:lnTo>
                    <a:pt x="4248" y="22619"/>
                  </a:lnTo>
                  <a:lnTo>
                    <a:pt x="4269" y="22703"/>
                  </a:lnTo>
                  <a:lnTo>
                    <a:pt x="4248" y="22724"/>
                  </a:lnTo>
                  <a:lnTo>
                    <a:pt x="4144" y="22619"/>
                  </a:lnTo>
                  <a:lnTo>
                    <a:pt x="4039" y="22494"/>
                  </a:lnTo>
                  <a:lnTo>
                    <a:pt x="3913" y="22431"/>
                  </a:lnTo>
                  <a:lnTo>
                    <a:pt x="3851" y="22473"/>
                  </a:lnTo>
                  <a:lnTo>
                    <a:pt x="3872" y="22515"/>
                  </a:lnTo>
                  <a:lnTo>
                    <a:pt x="3955" y="22536"/>
                  </a:lnTo>
                  <a:lnTo>
                    <a:pt x="3976" y="22619"/>
                  </a:lnTo>
                  <a:lnTo>
                    <a:pt x="4123" y="22745"/>
                  </a:lnTo>
                  <a:lnTo>
                    <a:pt x="4164" y="22808"/>
                  </a:lnTo>
                  <a:lnTo>
                    <a:pt x="4227" y="22808"/>
                  </a:lnTo>
                  <a:lnTo>
                    <a:pt x="4290" y="22828"/>
                  </a:lnTo>
                  <a:lnTo>
                    <a:pt x="4332" y="22891"/>
                  </a:lnTo>
                  <a:lnTo>
                    <a:pt x="4164" y="22891"/>
                  </a:lnTo>
                  <a:lnTo>
                    <a:pt x="4060" y="22828"/>
                  </a:lnTo>
                  <a:lnTo>
                    <a:pt x="3976" y="22787"/>
                  </a:lnTo>
                  <a:lnTo>
                    <a:pt x="3934" y="22787"/>
                  </a:lnTo>
                  <a:lnTo>
                    <a:pt x="3913" y="22849"/>
                  </a:lnTo>
                  <a:lnTo>
                    <a:pt x="3913" y="22912"/>
                  </a:lnTo>
                  <a:lnTo>
                    <a:pt x="3851" y="22954"/>
                  </a:lnTo>
                  <a:lnTo>
                    <a:pt x="3830" y="22954"/>
                  </a:lnTo>
                  <a:lnTo>
                    <a:pt x="3830" y="23017"/>
                  </a:lnTo>
                  <a:lnTo>
                    <a:pt x="3767" y="23059"/>
                  </a:lnTo>
                  <a:lnTo>
                    <a:pt x="3725" y="23100"/>
                  </a:lnTo>
                  <a:lnTo>
                    <a:pt x="3600" y="23247"/>
                  </a:lnTo>
                  <a:lnTo>
                    <a:pt x="3600" y="23310"/>
                  </a:lnTo>
                  <a:lnTo>
                    <a:pt x="3627" y="23324"/>
                  </a:lnTo>
                  <a:lnTo>
                    <a:pt x="3627" y="23324"/>
                  </a:lnTo>
                  <a:lnTo>
                    <a:pt x="3558" y="23352"/>
                  </a:lnTo>
                  <a:lnTo>
                    <a:pt x="3495" y="23414"/>
                  </a:lnTo>
                  <a:lnTo>
                    <a:pt x="3390" y="23456"/>
                  </a:lnTo>
                  <a:lnTo>
                    <a:pt x="3328" y="23561"/>
                  </a:lnTo>
                  <a:lnTo>
                    <a:pt x="3328" y="23644"/>
                  </a:lnTo>
                  <a:lnTo>
                    <a:pt x="3348" y="23665"/>
                  </a:lnTo>
                  <a:lnTo>
                    <a:pt x="3432" y="23624"/>
                  </a:lnTo>
                  <a:lnTo>
                    <a:pt x="3537" y="23582"/>
                  </a:lnTo>
                  <a:lnTo>
                    <a:pt x="3600" y="23624"/>
                  </a:lnTo>
                  <a:lnTo>
                    <a:pt x="3620" y="23644"/>
                  </a:lnTo>
                  <a:lnTo>
                    <a:pt x="3725" y="23644"/>
                  </a:lnTo>
                  <a:lnTo>
                    <a:pt x="3913" y="23582"/>
                  </a:lnTo>
                  <a:lnTo>
                    <a:pt x="4060" y="23582"/>
                  </a:lnTo>
                  <a:lnTo>
                    <a:pt x="4185" y="23644"/>
                  </a:lnTo>
                  <a:lnTo>
                    <a:pt x="4185" y="23686"/>
                  </a:lnTo>
                  <a:lnTo>
                    <a:pt x="4144" y="23728"/>
                  </a:lnTo>
                  <a:lnTo>
                    <a:pt x="4018" y="23686"/>
                  </a:lnTo>
                  <a:lnTo>
                    <a:pt x="3934" y="23728"/>
                  </a:lnTo>
                  <a:lnTo>
                    <a:pt x="3558" y="23686"/>
                  </a:lnTo>
                  <a:lnTo>
                    <a:pt x="3453" y="23686"/>
                  </a:lnTo>
                  <a:lnTo>
                    <a:pt x="3432" y="23728"/>
                  </a:lnTo>
                  <a:lnTo>
                    <a:pt x="3286" y="23728"/>
                  </a:lnTo>
                  <a:lnTo>
                    <a:pt x="3286" y="23770"/>
                  </a:lnTo>
                  <a:lnTo>
                    <a:pt x="3307" y="23791"/>
                  </a:lnTo>
                  <a:lnTo>
                    <a:pt x="3411" y="23791"/>
                  </a:lnTo>
                  <a:lnTo>
                    <a:pt x="3432" y="23833"/>
                  </a:lnTo>
                  <a:lnTo>
                    <a:pt x="3390" y="23854"/>
                  </a:lnTo>
                  <a:lnTo>
                    <a:pt x="3307" y="23833"/>
                  </a:lnTo>
                  <a:lnTo>
                    <a:pt x="3202" y="23833"/>
                  </a:lnTo>
                  <a:lnTo>
                    <a:pt x="3202" y="23854"/>
                  </a:lnTo>
                  <a:lnTo>
                    <a:pt x="3244" y="23896"/>
                  </a:lnTo>
                  <a:lnTo>
                    <a:pt x="3348" y="23896"/>
                  </a:lnTo>
                  <a:lnTo>
                    <a:pt x="3620" y="23979"/>
                  </a:lnTo>
                  <a:lnTo>
                    <a:pt x="3704" y="23979"/>
                  </a:lnTo>
                  <a:lnTo>
                    <a:pt x="3746" y="23958"/>
                  </a:lnTo>
                  <a:lnTo>
                    <a:pt x="3830" y="23958"/>
                  </a:lnTo>
                  <a:lnTo>
                    <a:pt x="3851" y="23979"/>
                  </a:lnTo>
                  <a:lnTo>
                    <a:pt x="3851" y="24063"/>
                  </a:lnTo>
                  <a:lnTo>
                    <a:pt x="3872" y="24147"/>
                  </a:lnTo>
                  <a:lnTo>
                    <a:pt x="3830" y="24168"/>
                  </a:lnTo>
                  <a:lnTo>
                    <a:pt x="3746" y="24147"/>
                  </a:lnTo>
                  <a:lnTo>
                    <a:pt x="3725" y="24168"/>
                  </a:lnTo>
                  <a:lnTo>
                    <a:pt x="3704" y="24147"/>
                  </a:lnTo>
                  <a:lnTo>
                    <a:pt x="3600" y="24168"/>
                  </a:lnTo>
                  <a:lnTo>
                    <a:pt x="3600" y="24209"/>
                  </a:lnTo>
                  <a:lnTo>
                    <a:pt x="3620" y="24251"/>
                  </a:lnTo>
                  <a:lnTo>
                    <a:pt x="3662" y="24251"/>
                  </a:lnTo>
                  <a:lnTo>
                    <a:pt x="3746" y="24272"/>
                  </a:lnTo>
                  <a:lnTo>
                    <a:pt x="3767" y="24293"/>
                  </a:lnTo>
                  <a:lnTo>
                    <a:pt x="3662" y="24356"/>
                  </a:lnTo>
                  <a:lnTo>
                    <a:pt x="3600" y="24356"/>
                  </a:lnTo>
                  <a:lnTo>
                    <a:pt x="3495" y="24293"/>
                  </a:lnTo>
                  <a:lnTo>
                    <a:pt x="3390" y="24335"/>
                  </a:lnTo>
                  <a:lnTo>
                    <a:pt x="3390" y="24377"/>
                  </a:lnTo>
                  <a:lnTo>
                    <a:pt x="3411" y="24460"/>
                  </a:lnTo>
                  <a:lnTo>
                    <a:pt x="3453" y="24481"/>
                  </a:lnTo>
                  <a:lnTo>
                    <a:pt x="3516" y="24460"/>
                  </a:lnTo>
                  <a:lnTo>
                    <a:pt x="3620" y="24460"/>
                  </a:lnTo>
                  <a:lnTo>
                    <a:pt x="3704" y="24502"/>
                  </a:lnTo>
                  <a:lnTo>
                    <a:pt x="3725" y="24565"/>
                  </a:lnTo>
                  <a:lnTo>
                    <a:pt x="3495" y="24565"/>
                  </a:lnTo>
                  <a:lnTo>
                    <a:pt x="3432" y="24586"/>
                  </a:lnTo>
                  <a:lnTo>
                    <a:pt x="3348" y="24544"/>
                  </a:lnTo>
                  <a:lnTo>
                    <a:pt x="3307" y="24544"/>
                  </a:lnTo>
                  <a:lnTo>
                    <a:pt x="3244" y="24607"/>
                  </a:lnTo>
                  <a:lnTo>
                    <a:pt x="3244" y="24816"/>
                  </a:lnTo>
                  <a:lnTo>
                    <a:pt x="3223" y="24879"/>
                  </a:lnTo>
                  <a:lnTo>
                    <a:pt x="3244" y="24921"/>
                  </a:lnTo>
                  <a:lnTo>
                    <a:pt x="3328" y="24921"/>
                  </a:lnTo>
                  <a:lnTo>
                    <a:pt x="3558" y="24816"/>
                  </a:lnTo>
                  <a:lnTo>
                    <a:pt x="3620" y="24774"/>
                  </a:lnTo>
                  <a:lnTo>
                    <a:pt x="3809" y="24712"/>
                  </a:lnTo>
                  <a:lnTo>
                    <a:pt x="3913" y="24670"/>
                  </a:lnTo>
                  <a:lnTo>
                    <a:pt x="3976" y="24544"/>
                  </a:lnTo>
                  <a:lnTo>
                    <a:pt x="4123" y="24398"/>
                  </a:lnTo>
                  <a:lnTo>
                    <a:pt x="4395" y="24272"/>
                  </a:lnTo>
                  <a:lnTo>
                    <a:pt x="4541" y="24230"/>
                  </a:lnTo>
                  <a:lnTo>
                    <a:pt x="4604" y="24251"/>
                  </a:lnTo>
                  <a:lnTo>
                    <a:pt x="4604" y="24293"/>
                  </a:lnTo>
                  <a:lnTo>
                    <a:pt x="4562" y="24335"/>
                  </a:lnTo>
                  <a:lnTo>
                    <a:pt x="4478" y="24335"/>
                  </a:lnTo>
                  <a:lnTo>
                    <a:pt x="4332" y="24377"/>
                  </a:lnTo>
                  <a:lnTo>
                    <a:pt x="4144" y="24460"/>
                  </a:lnTo>
                  <a:lnTo>
                    <a:pt x="3955" y="24670"/>
                  </a:lnTo>
                  <a:lnTo>
                    <a:pt x="3872" y="24774"/>
                  </a:lnTo>
                  <a:lnTo>
                    <a:pt x="3725" y="24795"/>
                  </a:lnTo>
                  <a:lnTo>
                    <a:pt x="3641" y="24816"/>
                  </a:lnTo>
                  <a:lnTo>
                    <a:pt x="3495" y="24921"/>
                  </a:lnTo>
                  <a:lnTo>
                    <a:pt x="3328" y="24984"/>
                  </a:lnTo>
                  <a:lnTo>
                    <a:pt x="3244" y="25005"/>
                  </a:lnTo>
                  <a:lnTo>
                    <a:pt x="3223" y="25067"/>
                  </a:lnTo>
                  <a:lnTo>
                    <a:pt x="3307" y="25067"/>
                  </a:lnTo>
                  <a:lnTo>
                    <a:pt x="3348" y="25025"/>
                  </a:lnTo>
                  <a:lnTo>
                    <a:pt x="3411" y="25067"/>
                  </a:lnTo>
                  <a:lnTo>
                    <a:pt x="3411" y="25109"/>
                  </a:lnTo>
                  <a:lnTo>
                    <a:pt x="3516" y="25067"/>
                  </a:lnTo>
                  <a:lnTo>
                    <a:pt x="3558" y="25005"/>
                  </a:lnTo>
                  <a:lnTo>
                    <a:pt x="3620" y="25005"/>
                  </a:lnTo>
                  <a:lnTo>
                    <a:pt x="3704" y="25088"/>
                  </a:lnTo>
                  <a:lnTo>
                    <a:pt x="3746" y="25088"/>
                  </a:lnTo>
                  <a:lnTo>
                    <a:pt x="3830" y="25025"/>
                  </a:lnTo>
                  <a:lnTo>
                    <a:pt x="3934" y="24963"/>
                  </a:lnTo>
                  <a:lnTo>
                    <a:pt x="4018" y="24963"/>
                  </a:lnTo>
                  <a:lnTo>
                    <a:pt x="4039" y="24984"/>
                  </a:lnTo>
                  <a:lnTo>
                    <a:pt x="4018" y="25025"/>
                  </a:lnTo>
                  <a:lnTo>
                    <a:pt x="3934" y="25025"/>
                  </a:lnTo>
                  <a:lnTo>
                    <a:pt x="3851" y="25109"/>
                  </a:lnTo>
                  <a:lnTo>
                    <a:pt x="3767" y="25130"/>
                  </a:lnTo>
                  <a:lnTo>
                    <a:pt x="3662" y="25130"/>
                  </a:lnTo>
                  <a:lnTo>
                    <a:pt x="3620" y="25088"/>
                  </a:lnTo>
                  <a:lnTo>
                    <a:pt x="3558" y="25109"/>
                  </a:lnTo>
                  <a:lnTo>
                    <a:pt x="3516" y="25172"/>
                  </a:lnTo>
                  <a:lnTo>
                    <a:pt x="3390" y="25214"/>
                  </a:lnTo>
                  <a:lnTo>
                    <a:pt x="3348" y="25235"/>
                  </a:lnTo>
                  <a:lnTo>
                    <a:pt x="3432" y="25297"/>
                  </a:lnTo>
                  <a:lnTo>
                    <a:pt x="3495" y="25297"/>
                  </a:lnTo>
                  <a:lnTo>
                    <a:pt x="3600" y="25339"/>
                  </a:lnTo>
                  <a:lnTo>
                    <a:pt x="3516" y="25423"/>
                  </a:lnTo>
                  <a:lnTo>
                    <a:pt x="3516" y="25486"/>
                  </a:lnTo>
                  <a:lnTo>
                    <a:pt x="3600" y="25507"/>
                  </a:lnTo>
                  <a:lnTo>
                    <a:pt x="3558" y="25549"/>
                  </a:lnTo>
                  <a:lnTo>
                    <a:pt x="3600" y="25611"/>
                  </a:lnTo>
                  <a:lnTo>
                    <a:pt x="3537" y="25611"/>
                  </a:lnTo>
                  <a:lnTo>
                    <a:pt x="3453" y="25695"/>
                  </a:lnTo>
                  <a:lnTo>
                    <a:pt x="3495" y="25758"/>
                  </a:lnTo>
                  <a:lnTo>
                    <a:pt x="3537" y="25758"/>
                  </a:lnTo>
                  <a:lnTo>
                    <a:pt x="3600" y="25716"/>
                  </a:lnTo>
                  <a:lnTo>
                    <a:pt x="3620" y="25716"/>
                  </a:lnTo>
                  <a:lnTo>
                    <a:pt x="3641" y="25821"/>
                  </a:lnTo>
                  <a:lnTo>
                    <a:pt x="3641" y="25904"/>
                  </a:lnTo>
                  <a:lnTo>
                    <a:pt x="3558" y="25946"/>
                  </a:lnTo>
                  <a:lnTo>
                    <a:pt x="3558" y="26113"/>
                  </a:lnTo>
                  <a:lnTo>
                    <a:pt x="3620" y="26176"/>
                  </a:lnTo>
                  <a:lnTo>
                    <a:pt x="3704" y="26176"/>
                  </a:lnTo>
                  <a:lnTo>
                    <a:pt x="3767" y="26134"/>
                  </a:lnTo>
                  <a:lnTo>
                    <a:pt x="3809" y="26051"/>
                  </a:lnTo>
                  <a:lnTo>
                    <a:pt x="3851" y="26072"/>
                  </a:lnTo>
                  <a:lnTo>
                    <a:pt x="3913" y="26030"/>
                  </a:lnTo>
                  <a:lnTo>
                    <a:pt x="3955" y="26030"/>
                  </a:lnTo>
                  <a:lnTo>
                    <a:pt x="4018" y="26072"/>
                  </a:lnTo>
                  <a:lnTo>
                    <a:pt x="3976" y="26113"/>
                  </a:lnTo>
                  <a:lnTo>
                    <a:pt x="3872" y="26176"/>
                  </a:lnTo>
                  <a:lnTo>
                    <a:pt x="3809" y="26176"/>
                  </a:lnTo>
                  <a:lnTo>
                    <a:pt x="3641" y="26239"/>
                  </a:lnTo>
                  <a:lnTo>
                    <a:pt x="3558" y="26281"/>
                  </a:lnTo>
                  <a:lnTo>
                    <a:pt x="3558" y="26365"/>
                  </a:lnTo>
                  <a:lnTo>
                    <a:pt x="3537" y="26448"/>
                  </a:lnTo>
                  <a:lnTo>
                    <a:pt x="3620" y="26490"/>
                  </a:lnTo>
                  <a:lnTo>
                    <a:pt x="3558" y="26553"/>
                  </a:lnTo>
                  <a:lnTo>
                    <a:pt x="3537" y="26657"/>
                  </a:lnTo>
                  <a:lnTo>
                    <a:pt x="3558" y="26783"/>
                  </a:lnTo>
                  <a:lnTo>
                    <a:pt x="3620" y="26783"/>
                  </a:lnTo>
                  <a:lnTo>
                    <a:pt x="3704" y="26637"/>
                  </a:lnTo>
                  <a:lnTo>
                    <a:pt x="3746" y="26595"/>
                  </a:lnTo>
                  <a:lnTo>
                    <a:pt x="3872" y="26469"/>
                  </a:lnTo>
                  <a:lnTo>
                    <a:pt x="3934" y="26469"/>
                  </a:lnTo>
                  <a:lnTo>
                    <a:pt x="3976" y="26385"/>
                  </a:lnTo>
                  <a:lnTo>
                    <a:pt x="4060" y="26365"/>
                  </a:lnTo>
                  <a:lnTo>
                    <a:pt x="4060" y="26385"/>
                  </a:lnTo>
                  <a:lnTo>
                    <a:pt x="4018" y="26448"/>
                  </a:lnTo>
                  <a:lnTo>
                    <a:pt x="4018" y="26490"/>
                  </a:lnTo>
                  <a:lnTo>
                    <a:pt x="4039" y="26532"/>
                  </a:lnTo>
                  <a:lnTo>
                    <a:pt x="4123" y="26490"/>
                  </a:lnTo>
                  <a:lnTo>
                    <a:pt x="4248" y="26365"/>
                  </a:lnTo>
                  <a:lnTo>
                    <a:pt x="4269" y="26323"/>
                  </a:lnTo>
                  <a:lnTo>
                    <a:pt x="4332" y="26385"/>
                  </a:lnTo>
                  <a:lnTo>
                    <a:pt x="4374" y="26385"/>
                  </a:lnTo>
                  <a:lnTo>
                    <a:pt x="4436" y="26344"/>
                  </a:lnTo>
                  <a:lnTo>
                    <a:pt x="4499" y="26344"/>
                  </a:lnTo>
                  <a:lnTo>
                    <a:pt x="4499" y="26365"/>
                  </a:lnTo>
                  <a:lnTo>
                    <a:pt x="4436" y="26448"/>
                  </a:lnTo>
                  <a:lnTo>
                    <a:pt x="4436" y="26637"/>
                  </a:lnTo>
                  <a:lnTo>
                    <a:pt x="4478" y="26657"/>
                  </a:lnTo>
                  <a:lnTo>
                    <a:pt x="4541" y="26741"/>
                  </a:lnTo>
                  <a:lnTo>
                    <a:pt x="4499" y="26762"/>
                  </a:lnTo>
                  <a:lnTo>
                    <a:pt x="4436" y="26741"/>
                  </a:lnTo>
                  <a:lnTo>
                    <a:pt x="4332" y="26637"/>
                  </a:lnTo>
                  <a:lnTo>
                    <a:pt x="4269" y="26553"/>
                  </a:lnTo>
                  <a:lnTo>
                    <a:pt x="4227" y="26553"/>
                  </a:lnTo>
                  <a:lnTo>
                    <a:pt x="4164" y="26574"/>
                  </a:lnTo>
                  <a:lnTo>
                    <a:pt x="4081" y="26574"/>
                  </a:lnTo>
                  <a:lnTo>
                    <a:pt x="4060" y="26637"/>
                  </a:lnTo>
                  <a:lnTo>
                    <a:pt x="4123" y="26678"/>
                  </a:lnTo>
                  <a:lnTo>
                    <a:pt x="4164" y="26678"/>
                  </a:lnTo>
                  <a:lnTo>
                    <a:pt x="4248" y="26783"/>
                  </a:lnTo>
                  <a:lnTo>
                    <a:pt x="4290" y="26804"/>
                  </a:lnTo>
                  <a:lnTo>
                    <a:pt x="4269" y="26867"/>
                  </a:lnTo>
                  <a:lnTo>
                    <a:pt x="4185" y="26783"/>
                  </a:lnTo>
                  <a:lnTo>
                    <a:pt x="4144" y="26762"/>
                  </a:lnTo>
                  <a:lnTo>
                    <a:pt x="4060" y="26762"/>
                  </a:lnTo>
                  <a:lnTo>
                    <a:pt x="3955" y="26888"/>
                  </a:lnTo>
                  <a:lnTo>
                    <a:pt x="3872" y="26950"/>
                  </a:lnTo>
                  <a:lnTo>
                    <a:pt x="3704" y="26950"/>
                  </a:lnTo>
                  <a:lnTo>
                    <a:pt x="3662" y="26971"/>
                  </a:lnTo>
                  <a:lnTo>
                    <a:pt x="3725" y="26992"/>
                  </a:lnTo>
                  <a:lnTo>
                    <a:pt x="3830" y="26992"/>
                  </a:lnTo>
                  <a:lnTo>
                    <a:pt x="3892" y="26971"/>
                  </a:lnTo>
                  <a:lnTo>
                    <a:pt x="4060" y="26950"/>
                  </a:lnTo>
                  <a:lnTo>
                    <a:pt x="4164" y="26888"/>
                  </a:lnTo>
                  <a:lnTo>
                    <a:pt x="4248" y="26909"/>
                  </a:lnTo>
                  <a:lnTo>
                    <a:pt x="4353" y="26909"/>
                  </a:lnTo>
                  <a:lnTo>
                    <a:pt x="4311" y="26950"/>
                  </a:lnTo>
                  <a:lnTo>
                    <a:pt x="4248" y="27013"/>
                  </a:lnTo>
                  <a:lnTo>
                    <a:pt x="4102" y="27013"/>
                  </a:lnTo>
                  <a:lnTo>
                    <a:pt x="3976" y="27055"/>
                  </a:lnTo>
                  <a:lnTo>
                    <a:pt x="3767" y="27055"/>
                  </a:lnTo>
                  <a:lnTo>
                    <a:pt x="3662" y="27076"/>
                  </a:lnTo>
                  <a:lnTo>
                    <a:pt x="3641" y="27160"/>
                  </a:lnTo>
                  <a:lnTo>
                    <a:pt x="3662" y="27222"/>
                  </a:lnTo>
                  <a:lnTo>
                    <a:pt x="3767" y="27264"/>
                  </a:lnTo>
                  <a:lnTo>
                    <a:pt x="3872" y="27222"/>
                  </a:lnTo>
                  <a:lnTo>
                    <a:pt x="3892" y="27264"/>
                  </a:lnTo>
                  <a:lnTo>
                    <a:pt x="3830" y="27306"/>
                  </a:lnTo>
                  <a:lnTo>
                    <a:pt x="3725" y="27306"/>
                  </a:lnTo>
                  <a:lnTo>
                    <a:pt x="3662" y="27390"/>
                  </a:lnTo>
                  <a:lnTo>
                    <a:pt x="3683" y="27473"/>
                  </a:lnTo>
                  <a:lnTo>
                    <a:pt x="3767" y="27515"/>
                  </a:lnTo>
                  <a:lnTo>
                    <a:pt x="3830" y="27473"/>
                  </a:lnTo>
                  <a:lnTo>
                    <a:pt x="3851" y="27411"/>
                  </a:lnTo>
                  <a:lnTo>
                    <a:pt x="3934" y="27411"/>
                  </a:lnTo>
                  <a:lnTo>
                    <a:pt x="3976" y="27432"/>
                  </a:lnTo>
                  <a:lnTo>
                    <a:pt x="4060" y="27432"/>
                  </a:lnTo>
                  <a:lnTo>
                    <a:pt x="4144" y="27411"/>
                  </a:lnTo>
                  <a:lnTo>
                    <a:pt x="4185" y="27390"/>
                  </a:lnTo>
                  <a:lnTo>
                    <a:pt x="4227" y="27411"/>
                  </a:lnTo>
                  <a:lnTo>
                    <a:pt x="4164" y="27473"/>
                  </a:lnTo>
                  <a:lnTo>
                    <a:pt x="4039" y="27515"/>
                  </a:lnTo>
                  <a:lnTo>
                    <a:pt x="3976" y="27494"/>
                  </a:lnTo>
                  <a:lnTo>
                    <a:pt x="3913" y="27473"/>
                  </a:lnTo>
                  <a:lnTo>
                    <a:pt x="3851" y="27473"/>
                  </a:lnTo>
                  <a:lnTo>
                    <a:pt x="3913" y="27515"/>
                  </a:lnTo>
                  <a:lnTo>
                    <a:pt x="3976" y="27515"/>
                  </a:lnTo>
                  <a:lnTo>
                    <a:pt x="4039" y="27536"/>
                  </a:lnTo>
                  <a:lnTo>
                    <a:pt x="3976" y="27578"/>
                  </a:lnTo>
                  <a:lnTo>
                    <a:pt x="3851" y="27578"/>
                  </a:lnTo>
                  <a:lnTo>
                    <a:pt x="3746" y="27641"/>
                  </a:lnTo>
                  <a:lnTo>
                    <a:pt x="3809" y="27704"/>
                  </a:lnTo>
                  <a:lnTo>
                    <a:pt x="3851" y="27704"/>
                  </a:lnTo>
                  <a:lnTo>
                    <a:pt x="3913" y="27683"/>
                  </a:lnTo>
                  <a:lnTo>
                    <a:pt x="4039" y="27683"/>
                  </a:lnTo>
                  <a:lnTo>
                    <a:pt x="4081" y="27704"/>
                  </a:lnTo>
                  <a:lnTo>
                    <a:pt x="4144" y="27704"/>
                  </a:lnTo>
                  <a:lnTo>
                    <a:pt x="4081" y="27746"/>
                  </a:lnTo>
                  <a:lnTo>
                    <a:pt x="3955" y="27787"/>
                  </a:lnTo>
                  <a:lnTo>
                    <a:pt x="3872" y="27746"/>
                  </a:lnTo>
                  <a:lnTo>
                    <a:pt x="3809" y="27787"/>
                  </a:lnTo>
                  <a:lnTo>
                    <a:pt x="3767" y="27829"/>
                  </a:lnTo>
                  <a:lnTo>
                    <a:pt x="3809" y="27892"/>
                  </a:lnTo>
                  <a:lnTo>
                    <a:pt x="3851" y="27892"/>
                  </a:lnTo>
                  <a:lnTo>
                    <a:pt x="3934" y="27829"/>
                  </a:lnTo>
                  <a:lnTo>
                    <a:pt x="4018" y="27829"/>
                  </a:lnTo>
                  <a:lnTo>
                    <a:pt x="4081" y="27892"/>
                  </a:lnTo>
                  <a:lnTo>
                    <a:pt x="4081" y="27934"/>
                  </a:lnTo>
                  <a:lnTo>
                    <a:pt x="3934" y="27997"/>
                  </a:lnTo>
                  <a:lnTo>
                    <a:pt x="3892" y="28038"/>
                  </a:lnTo>
                  <a:lnTo>
                    <a:pt x="3955" y="28143"/>
                  </a:lnTo>
                  <a:lnTo>
                    <a:pt x="3997" y="28143"/>
                  </a:lnTo>
                  <a:lnTo>
                    <a:pt x="4039" y="28122"/>
                  </a:lnTo>
                  <a:lnTo>
                    <a:pt x="4102" y="28122"/>
                  </a:lnTo>
                  <a:lnTo>
                    <a:pt x="4164" y="28206"/>
                  </a:lnTo>
                  <a:lnTo>
                    <a:pt x="4185" y="28143"/>
                  </a:lnTo>
                  <a:lnTo>
                    <a:pt x="4227" y="28122"/>
                  </a:lnTo>
                  <a:lnTo>
                    <a:pt x="4269" y="28143"/>
                  </a:lnTo>
                  <a:lnTo>
                    <a:pt x="4248" y="28206"/>
                  </a:lnTo>
                  <a:lnTo>
                    <a:pt x="4206" y="28248"/>
                  </a:lnTo>
                  <a:lnTo>
                    <a:pt x="4269" y="28310"/>
                  </a:lnTo>
                  <a:lnTo>
                    <a:pt x="4164" y="28436"/>
                  </a:lnTo>
                  <a:lnTo>
                    <a:pt x="4144" y="28436"/>
                  </a:lnTo>
                  <a:lnTo>
                    <a:pt x="4081" y="28520"/>
                  </a:lnTo>
                  <a:lnTo>
                    <a:pt x="4039" y="28582"/>
                  </a:lnTo>
                  <a:lnTo>
                    <a:pt x="4039" y="28624"/>
                  </a:lnTo>
                  <a:lnTo>
                    <a:pt x="4102" y="28624"/>
                  </a:lnTo>
                  <a:lnTo>
                    <a:pt x="4164" y="28582"/>
                  </a:lnTo>
                  <a:lnTo>
                    <a:pt x="4248" y="28624"/>
                  </a:lnTo>
                  <a:lnTo>
                    <a:pt x="4269" y="28687"/>
                  </a:lnTo>
                  <a:lnTo>
                    <a:pt x="4227" y="28750"/>
                  </a:lnTo>
                  <a:lnTo>
                    <a:pt x="4227" y="28771"/>
                  </a:lnTo>
                  <a:lnTo>
                    <a:pt x="4290" y="28771"/>
                  </a:lnTo>
                  <a:lnTo>
                    <a:pt x="4353" y="28792"/>
                  </a:lnTo>
                  <a:lnTo>
                    <a:pt x="4353" y="28854"/>
                  </a:lnTo>
                  <a:lnTo>
                    <a:pt x="4290" y="28896"/>
                  </a:lnTo>
                  <a:lnTo>
                    <a:pt x="4353" y="28959"/>
                  </a:lnTo>
                  <a:lnTo>
                    <a:pt x="4332" y="29043"/>
                  </a:lnTo>
                  <a:lnTo>
                    <a:pt x="4248" y="29085"/>
                  </a:lnTo>
                  <a:lnTo>
                    <a:pt x="4206" y="29147"/>
                  </a:lnTo>
                  <a:lnTo>
                    <a:pt x="4311" y="29147"/>
                  </a:lnTo>
                  <a:lnTo>
                    <a:pt x="4374" y="29085"/>
                  </a:lnTo>
                  <a:lnTo>
                    <a:pt x="4395" y="29043"/>
                  </a:lnTo>
                  <a:lnTo>
                    <a:pt x="4520" y="28980"/>
                  </a:lnTo>
                  <a:lnTo>
                    <a:pt x="4562" y="29001"/>
                  </a:lnTo>
                  <a:lnTo>
                    <a:pt x="4499" y="29064"/>
                  </a:lnTo>
                  <a:lnTo>
                    <a:pt x="4541" y="29106"/>
                  </a:lnTo>
                  <a:lnTo>
                    <a:pt x="4457" y="29168"/>
                  </a:lnTo>
                  <a:lnTo>
                    <a:pt x="4395" y="29210"/>
                  </a:lnTo>
                  <a:lnTo>
                    <a:pt x="4332" y="29210"/>
                  </a:lnTo>
                  <a:lnTo>
                    <a:pt x="4248" y="29252"/>
                  </a:lnTo>
                  <a:lnTo>
                    <a:pt x="4185" y="29294"/>
                  </a:lnTo>
                  <a:lnTo>
                    <a:pt x="4248" y="29357"/>
                  </a:lnTo>
                  <a:lnTo>
                    <a:pt x="4332" y="29294"/>
                  </a:lnTo>
                  <a:lnTo>
                    <a:pt x="4374" y="29252"/>
                  </a:lnTo>
                  <a:lnTo>
                    <a:pt x="4478" y="29273"/>
                  </a:lnTo>
                  <a:lnTo>
                    <a:pt x="4499" y="29294"/>
                  </a:lnTo>
                  <a:lnTo>
                    <a:pt x="4457" y="29357"/>
                  </a:lnTo>
                  <a:lnTo>
                    <a:pt x="4332" y="29398"/>
                  </a:lnTo>
                  <a:lnTo>
                    <a:pt x="4332" y="29503"/>
                  </a:lnTo>
                  <a:lnTo>
                    <a:pt x="4269" y="29566"/>
                  </a:lnTo>
                  <a:lnTo>
                    <a:pt x="4185" y="29587"/>
                  </a:lnTo>
                  <a:lnTo>
                    <a:pt x="4164" y="29629"/>
                  </a:lnTo>
                  <a:lnTo>
                    <a:pt x="4248" y="29691"/>
                  </a:lnTo>
                  <a:lnTo>
                    <a:pt x="4374" y="29670"/>
                  </a:lnTo>
                  <a:lnTo>
                    <a:pt x="4457" y="29608"/>
                  </a:lnTo>
                  <a:lnTo>
                    <a:pt x="4562" y="29587"/>
                  </a:lnTo>
                  <a:lnTo>
                    <a:pt x="4625" y="29587"/>
                  </a:lnTo>
                  <a:lnTo>
                    <a:pt x="4667" y="29629"/>
                  </a:lnTo>
                  <a:lnTo>
                    <a:pt x="4625" y="29691"/>
                  </a:lnTo>
                  <a:lnTo>
                    <a:pt x="4562" y="29691"/>
                  </a:lnTo>
                  <a:lnTo>
                    <a:pt x="4416" y="29733"/>
                  </a:lnTo>
                  <a:lnTo>
                    <a:pt x="4416" y="29775"/>
                  </a:lnTo>
                  <a:lnTo>
                    <a:pt x="4499" y="29775"/>
                  </a:lnTo>
                  <a:lnTo>
                    <a:pt x="4541" y="29817"/>
                  </a:lnTo>
                  <a:lnTo>
                    <a:pt x="4457" y="29901"/>
                  </a:lnTo>
                  <a:lnTo>
                    <a:pt x="4478" y="29984"/>
                  </a:lnTo>
                  <a:lnTo>
                    <a:pt x="4562" y="30005"/>
                  </a:lnTo>
                  <a:lnTo>
                    <a:pt x="4688" y="29901"/>
                  </a:lnTo>
                  <a:lnTo>
                    <a:pt x="4750" y="29880"/>
                  </a:lnTo>
                  <a:lnTo>
                    <a:pt x="4771" y="29901"/>
                  </a:lnTo>
                  <a:lnTo>
                    <a:pt x="4855" y="29984"/>
                  </a:lnTo>
                  <a:lnTo>
                    <a:pt x="4855" y="30089"/>
                  </a:lnTo>
                  <a:lnTo>
                    <a:pt x="4918" y="30131"/>
                  </a:lnTo>
                  <a:lnTo>
                    <a:pt x="4918" y="30152"/>
                  </a:lnTo>
                  <a:lnTo>
                    <a:pt x="4876" y="30214"/>
                  </a:lnTo>
                  <a:lnTo>
                    <a:pt x="4792" y="30214"/>
                  </a:lnTo>
                  <a:lnTo>
                    <a:pt x="4750" y="30298"/>
                  </a:lnTo>
                  <a:lnTo>
                    <a:pt x="4771" y="30340"/>
                  </a:lnTo>
                  <a:lnTo>
                    <a:pt x="4918" y="30361"/>
                  </a:lnTo>
                  <a:lnTo>
                    <a:pt x="4981" y="30340"/>
                  </a:lnTo>
                  <a:lnTo>
                    <a:pt x="4960" y="30298"/>
                  </a:lnTo>
                  <a:lnTo>
                    <a:pt x="4960" y="30235"/>
                  </a:lnTo>
                  <a:lnTo>
                    <a:pt x="5001" y="30214"/>
                  </a:lnTo>
                  <a:lnTo>
                    <a:pt x="5064" y="30235"/>
                  </a:lnTo>
                  <a:lnTo>
                    <a:pt x="5127" y="30194"/>
                  </a:lnTo>
                  <a:lnTo>
                    <a:pt x="5211" y="30152"/>
                  </a:lnTo>
                  <a:lnTo>
                    <a:pt x="5273" y="30214"/>
                  </a:lnTo>
                  <a:lnTo>
                    <a:pt x="5315" y="30235"/>
                  </a:lnTo>
                  <a:lnTo>
                    <a:pt x="5378" y="30214"/>
                  </a:lnTo>
                  <a:lnTo>
                    <a:pt x="5420" y="30131"/>
                  </a:lnTo>
                  <a:lnTo>
                    <a:pt x="5483" y="30089"/>
                  </a:lnTo>
                  <a:lnTo>
                    <a:pt x="5545" y="30089"/>
                  </a:lnTo>
                  <a:lnTo>
                    <a:pt x="5629" y="30047"/>
                  </a:lnTo>
                  <a:lnTo>
                    <a:pt x="5713" y="30089"/>
                  </a:lnTo>
                  <a:lnTo>
                    <a:pt x="5755" y="30026"/>
                  </a:lnTo>
                  <a:lnTo>
                    <a:pt x="5755" y="29984"/>
                  </a:lnTo>
                  <a:lnTo>
                    <a:pt x="5713" y="29922"/>
                  </a:lnTo>
                  <a:lnTo>
                    <a:pt x="5713" y="29880"/>
                  </a:lnTo>
                  <a:lnTo>
                    <a:pt x="5755" y="29838"/>
                  </a:lnTo>
                  <a:lnTo>
                    <a:pt x="5817" y="29880"/>
                  </a:lnTo>
                  <a:lnTo>
                    <a:pt x="5859" y="29942"/>
                  </a:lnTo>
                  <a:lnTo>
                    <a:pt x="5859" y="30047"/>
                  </a:lnTo>
                  <a:lnTo>
                    <a:pt x="5797" y="30131"/>
                  </a:lnTo>
                  <a:lnTo>
                    <a:pt x="5734" y="30152"/>
                  </a:lnTo>
                  <a:lnTo>
                    <a:pt x="5692" y="30214"/>
                  </a:lnTo>
                  <a:lnTo>
                    <a:pt x="5713" y="30235"/>
                  </a:lnTo>
                  <a:lnTo>
                    <a:pt x="5838" y="30194"/>
                  </a:lnTo>
                  <a:lnTo>
                    <a:pt x="6027" y="30089"/>
                  </a:lnTo>
                  <a:lnTo>
                    <a:pt x="6131" y="29922"/>
                  </a:lnTo>
                  <a:lnTo>
                    <a:pt x="6173" y="29922"/>
                  </a:lnTo>
                  <a:lnTo>
                    <a:pt x="6215" y="30005"/>
                  </a:lnTo>
                  <a:lnTo>
                    <a:pt x="6215" y="30110"/>
                  </a:lnTo>
                  <a:lnTo>
                    <a:pt x="6131" y="30131"/>
                  </a:lnTo>
                  <a:lnTo>
                    <a:pt x="6048" y="30194"/>
                  </a:lnTo>
                  <a:lnTo>
                    <a:pt x="5964" y="30256"/>
                  </a:lnTo>
                  <a:lnTo>
                    <a:pt x="5859" y="30298"/>
                  </a:lnTo>
                  <a:lnTo>
                    <a:pt x="5838" y="30319"/>
                  </a:lnTo>
                  <a:lnTo>
                    <a:pt x="5859" y="30340"/>
                  </a:lnTo>
                  <a:lnTo>
                    <a:pt x="5964" y="30319"/>
                  </a:lnTo>
                  <a:lnTo>
                    <a:pt x="6110" y="30235"/>
                  </a:lnTo>
                  <a:lnTo>
                    <a:pt x="6131" y="30256"/>
                  </a:lnTo>
                  <a:lnTo>
                    <a:pt x="6027" y="30361"/>
                  </a:lnTo>
                  <a:lnTo>
                    <a:pt x="5943" y="30403"/>
                  </a:lnTo>
                  <a:lnTo>
                    <a:pt x="5943" y="30507"/>
                  </a:lnTo>
                  <a:lnTo>
                    <a:pt x="5797" y="30612"/>
                  </a:lnTo>
                  <a:lnTo>
                    <a:pt x="5755" y="30654"/>
                  </a:lnTo>
                  <a:lnTo>
                    <a:pt x="5817" y="30654"/>
                  </a:lnTo>
                  <a:lnTo>
                    <a:pt x="5859" y="30612"/>
                  </a:lnTo>
                  <a:lnTo>
                    <a:pt x="5901" y="30612"/>
                  </a:lnTo>
                  <a:lnTo>
                    <a:pt x="5901" y="30633"/>
                  </a:lnTo>
                  <a:lnTo>
                    <a:pt x="5922" y="30738"/>
                  </a:lnTo>
                  <a:lnTo>
                    <a:pt x="5943" y="30654"/>
                  </a:lnTo>
                  <a:lnTo>
                    <a:pt x="6027" y="30612"/>
                  </a:lnTo>
                  <a:lnTo>
                    <a:pt x="6048" y="30549"/>
                  </a:lnTo>
                  <a:lnTo>
                    <a:pt x="6110" y="30549"/>
                  </a:lnTo>
                  <a:lnTo>
                    <a:pt x="6131" y="30570"/>
                  </a:lnTo>
                  <a:lnTo>
                    <a:pt x="6048" y="30654"/>
                  </a:lnTo>
                  <a:lnTo>
                    <a:pt x="6027" y="30738"/>
                  </a:lnTo>
                  <a:lnTo>
                    <a:pt x="6048" y="30759"/>
                  </a:lnTo>
                  <a:lnTo>
                    <a:pt x="6131" y="30738"/>
                  </a:lnTo>
                  <a:lnTo>
                    <a:pt x="6173" y="30654"/>
                  </a:lnTo>
                  <a:lnTo>
                    <a:pt x="6236" y="30654"/>
                  </a:lnTo>
                  <a:lnTo>
                    <a:pt x="6320" y="30633"/>
                  </a:lnTo>
                  <a:lnTo>
                    <a:pt x="6236" y="30738"/>
                  </a:lnTo>
                  <a:lnTo>
                    <a:pt x="6215" y="30842"/>
                  </a:lnTo>
                  <a:lnTo>
                    <a:pt x="6110" y="30926"/>
                  </a:lnTo>
                  <a:lnTo>
                    <a:pt x="6110" y="30989"/>
                  </a:lnTo>
                  <a:lnTo>
                    <a:pt x="6131" y="31031"/>
                  </a:lnTo>
                  <a:lnTo>
                    <a:pt x="6236" y="30947"/>
                  </a:lnTo>
                  <a:lnTo>
                    <a:pt x="6320" y="30738"/>
                  </a:lnTo>
                  <a:lnTo>
                    <a:pt x="6382" y="30675"/>
                  </a:lnTo>
                  <a:lnTo>
                    <a:pt x="6424" y="30717"/>
                  </a:lnTo>
                  <a:lnTo>
                    <a:pt x="6320" y="30863"/>
                  </a:lnTo>
                  <a:lnTo>
                    <a:pt x="6320" y="30947"/>
                  </a:lnTo>
                  <a:lnTo>
                    <a:pt x="6257" y="31031"/>
                  </a:lnTo>
                  <a:lnTo>
                    <a:pt x="6236" y="31135"/>
                  </a:lnTo>
                  <a:lnTo>
                    <a:pt x="6278" y="31156"/>
                  </a:lnTo>
                  <a:lnTo>
                    <a:pt x="6341" y="31093"/>
                  </a:lnTo>
                  <a:lnTo>
                    <a:pt x="6341" y="31031"/>
                  </a:lnTo>
                  <a:lnTo>
                    <a:pt x="6361" y="30968"/>
                  </a:lnTo>
                  <a:lnTo>
                    <a:pt x="6424" y="30968"/>
                  </a:lnTo>
                  <a:lnTo>
                    <a:pt x="6487" y="30989"/>
                  </a:lnTo>
                  <a:lnTo>
                    <a:pt x="6487" y="30842"/>
                  </a:lnTo>
                  <a:lnTo>
                    <a:pt x="6550" y="30842"/>
                  </a:lnTo>
                  <a:lnTo>
                    <a:pt x="6592" y="30759"/>
                  </a:lnTo>
                  <a:lnTo>
                    <a:pt x="6654" y="30759"/>
                  </a:lnTo>
                  <a:lnTo>
                    <a:pt x="6654" y="30821"/>
                  </a:lnTo>
                  <a:lnTo>
                    <a:pt x="6633" y="30821"/>
                  </a:lnTo>
                  <a:lnTo>
                    <a:pt x="6592" y="30926"/>
                  </a:lnTo>
                  <a:lnTo>
                    <a:pt x="6592" y="30968"/>
                  </a:lnTo>
                  <a:lnTo>
                    <a:pt x="6759" y="30968"/>
                  </a:lnTo>
                  <a:lnTo>
                    <a:pt x="7010" y="31093"/>
                  </a:lnTo>
                  <a:lnTo>
                    <a:pt x="7052" y="31093"/>
                  </a:lnTo>
                  <a:lnTo>
                    <a:pt x="7052" y="31051"/>
                  </a:lnTo>
                  <a:lnTo>
                    <a:pt x="7094" y="30989"/>
                  </a:lnTo>
                  <a:lnTo>
                    <a:pt x="7157" y="30968"/>
                  </a:lnTo>
                  <a:lnTo>
                    <a:pt x="7157" y="30926"/>
                  </a:lnTo>
                  <a:lnTo>
                    <a:pt x="7094" y="30884"/>
                  </a:lnTo>
                  <a:lnTo>
                    <a:pt x="7073" y="30863"/>
                  </a:lnTo>
                  <a:lnTo>
                    <a:pt x="6989" y="30863"/>
                  </a:lnTo>
                  <a:lnTo>
                    <a:pt x="6968" y="30884"/>
                  </a:lnTo>
                  <a:lnTo>
                    <a:pt x="6968" y="30842"/>
                  </a:lnTo>
                  <a:lnTo>
                    <a:pt x="6989" y="30821"/>
                  </a:lnTo>
                  <a:lnTo>
                    <a:pt x="6989" y="30759"/>
                  </a:lnTo>
                  <a:lnTo>
                    <a:pt x="6885" y="30717"/>
                  </a:lnTo>
                  <a:lnTo>
                    <a:pt x="6696" y="30633"/>
                  </a:lnTo>
                  <a:lnTo>
                    <a:pt x="6675" y="30570"/>
                  </a:lnTo>
                  <a:lnTo>
                    <a:pt x="6696" y="30549"/>
                  </a:lnTo>
                  <a:lnTo>
                    <a:pt x="6780" y="30570"/>
                  </a:lnTo>
                  <a:lnTo>
                    <a:pt x="6843" y="30549"/>
                  </a:lnTo>
                  <a:lnTo>
                    <a:pt x="6864" y="30549"/>
                  </a:lnTo>
                  <a:lnTo>
                    <a:pt x="6885" y="30612"/>
                  </a:lnTo>
                  <a:lnTo>
                    <a:pt x="6968" y="30675"/>
                  </a:lnTo>
                  <a:lnTo>
                    <a:pt x="7052" y="30738"/>
                  </a:lnTo>
                  <a:lnTo>
                    <a:pt x="7115" y="30738"/>
                  </a:lnTo>
                  <a:lnTo>
                    <a:pt x="7219" y="30675"/>
                  </a:lnTo>
                  <a:lnTo>
                    <a:pt x="7303" y="30633"/>
                  </a:lnTo>
                  <a:lnTo>
                    <a:pt x="7324" y="30570"/>
                  </a:lnTo>
                  <a:lnTo>
                    <a:pt x="7261" y="30549"/>
                  </a:lnTo>
                  <a:lnTo>
                    <a:pt x="7157" y="30549"/>
                  </a:lnTo>
                  <a:lnTo>
                    <a:pt x="7094" y="30528"/>
                  </a:lnTo>
                  <a:lnTo>
                    <a:pt x="7094" y="30466"/>
                  </a:lnTo>
                  <a:lnTo>
                    <a:pt x="7219" y="30466"/>
                  </a:lnTo>
                  <a:lnTo>
                    <a:pt x="7303" y="30424"/>
                  </a:lnTo>
                  <a:lnTo>
                    <a:pt x="7303" y="30403"/>
                  </a:lnTo>
                  <a:lnTo>
                    <a:pt x="7219" y="30340"/>
                  </a:lnTo>
                  <a:lnTo>
                    <a:pt x="7157" y="30319"/>
                  </a:lnTo>
                  <a:lnTo>
                    <a:pt x="7157" y="30298"/>
                  </a:lnTo>
                  <a:lnTo>
                    <a:pt x="7198" y="30298"/>
                  </a:lnTo>
                  <a:lnTo>
                    <a:pt x="7219" y="30256"/>
                  </a:lnTo>
                  <a:lnTo>
                    <a:pt x="7198" y="30235"/>
                  </a:lnTo>
                  <a:lnTo>
                    <a:pt x="7094" y="30214"/>
                  </a:lnTo>
                  <a:lnTo>
                    <a:pt x="7052" y="30152"/>
                  </a:lnTo>
                  <a:lnTo>
                    <a:pt x="7073" y="30131"/>
                  </a:lnTo>
                  <a:lnTo>
                    <a:pt x="7157" y="30152"/>
                  </a:lnTo>
                  <a:lnTo>
                    <a:pt x="7261" y="30194"/>
                  </a:lnTo>
                  <a:lnTo>
                    <a:pt x="7408" y="30152"/>
                  </a:lnTo>
                  <a:lnTo>
                    <a:pt x="7491" y="30110"/>
                  </a:lnTo>
                  <a:lnTo>
                    <a:pt x="7512" y="30047"/>
                  </a:lnTo>
                  <a:lnTo>
                    <a:pt x="7491" y="30005"/>
                  </a:lnTo>
                  <a:lnTo>
                    <a:pt x="7387" y="29984"/>
                  </a:lnTo>
                  <a:lnTo>
                    <a:pt x="7198" y="29942"/>
                  </a:lnTo>
                  <a:lnTo>
                    <a:pt x="7115" y="29901"/>
                  </a:lnTo>
                  <a:lnTo>
                    <a:pt x="7115" y="29880"/>
                  </a:lnTo>
                  <a:lnTo>
                    <a:pt x="7177" y="29880"/>
                  </a:lnTo>
                  <a:lnTo>
                    <a:pt x="7261" y="29901"/>
                  </a:lnTo>
                  <a:lnTo>
                    <a:pt x="7408" y="29901"/>
                  </a:lnTo>
                  <a:lnTo>
                    <a:pt x="7491" y="29838"/>
                  </a:lnTo>
                  <a:lnTo>
                    <a:pt x="7491" y="29775"/>
                  </a:lnTo>
                  <a:lnTo>
                    <a:pt x="7408" y="29712"/>
                  </a:lnTo>
                  <a:lnTo>
                    <a:pt x="7324" y="29691"/>
                  </a:lnTo>
                  <a:lnTo>
                    <a:pt x="7303" y="29629"/>
                  </a:lnTo>
                  <a:lnTo>
                    <a:pt x="7366" y="29629"/>
                  </a:lnTo>
                  <a:lnTo>
                    <a:pt x="7408" y="29670"/>
                  </a:lnTo>
                  <a:lnTo>
                    <a:pt x="7429" y="29712"/>
                  </a:lnTo>
                  <a:lnTo>
                    <a:pt x="7512" y="29691"/>
                  </a:lnTo>
                  <a:lnTo>
                    <a:pt x="7575" y="29629"/>
                  </a:lnTo>
                  <a:lnTo>
                    <a:pt x="7575" y="29587"/>
                  </a:lnTo>
                  <a:lnTo>
                    <a:pt x="7512" y="29566"/>
                  </a:lnTo>
                  <a:lnTo>
                    <a:pt x="7429" y="29503"/>
                  </a:lnTo>
                  <a:lnTo>
                    <a:pt x="7429" y="29482"/>
                  </a:lnTo>
                  <a:lnTo>
                    <a:pt x="7491" y="29461"/>
                  </a:lnTo>
                  <a:lnTo>
                    <a:pt x="7512" y="29503"/>
                  </a:lnTo>
                  <a:lnTo>
                    <a:pt x="7575" y="29524"/>
                  </a:lnTo>
                  <a:lnTo>
                    <a:pt x="7638" y="29461"/>
                  </a:lnTo>
                  <a:lnTo>
                    <a:pt x="7638" y="29419"/>
                  </a:lnTo>
                  <a:lnTo>
                    <a:pt x="7533" y="29398"/>
                  </a:lnTo>
                  <a:lnTo>
                    <a:pt x="7470" y="29357"/>
                  </a:lnTo>
                  <a:lnTo>
                    <a:pt x="7429" y="29294"/>
                  </a:lnTo>
                  <a:lnTo>
                    <a:pt x="7491" y="29294"/>
                  </a:lnTo>
                  <a:lnTo>
                    <a:pt x="7575" y="29357"/>
                  </a:lnTo>
                  <a:lnTo>
                    <a:pt x="7638" y="29357"/>
                  </a:lnTo>
                  <a:lnTo>
                    <a:pt x="7701" y="29398"/>
                  </a:lnTo>
                  <a:lnTo>
                    <a:pt x="7742" y="29398"/>
                  </a:lnTo>
                  <a:lnTo>
                    <a:pt x="7784" y="29315"/>
                  </a:lnTo>
                  <a:lnTo>
                    <a:pt x="7784" y="29273"/>
                  </a:lnTo>
                  <a:lnTo>
                    <a:pt x="7826" y="29210"/>
                  </a:lnTo>
                  <a:lnTo>
                    <a:pt x="7826" y="29168"/>
                  </a:lnTo>
                  <a:lnTo>
                    <a:pt x="7805" y="29106"/>
                  </a:lnTo>
                  <a:lnTo>
                    <a:pt x="7826" y="29001"/>
                  </a:lnTo>
                  <a:lnTo>
                    <a:pt x="7826" y="28959"/>
                  </a:lnTo>
                  <a:lnTo>
                    <a:pt x="7742" y="28854"/>
                  </a:lnTo>
                  <a:lnTo>
                    <a:pt x="7617" y="28750"/>
                  </a:lnTo>
                  <a:lnTo>
                    <a:pt x="7512" y="28729"/>
                  </a:lnTo>
                  <a:lnTo>
                    <a:pt x="7470" y="28666"/>
                  </a:lnTo>
                  <a:lnTo>
                    <a:pt x="7470" y="28645"/>
                  </a:lnTo>
                  <a:lnTo>
                    <a:pt x="7533" y="28645"/>
                  </a:lnTo>
                  <a:lnTo>
                    <a:pt x="7596" y="28666"/>
                  </a:lnTo>
                  <a:lnTo>
                    <a:pt x="7722" y="28771"/>
                  </a:lnTo>
                  <a:lnTo>
                    <a:pt x="7805" y="28854"/>
                  </a:lnTo>
                  <a:lnTo>
                    <a:pt x="7889" y="28854"/>
                  </a:lnTo>
                  <a:lnTo>
                    <a:pt x="7910" y="28834"/>
                  </a:lnTo>
                  <a:lnTo>
                    <a:pt x="7889" y="28687"/>
                  </a:lnTo>
                  <a:lnTo>
                    <a:pt x="7826" y="28582"/>
                  </a:lnTo>
                  <a:lnTo>
                    <a:pt x="7701" y="28562"/>
                  </a:lnTo>
                  <a:lnTo>
                    <a:pt x="7533" y="28478"/>
                  </a:lnTo>
                  <a:lnTo>
                    <a:pt x="7491" y="28457"/>
                  </a:lnTo>
                  <a:lnTo>
                    <a:pt x="7491" y="28415"/>
                  </a:lnTo>
                  <a:lnTo>
                    <a:pt x="7533" y="28415"/>
                  </a:lnTo>
                  <a:lnTo>
                    <a:pt x="7596" y="28436"/>
                  </a:lnTo>
                  <a:lnTo>
                    <a:pt x="7638" y="28478"/>
                  </a:lnTo>
                  <a:lnTo>
                    <a:pt x="7742" y="28478"/>
                  </a:lnTo>
                  <a:lnTo>
                    <a:pt x="7805" y="28415"/>
                  </a:lnTo>
                  <a:lnTo>
                    <a:pt x="7826" y="28352"/>
                  </a:lnTo>
                  <a:lnTo>
                    <a:pt x="7826" y="28269"/>
                  </a:lnTo>
                  <a:lnTo>
                    <a:pt x="7847" y="28269"/>
                  </a:lnTo>
                  <a:lnTo>
                    <a:pt x="7910" y="28310"/>
                  </a:lnTo>
                  <a:lnTo>
                    <a:pt x="7910" y="28331"/>
                  </a:lnTo>
                  <a:lnTo>
                    <a:pt x="7910" y="28373"/>
                  </a:lnTo>
                  <a:lnTo>
                    <a:pt x="8014" y="28436"/>
                  </a:lnTo>
                  <a:lnTo>
                    <a:pt x="8056" y="28436"/>
                  </a:lnTo>
                  <a:lnTo>
                    <a:pt x="8119" y="28478"/>
                  </a:lnTo>
                  <a:lnTo>
                    <a:pt x="8161" y="28478"/>
                  </a:lnTo>
                  <a:lnTo>
                    <a:pt x="8203" y="28436"/>
                  </a:lnTo>
                  <a:lnTo>
                    <a:pt x="8245" y="28373"/>
                  </a:lnTo>
                  <a:lnTo>
                    <a:pt x="8266" y="28352"/>
                  </a:lnTo>
                  <a:lnTo>
                    <a:pt x="8245" y="28310"/>
                  </a:lnTo>
                  <a:lnTo>
                    <a:pt x="8161" y="28269"/>
                  </a:lnTo>
                  <a:lnTo>
                    <a:pt x="8014" y="28269"/>
                  </a:lnTo>
                  <a:lnTo>
                    <a:pt x="7994" y="28248"/>
                  </a:lnTo>
                  <a:lnTo>
                    <a:pt x="7994" y="28227"/>
                  </a:lnTo>
                  <a:lnTo>
                    <a:pt x="7994" y="28164"/>
                  </a:lnTo>
                  <a:lnTo>
                    <a:pt x="7931" y="28122"/>
                  </a:lnTo>
                  <a:lnTo>
                    <a:pt x="7931" y="28059"/>
                  </a:lnTo>
                  <a:lnTo>
                    <a:pt x="7994" y="28018"/>
                  </a:lnTo>
                  <a:lnTo>
                    <a:pt x="8014" y="28018"/>
                  </a:lnTo>
                  <a:lnTo>
                    <a:pt x="8056" y="28059"/>
                  </a:lnTo>
                  <a:lnTo>
                    <a:pt x="8056" y="28143"/>
                  </a:lnTo>
                  <a:lnTo>
                    <a:pt x="8119" y="28206"/>
                  </a:lnTo>
                  <a:lnTo>
                    <a:pt x="8245" y="28206"/>
                  </a:lnTo>
                  <a:lnTo>
                    <a:pt x="8307" y="28164"/>
                  </a:lnTo>
                  <a:lnTo>
                    <a:pt x="8307" y="28122"/>
                  </a:lnTo>
                  <a:lnTo>
                    <a:pt x="8266" y="28059"/>
                  </a:lnTo>
                  <a:lnTo>
                    <a:pt x="8161" y="28018"/>
                  </a:lnTo>
                  <a:lnTo>
                    <a:pt x="8098" y="27955"/>
                  </a:lnTo>
                  <a:lnTo>
                    <a:pt x="8056" y="27850"/>
                  </a:lnTo>
                  <a:lnTo>
                    <a:pt x="8098" y="27850"/>
                  </a:lnTo>
                  <a:lnTo>
                    <a:pt x="8140" y="27913"/>
                  </a:lnTo>
                  <a:lnTo>
                    <a:pt x="8245" y="27955"/>
                  </a:lnTo>
                  <a:lnTo>
                    <a:pt x="8307" y="27997"/>
                  </a:lnTo>
                  <a:lnTo>
                    <a:pt x="8370" y="28059"/>
                  </a:lnTo>
                  <a:lnTo>
                    <a:pt x="8412" y="28038"/>
                  </a:lnTo>
                  <a:lnTo>
                    <a:pt x="8412" y="27997"/>
                  </a:lnTo>
                  <a:lnTo>
                    <a:pt x="8370" y="27934"/>
                  </a:lnTo>
                  <a:lnTo>
                    <a:pt x="8266" y="27892"/>
                  </a:lnTo>
                  <a:lnTo>
                    <a:pt x="8203" y="27829"/>
                  </a:lnTo>
                  <a:lnTo>
                    <a:pt x="8203" y="27746"/>
                  </a:lnTo>
                  <a:lnTo>
                    <a:pt x="8245" y="27704"/>
                  </a:lnTo>
                  <a:lnTo>
                    <a:pt x="8266" y="27641"/>
                  </a:lnTo>
                  <a:lnTo>
                    <a:pt x="8328" y="27641"/>
                  </a:lnTo>
                  <a:lnTo>
                    <a:pt x="8349" y="27704"/>
                  </a:lnTo>
                  <a:lnTo>
                    <a:pt x="8475" y="27808"/>
                  </a:lnTo>
                  <a:lnTo>
                    <a:pt x="8558" y="27808"/>
                  </a:lnTo>
                  <a:lnTo>
                    <a:pt x="8621" y="27787"/>
                  </a:lnTo>
                  <a:lnTo>
                    <a:pt x="8684" y="27787"/>
                  </a:lnTo>
                  <a:lnTo>
                    <a:pt x="8768" y="27746"/>
                  </a:lnTo>
                  <a:lnTo>
                    <a:pt x="8789" y="27683"/>
                  </a:lnTo>
                  <a:lnTo>
                    <a:pt x="8768" y="27641"/>
                  </a:lnTo>
                  <a:lnTo>
                    <a:pt x="8684" y="27620"/>
                  </a:lnTo>
                  <a:lnTo>
                    <a:pt x="8621" y="27578"/>
                  </a:lnTo>
                  <a:lnTo>
                    <a:pt x="8517" y="27515"/>
                  </a:lnTo>
                  <a:lnTo>
                    <a:pt x="8454" y="27515"/>
                  </a:lnTo>
                  <a:lnTo>
                    <a:pt x="8370" y="27494"/>
                  </a:lnTo>
                  <a:lnTo>
                    <a:pt x="8412" y="27432"/>
                  </a:lnTo>
                  <a:lnTo>
                    <a:pt x="8433" y="27411"/>
                  </a:lnTo>
                  <a:lnTo>
                    <a:pt x="8517" y="27411"/>
                  </a:lnTo>
                  <a:lnTo>
                    <a:pt x="8579" y="27494"/>
                  </a:lnTo>
                  <a:lnTo>
                    <a:pt x="8642" y="27515"/>
                  </a:lnTo>
                  <a:lnTo>
                    <a:pt x="8684" y="27515"/>
                  </a:lnTo>
                  <a:lnTo>
                    <a:pt x="8768" y="27620"/>
                  </a:lnTo>
                  <a:lnTo>
                    <a:pt x="8851" y="27641"/>
                  </a:lnTo>
                  <a:lnTo>
                    <a:pt x="8893" y="27620"/>
                  </a:lnTo>
                  <a:lnTo>
                    <a:pt x="8935" y="27578"/>
                  </a:lnTo>
                  <a:lnTo>
                    <a:pt x="8935" y="27515"/>
                  </a:lnTo>
                  <a:lnTo>
                    <a:pt x="8935" y="27411"/>
                  </a:lnTo>
                  <a:lnTo>
                    <a:pt x="8893" y="27369"/>
                  </a:lnTo>
                  <a:lnTo>
                    <a:pt x="8851" y="27327"/>
                  </a:lnTo>
                  <a:lnTo>
                    <a:pt x="8851" y="27306"/>
                  </a:lnTo>
                  <a:lnTo>
                    <a:pt x="8956" y="27306"/>
                  </a:lnTo>
                  <a:lnTo>
                    <a:pt x="8977" y="27222"/>
                  </a:lnTo>
                  <a:lnTo>
                    <a:pt x="8977" y="27181"/>
                  </a:lnTo>
                  <a:lnTo>
                    <a:pt x="8935" y="27181"/>
                  </a:lnTo>
                  <a:lnTo>
                    <a:pt x="8872" y="27201"/>
                  </a:lnTo>
                  <a:lnTo>
                    <a:pt x="8830" y="27160"/>
                  </a:lnTo>
                  <a:lnTo>
                    <a:pt x="8768" y="27097"/>
                  </a:lnTo>
                  <a:lnTo>
                    <a:pt x="8684" y="27097"/>
                  </a:lnTo>
                  <a:lnTo>
                    <a:pt x="8558" y="27013"/>
                  </a:lnTo>
                  <a:lnTo>
                    <a:pt x="8538" y="26992"/>
                  </a:lnTo>
                  <a:lnTo>
                    <a:pt x="8579" y="26950"/>
                  </a:lnTo>
                  <a:lnTo>
                    <a:pt x="8684" y="26950"/>
                  </a:lnTo>
                  <a:lnTo>
                    <a:pt x="8789" y="26971"/>
                  </a:lnTo>
                  <a:lnTo>
                    <a:pt x="8872" y="26971"/>
                  </a:lnTo>
                  <a:lnTo>
                    <a:pt x="8893" y="26909"/>
                  </a:lnTo>
                  <a:lnTo>
                    <a:pt x="8956" y="26909"/>
                  </a:lnTo>
                  <a:lnTo>
                    <a:pt x="9040" y="26971"/>
                  </a:lnTo>
                  <a:lnTo>
                    <a:pt x="9061" y="26867"/>
                  </a:lnTo>
                  <a:lnTo>
                    <a:pt x="9040" y="26699"/>
                  </a:lnTo>
                  <a:lnTo>
                    <a:pt x="8998" y="26595"/>
                  </a:lnTo>
                  <a:lnTo>
                    <a:pt x="8956" y="26553"/>
                  </a:lnTo>
                  <a:lnTo>
                    <a:pt x="8935" y="26469"/>
                  </a:lnTo>
                  <a:lnTo>
                    <a:pt x="8935" y="26427"/>
                  </a:lnTo>
                  <a:lnTo>
                    <a:pt x="8977" y="26365"/>
                  </a:lnTo>
                  <a:lnTo>
                    <a:pt x="8956" y="26260"/>
                  </a:lnTo>
                  <a:lnTo>
                    <a:pt x="8956" y="26218"/>
                  </a:lnTo>
                  <a:lnTo>
                    <a:pt x="8977" y="26155"/>
                  </a:lnTo>
                  <a:lnTo>
                    <a:pt x="8998" y="26176"/>
                  </a:lnTo>
                  <a:lnTo>
                    <a:pt x="9040" y="26239"/>
                  </a:lnTo>
                  <a:lnTo>
                    <a:pt x="9102" y="26260"/>
                  </a:lnTo>
                  <a:lnTo>
                    <a:pt x="9102" y="26218"/>
                  </a:lnTo>
                  <a:lnTo>
                    <a:pt x="9165" y="26176"/>
                  </a:lnTo>
                  <a:lnTo>
                    <a:pt x="9207" y="26218"/>
                  </a:lnTo>
                  <a:lnTo>
                    <a:pt x="9249" y="26344"/>
                  </a:lnTo>
                  <a:lnTo>
                    <a:pt x="9291" y="26365"/>
                  </a:lnTo>
                  <a:lnTo>
                    <a:pt x="9374" y="26365"/>
                  </a:lnTo>
                  <a:lnTo>
                    <a:pt x="9479" y="26239"/>
                  </a:lnTo>
                  <a:lnTo>
                    <a:pt x="9521" y="26113"/>
                  </a:lnTo>
                  <a:lnTo>
                    <a:pt x="9521" y="26009"/>
                  </a:lnTo>
                  <a:lnTo>
                    <a:pt x="9500" y="25925"/>
                  </a:lnTo>
                  <a:lnTo>
                    <a:pt x="9500" y="25862"/>
                  </a:lnTo>
                  <a:lnTo>
                    <a:pt x="9563" y="25841"/>
                  </a:lnTo>
                  <a:lnTo>
                    <a:pt x="9605" y="25841"/>
                  </a:lnTo>
                  <a:lnTo>
                    <a:pt x="9626" y="25800"/>
                  </a:lnTo>
                  <a:lnTo>
                    <a:pt x="9667" y="25758"/>
                  </a:lnTo>
                  <a:lnTo>
                    <a:pt x="9688" y="25821"/>
                  </a:lnTo>
                  <a:lnTo>
                    <a:pt x="9730" y="25883"/>
                  </a:lnTo>
                  <a:lnTo>
                    <a:pt x="9814" y="25883"/>
                  </a:lnTo>
                  <a:lnTo>
                    <a:pt x="9877" y="25841"/>
                  </a:lnTo>
                  <a:lnTo>
                    <a:pt x="9877" y="25800"/>
                  </a:lnTo>
                  <a:lnTo>
                    <a:pt x="9877" y="25737"/>
                  </a:lnTo>
                  <a:lnTo>
                    <a:pt x="9898" y="25737"/>
                  </a:lnTo>
                  <a:lnTo>
                    <a:pt x="9918" y="25800"/>
                  </a:lnTo>
                  <a:lnTo>
                    <a:pt x="9939" y="25883"/>
                  </a:lnTo>
                  <a:lnTo>
                    <a:pt x="9981" y="25925"/>
                  </a:lnTo>
                  <a:lnTo>
                    <a:pt x="10044" y="25862"/>
                  </a:lnTo>
                  <a:lnTo>
                    <a:pt x="10107" y="25821"/>
                  </a:lnTo>
                  <a:lnTo>
                    <a:pt x="10149" y="25800"/>
                  </a:lnTo>
                  <a:lnTo>
                    <a:pt x="10211" y="25841"/>
                  </a:lnTo>
                  <a:lnTo>
                    <a:pt x="10295" y="25841"/>
                  </a:lnTo>
                  <a:lnTo>
                    <a:pt x="10358" y="25800"/>
                  </a:lnTo>
                  <a:lnTo>
                    <a:pt x="10400" y="25716"/>
                  </a:lnTo>
                  <a:lnTo>
                    <a:pt x="10421" y="25674"/>
                  </a:lnTo>
                  <a:lnTo>
                    <a:pt x="10421" y="25632"/>
                  </a:lnTo>
                  <a:lnTo>
                    <a:pt x="10358" y="25549"/>
                  </a:lnTo>
                  <a:lnTo>
                    <a:pt x="10316" y="25423"/>
                  </a:lnTo>
                  <a:lnTo>
                    <a:pt x="10295" y="25339"/>
                  </a:lnTo>
                  <a:lnTo>
                    <a:pt x="10337" y="25297"/>
                  </a:lnTo>
                  <a:lnTo>
                    <a:pt x="10358" y="25318"/>
                  </a:lnTo>
                  <a:lnTo>
                    <a:pt x="10400" y="25423"/>
                  </a:lnTo>
                  <a:lnTo>
                    <a:pt x="10442" y="25423"/>
                  </a:lnTo>
                  <a:lnTo>
                    <a:pt x="10525" y="25339"/>
                  </a:lnTo>
                  <a:lnTo>
                    <a:pt x="10546" y="25256"/>
                  </a:lnTo>
                  <a:lnTo>
                    <a:pt x="10609" y="25193"/>
                  </a:lnTo>
                  <a:lnTo>
                    <a:pt x="10630" y="25130"/>
                  </a:lnTo>
                  <a:lnTo>
                    <a:pt x="10546" y="25046"/>
                  </a:lnTo>
                  <a:lnTo>
                    <a:pt x="10546" y="25005"/>
                  </a:lnTo>
                  <a:lnTo>
                    <a:pt x="10609" y="24942"/>
                  </a:lnTo>
                  <a:lnTo>
                    <a:pt x="10651" y="24921"/>
                  </a:lnTo>
                  <a:lnTo>
                    <a:pt x="10672" y="24942"/>
                  </a:lnTo>
                  <a:lnTo>
                    <a:pt x="10672" y="24984"/>
                  </a:lnTo>
                  <a:lnTo>
                    <a:pt x="10735" y="25046"/>
                  </a:lnTo>
                  <a:lnTo>
                    <a:pt x="10839" y="25088"/>
                  </a:lnTo>
                  <a:lnTo>
                    <a:pt x="10881" y="25109"/>
                  </a:lnTo>
                  <a:lnTo>
                    <a:pt x="10839" y="25172"/>
                  </a:lnTo>
                  <a:lnTo>
                    <a:pt x="10755" y="25214"/>
                  </a:lnTo>
                  <a:lnTo>
                    <a:pt x="10714" y="25318"/>
                  </a:lnTo>
                  <a:lnTo>
                    <a:pt x="10714" y="25402"/>
                  </a:lnTo>
                  <a:lnTo>
                    <a:pt x="10839" y="25549"/>
                  </a:lnTo>
                  <a:lnTo>
                    <a:pt x="10881" y="25590"/>
                  </a:lnTo>
                  <a:lnTo>
                    <a:pt x="10923" y="25507"/>
                  </a:lnTo>
                  <a:lnTo>
                    <a:pt x="10923" y="25444"/>
                  </a:lnTo>
                  <a:lnTo>
                    <a:pt x="10944" y="25381"/>
                  </a:lnTo>
                  <a:lnTo>
                    <a:pt x="10965" y="25277"/>
                  </a:lnTo>
                  <a:lnTo>
                    <a:pt x="10986" y="25277"/>
                  </a:lnTo>
                  <a:lnTo>
                    <a:pt x="11027" y="25318"/>
                  </a:lnTo>
                  <a:lnTo>
                    <a:pt x="10986" y="25402"/>
                  </a:lnTo>
                  <a:lnTo>
                    <a:pt x="10986" y="25444"/>
                  </a:lnTo>
                  <a:lnTo>
                    <a:pt x="11048" y="25549"/>
                  </a:lnTo>
                  <a:lnTo>
                    <a:pt x="11132" y="25590"/>
                  </a:lnTo>
                  <a:lnTo>
                    <a:pt x="11195" y="25528"/>
                  </a:lnTo>
                  <a:lnTo>
                    <a:pt x="11279" y="25528"/>
                  </a:lnTo>
                  <a:lnTo>
                    <a:pt x="11299" y="25486"/>
                  </a:lnTo>
                  <a:lnTo>
                    <a:pt x="11299" y="25423"/>
                  </a:lnTo>
                  <a:lnTo>
                    <a:pt x="11341" y="25381"/>
                  </a:lnTo>
                  <a:lnTo>
                    <a:pt x="11362" y="25381"/>
                  </a:lnTo>
                  <a:lnTo>
                    <a:pt x="11383" y="25402"/>
                  </a:lnTo>
                  <a:lnTo>
                    <a:pt x="11362" y="25444"/>
                  </a:lnTo>
                  <a:lnTo>
                    <a:pt x="11362" y="25507"/>
                  </a:lnTo>
                  <a:lnTo>
                    <a:pt x="11404" y="25549"/>
                  </a:lnTo>
                  <a:lnTo>
                    <a:pt x="11488" y="25549"/>
                  </a:lnTo>
                  <a:lnTo>
                    <a:pt x="11571" y="25444"/>
                  </a:lnTo>
                  <a:lnTo>
                    <a:pt x="11718" y="25339"/>
                  </a:lnTo>
                  <a:lnTo>
                    <a:pt x="11781" y="25339"/>
                  </a:lnTo>
                  <a:lnTo>
                    <a:pt x="11823" y="25318"/>
                  </a:lnTo>
                  <a:lnTo>
                    <a:pt x="11823" y="25235"/>
                  </a:lnTo>
                  <a:lnTo>
                    <a:pt x="11781" y="25172"/>
                  </a:lnTo>
                  <a:lnTo>
                    <a:pt x="11718" y="25130"/>
                  </a:lnTo>
                  <a:lnTo>
                    <a:pt x="11676" y="25088"/>
                  </a:lnTo>
                  <a:lnTo>
                    <a:pt x="11697" y="25067"/>
                  </a:lnTo>
                  <a:lnTo>
                    <a:pt x="11760" y="25067"/>
                  </a:lnTo>
                  <a:lnTo>
                    <a:pt x="11781" y="25109"/>
                  </a:lnTo>
                  <a:lnTo>
                    <a:pt x="11885" y="25172"/>
                  </a:lnTo>
                  <a:lnTo>
                    <a:pt x="11927" y="25172"/>
                  </a:lnTo>
                  <a:lnTo>
                    <a:pt x="11927" y="25088"/>
                  </a:lnTo>
                  <a:lnTo>
                    <a:pt x="11990" y="25088"/>
                  </a:lnTo>
                  <a:lnTo>
                    <a:pt x="12011" y="25130"/>
                  </a:lnTo>
                  <a:lnTo>
                    <a:pt x="12011" y="25193"/>
                  </a:lnTo>
                  <a:lnTo>
                    <a:pt x="12032" y="25214"/>
                  </a:lnTo>
                  <a:lnTo>
                    <a:pt x="12095" y="25193"/>
                  </a:lnTo>
                  <a:lnTo>
                    <a:pt x="12220" y="25046"/>
                  </a:lnTo>
                  <a:lnTo>
                    <a:pt x="12241" y="25025"/>
                  </a:lnTo>
                  <a:lnTo>
                    <a:pt x="12241" y="25005"/>
                  </a:lnTo>
                  <a:lnTo>
                    <a:pt x="12283" y="24921"/>
                  </a:lnTo>
                  <a:lnTo>
                    <a:pt x="12304" y="24879"/>
                  </a:lnTo>
                  <a:lnTo>
                    <a:pt x="12346" y="24837"/>
                  </a:lnTo>
                  <a:lnTo>
                    <a:pt x="12346" y="24837"/>
                  </a:lnTo>
                  <a:lnTo>
                    <a:pt x="12325" y="24900"/>
                  </a:lnTo>
                  <a:lnTo>
                    <a:pt x="12346" y="24942"/>
                  </a:lnTo>
                  <a:lnTo>
                    <a:pt x="12387" y="24984"/>
                  </a:lnTo>
                  <a:lnTo>
                    <a:pt x="12429" y="24942"/>
                  </a:lnTo>
                  <a:lnTo>
                    <a:pt x="12513" y="24837"/>
                  </a:lnTo>
                  <a:lnTo>
                    <a:pt x="12534" y="24774"/>
                  </a:lnTo>
                  <a:lnTo>
                    <a:pt x="12513" y="24691"/>
                  </a:lnTo>
                  <a:lnTo>
                    <a:pt x="12513" y="24607"/>
                  </a:lnTo>
                  <a:lnTo>
                    <a:pt x="12639" y="24481"/>
                  </a:lnTo>
                  <a:lnTo>
                    <a:pt x="12722" y="24460"/>
                  </a:lnTo>
                  <a:lnTo>
                    <a:pt x="12764" y="24398"/>
                  </a:lnTo>
                  <a:lnTo>
                    <a:pt x="12743" y="24356"/>
                  </a:lnTo>
                  <a:lnTo>
                    <a:pt x="12722" y="24293"/>
                  </a:lnTo>
                  <a:lnTo>
                    <a:pt x="12722" y="24272"/>
                  </a:lnTo>
                  <a:lnTo>
                    <a:pt x="12764" y="24293"/>
                  </a:lnTo>
                  <a:lnTo>
                    <a:pt x="12827" y="24314"/>
                  </a:lnTo>
                  <a:lnTo>
                    <a:pt x="12869" y="24314"/>
                  </a:lnTo>
                  <a:lnTo>
                    <a:pt x="12911" y="24251"/>
                  </a:lnTo>
                  <a:lnTo>
                    <a:pt x="12869" y="24188"/>
                  </a:lnTo>
                  <a:lnTo>
                    <a:pt x="12827" y="24147"/>
                  </a:lnTo>
                  <a:lnTo>
                    <a:pt x="12869" y="24168"/>
                  </a:lnTo>
                  <a:lnTo>
                    <a:pt x="12931" y="24209"/>
                  </a:lnTo>
                  <a:lnTo>
                    <a:pt x="12931" y="24168"/>
                  </a:lnTo>
                  <a:lnTo>
                    <a:pt x="12952" y="24084"/>
                  </a:lnTo>
                  <a:lnTo>
                    <a:pt x="13036" y="24084"/>
                  </a:lnTo>
                  <a:lnTo>
                    <a:pt x="13120" y="24042"/>
                  </a:lnTo>
                  <a:lnTo>
                    <a:pt x="13120" y="23958"/>
                  </a:lnTo>
                  <a:lnTo>
                    <a:pt x="13120" y="23937"/>
                  </a:lnTo>
                  <a:lnTo>
                    <a:pt x="13141" y="23875"/>
                  </a:lnTo>
                  <a:lnTo>
                    <a:pt x="13224" y="23875"/>
                  </a:lnTo>
                  <a:lnTo>
                    <a:pt x="13266" y="23854"/>
                  </a:lnTo>
                  <a:lnTo>
                    <a:pt x="13350" y="23749"/>
                  </a:lnTo>
                  <a:lnTo>
                    <a:pt x="13434" y="23707"/>
                  </a:lnTo>
                  <a:lnTo>
                    <a:pt x="13476" y="23707"/>
                  </a:lnTo>
                  <a:lnTo>
                    <a:pt x="13496" y="23728"/>
                  </a:lnTo>
                  <a:lnTo>
                    <a:pt x="13580" y="23707"/>
                  </a:lnTo>
                  <a:lnTo>
                    <a:pt x="13643" y="23624"/>
                  </a:lnTo>
                  <a:lnTo>
                    <a:pt x="13664" y="23477"/>
                  </a:lnTo>
                  <a:lnTo>
                    <a:pt x="13643" y="23352"/>
                  </a:lnTo>
                  <a:lnTo>
                    <a:pt x="13580" y="23352"/>
                  </a:lnTo>
                  <a:lnTo>
                    <a:pt x="13559" y="23331"/>
                  </a:lnTo>
                  <a:lnTo>
                    <a:pt x="13580" y="23247"/>
                  </a:lnTo>
                  <a:lnTo>
                    <a:pt x="13580" y="23142"/>
                  </a:lnTo>
                  <a:lnTo>
                    <a:pt x="13559" y="23059"/>
                  </a:lnTo>
                  <a:lnTo>
                    <a:pt x="13496" y="23017"/>
                  </a:lnTo>
                  <a:lnTo>
                    <a:pt x="13476" y="22912"/>
                  </a:lnTo>
                  <a:lnTo>
                    <a:pt x="13455" y="22870"/>
                  </a:lnTo>
                  <a:lnTo>
                    <a:pt x="13455" y="22787"/>
                  </a:lnTo>
                  <a:lnTo>
                    <a:pt x="13496" y="22787"/>
                  </a:lnTo>
                  <a:lnTo>
                    <a:pt x="13559" y="22808"/>
                  </a:lnTo>
                  <a:lnTo>
                    <a:pt x="13580" y="22912"/>
                  </a:lnTo>
                  <a:lnTo>
                    <a:pt x="13643" y="22996"/>
                  </a:lnTo>
                  <a:lnTo>
                    <a:pt x="13643" y="23080"/>
                  </a:lnTo>
                  <a:lnTo>
                    <a:pt x="13685" y="23184"/>
                  </a:lnTo>
                  <a:lnTo>
                    <a:pt x="13748" y="23205"/>
                  </a:lnTo>
                  <a:lnTo>
                    <a:pt x="13789" y="23247"/>
                  </a:lnTo>
                  <a:lnTo>
                    <a:pt x="13768" y="23331"/>
                  </a:lnTo>
                  <a:lnTo>
                    <a:pt x="13789" y="23414"/>
                  </a:lnTo>
                  <a:lnTo>
                    <a:pt x="13873" y="23456"/>
                  </a:lnTo>
                  <a:lnTo>
                    <a:pt x="13915" y="23456"/>
                  </a:lnTo>
                  <a:lnTo>
                    <a:pt x="13915" y="23414"/>
                  </a:lnTo>
                  <a:lnTo>
                    <a:pt x="13957" y="23352"/>
                  </a:lnTo>
                  <a:lnTo>
                    <a:pt x="13999" y="23352"/>
                  </a:lnTo>
                  <a:lnTo>
                    <a:pt x="14061" y="23435"/>
                  </a:lnTo>
                  <a:lnTo>
                    <a:pt x="14229" y="23435"/>
                  </a:lnTo>
                  <a:lnTo>
                    <a:pt x="14292" y="23393"/>
                  </a:lnTo>
                  <a:lnTo>
                    <a:pt x="14312" y="23414"/>
                  </a:lnTo>
                  <a:lnTo>
                    <a:pt x="14375" y="23414"/>
                  </a:lnTo>
                  <a:lnTo>
                    <a:pt x="14438" y="23352"/>
                  </a:lnTo>
                  <a:lnTo>
                    <a:pt x="14480" y="23289"/>
                  </a:lnTo>
                  <a:lnTo>
                    <a:pt x="14522" y="23289"/>
                  </a:lnTo>
                  <a:lnTo>
                    <a:pt x="14522" y="23226"/>
                  </a:lnTo>
                  <a:lnTo>
                    <a:pt x="14584" y="23205"/>
                  </a:lnTo>
                  <a:lnTo>
                    <a:pt x="14626" y="23226"/>
                  </a:lnTo>
                  <a:lnTo>
                    <a:pt x="14731" y="23352"/>
                  </a:lnTo>
                  <a:lnTo>
                    <a:pt x="14752" y="23414"/>
                  </a:lnTo>
                  <a:lnTo>
                    <a:pt x="14815" y="23414"/>
                  </a:lnTo>
                  <a:lnTo>
                    <a:pt x="14856" y="23352"/>
                  </a:lnTo>
                  <a:lnTo>
                    <a:pt x="14919" y="23331"/>
                  </a:lnTo>
                  <a:lnTo>
                    <a:pt x="14919" y="23226"/>
                  </a:lnTo>
                  <a:lnTo>
                    <a:pt x="14940" y="23226"/>
                  </a:lnTo>
                  <a:lnTo>
                    <a:pt x="14961" y="23247"/>
                  </a:lnTo>
                  <a:lnTo>
                    <a:pt x="15024" y="23247"/>
                  </a:lnTo>
                  <a:lnTo>
                    <a:pt x="15024" y="23205"/>
                  </a:lnTo>
                  <a:lnTo>
                    <a:pt x="15066" y="23205"/>
                  </a:lnTo>
                  <a:lnTo>
                    <a:pt x="15108" y="23226"/>
                  </a:lnTo>
                  <a:lnTo>
                    <a:pt x="15170" y="23226"/>
                  </a:lnTo>
                  <a:lnTo>
                    <a:pt x="15212" y="23184"/>
                  </a:lnTo>
                  <a:lnTo>
                    <a:pt x="15212" y="23121"/>
                  </a:lnTo>
                  <a:lnTo>
                    <a:pt x="15254" y="23100"/>
                  </a:lnTo>
                  <a:lnTo>
                    <a:pt x="15338" y="23100"/>
                  </a:lnTo>
                  <a:lnTo>
                    <a:pt x="15359" y="23080"/>
                  </a:lnTo>
                  <a:lnTo>
                    <a:pt x="15359" y="23017"/>
                  </a:lnTo>
                  <a:lnTo>
                    <a:pt x="15380" y="23017"/>
                  </a:lnTo>
                  <a:lnTo>
                    <a:pt x="15380" y="23080"/>
                  </a:lnTo>
                  <a:lnTo>
                    <a:pt x="15442" y="23100"/>
                  </a:lnTo>
                  <a:lnTo>
                    <a:pt x="15484" y="23038"/>
                  </a:lnTo>
                  <a:lnTo>
                    <a:pt x="15526" y="22975"/>
                  </a:lnTo>
                  <a:lnTo>
                    <a:pt x="15547" y="22975"/>
                  </a:lnTo>
                  <a:lnTo>
                    <a:pt x="15589" y="23038"/>
                  </a:lnTo>
                  <a:lnTo>
                    <a:pt x="15652" y="23080"/>
                  </a:lnTo>
                  <a:lnTo>
                    <a:pt x="15693" y="22975"/>
                  </a:lnTo>
                  <a:lnTo>
                    <a:pt x="15735" y="22975"/>
                  </a:lnTo>
                  <a:lnTo>
                    <a:pt x="15756" y="23017"/>
                  </a:lnTo>
                  <a:lnTo>
                    <a:pt x="15798" y="23038"/>
                  </a:lnTo>
                  <a:lnTo>
                    <a:pt x="15861" y="23038"/>
                  </a:lnTo>
                  <a:lnTo>
                    <a:pt x="15882" y="22975"/>
                  </a:lnTo>
                  <a:lnTo>
                    <a:pt x="15944" y="22933"/>
                  </a:lnTo>
                  <a:lnTo>
                    <a:pt x="16007" y="22933"/>
                  </a:lnTo>
                  <a:lnTo>
                    <a:pt x="16112" y="22891"/>
                  </a:lnTo>
                  <a:lnTo>
                    <a:pt x="16175" y="22891"/>
                  </a:lnTo>
                  <a:lnTo>
                    <a:pt x="16196" y="22933"/>
                  </a:lnTo>
                  <a:lnTo>
                    <a:pt x="16258" y="22933"/>
                  </a:lnTo>
                  <a:lnTo>
                    <a:pt x="16279" y="22870"/>
                  </a:lnTo>
                  <a:lnTo>
                    <a:pt x="16321" y="22808"/>
                  </a:lnTo>
                  <a:lnTo>
                    <a:pt x="16426" y="22808"/>
                  </a:lnTo>
                  <a:lnTo>
                    <a:pt x="16468" y="22766"/>
                  </a:lnTo>
                  <a:lnTo>
                    <a:pt x="16572" y="22724"/>
                  </a:lnTo>
                  <a:lnTo>
                    <a:pt x="16614" y="22703"/>
                  </a:lnTo>
                  <a:lnTo>
                    <a:pt x="16614" y="22661"/>
                  </a:lnTo>
                  <a:lnTo>
                    <a:pt x="16572" y="22577"/>
                  </a:lnTo>
                  <a:lnTo>
                    <a:pt x="16572" y="22515"/>
                  </a:lnTo>
                  <a:lnTo>
                    <a:pt x="16719" y="22577"/>
                  </a:lnTo>
                  <a:lnTo>
                    <a:pt x="16802" y="22619"/>
                  </a:lnTo>
                  <a:lnTo>
                    <a:pt x="16823" y="22682"/>
                  </a:lnTo>
                  <a:lnTo>
                    <a:pt x="16886" y="22703"/>
                  </a:lnTo>
                  <a:lnTo>
                    <a:pt x="16991" y="22619"/>
                  </a:lnTo>
                  <a:lnTo>
                    <a:pt x="16991" y="22536"/>
                  </a:lnTo>
                  <a:lnTo>
                    <a:pt x="16928" y="22515"/>
                  </a:lnTo>
                  <a:lnTo>
                    <a:pt x="16928" y="22473"/>
                  </a:lnTo>
                  <a:lnTo>
                    <a:pt x="17012" y="22431"/>
                  </a:lnTo>
                  <a:lnTo>
                    <a:pt x="17033" y="22494"/>
                  </a:lnTo>
                  <a:lnTo>
                    <a:pt x="17116" y="22515"/>
                  </a:lnTo>
                  <a:lnTo>
                    <a:pt x="17158" y="22410"/>
                  </a:lnTo>
                  <a:lnTo>
                    <a:pt x="17137" y="22326"/>
                  </a:lnTo>
                  <a:lnTo>
                    <a:pt x="17137" y="22264"/>
                  </a:lnTo>
                  <a:lnTo>
                    <a:pt x="17200" y="22264"/>
                  </a:lnTo>
                  <a:lnTo>
                    <a:pt x="17221" y="22305"/>
                  </a:lnTo>
                  <a:lnTo>
                    <a:pt x="17305" y="22326"/>
                  </a:lnTo>
                  <a:lnTo>
                    <a:pt x="17346" y="22284"/>
                  </a:lnTo>
                  <a:lnTo>
                    <a:pt x="17409" y="22264"/>
                  </a:lnTo>
                  <a:lnTo>
                    <a:pt x="17451" y="22264"/>
                  </a:lnTo>
                  <a:lnTo>
                    <a:pt x="17451" y="22180"/>
                  </a:lnTo>
                  <a:lnTo>
                    <a:pt x="17430" y="22117"/>
                  </a:lnTo>
                  <a:lnTo>
                    <a:pt x="17451" y="22096"/>
                  </a:lnTo>
                  <a:lnTo>
                    <a:pt x="17514" y="22117"/>
                  </a:lnTo>
                  <a:lnTo>
                    <a:pt x="17556" y="22180"/>
                  </a:lnTo>
                  <a:lnTo>
                    <a:pt x="17639" y="22159"/>
                  </a:lnTo>
                  <a:lnTo>
                    <a:pt x="17681" y="22096"/>
                  </a:lnTo>
                  <a:lnTo>
                    <a:pt x="17681" y="22012"/>
                  </a:lnTo>
                  <a:lnTo>
                    <a:pt x="17660" y="21992"/>
                  </a:lnTo>
                  <a:lnTo>
                    <a:pt x="17660" y="21950"/>
                  </a:lnTo>
                  <a:lnTo>
                    <a:pt x="17681" y="21908"/>
                  </a:lnTo>
                  <a:lnTo>
                    <a:pt x="17786" y="21908"/>
                  </a:lnTo>
                  <a:lnTo>
                    <a:pt x="17849" y="21950"/>
                  </a:lnTo>
                  <a:lnTo>
                    <a:pt x="17869" y="21887"/>
                  </a:lnTo>
                  <a:lnTo>
                    <a:pt x="17890" y="21845"/>
                  </a:lnTo>
                  <a:lnTo>
                    <a:pt x="17953" y="21866"/>
                  </a:lnTo>
                  <a:lnTo>
                    <a:pt x="17995" y="21908"/>
                  </a:lnTo>
                  <a:lnTo>
                    <a:pt x="18058" y="21950"/>
                  </a:lnTo>
                  <a:lnTo>
                    <a:pt x="18079" y="21908"/>
                  </a:lnTo>
                  <a:lnTo>
                    <a:pt x="18079" y="21866"/>
                  </a:lnTo>
                  <a:lnTo>
                    <a:pt x="18037" y="21803"/>
                  </a:lnTo>
                  <a:lnTo>
                    <a:pt x="18037" y="21761"/>
                  </a:lnTo>
                  <a:lnTo>
                    <a:pt x="18100" y="21699"/>
                  </a:lnTo>
                  <a:lnTo>
                    <a:pt x="18162" y="21740"/>
                  </a:lnTo>
                  <a:lnTo>
                    <a:pt x="18288" y="21699"/>
                  </a:lnTo>
                  <a:lnTo>
                    <a:pt x="18393" y="21636"/>
                  </a:lnTo>
                  <a:lnTo>
                    <a:pt x="18455" y="21531"/>
                  </a:lnTo>
                  <a:lnTo>
                    <a:pt x="18455" y="21489"/>
                  </a:lnTo>
                  <a:lnTo>
                    <a:pt x="18309" y="21552"/>
                  </a:lnTo>
                  <a:lnTo>
                    <a:pt x="18183" y="21552"/>
                  </a:lnTo>
                  <a:lnTo>
                    <a:pt x="18141" y="21531"/>
                  </a:lnTo>
                  <a:lnTo>
                    <a:pt x="17890" y="21531"/>
                  </a:lnTo>
                  <a:lnTo>
                    <a:pt x="17765" y="21489"/>
                  </a:lnTo>
                  <a:lnTo>
                    <a:pt x="17639" y="21447"/>
                  </a:lnTo>
                  <a:lnTo>
                    <a:pt x="17472" y="21427"/>
                  </a:lnTo>
                  <a:lnTo>
                    <a:pt x="17325" y="21280"/>
                  </a:lnTo>
                  <a:lnTo>
                    <a:pt x="17263" y="21238"/>
                  </a:lnTo>
                  <a:lnTo>
                    <a:pt x="17221" y="21238"/>
                  </a:lnTo>
                  <a:lnTo>
                    <a:pt x="17095" y="21301"/>
                  </a:lnTo>
                  <a:lnTo>
                    <a:pt x="17053" y="21259"/>
                  </a:lnTo>
                  <a:lnTo>
                    <a:pt x="17095" y="21217"/>
                  </a:lnTo>
                  <a:lnTo>
                    <a:pt x="17095" y="21175"/>
                  </a:lnTo>
                  <a:lnTo>
                    <a:pt x="17033" y="21238"/>
                  </a:lnTo>
                  <a:lnTo>
                    <a:pt x="16886" y="21343"/>
                  </a:lnTo>
                  <a:lnTo>
                    <a:pt x="16802" y="21385"/>
                  </a:lnTo>
                  <a:lnTo>
                    <a:pt x="16635" y="21385"/>
                  </a:lnTo>
                  <a:lnTo>
                    <a:pt x="16593" y="21427"/>
                  </a:lnTo>
                  <a:lnTo>
                    <a:pt x="16530" y="21385"/>
                  </a:lnTo>
                  <a:lnTo>
                    <a:pt x="16489" y="21364"/>
                  </a:lnTo>
                  <a:cubicBezTo>
                    <a:pt x="16489" y="21364"/>
                    <a:pt x="16426" y="21385"/>
                    <a:pt x="16405" y="21385"/>
                  </a:cubicBezTo>
                  <a:lnTo>
                    <a:pt x="16321" y="21385"/>
                  </a:lnTo>
                  <a:lnTo>
                    <a:pt x="16196" y="21531"/>
                  </a:lnTo>
                  <a:lnTo>
                    <a:pt x="16154" y="21594"/>
                  </a:lnTo>
                  <a:lnTo>
                    <a:pt x="16091" y="21531"/>
                  </a:lnTo>
                  <a:lnTo>
                    <a:pt x="16049" y="21489"/>
                  </a:lnTo>
                  <a:lnTo>
                    <a:pt x="15861" y="21489"/>
                  </a:lnTo>
                  <a:lnTo>
                    <a:pt x="15777" y="21468"/>
                  </a:lnTo>
                  <a:lnTo>
                    <a:pt x="15735" y="21489"/>
                  </a:lnTo>
                  <a:lnTo>
                    <a:pt x="15672" y="21447"/>
                  </a:lnTo>
                  <a:lnTo>
                    <a:pt x="15735" y="21364"/>
                  </a:lnTo>
                  <a:lnTo>
                    <a:pt x="15840" y="21364"/>
                  </a:lnTo>
                  <a:lnTo>
                    <a:pt x="15882" y="21427"/>
                  </a:lnTo>
                  <a:lnTo>
                    <a:pt x="15965" y="21447"/>
                  </a:lnTo>
                  <a:lnTo>
                    <a:pt x="16049" y="21385"/>
                  </a:lnTo>
                  <a:lnTo>
                    <a:pt x="16175" y="21364"/>
                  </a:lnTo>
                  <a:lnTo>
                    <a:pt x="16258" y="21280"/>
                  </a:lnTo>
                  <a:lnTo>
                    <a:pt x="16321" y="21280"/>
                  </a:lnTo>
                  <a:lnTo>
                    <a:pt x="16426" y="21322"/>
                  </a:lnTo>
                  <a:lnTo>
                    <a:pt x="16530" y="21280"/>
                  </a:lnTo>
                  <a:lnTo>
                    <a:pt x="16572" y="21238"/>
                  </a:lnTo>
                  <a:lnTo>
                    <a:pt x="16530" y="21175"/>
                  </a:lnTo>
                  <a:lnTo>
                    <a:pt x="16489" y="21175"/>
                  </a:lnTo>
                  <a:lnTo>
                    <a:pt x="16468" y="21134"/>
                  </a:lnTo>
                  <a:lnTo>
                    <a:pt x="16405" y="21134"/>
                  </a:lnTo>
                  <a:lnTo>
                    <a:pt x="16300" y="21155"/>
                  </a:lnTo>
                  <a:lnTo>
                    <a:pt x="16216" y="21134"/>
                  </a:lnTo>
                  <a:lnTo>
                    <a:pt x="16049" y="21134"/>
                  </a:lnTo>
                  <a:lnTo>
                    <a:pt x="15944" y="21155"/>
                  </a:lnTo>
                  <a:lnTo>
                    <a:pt x="15840" y="21155"/>
                  </a:lnTo>
                  <a:lnTo>
                    <a:pt x="15693" y="21134"/>
                  </a:lnTo>
                  <a:lnTo>
                    <a:pt x="15672" y="21071"/>
                  </a:lnTo>
                  <a:lnTo>
                    <a:pt x="15631" y="21050"/>
                  </a:lnTo>
                  <a:lnTo>
                    <a:pt x="15526" y="21071"/>
                  </a:lnTo>
                  <a:lnTo>
                    <a:pt x="15380" y="21071"/>
                  </a:lnTo>
                  <a:lnTo>
                    <a:pt x="15212" y="21175"/>
                  </a:lnTo>
                  <a:lnTo>
                    <a:pt x="15170" y="21155"/>
                  </a:lnTo>
                  <a:lnTo>
                    <a:pt x="15212" y="21071"/>
                  </a:lnTo>
                  <a:lnTo>
                    <a:pt x="15275" y="21008"/>
                  </a:lnTo>
                  <a:lnTo>
                    <a:pt x="15463" y="21008"/>
                  </a:lnTo>
                  <a:lnTo>
                    <a:pt x="15672" y="20903"/>
                  </a:lnTo>
                  <a:lnTo>
                    <a:pt x="15756" y="20841"/>
                  </a:lnTo>
                  <a:lnTo>
                    <a:pt x="15756" y="20757"/>
                  </a:lnTo>
                  <a:lnTo>
                    <a:pt x="15777" y="20715"/>
                  </a:lnTo>
                  <a:lnTo>
                    <a:pt x="15861" y="20715"/>
                  </a:lnTo>
                  <a:lnTo>
                    <a:pt x="15903" y="20694"/>
                  </a:lnTo>
                  <a:lnTo>
                    <a:pt x="15965" y="20611"/>
                  </a:lnTo>
                  <a:lnTo>
                    <a:pt x="15944" y="20548"/>
                  </a:lnTo>
                  <a:lnTo>
                    <a:pt x="15882" y="20506"/>
                  </a:lnTo>
                  <a:lnTo>
                    <a:pt x="15798" y="20485"/>
                  </a:lnTo>
                  <a:lnTo>
                    <a:pt x="15777" y="20443"/>
                  </a:lnTo>
                  <a:lnTo>
                    <a:pt x="15861" y="20401"/>
                  </a:lnTo>
                  <a:lnTo>
                    <a:pt x="15903" y="20401"/>
                  </a:lnTo>
                  <a:lnTo>
                    <a:pt x="15903" y="20422"/>
                  </a:lnTo>
                  <a:lnTo>
                    <a:pt x="15986" y="20443"/>
                  </a:lnTo>
                  <a:lnTo>
                    <a:pt x="16007" y="20422"/>
                  </a:lnTo>
                  <a:lnTo>
                    <a:pt x="15986" y="20380"/>
                  </a:lnTo>
                  <a:lnTo>
                    <a:pt x="15965" y="20339"/>
                  </a:lnTo>
                  <a:lnTo>
                    <a:pt x="15965" y="20234"/>
                  </a:lnTo>
                  <a:lnTo>
                    <a:pt x="16007" y="20276"/>
                  </a:lnTo>
                  <a:lnTo>
                    <a:pt x="16049" y="20318"/>
                  </a:lnTo>
                  <a:lnTo>
                    <a:pt x="16049" y="20401"/>
                  </a:lnTo>
                  <a:lnTo>
                    <a:pt x="16091" y="20506"/>
                  </a:lnTo>
                  <a:lnTo>
                    <a:pt x="16175" y="20548"/>
                  </a:lnTo>
                  <a:lnTo>
                    <a:pt x="16279" y="20527"/>
                  </a:lnTo>
                  <a:lnTo>
                    <a:pt x="16405" y="20527"/>
                  </a:lnTo>
                  <a:lnTo>
                    <a:pt x="16698" y="20401"/>
                  </a:lnTo>
                  <a:lnTo>
                    <a:pt x="16781" y="20401"/>
                  </a:lnTo>
                  <a:lnTo>
                    <a:pt x="16844" y="20380"/>
                  </a:lnTo>
                  <a:lnTo>
                    <a:pt x="16907" y="20297"/>
                  </a:lnTo>
                  <a:lnTo>
                    <a:pt x="16991" y="20276"/>
                  </a:lnTo>
                  <a:lnTo>
                    <a:pt x="17033" y="20171"/>
                  </a:lnTo>
                  <a:lnTo>
                    <a:pt x="16991" y="20067"/>
                  </a:lnTo>
                  <a:lnTo>
                    <a:pt x="16949" y="19983"/>
                  </a:lnTo>
                  <a:lnTo>
                    <a:pt x="16907" y="19983"/>
                  </a:lnTo>
                  <a:lnTo>
                    <a:pt x="16802" y="19920"/>
                  </a:lnTo>
                  <a:lnTo>
                    <a:pt x="16530" y="19857"/>
                  </a:lnTo>
                  <a:lnTo>
                    <a:pt x="16489" y="19857"/>
                  </a:lnTo>
                  <a:lnTo>
                    <a:pt x="16384" y="19899"/>
                  </a:lnTo>
                  <a:lnTo>
                    <a:pt x="16321" y="19857"/>
                  </a:lnTo>
                  <a:lnTo>
                    <a:pt x="16321" y="19732"/>
                  </a:lnTo>
                  <a:lnTo>
                    <a:pt x="16300" y="19690"/>
                  </a:lnTo>
                  <a:lnTo>
                    <a:pt x="16196" y="19753"/>
                  </a:lnTo>
                  <a:lnTo>
                    <a:pt x="16112" y="19753"/>
                  </a:lnTo>
                  <a:lnTo>
                    <a:pt x="16007" y="19815"/>
                  </a:lnTo>
                  <a:lnTo>
                    <a:pt x="15944" y="19815"/>
                  </a:lnTo>
                  <a:lnTo>
                    <a:pt x="15861" y="19774"/>
                  </a:lnTo>
                  <a:lnTo>
                    <a:pt x="15861" y="19690"/>
                  </a:lnTo>
                  <a:lnTo>
                    <a:pt x="15944" y="19753"/>
                  </a:lnTo>
                  <a:lnTo>
                    <a:pt x="16007" y="19690"/>
                  </a:lnTo>
                  <a:lnTo>
                    <a:pt x="16070" y="19648"/>
                  </a:lnTo>
                  <a:lnTo>
                    <a:pt x="16196" y="19648"/>
                  </a:lnTo>
                  <a:lnTo>
                    <a:pt x="16216" y="19585"/>
                  </a:lnTo>
                  <a:lnTo>
                    <a:pt x="16175" y="19523"/>
                  </a:lnTo>
                  <a:lnTo>
                    <a:pt x="16091" y="19418"/>
                  </a:lnTo>
                  <a:lnTo>
                    <a:pt x="16049" y="19376"/>
                  </a:lnTo>
                  <a:lnTo>
                    <a:pt x="15944" y="19376"/>
                  </a:lnTo>
                  <a:lnTo>
                    <a:pt x="15965" y="19355"/>
                  </a:lnTo>
                  <a:lnTo>
                    <a:pt x="16070" y="19292"/>
                  </a:lnTo>
                  <a:lnTo>
                    <a:pt x="16070" y="19251"/>
                  </a:lnTo>
                  <a:lnTo>
                    <a:pt x="16070" y="19146"/>
                  </a:lnTo>
                  <a:lnTo>
                    <a:pt x="16091" y="19104"/>
                  </a:lnTo>
                  <a:lnTo>
                    <a:pt x="16154" y="19167"/>
                  </a:lnTo>
                  <a:lnTo>
                    <a:pt x="16175" y="19313"/>
                  </a:lnTo>
                  <a:lnTo>
                    <a:pt x="16216" y="19355"/>
                  </a:lnTo>
                  <a:lnTo>
                    <a:pt x="16216" y="19418"/>
                  </a:lnTo>
                  <a:lnTo>
                    <a:pt x="16363" y="19543"/>
                  </a:lnTo>
                  <a:lnTo>
                    <a:pt x="16363" y="19585"/>
                  </a:lnTo>
                  <a:lnTo>
                    <a:pt x="16426" y="19669"/>
                  </a:lnTo>
                  <a:lnTo>
                    <a:pt x="16489" y="19690"/>
                  </a:lnTo>
                  <a:lnTo>
                    <a:pt x="16572" y="19669"/>
                  </a:lnTo>
                  <a:lnTo>
                    <a:pt x="16614" y="19648"/>
                  </a:lnTo>
                  <a:lnTo>
                    <a:pt x="16698" y="19690"/>
                  </a:lnTo>
                  <a:lnTo>
                    <a:pt x="16802" y="19669"/>
                  </a:lnTo>
                  <a:lnTo>
                    <a:pt x="16886" y="19648"/>
                  </a:lnTo>
                  <a:lnTo>
                    <a:pt x="16928" y="19690"/>
                  </a:lnTo>
                  <a:lnTo>
                    <a:pt x="16928" y="19774"/>
                  </a:lnTo>
                  <a:lnTo>
                    <a:pt x="17116" y="20004"/>
                  </a:lnTo>
                  <a:lnTo>
                    <a:pt x="17200" y="20067"/>
                  </a:lnTo>
                  <a:lnTo>
                    <a:pt x="17221" y="20004"/>
                  </a:lnTo>
                  <a:lnTo>
                    <a:pt x="17325" y="19983"/>
                  </a:lnTo>
                  <a:lnTo>
                    <a:pt x="17346" y="19983"/>
                  </a:lnTo>
                  <a:lnTo>
                    <a:pt x="17367" y="20025"/>
                  </a:lnTo>
                  <a:lnTo>
                    <a:pt x="17346" y="20108"/>
                  </a:lnTo>
                  <a:lnTo>
                    <a:pt x="17325" y="20213"/>
                  </a:lnTo>
                  <a:lnTo>
                    <a:pt x="17346" y="20339"/>
                  </a:lnTo>
                  <a:lnTo>
                    <a:pt x="17409" y="20422"/>
                  </a:lnTo>
                  <a:lnTo>
                    <a:pt x="17451" y="20527"/>
                  </a:lnTo>
                  <a:lnTo>
                    <a:pt x="17472" y="20715"/>
                  </a:lnTo>
                  <a:lnTo>
                    <a:pt x="17535" y="20757"/>
                  </a:lnTo>
                  <a:lnTo>
                    <a:pt x="17618" y="20841"/>
                  </a:lnTo>
                  <a:lnTo>
                    <a:pt x="17681" y="21029"/>
                  </a:lnTo>
                  <a:lnTo>
                    <a:pt x="17828" y="21134"/>
                  </a:lnTo>
                  <a:lnTo>
                    <a:pt x="17869" y="21175"/>
                  </a:lnTo>
                  <a:lnTo>
                    <a:pt x="17953" y="21155"/>
                  </a:lnTo>
                  <a:lnTo>
                    <a:pt x="18037" y="21134"/>
                  </a:lnTo>
                  <a:lnTo>
                    <a:pt x="18100" y="21134"/>
                  </a:lnTo>
                  <a:lnTo>
                    <a:pt x="18141" y="21113"/>
                  </a:lnTo>
                  <a:lnTo>
                    <a:pt x="18141" y="21029"/>
                  </a:lnTo>
                  <a:lnTo>
                    <a:pt x="18141" y="20903"/>
                  </a:lnTo>
                  <a:lnTo>
                    <a:pt x="18141" y="20757"/>
                  </a:lnTo>
                  <a:lnTo>
                    <a:pt x="18162" y="20652"/>
                  </a:lnTo>
                  <a:lnTo>
                    <a:pt x="18183" y="20611"/>
                  </a:lnTo>
                  <a:lnTo>
                    <a:pt x="18204" y="20611"/>
                  </a:lnTo>
                  <a:lnTo>
                    <a:pt x="18246" y="20652"/>
                  </a:lnTo>
                  <a:lnTo>
                    <a:pt x="18204" y="20736"/>
                  </a:lnTo>
                  <a:lnTo>
                    <a:pt x="18204" y="20820"/>
                  </a:lnTo>
                  <a:lnTo>
                    <a:pt x="18267" y="20924"/>
                  </a:lnTo>
                  <a:lnTo>
                    <a:pt x="18204" y="21008"/>
                  </a:lnTo>
                  <a:lnTo>
                    <a:pt x="18204" y="21071"/>
                  </a:lnTo>
                  <a:lnTo>
                    <a:pt x="18267" y="21113"/>
                  </a:lnTo>
                  <a:lnTo>
                    <a:pt x="18309" y="21071"/>
                  </a:lnTo>
                  <a:lnTo>
                    <a:pt x="18393" y="21050"/>
                  </a:lnTo>
                  <a:lnTo>
                    <a:pt x="18455" y="21071"/>
                  </a:lnTo>
                  <a:lnTo>
                    <a:pt x="18476" y="21134"/>
                  </a:lnTo>
                  <a:lnTo>
                    <a:pt x="18455" y="21175"/>
                  </a:lnTo>
                  <a:lnTo>
                    <a:pt x="18476" y="21217"/>
                  </a:lnTo>
                  <a:lnTo>
                    <a:pt x="18581" y="21217"/>
                  </a:lnTo>
                  <a:lnTo>
                    <a:pt x="18623" y="21155"/>
                  </a:lnTo>
                  <a:lnTo>
                    <a:pt x="18623" y="21071"/>
                  </a:lnTo>
                  <a:lnTo>
                    <a:pt x="18602" y="21008"/>
                  </a:lnTo>
                  <a:lnTo>
                    <a:pt x="18602" y="20820"/>
                  </a:lnTo>
                  <a:lnTo>
                    <a:pt x="18623" y="20736"/>
                  </a:lnTo>
                  <a:lnTo>
                    <a:pt x="18623" y="20631"/>
                  </a:lnTo>
                  <a:lnTo>
                    <a:pt x="18665" y="20590"/>
                  </a:lnTo>
                  <a:lnTo>
                    <a:pt x="18623" y="20527"/>
                  </a:lnTo>
                  <a:lnTo>
                    <a:pt x="18581" y="20527"/>
                  </a:lnTo>
                  <a:lnTo>
                    <a:pt x="18602" y="20485"/>
                  </a:lnTo>
                  <a:lnTo>
                    <a:pt x="18623" y="20422"/>
                  </a:lnTo>
                  <a:lnTo>
                    <a:pt x="18602" y="20401"/>
                  </a:lnTo>
                  <a:lnTo>
                    <a:pt x="18497" y="20443"/>
                  </a:lnTo>
                  <a:lnTo>
                    <a:pt x="18497" y="20401"/>
                  </a:lnTo>
                  <a:lnTo>
                    <a:pt x="18518" y="20339"/>
                  </a:lnTo>
                  <a:lnTo>
                    <a:pt x="18623" y="20318"/>
                  </a:lnTo>
                  <a:lnTo>
                    <a:pt x="18685" y="20276"/>
                  </a:lnTo>
                  <a:lnTo>
                    <a:pt x="18685" y="20171"/>
                  </a:lnTo>
                  <a:lnTo>
                    <a:pt x="18665" y="20108"/>
                  </a:lnTo>
                  <a:lnTo>
                    <a:pt x="18602" y="20129"/>
                  </a:lnTo>
                  <a:lnTo>
                    <a:pt x="18581" y="20087"/>
                  </a:lnTo>
                  <a:lnTo>
                    <a:pt x="18623" y="20004"/>
                  </a:lnTo>
                  <a:lnTo>
                    <a:pt x="18685" y="19899"/>
                  </a:lnTo>
                  <a:lnTo>
                    <a:pt x="18685" y="19857"/>
                  </a:lnTo>
                  <a:lnTo>
                    <a:pt x="18623" y="19857"/>
                  </a:lnTo>
                  <a:lnTo>
                    <a:pt x="18560" y="19899"/>
                  </a:lnTo>
                  <a:lnTo>
                    <a:pt x="18476" y="20025"/>
                  </a:lnTo>
                  <a:lnTo>
                    <a:pt x="18455" y="20171"/>
                  </a:lnTo>
                  <a:lnTo>
                    <a:pt x="18393" y="20192"/>
                  </a:lnTo>
                  <a:lnTo>
                    <a:pt x="18393" y="20129"/>
                  </a:lnTo>
                  <a:lnTo>
                    <a:pt x="18413" y="20004"/>
                  </a:lnTo>
                  <a:lnTo>
                    <a:pt x="18413" y="19962"/>
                  </a:lnTo>
                  <a:lnTo>
                    <a:pt x="18393" y="19899"/>
                  </a:lnTo>
                  <a:lnTo>
                    <a:pt x="18393" y="19857"/>
                  </a:lnTo>
                  <a:lnTo>
                    <a:pt x="18413" y="19774"/>
                  </a:lnTo>
                  <a:lnTo>
                    <a:pt x="18497" y="19690"/>
                  </a:lnTo>
                  <a:lnTo>
                    <a:pt x="18581" y="19648"/>
                  </a:lnTo>
                  <a:lnTo>
                    <a:pt x="18602" y="19564"/>
                  </a:lnTo>
                  <a:lnTo>
                    <a:pt x="18560" y="19502"/>
                  </a:lnTo>
                  <a:lnTo>
                    <a:pt x="18476" y="19502"/>
                  </a:lnTo>
                  <a:lnTo>
                    <a:pt x="18413" y="19564"/>
                  </a:lnTo>
                  <a:lnTo>
                    <a:pt x="18393" y="19606"/>
                  </a:lnTo>
                  <a:lnTo>
                    <a:pt x="18372" y="19648"/>
                  </a:lnTo>
                  <a:lnTo>
                    <a:pt x="18393" y="19543"/>
                  </a:lnTo>
                  <a:lnTo>
                    <a:pt x="18413" y="19481"/>
                  </a:lnTo>
                  <a:lnTo>
                    <a:pt x="18393" y="19460"/>
                  </a:lnTo>
                  <a:lnTo>
                    <a:pt x="18351" y="19481"/>
                  </a:lnTo>
                  <a:lnTo>
                    <a:pt x="18246" y="19564"/>
                  </a:lnTo>
                  <a:lnTo>
                    <a:pt x="18162" y="19648"/>
                  </a:lnTo>
                  <a:lnTo>
                    <a:pt x="18162" y="19606"/>
                  </a:lnTo>
                  <a:lnTo>
                    <a:pt x="18183" y="19543"/>
                  </a:lnTo>
                  <a:lnTo>
                    <a:pt x="18246" y="19460"/>
                  </a:lnTo>
                  <a:lnTo>
                    <a:pt x="18288" y="19397"/>
                  </a:lnTo>
                  <a:lnTo>
                    <a:pt x="18351" y="19292"/>
                  </a:lnTo>
                  <a:lnTo>
                    <a:pt x="18351" y="19271"/>
                  </a:lnTo>
                  <a:lnTo>
                    <a:pt x="18288" y="19230"/>
                  </a:lnTo>
                  <a:lnTo>
                    <a:pt x="18267" y="19167"/>
                  </a:lnTo>
                  <a:lnTo>
                    <a:pt x="18204" y="19167"/>
                  </a:lnTo>
                  <a:lnTo>
                    <a:pt x="18162" y="19125"/>
                  </a:lnTo>
                  <a:lnTo>
                    <a:pt x="18141" y="19041"/>
                  </a:lnTo>
                  <a:lnTo>
                    <a:pt x="18079" y="19020"/>
                  </a:lnTo>
                  <a:lnTo>
                    <a:pt x="17995" y="18937"/>
                  </a:lnTo>
                  <a:lnTo>
                    <a:pt x="17953" y="18937"/>
                  </a:lnTo>
                  <a:lnTo>
                    <a:pt x="17932" y="18916"/>
                  </a:lnTo>
                  <a:lnTo>
                    <a:pt x="17869" y="18916"/>
                  </a:lnTo>
                  <a:lnTo>
                    <a:pt x="17869" y="18853"/>
                  </a:lnTo>
                  <a:lnTo>
                    <a:pt x="17849" y="18811"/>
                  </a:lnTo>
                  <a:lnTo>
                    <a:pt x="17660" y="18665"/>
                  </a:lnTo>
                  <a:lnTo>
                    <a:pt x="17639" y="18623"/>
                  </a:lnTo>
                  <a:lnTo>
                    <a:pt x="17535" y="18560"/>
                  </a:lnTo>
                  <a:lnTo>
                    <a:pt x="17430" y="18560"/>
                  </a:lnTo>
                  <a:lnTo>
                    <a:pt x="17325" y="18602"/>
                  </a:lnTo>
                  <a:lnTo>
                    <a:pt x="17242" y="18707"/>
                  </a:lnTo>
                  <a:lnTo>
                    <a:pt x="17242" y="18644"/>
                  </a:lnTo>
                  <a:lnTo>
                    <a:pt x="17221" y="18560"/>
                  </a:lnTo>
                  <a:lnTo>
                    <a:pt x="17053" y="18518"/>
                  </a:lnTo>
                  <a:lnTo>
                    <a:pt x="16949" y="18518"/>
                  </a:lnTo>
                  <a:lnTo>
                    <a:pt x="16844" y="18539"/>
                  </a:lnTo>
                  <a:lnTo>
                    <a:pt x="16823" y="18518"/>
                  </a:lnTo>
                  <a:lnTo>
                    <a:pt x="16907" y="18434"/>
                  </a:lnTo>
                  <a:lnTo>
                    <a:pt x="16949" y="18476"/>
                  </a:lnTo>
                  <a:lnTo>
                    <a:pt x="17137" y="18476"/>
                  </a:lnTo>
                  <a:lnTo>
                    <a:pt x="17221" y="18497"/>
                  </a:lnTo>
                  <a:lnTo>
                    <a:pt x="17325" y="18497"/>
                  </a:lnTo>
                  <a:lnTo>
                    <a:pt x="17430" y="18476"/>
                  </a:lnTo>
                  <a:lnTo>
                    <a:pt x="17472" y="18393"/>
                  </a:lnTo>
                  <a:lnTo>
                    <a:pt x="17514" y="18204"/>
                  </a:lnTo>
                  <a:lnTo>
                    <a:pt x="17472" y="18121"/>
                  </a:lnTo>
                  <a:lnTo>
                    <a:pt x="17451" y="18100"/>
                  </a:lnTo>
                  <a:lnTo>
                    <a:pt x="17409" y="18100"/>
                  </a:lnTo>
                  <a:lnTo>
                    <a:pt x="17263" y="17995"/>
                  </a:lnTo>
                  <a:lnTo>
                    <a:pt x="17221" y="17974"/>
                  </a:lnTo>
                  <a:lnTo>
                    <a:pt x="17158" y="17974"/>
                  </a:lnTo>
                  <a:lnTo>
                    <a:pt x="17053" y="18058"/>
                  </a:lnTo>
                  <a:lnTo>
                    <a:pt x="17012" y="18058"/>
                  </a:lnTo>
                  <a:lnTo>
                    <a:pt x="16928" y="18079"/>
                  </a:lnTo>
                  <a:lnTo>
                    <a:pt x="16886" y="18162"/>
                  </a:lnTo>
                  <a:lnTo>
                    <a:pt x="16844" y="18162"/>
                  </a:lnTo>
                  <a:lnTo>
                    <a:pt x="16844" y="18079"/>
                  </a:lnTo>
                  <a:lnTo>
                    <a:pt x="16823" y="18016"/>
                  </a:lnTo>
                  <a:lnTo>
                    <a:pt x="16781" y="18016"/>
                  </a:lnTo>
                  <a:lnTo>
                    <a:pt x="16635" y="18058"/>
                  </a:lnTo>
                  <a:lnTo>
                    <a:pt x="16593" y="18079"/>
                  </a:lnTo>
                  <a:lnTo>
                    <a:pt x="16530" y="18079"/>
                  </a:lnTo>
                  <a:lnTo>
                    <a:pt x="16572" y="18058"/>
                  </a:lnTo>
                  <a:lnTo>
                    <a:pt x="16677" y="17995"/>
                  </a:lnTo>
                  <a:lnTo>
                    <a:pt x="16781" y="17974"/>
                  </a:lnTo>
                  <a:lnTo>
                    <a:pt x="16802" y="17911"/>
                  </a:lnTo>
                  <a:lnTo>
                    <a:pt x="16781" y="17870"/>
                  </a:lnTo>
                  <a:lnTo>
                    <a:pt x="16719" y="17849"/>
                  </a:lnTo>
                  <a:lnTo>
                    <a:pt x="16677" y="17870"/>
                  </a:lnTo>
                  <a:lnTo>
                    <a:pt x="16719" y="17807"/>
                  </a:lnTo>
                  <a:lnTo>
                    <a:pt x="16781" y="17807"/>
                  </a:lnTo>
                  <a:lnTo>
                    <a:pt x="16823" y="17849"/>
                  </a:lnTo>
                  <a:lnTo>
                    <a:pt x="16928" y="17953"/>
                  </a:lnTo>
                  <a:lnTo>
                    <a:pt x="17012" y="17974"/>
                  </a:lnTo>
                  <a:lnTo>
                    <a:pt x="17095" y="17953"/>
                  </a:lnTo>
                  <a:lnTo>
                    <a:pt x="17200" y="17870"/>
                  </a:lnTo>
                  <a:lnTo>
                    <a:pt x="17367" y="17870"/>
                  </a:lnTo>
                  <a:lnTo>
                    <a:pt x="17430" y="17786"/>
                  </a:lnTo>
                  <a:lnTo>
                    <a:pt x="17472" y="17765"/>
                  </a:lnTo>
                  <a:lnTo>
                    <a:pt x="17514" y="17702"/>
                  </a:lnTo>
                  <a:lnTo>
                    <a:pt x="17472" y="17639"/>
                  </a:lnTo>
                  <a:lnTo>
                    <a:pt x="17409" y="17577"/>
                  </a:lnTo>
                  <a:lnTo>
                    <a:pt x="17263" y="17556"/>
                  </a:lnTo>
                  <a:lnTo>
                    <a:pt x="17200" y="17493"/>
                  </a:lnTo>
                  <a:lnTo>
                    <a:pt x="17137" y="17451"/>
                  </a:lnTo>
                  <a:lnTo>
                    <a:pt x="17033" y="17451"/>
                  </a:lnTo>
                  <a:lnTo>
                    <a:pt x="16928" y="17430"/>
                  </a:lnTo>
                  <a:lnTo>
                    <a:pt x="16844" y="17451"/>
                  </a:lnTo>
                  <a:lnTo>
                    <a:pt x="16823" y="17493"/>
                  </a:lnTo>
                  <a:lnTo>
                    <a:pt x="16740" y="17556"/>
                  </a:lnTo>
                  <a:lnTo>
                    <a:pt x="16677" y="17535"/>
                  </a:lnTo>
                  <a:lnTo>
                    <a:pt x="16593" y="17493"/>
                  </a:lnTo>
                  <a:lnTo>
                    <a:pt x="16489" y="17493"/>
                  </a:lnTo>
                  <a:lnTo>
                    <a:pt x="16468" y="17556"/>
                  </a:lnTo>
                  <a:lnTo>
                    <a:pt x="16426" y="17598"/>
                  </a:lnTo>
                  <a:lnTo>
                    <a:pt x="16384" y="17577"/>
                  </a:lnTo>
                  <a:lnTo>
                    <a:pt x="16321" y="17535"/>
                  </a:lnTo>
                  <a:lnTo>
                    <a:pt x="16300" y="17535"/>
                  </a:lnTo>
                  <a:lnTo>
                    <a:pt x="16279" y="17472"/>
                  </a:lnTo>
                  <a:lnTo>
                    <a:pt x="16321" y="17430"/>
                  </a:lnTo>
                  <a:lnTo>
                    <a:pt x="16426" y="17388"/>
                  </a:lnTo>
                  <a:lnTo>
                    <a:pt x="16572" y="17430"/>
                  </a:lnTo>
                  <a:lnTo>
                    <a:pt x="16740" y="17430"/>
                  </a:lnTo>
                  <a:lnTo>
                    <a:pt x="16802" y="17367"/>
                  </a:lnTo>
                  <a:lnTo>
                    <a:pt x="16802" y="17326"/>
                  </a:lnTo>
                  <a:lnTo>
                    <a:pt x="16740" y="17221"/>
                  </a:lnTo>
                  <a:lnTo>
                    <a:pt x="16635" y="17137"/>
                  </a:lnTo>
                  <a:lnTo>
                    <a:pt x="16530" y="17074"/>
                  </a:lnTo>
                  <a:lnTo>
                    <a:pt x="16489" y="17012"/>
                  </a:lnTo>
                  <a:lnTo>
                    <a:pt x="16489" y="16907"/>
                  </a:lnTo>
                  <a:lnTo>
                    <a:pt x="16509" y="16865"/>
                  </a:lnTo>
                  <a:lnTo>
                    <a:pt x="16572" y="16907"/>
                  </a:lnTo>
                  <a:lnTo>
                    <a:pt x="16593" y="16949"/>
                  </a:lnTo>
                  <a:lnTo>
                    <a:pt x="16593" y="17012"/>
                  </a:lnTo>
                  <a:lnTo>
                    <a:pt x="16677" y="17054"/>
                  </a:lnTo>
                  <a:lnTo>
                    <a:pt x="16802" y="17158"/>
                  </a:lnTo>
                  <a:lnTo>
                    <a:pt x="16823" y="17221"/>
                  </a:lnTo>
                  <a:lnTo>
                    <a:pt x="16886" y="17242"/>
                  </a:lnTo>
                  <a:lnTo>
                    <a:pt x="16928" y="17242"/>
                  </a:lnTo>
                  <a:lnTo>
                    <a:pt x="17012" y="17326"/>
                  </a:lnTo>
                  <a:lnTo>
                    <a:pt x="17095" y="17326"/>
                  </a:lnTo>
                  <a:lnTo>
                    <a:pt x="17200" y="17284"/>
                  </a:lnTo>
                  <a:lnTo>
                    <a:pt x="17263" y="17242"/>
                  </a:lnTo>
                  <a:lnTo>
                    <a:pt x="17346" y="17221"/>
                  </a:lnTo>
                  <a:lnTo>
                    <a:pt x="17409" y="17158"/>
                  </a:lnTo>
                  <a:lnTo>
                    <a:pt x="17472" y="17116"/>
                  </a:lnTo>
                  <a:lnTo>
                    <a:pt x="17556" y="17074"/>
                  </a:lnTo>
                  <a:lnTo>
                    <a:pt x="17606" y="17074"/>
                  </a:lnTo>
                  <a:lnTo>
                    <a:pt x="17618" y="17116"/>
                  </a:lnTo>
                  <a:lnTo>
                    <a:pt x="17618" y="17074"/>
                  </a:lnTo>
                  <a:lnTo>
                    <a:pt x="17618" y="17033"/>
                  </a:lnTo>
                  <a:lnTo>
                    <a:pt x="17577" y="16970"/>
                  </a:lnTo>
                  <a:lnTo>
                    <a:pt x="17588" y="17010"/>
                  </a:lnTo>
                  <a:lnTo>
                    <a:pt x="17472" y="16844"/>
                  </a:lnTo>
                  <a:lnTo>
                    <a:pt x="17409" y="16802"/>
                  </a:lnTo>
                  <a:lnTo>
                    <a:pt x="17409" y="16740"/>
                  </a:lnTo>
                  <a:lnTo>
                    <a:pt x="17430" y="16719"/>
                  </a:lnTo>
                  <a:lnTo>
                    <a:pt x="17472" y="16719"/>
                  </a:lnTo>
                  <a:lnTo>
                    <a:pt x="17535" y="16761"/>
                  </a:lnTo>
                  <a:lnTo>
                    <a:pt x="17535" y="16823"/>
                  </a:lnTo>
                  <a:lnTo>
                    <a:pt x="17577" y="16865"/>
                  </a:lnTo>
                  <a:lnTo>
                    <a:pt x="17681" y="17074"/>
                  </a:lnTo>
                  <a:lnTo>
                    <a:pt x="17869" y="17284"/>
                  </a:lnTo>
                  <a:lnTo>
                    <a:pt x="17890" y="17326"/>
                  </a:lnTo>
                  <a:lnTo>
                    <a:pt x="17932" y="17263"/>
                  </a:lnTo>
                  <a:lnTo>
                    <a:pt x="17932" y="17179"/>
                  </a:lnTo>
                  <a:lnTo>
                    <a:pt x="17953" y="17012"/>
                  </a:lnTo>
                  <a:lnTo>
                    <a:pt x="17953" y="16907"/>
                  </a:lnTo>
                  <a:lnTo>
                    <a:pt x="17995" y="16844"/>
                  </a:lnTo>
                  <a:lnTo>
                    <a:pt x="18058" y="16844"/>
                  </a:lnTo>
                  <a:lnTo>
                    <a:pt x="18100" y="16865"/>
                  </a:lnTo>
                  <a:lnTo>
                    <a:pt x="18100" y="16949"/>
                  </a:lnTo>
                  <a:lnTo>
                    <a:pt x="18141" y="17012"/>
                  </a:lnTo>
                  <a:lnTo>
                    <a:pt x="18183" y="17012"/>
                  </a:lnTo>
                  <a:lnTo>
                    <a:pt x="18372" y="17074"/>
                  </a:lnTo>
                  <a:lnTo>
                    <a:pt x="18518" y="17179"/>
                  </a:lnTo>
                  <a:lnTo>
                    <a:pt x="18602" y="17221"/>
                  </a:lnTo>
                  <a:lnTo>
                    <a:pt x="18665" y="17179"/>
                  </a:lnTo>
                  <a:lnTo>
                    <a:pt x="18706" y="17179"/>
                  </a:lnTo>
                  <a:lnTo>
                    <a:pt x="18769" y="17221"/>
                  </a:lnTo>
                  <a:lnTo>
                    <a:pt x="18769" y="17263"/>
                  </a:lnTo>
                  <a:lnTo>
                    <a:pt x="18602" y="17284"/>
                  </a:lnTo>
                  <a:lnTo>
                    <a:pt x="18581" y="17326"/>
                  </a:lnTo>
                  <a:lnTo>
                    <a:pt x="18476" y="17221"/>
                  </a:lnTo>
                  <a:lnTo>
                    <a:pt x="18288" y="17116"/>
                  </a:lnTo>
                  <a:lnTo>
                    <a:pt x="18246" y="17074"/>
                  </a:lnTo>
                  <a:lnTo>
                    <a:pt x="18204" y="17054"/>
                  </a:lnTo>
                  <a:lnTo>
                    <a:pt x="18162" y="17054"/>
                  </a:lnTo>
                  <a:lnTo>
                    <a:pt x="18121" y="17074"/>
                  </a:lnTo>
                  <a:lnTo>
                    <a:pt x="18121" y="17137"/>
                  </a:lnTo>
                  <a:lnTo>
                    <a:pt x="18183" y="17221"/>
                  </a:lnTo>
                  <a:lnTo>
                    <a:pt x="18413" y="17430"/>
                  </a:lnTo>
                  <a:lnTo>
                    <a:pt x="18518" y="17535"/>
                  </a:lnTo>
                  <a:lnTo>
                    <a:pt x="18685" y="17598"/>
                  </a:lnTo>
                  <a:lnTo>
                    <a:pt x="18790" y="17681"/>
                  </a:lnTo>
                  <a:lnTo>
                    <a:pt x="18832" y="17702"/>
                  </a:lnTo>
                  <a:lnTo>
                    <a:pt x="18916" y="17681"/>
                  </a:lnTo>
                  <a:lnTo>
                    <a:pt x="18937" y="17639"/>
                  </a:lnTo>
                  <a:lnTo>
                    <a:pt x="18999" y="17556"/>
                  </a:lnTo>
                  <a:lnTo>
                    <a:pt x="19125" y="17556"/>
                  </a:lnTo>
                  <a:lnTo>
                    <a:pt x="19167" y="17493"/>
                  </a:lnTo>
                  <a:lnTo>
                    <a:pt x="19167" y="17430"/>
                  </a:lnTo>
                  <a:lnTo>
                    <a:pt x="19250" y="17367"/>
                  </a:lnTo>
                  <a:lnTo>
                    <a:pt x="19313" y="17367"/>
                  </a:lnTo>
                  <a:lnTo>
                    <a:pt x="19376" y="17388"/>
                  </a:lnTo>
                  <a:lnTo>
                    <a:pt x="19460" y="17430"/>
                  </a:lnTo>
                  <a:lnTo>
                    <a:pt x="19564" y="17388"/>
                  </a:lnTo>
                  <a:lnTo>
                    <a:pt x="19669" y="17388"/>
                  </a:lnTo>
                  <a:lnTo>
                    <a:pt x="19690" y="17346"/>
                  </a:lnTo>
                  <a:lnTo>
                    <a:pt x="19732" y="17221"/>
                  </a:lnTo>
                  <a:lnTo>
                    <a:pt x="19732" y="17116"/>
                  </a:lnTo>
                  <a:lnTo>
                    <a:pt x="19774" y="17033"/>
                  </a:lnTo>
                  <a:lnTo>
                    <a:pt x="19857" y="16907"/>
                  </a:lnTo>
                  <a:lnTo>
                    <a:pt x="19857" y="16823"/>
                  </a:lnTo>
                  <a:lnTo>
                    <a:pt x="19836" y="16761"/>
                  </a:lnTo>
                  <a:lnTo>
                    <a:pt x="19753" y="16740"/>
                  </a:lnTo>
                  <a:lnTo>
                    <a:pt x="19648" y="16761"/>
                  </a:lnTo>
                  <a:lnTo>
                    <a:pt x="19627" y="16802"/>
                  </a:lnTo>
                  <a:lnTo>
                    <a:pt x="19585" y="16761"/>
                  </a:lnTo>
                  <a:lnTo>
                    <a:pt x="19543" y="16761"/>
                  </a:lnTo>
                  <a:lnTo>
                    <a:pt x="19522" y="16802"/>
                  </a:lnTo>
                  <a:lnTo>
                    <a:pt x="19439" y="16740"/>
                  </a:lnTo>
                  <a:lnTo>
                    <a:pt x="19376" y="16656"/>
                  </a:lnTo>
                  <a:lnTo>
                    <a:pt x="19334" y="16614"/>
                  </a:lnTo>
                  <a:lnTo>
                    <a:pt x="19313" y="16530"/>
                  </a:lnTo>
                  <a:lnTo>
                    <a:pt x="19271" y="16530"/>
                  </a:lnTo>
                  <a:lnTo>
                    <a:pt x="19250" y="16614"/>
                  </a:lnTo>
                  <a:lnTo>
                    <a:pt x="19250" y="16719"/>
                  </a:lnTo>
                  <a:lnTo>
                    <a:pt x="19313" y="16740"/>
                  </a:lnTo>
                  <a:lnTo>
                    <a:pt x="19313" y="16823"/>
                  </a:lnTo>
                  <a:lnTo>
                    <a:pt x="19250" y="16907"/>
                  </a:lnTo>
                  <a:lnTo>
                    <a:pt x="19229" y="17012"/>
                  </a:lnTo>
                  <a:lnTo>
                    <a:pt x="19209" y="16949"/>
                  </a:lnTo>
                  <a:lnTo>
                    <a:pt x="19229" y="16823"/>
                  </a:lnTo>
                  <a:lnTo>
                    <a:pt x="19209" y="16719"/>
                  </a:lnTo>
                  <a:lnTo>
                    <a:pt x="19146" y="16698"/>
                  </a:lnTo>
                  <a:lnTo>
                    <a:pt x="19125" y="16551"/>
                  </a:lnTo>
                  <a:lnTo>
                    <a:pt x="19062" y="16530"/>
                  </a:lnTo>
                  <a:lnTo>
                    <a:pt x="19041" y="16489"/>
                  </a:lnTo>
                  <a:lnTo>
                    <a:pt x="19041" y="16447"/>
                  </a:lnTo>
                  <a:lnTo>
                    <a:pt x="19104" y="16426"/>
                  </a:lnTo>
                  <a:lnTo>
                    <a:pt x="19161" y="16311"/>
                  </a:lnTo>
                  <a:lnTo>
                    <a:pt x="19146" y="16279"/>
                  </a:lnTo>
                  <a:lnTo>
                    <a:pt x="19104" y="16238"/>
                  </a:lnTo>
                  <a:lnTo>
                    <a:pt x="19146" y="16217"/>
                  </a:lnTo>
                  <a:lnTo>
                    <a:pt x="19229" y="16217"/>
                  </a:lnTo>
                  <a:lnTo>
                    <a:pt x="19271" y="16175"/>
                  </a:lnTo>
                  <a:lnTo>
                    <a:pt x="19313" y="16091"/>
                  </a:lnTo>
                  <a:lnTo>
                    <a:pt x="19313" y="15966"/>
                  </a:lnTo>
                  <a:lnTo>
                    <a:pt x="19271" y="15903"/>
                  </a:lnTo>
                  <a:lnTo>
                    <a:pt x="19271" y="15861"/>
                  </a:lnTo>
                  <a:lnTo>
                    <a:pt x="19334" y="15861"/>
                  </a:lnTo>
                  <a:lnTo>
                    <a:pt x="19376" y="15903"/>
                  </a:lnTo>
                  <a:lnTo>
                    <a:pt x="19439" y="15986"/>
                  </a:lnTo>
                  <a:lnTo>
                    <a:pt x="19481" y="16007"/>
                  </a:lnTo>
                  <a:lnTo>
                    <a:pt x="19564" y="16007"/>
                  </a:lnTo>
                  <a:lnTo>
                    <a:pt x="19648" y="15966"/>
                  </a:lnTo>
                  <a:lnTo>
                    <a:pt x="19732" y="15986"/>
                  </a:lnTo>
                  <a:lnTo>
                    <a:pt x="19794" y="16028"/>
                  </a:lnTo>
                  <a:lnTo>
                    <a:pt x="19899" y="16070"/>
                  </a:lnTo>
                  <a:lnTo>
                    <a:pt x="20046" y="16175"/>
                  </a:lnTo>
                  <a:lnTo>
                    <a:pt x="20046" y="16238"/>
                  </a:lnTo>
                  <a:lnTo>
                    <a:pt x="20066" y="16321"/>
                  </a:lnTo>
                  <a:lnTo>
                    <a:pt x="20108" y="16384"/>
                  </a:lnTo>
                  <a:lnTo>
                    <a:pt x="20150" y="16447"/>
                  </a:lnTo>
                  <a:lnTo>
                    <a:pt x="20192" y="16489"/>
                  </a:lnTo>
                  <a:lnTo>
                    <a:pt x="20318" y="16405"/>
                  </a:lnTo>
                  <a:lnTo>
                    <a:pt x="20422" y="16238"/>
                  </a:lnTo>
                  <a:lnTo>
                    <a:pt x="20485" y="16133"/>
                  </a:lnTo>
                  <a:lnTo>
                    <a:pt x="20422" y="16091"/>
                  </a:lnTo>
                  <a:lnTo>
                    <a:pt x="20401" y="15986"/>
                  </a:lnTo>
                  <a:lnTo>
                    <a:pt x="20464" y="15924"/>
                  </a:lnTo>
                  <a:lnTo>
                    <a:pt x="20464" y="15882"/>
                  </a:lnTo>
                  <a:lnTo>
                    <a:pt x="20359" y="15861"/>
                  </a:lnTo>
                  <a:lnTo>
                    <a:pt x="20276" y="15903"/>
                  </a:lnTo>
                  <a:lnTo>
                    <a:pt x="20255" y="15966"/>
                  </a:lnTo>
                  <a:lnTo>
                    <a:pt x="20108" y="15882"/>
                  </a:lnTo>
                  <a:lnTo>
                    <a:pt x="20046" y="15777"/>
                  </a:lnTo>
                  <a:lnTo>
                    <a:pt x="19899" y="15756"/>
                  </a:lnTo>
                  <a:lnTo>
                    <a:pt x="19857" y="15777"/>
                  </a:lnTo>
                  <a:lnTo>
                    <a:pt x="19794" y="15714"/>
                  </a:lnTo>
                  <a:lnTo>
                    <a:pt x="19794" y="15673"/>
                  </a:lnTo>
                  <a:lnTo>
                    <a:pt x="19857" y="15673"/>
                  </a:lnTo>
                  <a:lnTo>
                    <a:pt x="19899" y="15589"/>
                  </a:lnTo>
                  <a:lnTo>
                    <a:pt x="19941" y="15401"/>
                  </a:lnTo>
                  <a:lnTo>
                    <a:pt x="19962" y="15380"/>
                  </a:lnTo>
                  <a:lnTo>
                    <a:pt x="19962" y="15296"/>
                  </a:lnTo>
                  <a:lnTo>
                    <a:pt x="19836" y="15254"/>
                  </a:lnTo>
                  <a:lnTo>
                    <a:pt x="19774" y="15254"/>
                  </a:lnTo>
                  <a:lnTo>
                    <a:pt x="19669" y="15359"/>
                  </a:lnTo>
                  <a:lnTo>
                    <a:pt x="19564" y="15380"/>
                  </a:lnTo>
                  <a:lnTo>
                    <a:pt x="19460" y="15359"/>
                  </a:lnTo>
                  <a:lnTo>
                    <a:pt x="19439" y="15296"/>
                  </a:lnTo>
                  <a:lnTo>
                    <a:pt x="19418" y="15191"/>
                  </a:lnTo>
                  <a:lnTo>
                    <a:pt x="19376" y="15149"/>
                  </a:lnTo>
                  <a:lnTo>
                    <a:pt x="19376" y="15066"/>
                  </a:lnTo>
                  <a:lnTo>
                    <a:pt x="19460" y="15129"/>
                  </a:lnTo>
                  <a:lnTo>
                    <a:pt x="19481" y="15170"/>
                  </a:lnTo>
                  <a:lnTo>
                    <a:pt x="19460" y="15233"/>
                  </a:lnTo>
                  <a:lnTo>
                    <a:pt x="19481" y="15296"/>
                  </a:lnTo>
                  <a:lnTo>
                    <a:pt x="19564" y="15359"/>
                  </a:lnTo>
                  <a:lnTo>
                    <a:pt x="19648" y="15359"/>
                  </a:lnTo>
                  <a:lnTo>
                    <a:pt x="19753" y="15254"/>
                  </a:lnTo>
                  <a:lnTo>
                    <a:pt x="19836" y="15233"/>
                  </a:lnTo>
                  <a:lnTo>
                    <a:pt x="19941" y="15233"/>
                  </a:lnTo>
                  <a:lnTo>
                    <a:pt x="19983" y="15275"/>
                  </a:lnTo>
                  <a:lnTo>
                    <a:pt x="20046" y="15275"/>
                  </a:lnTo>
                  <a:lnTo>
                    <a:pt x="20066" y="15233"/>
                  </a:lnTo>
                  <a:lnTo>
                    <a:pt x="20046" y="15170"/>
                  </a:lnTo>
                  <a:lnTo>
                    <a:pt x="19836" y="14961"/>
                  </a:lnTo>
                  <a:lnTo>
                    <a:pt x="19669" y="14836"/>
                  </a:lnTo>
                  <a:lnTo>
                    <a:pt x="19522" y="14836"/>
                  </a:lnTo>
                  <a:lnTo>
                    <a:pt x="19355" y="14752"/>
                  </a:lnTo>
                  <a:lnTo>
                    <a:pt x="19271" y="14647"/>
                  </a:lnTo>
                  <a:lnTo>
                    <a:pt x="19271" y="14564"/>
                  </a:lnTo>
                  <a:lnTo>
                    <a:pt x="19271" y="14522"/>
                  </a:lnTo>
                  <a:lnTo>
                    <a:pt x="19334" y="14564"/>
                  </a:lnTo>
                  <a:lnTo>
                    <a:pt x="19376" y="14668"/>
                  </a:lnTo>
                  <a:lnTo>
                    <a:pt x="19460" y="14731"/>
                  </a:lnTo>
                  <a:lnTo>
                    <a:pt x="19585" y="14731"/>
                  </a:lnTo>
                  <a:lnTo>
                    <a:pt x="19627" y="14668"/>
                  </a:lnTo>
                  <a:lnTo>
                    <a:pt x="19627" y="14626"/>
                  </a:lnTo>
                  <a:lnTo>
                    <a:pt x="19522" y="14522"/>
                  </a:lnTo>
                  <a:lnTo>
                    <a:pt x="19481" y="14459"/>
                  </a:lnTo>
                  <a:lnTo>
                    <a:pt x="19481" y="14438"/>
                  </a:lnTo>
                  <a:lnTo>
                    <a:pt x="19522" y="14438"/>
                  </a:lnTo>
                  <a:lnTo>
                    <a:pt x="19564" y="14459"/>
                  </a:lnTo>
                  <a:lnTo>
                    <a:pt x="19690" y="14626"/>
                  </a:lnTo>
                  <a:lnTo>
                    <a:pt x="19753" y="14731"/>
                  </a:lnTo>
                  <a:lnTo>
                    <a:pt x="19753" y="14773"/>
                  </a:lnTo>
                  <a:lnTo>
                    <a:pt x="19857" y="14857"/>
                  </a:lnTo>
                  <a:lnTo>
                    <a:pt x="19962" y="14940"/>
                  </a:lnTo>
                  <a:lnTo>
                    <a:pt x="20087" y="15087"/>
                  </a:lnTo>
                  <a:lnTo>
                    <a:pt x="20171" y="15129"/>
                  </a:lnTo>
                  <a:lnTo>
                    <a:pt x="20213" y="15087"/>
                  </a:lnTo>
                  <a:lnTo>
                    <a:pt x="20276" y="15129"/>
                  </a:lnTo>
                  <a:lnTo>
                    <a:pt x="20297" y="15170"/>
                  </a:lnTo>
                  <a:lnTo>
                    <a:pt x="20213" y="15233"/>
                  </a:lnTo>
                  <a:lnTo>
                    <a:pt x="20276" y="15296"/>
                  </a:lnTo>
                  <a:lnTo>
                    <a:pt x="20318" y="15359"/>
                  </a:lnTo>
                  <a:lnTo>
                    <a:pt x="20380" y="15359"/>
                  </a:lnTo>
                  <a:lnTo>
                    <a:pt x="20422" y="15275"/>
                  </a:lnTo>
                  <a:lnTo>
                    <a:pt x="20485" y="15087"/>
                  </a:lnTo>
                  <a:lnTo>
                    <a:pt x="20506" y="15045"/>
                  </a:lnTo>
                  <a:lnTo>
                    <a:pt x="20527" y="14982"/>
                  </a:lnTo>
                  <a:lnTo>
                    <a:pt x="20506" y="14877"/>
                  </a:lnTo>
                  <a:lnTo>
                    <a:pt x="20506" y="14836"/>
                  </a:lnTo>
                  <a:lnTo>
                    <a:pt x="20506" y="14710"/>
                  </a:lnTo>
                  <a:lnTo>
                    <a:pt x="20464" y="14626"/>
                  </a:lnTo>
                  <a:lnTo>
                    <a:pt x="20464" y="14564"/>
                  </a:lnTo>
                  <a:lnTo>
                    <a:pt x="20464" y="14543"/>
                  </a:lnTo>
                  <a:lnTo>
                    <a:pt x="20506" y="14564"/>
                  </a:lnTo>
                  <a:lnTo>
                    <a:pt x="20590" y="14605"/>
                  </a:lnTo>
                  <a:lnTo>
                    <a:pt x="20610" y="14605"/>
                  </a:lnTo>
                  <a:lnTo>
                    <a:pt x="20590" y="14543"/>
                  </a:lnTo>
                  <a:lnTo>
                    <a:pt x="20506" y="14459"/>
                  </a:lnTo>
                  <a:lnTo>
                    <a:pt x="20464" y="14354"/>
                  </a:lnTo>
                  <a:lnTo>
                    <a:pt x="20401" y="14313"/>
                  </a:lnTo>
                  <a:lnTo>
                    <a:pt x="20318" y="14292"/>
                  </a:lnTo>
                  <a:lnTo>
                    <a:pt x="19962" y="14292"/>
                  </a:lnTo>
                  <a:lnTo>
                    <a:pt x="19920" y="14208"/>
                  </a:lnTo>
                  <a:lnTo>
                    <a:pt x="19836" y="14145"/>
                  </a:lnTo>
                  <a:lnTo>
                    <a:pt x="19648" y="14145"/>
                  </a:lnTo>
                  <a:lnTo>
                    <a:pt x="19564" y="14187"/>
                  </a:lnTo>
                  <a:lnTo>
                    <a:pt x="19502" y="14187"/>
                  </a:lnTo>
                  <a:lnTo>
                    <a:pt x="19460" y="14124"/>
                  </a:lnTo>
                  <a:lnTo>
                    <a:pt x="19439" y="14103"/>
                  </a:lnTo>
                  <a:lnTo>
                    <a:pt x="19460" y="14041"/>
                  </a:lnTo>
                  <a:lnTo>
                    <a:pt x="19502" y="14103"/>
                  </a:lnTo>
                  <a:lnTo>
                    <a:pt x="19543" y="14124"/>
                  </a:lnTo>
                  <a:lnTo>
                    <a:pt x="19669" y="14103"/>
                  </a:lnTo>
                  <a:lnTo>
                    <a:pt x="19836" y="14082"/>
                  </a:lnTo>
                  <a:lnTo>
                    <a:pt x="19878" y="14124"/>
                  </a:lnTo>
                  <a:lnTo>
                    <a:pt x="19941" y="14103"/>
                  </a:lnTo>
                  <a:lnTo>
                    <a:pt x="20025" y="14082"/>
                  </a:lnTo>
                  <a:lnTo>
                    <a:pt x="20087" y="14103"/>
                  </a:lnTo>
                  <a:lnTo>
                    <a:pt x="20150" y="14124"/>
                  </a:lnTo>
                  <a:lnTo>
                    <a:pt x="20192" y="14103"/>
                  </a:lnTo>
                  <a:lnTo>
                    <a:pt x="20234" y="14082"/>
                  </a:lnTo>
                  <a:lnTo>
                    <a:pt x="20234" y="14020"/>
                  </a:lnTo>
                  <a:lnTo>
                    <a:pt x="20234" y="13915"/>
                  </a:lnTo>
                  <a:lnTo>
                    <a:pt x="20234" y="13873"/>
                  </a:lnTo>
                  <a:lnTo>
                    <a:pt x="20171" y="13831"/>
                  </a:lnTo>
                  <a:lnTo>
                    <a:pt x="20129" y="13873"/>
                  </a:lnTo>
                  <a:lnTo>
                    <a:pt x="20066" y="13894"/>
                  </a:lnTo>
                  <a:lnTo>
                    <a:pt x="19983" y="13873"/>
                  </a:lnTo>
                  <a:lnTo>
                    <a:pt x="19857" y="13873"/>
                  </a:lnTo>
                  <a:lnTo>
                    <a:pt x="19815" y="13810"/>
                  </a:lnTo>
                  <a:lnTo>
                    <a:pt x="19711" y="13706"/>
                  </a:lnTo>
                  <a:lnTo>
                    <a:pt x="19606" y="13727"/>
                  </a:lnTo>
                  <a:lnTo>
                    <a:pt x="19564" y="13789"/>
                  </a:lnTo>
                  <a:lnTo>
                    <a:pt x="19543" y="13789"/>
                  </a:lnTo>
                  <a:lnTo>
                    <a:pt x="19543" y="13685"/>
                  </a:lnTo>
                  <a:lnTo>
                    <a:pt x="19543" y="13601"/>
                  </a:lnTo>
                  <a:lnTo>
                    <a:pt x="19522" y="13538"/>
                  </a:lnTo>
                  <a:lnTo>
                    <a:pt x="19313" y="13538"/>
                  </a:lnTo>
                  <a:lnTo>
                    <a:pt x="19229" y="13497"/>
                  </a:lnTo>
                  <a:lnTo>
                    <a:pt x="19250" y="13455"/>
                  </a:lnTo>
                  <a:lnTo>
                    <a:pt x="19313" y="13455"/>
                  </a:lnTo>
                  <a:lnTo>
                    <a:pt x="19418" y="13476"/>
                  </a:lnTo>
                  <a:lnTo>
                    <a:pt x="19460" y="13455"/>
                  </a:lnTo>
                  <a:lnTo>
                    <a:pt x="19460" y="13392"/>
                  </a:lnTo>
                  <a:lnTo>
                    <a:pt x="19439" y="13371"/>
                  </a:lnTo>
                  <a:lnTo>
                    <a:pt x="19481" y="13308"/>
                  </a:lnTo>
                  <a:lnTo>
                    <a:pt x="19460" y="13266"/>
                  </a:lnTo>
                  <a:lnTo>
                    <a:pt x="19439" y="13204"/>
                  </a:lnTo>
                  <a:lnTo>
                    <a:pt x="19481" y="13162"/>
                  </a:lnTo>
                  <a:lnTo>
                    <a:pt x="19460" y="13078"/>
                  </a:lnTo>
                  <a:lnTo>
                    <a:pt x="19460" y="12994"/>
                  </a:lnTo>
                  <a:lnTo>
                    <a:pt x="19522" y="12973"/>
                  </a:lnTo>
                  <a:lnTo>
                    <a:pt x="19543" y="12994"/>
                  </a:lnTo>
                  <a:lnTo>
                    <a:pt x="19543" y="13078"/>
                  </a:lnTo>
                  <a:lnTo>
                    <a:pt x="19585" y="13141"/>
                  </a:lnTo>
                  <a:lnTo>
                    <a:pt x="19648" y="13162"/>
                  </a:lnTo>
                  <a:lnTo>
                    <a:pt x="19732" y="13078"/>
                  </a:lnTo>
                  <a:lnTo>
                    <a:pt x="19857" y="12953"/>
                  </a:lnTo>
                  <a:lnTo>
                    <a:pt x="19941" y="12932"/>
                  </a:lnTo>
                  <a:lnTo>
                    <a:pt x="19941" y="12890"/>
                  </a:lnTo>
                  <a:lnTo>
                    <a:pt x="19899" y="12869"/>
                  </a:lnTo>
                  <a:lnTo>
                    <a:pt x="19794" y="12848"/>
                  </a:lnTo>
                  <a:lnTo>
                    <a:pt x="19732" y="12848"/>
                  </a:lnTo>
                  <a:lnTo>
                    <a:pt x="19690" y="12827"/>
                  </a:lnTo>
                  <a:lnTo>
                    <a:pt x="19774" y="12785"/>
                  </a:lnTo>
                  <a:lnTo>
                    <a:pt x="19878" y="12785"/>
                  </a:lnTo>
                  <a:lnTo>
                    <a:pt x="19941" y="12827"/>
                  </a:lnTo>
                  <a:lnTo>
                    <a:pt x="19983" y="12827"/>
                  </a:lnTo>
                  <a:lnTo>
                    <a:pt x="19983" y="12764"/>
                  </a:lnTo>
                  <a:lnTo>
                    <a:pt x="19962" y="12743"/>
                  </a:lnTo>
                  <a:lnTo>
                    <a:pt x="20046" y="12722"/>
                  </a:lnTo>
                  <a:lnTo>
                    <a:pt x="20150" y="12722"/>
                  </a:lnTo>
                  <a:lnTo>
                    <a:pt x="20213" y="12785"/>
                  </a:lnTo>
                  <a:lnTo>
                    <a:pt x="20276" y="12827"/>
                  </a:lnTo>
                  <a:lnTo>
                    <a:pt x="20318" y="12785"/>
                  </a:lnTo>
                  <a:lnTo>
                    <a:pt x="20380" y="12827"/>
                  </a:lnTo>
                  <a:lnTo>
                    <a:pt x="20422" y="12890"/>
                  </a:lnTo>
                  <a:lnTo>
                    <a:pt x="20401" y="12973"/>
                  </a:lnTo>
                  <a:lnTo>
                    <a:pt x="20422" y="13036"/>
                  </a:lnTo>
                  <a:lnTo>
                    <a:pt x="20506" y="13057"/>
                  </a:lnTo>
                  <a:lnTo>
                    <a:pt x="20527" y="13036"/>
                  </a:lnTo>
                  <a:lnTo>
                    <a:pt x="20590" y="13057"/>
                  </a:lnTo>
                  <a:lnTo>
                    <a:pt x="20631" y="13141"/>
                  </a:lnTo>
                  <a:lnTo>
                    <a:pt x="20778" y="13183"/>
                  </a:lnTo>
                  <a:lnTo>
                    <a:pt x="20820" y="13266"/>
                  </a:lnTo>
                  <a:lnTo>
                    <a:pt x="20841" y="13287"/>
                  </a:lnTo>
                  <a:lnTo>
                    <a:pt x="20882" y="13245"/>
                  </a:lnTo>
                  <a:lnTo>
                    <a:pt x="20903" y="13141"/>
                  </a:lnTo>
                  <a:lnTo>
                    <a:pt x="20945" y="13057"/>
                  </a:lnTo>
                  <a:lnTo>
                    <a:pt x="21008" y="12890"/>
                  </a:lnTo>
                  <a:lnTo>
                    <a:pt x="21008" y="12848"/>
                  </a:lnTo>
                  <a:lnTo>
                    <a:pt x="21029" y="12722"/>
                  </a:lnTo>
                  <a:lnTo>
                    <a:pt x="21050" y="12555"/>
                  </a:lnTo>
                  <a:lnTo>
                    <a:pt x="21092" y="12513"/>
                  </a:lnTo>
                  <a:lnTo>
                    <a:pt x="21092" y="12429"/>
                  </a:lnTo>
                  <a:lnTo>
                    <a:pt x="21050" y="12346"/>
                  </a:lnTo>
                  <a:lnTo>
                    <a:pt x="20987" y="12304"/>
                  </a:lnTo>
                  <a:lnTo>
                    <a:pt x="20924" y="12241"/>
                  </a:lnTo>
                  <a:lnTo>
                    <a:pt x="20882" y="12241"/>
                  </a:lnTo>
                  <a:lnTo>
                    <a:pt x="20841" y="12199"/>
                  </a:lnTo>
                  <a:lnTo>
                    <a:pt x="20841" y="12136"/>
                  </a:lnTo>
                  <a:lnTo>
                    <a:pt x="20757" y="12136"/>
                  </a:lnTo>
                  <a:lnTo>
                    <a:pt x="20694" y="12220"/>
                  </a:lnTo>
                  <a:lnTo>
                    <a:pt x="20590" y="12325"/>
                  </a:lnTo>
                  <a:lnTo>
                    <a:pt x="20506" y="12346"/>
                  </a:lnTo>
                  <a:lnTo>
                    <a:pt x="20464" y="12304"/>
                  </a:lnTo>
                  <a:lnTo>
                    <a:pt x="20485" y="12241"/>
                  </a:lnTo>
                  <a:lnTo>
                    <a:pt x="20485" y="12157"/>
                  </a:lnTo>
                  <a:lnTo>
                    <a:pt x="20485" y="12136"/>
                  </a:lnTo>
                  <a:lnTo>
                    <a:pt x="20380" y="12116"/>
                  </a:lnTo>
                  <a:lnTo>
                    <a:pt x="20297" y="12116"/>
                  </a:lnTo>
                  <a:lnTo>
                    <a:pt x="20276" y="12053"/>
                  </a:lnTo>
                  <a:lnTo>
                    <a:pt x="20338" y="12032"/>
                  </a:lnTo>
                  <a:lnTo>
                    <a:pt x="20338" y="12011"/>
                  </a:lnTo>
                  <a:lnTo>
                    <a:pt x="20255" y="11948"/>
                  </a:lnTo>
                  <a:lnTo>
                    <a:pt x="20213" y="11906"/>
                  </a:lnTo>
                  <a:lnTo>
                    <a:pt x="20255" y="11885"/>
                  </a:lnTo>
                  <a:lnTo>
                    <a:pt x="20276" y="11906"/>
                  </a:lnTo>
                  <a:lnTo>
                    <a:pt x="20359" y="11927"/>
                  </a:lnTo>
                  <a:lnTo>
                    <a:pt x="20359" y="11885"/>
                  </a:lnTo>
                  <a:lnTo>
                    <a:pt x="20297" y="11802"/>
                  </a:lnTo>
                  <a:lnTo>
                    <a:pt x="20276" y="11718"/>
                  </a:lnTo>
                  <a:lnTo>
                    <a:pt x="20297" y="11676"/>
                  </a:lnTo>
                  <a:lnTo>
                    <a:pt x="20359" y="11634"/>
                  </a:lnTo>
                  <a:lnTo>
                    <a:pt x="20380" y="11676"/>
                  </a:lnTo>
                  <a:lnTo>
                    <a:pt x="20443" y="11697"/>
                  </a:lnTo>
                  <a:lnTo>
                    <a:pt x="20464" y="11739"/>
                  </a:lnTo>
                  <a:lnTo>
                    <a:pt x="20590" y="11885"/>
                  </a:lnTo>
                  <a:lnTo>
                    <a:pt x="20673" y="11927"/>
                  </a:lnTo>
                  <a:lnTo>
                    <a:pt x="20757" y="11906"/>
                  </a:lnTo>
                  <a:lnTo>
                    <a:pt x="20799" y="11844"/>
                  </a:lnTo>
                  <a:lnTo>
                    <a:pt x="20757" y="11718"/>
                  </a:lnTo>
                  <a:lnTo>
                    <a:pt x="20652" y="11613"/>
                  </a:lnTo>
                  <a:lnTo>
                    <a:pt x="20569" y="11572"/>
                  </a:lnTo>
                  <a:lnTo>
                    <a:pt x="20464" y="11530"/>
                  </a:lnTo>
                  <a:lnTo>
                    <a:pt x="20443" y="11404"/>
                  </a:lnTo>
                  <a:lnTo>
                    <a:pt x="20380" y="11320"/>
                  </a:lnTo>
                  <a:lnTo>
                    <a:pt x="20338" y="11258"/>
                  </a:lnTo>
                  <a:lnTo>
                    <a:pt x="20255" y="11216"/>
                  </a:lnTo>
                  <a:lnTo>
                    <a:pt x="20171" y="11174"/>
                  </a:lnTo>
                  <a:lnTo>
                    <a:pt x="20171" y="11111"/>
                  </a:lnTo>
                  <a:lnTo>
                    <a:pt x="20234" y="11069"/>
                  </a:lnTo>
                  <a:lnTo>
                    <a:pt x="20234" y="11007"/>
                  </a:lnTo>
                  <a:lnTo>
                    <a:pt x="20192" y="10986"/>
                  </a:lnTo>
                  <a:lnTo>
                    <a:pt x="20192" y="10944"/>
                  </a:lnTo>
                  <a:lnTo>
                    <a:pt x="20255" y="10881"/>
                  </a:lnTo>
                  <a:lnTo>
                    <a:pt x="20297" y="10881"/>
                  </a:lnTo>
                  <a:lnTo>
                    <a:pt x="20359" y="10860"/>
                  </a:lnTo>
                  <a:lnTo>
                    <a:pt x="20443" y="10881"/>
                  </a:lnTo>
                  <a:lnTo>
                    <a:pt x="20485" y="10944"/>
                  </a:lnTo>
                  <a:lnTo>
                    <a:pt x="20401" y="10986"/>
                  </a:lnTo>
                  <a:lnTo>
                    <a:pt x="20464" y="10986"/>
                  </a:lnTo>
                  <a:lnTo>
                    <a:pt x="20548" y="11048"/>
                  </a:lnTo>
                  <a:lnTo>
                    <a:pt x="20548" y="11090"/>
                  </a:lnTo>
                  <a:lnTo>
                    <a:pt x="20569" y="11174"/>
                  </a:lnTo>
                  <a:lnTo>
                    <a:pt x="20652" y="11195"/>
                  </a:lnTo>
                  <a:lnTo>
                    <a:pt x="20757" y="11111"/>
                  </a:lnTo>
                  <a:lnTo>
                    <a:pt x="20799" y="10986"/>
                  </a:lnTo>
                  <a:lnTo>
                    <a:pt x="20820" y="10860"/>
                  </a:lnTo>
                  <a:lnTo>
                    <a:pt x="20882" y="10776"/>
                  </a:lnTo>
                  <a:lnTo>
                    <a:pt x="20903" y="10735"/>
                  </a:lnTo>
                  <a:lnTo>
                    <a:pt x="20882" y="10588"/>
                  </a:lnTo>
                  <a:lnTo>
                    <a:pt x="20966" y="10525"/>
                  </a:lnTo>
                  <a:lnTo>
                    <a:pt x="21029" y="10463"/>
                  </a:lnTo>
                  <a:lnTo>
                    <a:pt x="21071" y="10316"/>
                  </a:lnTo>
                  <a:lnTo>
                    <a:pt x="21029" y="10212"/>
                  </a:lnTo>
                  <a:lnTo>
                    <a:pt x="20987" y="10128"/>
                  </a:lnTo>
                  <a:lnTo>
                    <a:pt x="21029" y="9919"/>
                  </a:lnTo>
                  <a:lnTo>
                    <a:pt x="21092" y="9751"/>
                  </a:lnTo>
                  <a:lnTo>
                    <a:pt x="21092" y="9605"/>
                  </a:lnTo>
                  <a:lnTo>
                    <a:pt x="21175" y="9521"/>
                  </a:lnTo>
                  <a:lnTo>
                    <a:pt x="21175" y="9437"/>
                  </a:lnTo>
                  <a:lnTo>
                    <a:pt x="21196" y="9312"/>
                  </a:lnTo>
                  <a:lnTo>
                    <a:pt x="21196" y="9165"/>
                  </a:lnTo>
                  <a:lnTo>
                    <a:pt x="21280" y="9082"/>
                  </a:lnTo>
                  <a:lnTo>
                    <a:pt x="21343" y="8956"/>
                  </a:lnTo>
                  <a:lnTo>
                    <a:pt x="21531" y="8684"/>
                  </a:lnTo>
                  <a:lnTo>
                    <a:pt x="21615" y="8538"/>
                  </a:lnTo>
                  <a:lnTo>
                    <a:pt x="21761" y="8391"/>
                  </a:lnTo>
                  <a:lnTo>
                    <a:pt x="21824" y="8287"/>
                  </a:lnTo>
                  <a:lnTo>
                    <a:pt x="21908" y="8224"/>
                  </a:lnTo>
                  <a:lnTo>
                    <a:pt x="21950" y="8077"/>
                  </a:lnTo>
                  <a:lnTo>
                    <a:pt x="22075" y="7973"/>
                  </a:lnTo>
                  <a:lnTo>
                    <a:pt x="22117" y="7952"/>
                  </a:lnTo>
                  <a:lnTo>
                    <a:pt x="22075" y="7910"/>
                  </a:lnTo>
                  <a:lnTo>
                    <a:pt x="22012" y="7847"/>
                  </a:lnTo>
                  <a:lnTo>
                    <a:pt x="21908" y="7826"/>
                  </a:lnTo>
                  <a:lnTo>
                    <a:pt x="21845" y="7763"/>
                  </a:lnTo>
                  <a:lnTo>
                    <a:pt x="21803" y="7722"/>
                  </a:lnTo>
                  <a:lnTo>
                    <a:pt x="21719" y="7743"/>
                  </a:lnTo>
                  <a:lnTo>
                    <a:pt x="21552" y="7805"/>
                  </a:lnTo>
                  <a:lnTo>
                    <a:pt x="21406" y="7847"/>
                  </a:lnTo>
                  <a:lnTo>
                    <a:pt x="21280" y="7910"/>
                  </a:lnTo>
                  <a:lnTo>
                    <a:pt x="21196" y="8015"/>
                  </a:lnTo>
                  <a:lnTo>
                    <a:pt x="21092" y="8056"/>
                  </a:lnTo>
                  <a:lnTo>
                    <a:pt x="21071" y="8119"/>
                  </a:lnTo>
                  <a:lnTo>
                    <a:pt x="21008" y="8140"/>
                  </a:lnTo>
                  <a:lnTo>
                    <a:pt x="20903" y="8077"/>
                  </a:lnTo>
                  <a:lnTo>
                    <a:pt x="20862" y="8035"/>
                  </a:lnTo>
                  <a:lnTo>
                    <a:pt x="20862" y="7973"/>
                  </a:lnTo>
                  <a:lnTo>
                    <a:pt x="20924" y="7973"/>
                  </a:lnTo>
                  <a:lnTo>
                    <a:pt x="20987" y="7952"/>
                  </a:lnTo>
                  <a:lnTo>
                    <a:pt x="20987" y="7847"/>
                  </a:lnTo>
                  <a:lnTo>
                    <a:pt x="20966" y="7805"/>
                  </a:lnTo>
                  <a:lnTo>
                    <a:pt x="20882" y="7805"/>
                  </a:lnTo>
                  <a:lnTo>
                    <a:pt x="20820" y="7763"/>
                  </a:lnTo>
                  <a:lnTo>
                    <a:pt x="20903" y="7743"/>
                  </a:lnTo>
                  <a:lnTo>
                    <a:pt x="20966" y="7701"/>
                  </a:lnTo>
                  <a:lnTo>
                    <a:pt x="21071" y="7617"/>
                  </a:lnTo>
                  <a:lnTo>
                    <a:pt x="21134" y="7491"/>
                  </a:lnTo>
                  <a:lnTo>
                    <a:pt x="21238" y="7408"/>
                  </a:lnTo>
                  <a:lnTo>
                    <a:pt x="21322" y="7408"/>
                  </a:lnTo>
                  <a:lnTo>
                    <a:pt x="21447" y="7429"/>
                  </a:lnTo>
                  <a:lnTo>
                    <a:pt x="21698" y="7617"/>
                  </a:lnTo>
                  <a:lnTo>
                    <a:pt x="21761" y="7659"/>
                  </a:lnTo>
                  <a:lnTo>
                    <a:pt x="21970" y="7659"/>
                  </a:lnTo>
                  <a:lnTo>
                    <a:pt x="22075" y="7638"/>
                  </a:lnTo>
                  <a:lnTo>
                    <a:pt x="22180" y="7659"/>
                  </a:lnTo>
                  <a:lnTo>
                    <a:pt x="22389" y="7617"/>
                  </a:lnTo>
                  <a:lnTo>
                    <a:pt x="22494" y="7554"/>
                  </a:lnTo>
                  <a:lnTo>
                    <a:pt x="22494" y="7491"/>
                  </a:lnTo>
                  <a:lnTo>
                    <a:pt x="22473" y="7429"/>
                  </a:lnTo>
                  <a:lnTo>
                    <a:pt x="22515" y="7429"/>
                  </a:lnTo>
                  <a:lnTo>
                    <a:pt x="22598" y="7408"/>
                  </a:lnTo>
                  <a:lnTo>
                    <a:pt x="22682" y="7324"/>
                  </a:lnTo>
                  <a:lnTo>
                    <a:pt x="22682" y="7240"/>
                  </a:lnTo>
                  <a:lnTo>
                    <a:pt x="22640" y="7178"/>
                  </a:lnTo>
                  <a:lnTo>
                    <a:pt x="22535" y="7136"/>
                  </a:lnTo>
                  <a:lnTo>
                    <a:pt x="22473" y="7094"/>
                  </a:lnTo>
                  <a:lnTo>
                    <a:pt x="22431" y="7073"/>
                  </a:lnTo>
                  <a:lnTo>
                    <a:pt x="22347" y="7073"/>
                  </a:lnTo>
                  <a:lnTo>
                    <a:pt x="22263" y="7136"/>
                  </a:lnTo>
                  <a:lnTo>
                    <a:pt x="22222" y="7136"/>
                  </a:lnTo>
                  <a:lnTo>
                    <a:pt x="22138" y="7073"/>
                  </a:lnTo>
                  <a:lnTo>
                    <a:pt x="21908" y="7073"/>
                  </a:lnTo>
                  <a:lnTo>
                    <a:pt x="21761" y="7031"/>
                  </a:lnTo>
                  <a:lnTo>
                    <a:pt x="21657" y="6989"/>
                  </a:lnTo>
                  <a:lnTo>
                    <a:pt x="21594" y="6989"/>
                  </a:lnTo>
                  <a:lnTo>
                    <a:pt x="21510" y="7010"/>
                  </a:lnTo>
                  <a:lnTo>
                    <a:pt x="21196" y="7010"/>
                  </a:lnTo>
                  <a:lnTo>
                    <a:pt x="21092" y="6968"/>
                  </a:lnTo>
                  <a:lnTo>
                    <a:pt x="21196" y="6968"/>
                  </a:lnTo>
                  <a:lnTo>
                    <a:pt x="21301" y="6989"/>
                  </a:lnTo>
                  <a:lnTo>
                    <a:pt x="21406" y="6927"/>
                  </a:lnTo>
                  <a:lnTo>
                    <a:pt x="21531" y="6906"/>
                  </a:lnTo>
                  <a:lnTo>
                    <a:pt x="21636" y="6927"/>
                  </a:lnTo>
                  <a:lnTo>
                    <a:pt x="21740" y="6968"/>
                  </a:lnTo>
                  <a:lnTo>
                    <a:pt x="21782" y="6927"/>
                  </a:lnTo>
                  <a:lnTo>
                    <a:pt x="21845" y="6885"/>
                  </a:lnTo>
                  <a:lnTo>
                    <a:pt x="21950" y="6885"/>
                  </a:lnTo>
                  <a:lnTo>
                    <a:pt x="21991" y="6822"/>
                  </a:lnTo>
                  <a:lnTo>
                    <a:pt x="22054" y="6801"/>
                  </a:lnTo>
                  <a:lnTo>
                    <a:pt x="22138" y="6822"/>
                  </a:lnTo>
                  <a:lnTo>
                    <a:pt x="22180" y="6822"/>
                  </a:lnTo>
                  <a:lnTo>
                    <a:pt x="22201" y="6780"/>
                  </a:lnTo>
                  <a:lnTo>
                    <a:pt x="22242" y="6759"/>
                  </a:lnTo>
                  <a:lnTo>
                    <a:pt x="22284" y="6759"/>
                  </a:lnTo>
                  <a:lnTo>
                    <a:pt x="22305" y="6780"/>
                  </a:lnTo>
                  <a:lnTo>
                    <a:pt x="22368" y="6801"/>
                  </a:lnTo>
                  <a:lnTo>
                    <a:pt x="22410" y="6822"/>
                  </a:lnTo>
                  <a:lnTo>
                    <a:pt x="22515" y="6822"/>
                  </a:lnTo>
                  <a:lnTo>
                    <a:pt x="22619" y="6864"/>
                  </a:lnTo>
                  <a:lnTo>
                    <a:pt x="22703" y="6906"/>
                  </a:lnTo>
                  <a:lnTo>
                    <a:pt x="22891" y="6906"/>
                  </a:lnTo>
                  <a:lnTo>
                    <a:pt x="22996" y="6822"/>
                  </a:lnTo>
                  <a:lnTo>
                    <a:pt x="23184" y="6759"/>
                  </a:lnTo>
                  <a:lnTo>
                    <a:pt x="23331" y="6759"/>
                  </a:lnTo>
                  <a:lnTo>
                    <a:pt x="23351" y="6675"/>
                  </a:lnTo>
                  <a:lnTo>
                    <a:pt x="23351" y="6592"/>
                  </a:lnTo>
                  <a:lnTo>
                    <a:pt x="23310" y="6571"/>
                  </a:lnTo>
                  <a:lnTo>
                    <a:pt x="23247" y="6487"/>
                  </a:lnTo>
                  <a:lnTo>
                    <a:pt x="23247" y="6445"/>
                  </a:lnTo>
                  <a:lnTo>
                    <a:pt x="23226" y="6403"/>
                  </a:lnTo>
                  <a:lnTo>
                    <a:pt x="23226" y="6362"/>
                  </a:lnTo>
                  <a:lnTo>
                    <a:pt x="23289" y="6257"/>
                  </a:lnTo>
                  <a:lnTo>
                    <a:pt x="23351" y="6194"/>
                  </a:lnTo>
                  <a:lnTo>
                    <a:pt x="23414" y="6194"/>
                  </a:lnTo>
                  <a:lnTo>
                    <a:pt x="23561" y="6299"/>
                  </a:lnTo>
                  <a:lnTo>
                    <a:pt x="23644" y="6341"/>
                  </a:lnTo>
                  <a:lnTo>
                    <a:pt x="23707" y="6299"/>
                  </a:lnTo>
                  <a:lnTo>
                    <a:pt x="23749" y="6236"/>
                  </a:lnTo>
                  <a:lnTo>
                    <a:pt x="23854" y="6069"/>
                  </a:lnTo>
                  <a:lnTo>
                    <a:pt x="23958" y="5985"/>
                  </a:lnTo>
                  <a:lnTo>
                    <a:pt x="24042" y="5964"/>
                  </a:lnTo>
                  <a:lnTo>
                    <a:pt x="24063" y="5922"/>
                  </a:lnTo>
                  <a:lnTo>
                    <a:pt x="24167" y="5838"/>
                  </a:lnTo>
                  <a:lnTo>
                    <a:pt x="24272" y="5776"/>
                  </a:lnTo>
                  <a:lnTo>
                    <a:pt x="24335" y="5713"/>
                  </a:lnTo>
                  <a:lnTo>
                    <a:pt x="24335" y="5566"/>
                  </a:lnTo>
                  <a:lnTo>
                    <a:pt x="24272" y="5420"/>
                  </a:lnTo>
                  <a:lnTo>
                    <a:pt x="24188" y="5336"/>
                  </a:lnTo>
                  <a:lnTo>
                    <a:pt x="24167" y="5253"/>
                  </a:lnTo>
                  <a:lnTo>
                    <a:pt x="24021" y="5127"/>
                  </a:lnTo>
                  <a:lnTo>
                    <a:pt x="24021" y="5085"/>
                  </a:lnTo>
                  <a:lnTo>
                    <a:pt x="23958" y="5002"/>
                  </a:lnTo>
                  <a:lnTo>
                    <a:pt x="23854" y="4939"/>
                  </a:lnTo>
                  <a:lnTo>
                    <a:pt x="23812" y="4939"/>
                  </a:lnTo>
                  <a:lnTo>
                    <a:pt x="23728" y="4876"/>
                  </a:lnTo>
                  <a:lnTo>
                    <a:pt x="23623" y="4813"/>
                  </a:lnTo>
                  <a:lnTo>
                    <a:pt x="23498" y="4813"/>
                  </a:lnTo>
                  <a:lnTo>
                    <a:pt x="23331" y="4771"/>
                  </a:lnTo>
                  <a:lnTo>
                    <a:pt x="23184" y="4688"/>
                  </a:lnTo>
                  <a:lnTo>
                    <a:pt x="23038" y="4667"/>
                  </a:lnTo>
                  <a:lnTo>
                    <a:pt x="22975" y="4688"/>
                  </a:lnTo>
                  <a:lnTo>
                    <a:pt x="22828" y="4688"/>
                  </a:lnTo>
                  <a:lnTo>
                    <a:pt x="22682" y="4730"/>
                  </a:lnTo>
                  <a:lnTo>
                    <a:pt x="22619" y="4792"/>
                  </a:lnTo>
                  <a:lnTo>
                    <a:pt x="22515" y="4834"/>
                  </a:lnTo>
                  <a:lnTo>
                    <a:pt x="22410" y="4792"/>
                  </a:lnTo>
                  <a:lnTo>
                    <a:pt x="22389" y="4730"/>
                  </a:lnTo>
                  <a:lnTo>
                    <a:pt x="22347" y="4771"/>
                  </a:lnTo>
                  <a:lnTo>
                    <a:pt x="22305" y="4834"/>
                  </a:lnTo>
                  <a:lnTo>
                    <a:pt x="22347" y="4918"/>
                  </a:lnTo>
                  <a:lnTo>
                    <a:pt x="22347" y="5022"/>
                  </a:lnTo>
                  <a:lnTo>
                    <a:pt x="22284" y="5106"/>
                  </a:lnTo>
                  <a:lnTo>
                    <a:pt x="22242" y="5106"/>
                  </a:lnTo>
                  <a:lnTo>
                    <a:pt x="22242" y="5148"/>
                  </a:lnTo>
                  <a:lnTo>
                    <a:pt x="22263" y="5211"/>
                  </a:lnTo>
                  <a:lnTo>
                    <a:pt x="22242" y="5294"/>
                  </a:lnTo>
                  <a:lnTo>
                    <a:pt x="22138" y="5336"/>
                  </a:lnTo>
                  <a:lnTo>
                    <a:pt x="22033" y="5336"/>
                  </a:lnTo>
                  <a:lnTo>
                    <a:pt x="21970" y="5253"/>
                  </a:lnTo>
                  <a:lnTo>
                    <a:pt x="21970" y="5190"/>
                  </a:lnTo>
                  <a:lnTo>
                    <a:pt x="21929" y="5148"/>
                  </a:lnTo>
                  <a:lnTo>
                    <a:pt x="21866" y="5211"/>
                  </a:lnTo>
                  <a:lnTo>
                    <a:pt x="21866" y="5315"/>
                  </a:lnTo>
                  <a:lnTo>
                    <a:pt x="21887" y="5336"/>
                  </a:lnTo>
                  <a:lnTo>
                    <a:pt x="21845" y="5420"/>
                  </a:lnTo>
                  <a:lnTo>
                    <a:pt x="21824" y="5525"/>
                  </a:lnTo>
                  <a:lnTo>
                    <a:pt x="21782" y="5566"/>
                  </a:lnTo>
                  <a:lnTo>
                    <a:pt x="21782" y="5504"/>
                  </a:lnTo>
                  <a:lnTo>
                    <a:pt x="21824" y="5441"/>
                  </a:lnTo>
                  <a:lnTo>
                    <a:pt x="21782" y="5315"/>
                  </a:lnTo>
                  <a:lnTo>
                    <a:pt x="21740" y="5232"/>
                  </a:lnTo>
                  <a:lnTo>
                    <a:pt x="21761" y="5148"/>
                  </a:lnTo>
                  <a:lnTo>
                    <a:pt x="21761" y="5064"/>
                  </a:lnTo>
                  <a:lnTo>
                    <a:pt x="21719" y="5002"/>
                  </a:lnTo>
                  <a:lnTo>
                    <a:pt x="21719" y="4918"/>
                  </a:lnTo>
                  <a:lnTo>
                    <a:pt x="21657" y="4939"/>
                  </a:lnTo>
                  <a:lnTo>
                    <a:pt x="21636" y="5002"/>
                  </a:lnTo>
                  <a:lnTo>
                    <a:pt x="21552" y="5064"/>
                  </a:lnTo>
                  <a:lnTo>
                    <a:pt x="21552" y="5148"/>
                  </a:lnTo>
                  <a:lnTo>
                    <a:pt x="21531" y="5253"/>
                  </a:lnTo>
                  <a:lnTo>
                    <a:pt x="21364" y="5420"/>
                  </a:lnTo>
                  <a:lnTo>
                    <a:pt x="21301" y="5483"/>
                  </a:lnTo>
                  <a:lnTo>
                    <a:pt x="21217" y="5483"/>
                  </a:lnTo>
                  <a:lnTo>
                    <a:pt x="21154" y="5546"/>
                  </a:lnTo>
                  <a:lnTo>
                    <a:pt x="21050" y="5629"/>
                  </a:lnTo>
                  <a:lnTo>
                    <a:pt x="20945" y="5629"/>
                  </a:lnTo>
                  <a:lnTo>
                    <a:pt x="20841" y="5734"/>
                  </a:lnTo>
                  <a:lnTo>
                    <a:pt x="20694" y="5818"/>
                  </a:lnTo>
                  <a:lnTo>
                    <a:pt x="20422" y="5818"/>
                  </a:lnTo>
                  <a:lnTo>
                    <a:pt x="20422" y="5859"/>
                  </a:lnTo>
                  <a:lnTo>
                    <a:pt x="20359" y="5901"/>
                  </a:lnTo>
                  <a:lnTo>
                    <a:pt x="20255" y="5901"/>
                  </a:lnTo>
                  <a:lnTo>
                    <a:pt x="20171" y="5880"/>
                  </a:lnTo>
                  <a:lnTo>
                    <a:pt x="20087" y="5943"/>
                  </a:lnTo>
                  <a:lnTo>
                    <a:pt x="19711" y="6131"/>
                  </a:lnTo>
                  <a:lnTo>
                    <a:pt x="19522" y="6278"/>
                  </a:lnTo>
                  <a:lnTo>
                    <a:pt x="19502" y="6382"/>
                  </a:lnTo>
                  <a:lnTo>
                    <a:pt x="19439" y="6403"/>
                  </a:lnTo>
                  <a:lnTo>
                    <a:pt x="19229" y="6571"/>
                  </a:lnTo>
                  <a:lnTo>
                    <a:pt x="19125" y="6675"/>
                  </a:lnTo>
                  <a:lnTo>
                    <a:pt x="19104" y="6613"/>
                  </a:lnTo>
                  <a:lnTo>
                    <a:pt x="19083" y="6613"/>
                  </a:lnTo>
                  <a:lnTo>
                    <a:pt x="18978" y="6696"/>
                  </a:lnTo>
                  <a:lnTo>
                    <a:pt x="18895" y="6822"/>
                  </a:lnTo>
                  <a:lnTo>
                    <a:pt x="18790" y="6968"/>
                  </a:lnTo>
                  <a:lnTo>
                    <a:pt x="18769" y="7031"/>
                  </a:lnTo>
                  <a:lnTo>
                    <a:pt x="18727" y="7094"/>
                  </a:lnTo>
                  <a:lnTo>
                    <a:pt x="18706" y="7031"/>
                  </a:lnTo>
                  <a:lnTo>
                    <a:pt x="18748" y="6906"/>
                  </a:lnTo>
                  <a:lnTo>
                    <a:pt x="18748" y="6801"/>
                  </a:lnTo>
                  <a:lnTo>
                    <a:pt x="18748" y="6696"/>
                  </a:lnTo>
                  <a:lnTo>
                    <a:pt x="18853" y="6696"/>
                  </a:lnTo>
                  <a:lnTo>
                    <a:pt x="18895" y="6654"/>
                  </a:lnTo>
                  <a:lnTo>
                    <a:pt x="19020" y="6550"/>
                  </a:lnTo>
                  <a:lnTo>
                    <a:pt x="19104" y="6508"/>
                  </a:lnTo>
                  <a:lnTo>
                    <a:pt x="19209" y="6403"/>
                  </a:lnTo>
                  <a:lnTo>
                    <a:pt x="19355" y="6278"/>
                  </a:lnTo>
                  <a:lnTo>
                    <a:pt x="19418" y="6194"/>
                  </a:lnTo>
                  <a:lnTo>
                    <a:pt x="19522" y="6152"/>
                  </a:lnTo>
                  <a:lnTo>
                    <a:pt x="19627" y="5985"/>
                  </a:lnTo>
                  <a:lnTo>
                    <a:pt x="19669" y="5922"/>
                  </a:lnTo>
                  <a:lnTo>
                    <a:pt x="19648" y="5838"/>
                  </a:lnTo>
                  <a:lnTo>
                    <a:pt x="19669" y="5776"/>
                  </a:lnTo>
                  <a:lnTo>
                    <a:pt x="19690" y="5818"/>
                  </a:lnTo>
                  <a:lnTo>
                    <a:pt x="19753" y="5838"/>
                  </a:lnTo>
                  <a:lnTo>
                    <a:pt x="19836" y="5755"/>
                  </a:lnTo>
                  <a:lnTo>
                    <a:pt x="19941" y="5713"/>
                  </a:lnTo>
                  <a:lnTo>
                    <a:pt x="19941" y="5629"/>
                  </a:lnTo>
                  <a:lnTo>
                    <a:pt x="20004" y="5504"/>
                  </a:lnTo>
                  <a:lnTo>
                    <a:pt x="20066" y="5462"/>
                  </a:lnTo>
                  <a:lnTo>
                    <a:pt x="20150" y="5504"/>
                  </a:lnTo>
                  <a:lnTo>
                    <a:pt x="20213" y="5420"/>
                  </a:lnTo>
                  <a:lnTo>
                    <a:pt x="20297" y="5399"/>
                  </a:lnTo>
                  <a:lnTo>
                    <a:pt x="20318" y="5420"/>
                  </a:lnTo>
                  <a:lnTo>
                    <a:pt x="20401" y="5420"/>
                  </a:lnTo>
                  <a:lnTo>
                    <a:pt x="20715" y="5127"/>
                  </a:lnTo>
                  <a:lnTo>
                    <a:pt x="20778" y="5022"/>
                  </a:lnTo>
                  <a:lnTo>
                    <a:pt x="20799" y="4897"/>
                  </a:lnTo>
                  <a:lnTo>
                    <a:pt x="20882" y="4709"/>
                  </a:lnTo>
                  <a:lnTo>
                    <a:pt x="20987" y="4583"/>
                  </a:lnTo>
                  <a:lnTo>
                    <a:pt x="20987" y="4458"/>
                  </a:lnTo>
                  <a:lnTo>
                    <a:pt x="20987" y="4269"/>
                  </a:lnTo>
                  <a:lnTo>
                    <a:pt x="20945" y="4165"/>
                  </a:lnTo>
                  <a:lnTo>
                    <a:pt x="20882" y="4144"/>
                  </a:lnTo>
                  <a:lnTo>
                    <a:pt x="20736" y="4165"/>
                  </a:lnTo>
                  <a:lnTo>
                    <a:pt x="20590" y="4165"/>
                  </a:lnTo>
                  <a:lnTo>
                    <a:pt x="20464" y="4102"/>
                  </a:lnTo>
                  <a:lnTo>
                    <a:pt x="20318" y="4102"/>
                  </a:lnTo>
                  <a:lnTo>
                    <a:pt x="20255" y="4165"/>
                  </a:lnTo>
                  <a:lnTo>
                    <a:pt x="20213" y="4248"/>
                  </a:lnTo>
                  <a:lnTo>
                    <a:pt x="20255" y="4290"/>
                  </a:lnTo>
                  <a:lnTo>
                    <a:pt x="20213" y="4353"/>
                  </a:lnTo>
                  <a:lnTo>
                    <a:pt x="20213" y="4499"/>
                  </a:lnTo>
                  <a:lnTo>
                    <a:pt x="20171" y="4646"/>
                  </a:lnTo>
                  <a:lnTo>
                    <a:pt x="20066" y="4792"/>
                  </a:lnTo>
                  <a:lnTo>
                    <a:pt x="20004" y="4730"/>
                  </a:lnTo>
                  <a:lnTo>
                    <a:pt x="19941" y="4709"/>
                  </a:lnTo>
                  <a:lnTo>
                    <a:pt x="19899" y="4709"/>
                  </a:lnTo>
                  <a:lnTo>
                    <a:pt x="19857" y="4771"/>
                  </a:lnTo>
                  <a:lnTo>
                    <a:pt x="19794" y="4792"/>
                  </a:lnTo>
                  <a:lnTo>
                    <a:pt x="19732" y="4730"/>
                  </a:lnTo>
                  <a:lnTo>
                    <a:pt x="19669" y="4730"/>
                  </a:lnTo>
                  <a:cubicBezTo>
                    <a:pt x="19669" y="4730"/>
                    <a:pt x="19481" y="4688"/>
                    <a:pt x="19481" y="4646"/>
                  </a:cubicBezTo>
                  <a:lnTo>
                    <a:pt x="19271" y="4646"/>
                  </a:lnTo>
                  <a:lnTo>
                    <a:pt x="19167" y="4709"/>
                  </a:lnTo>
                  <a:lnTo>
                    <a:pt x="19020" y="4730"/>
                  </a:lnTo>
                  <a:lnTo>
                    <a:pt x="18895" y="4792"/>
                  </a:lnTo>
                  <a:lnTo>
                    <a:pt x="18832" y="4750"/>
                  </a:lnTo>
                  <a:lnTo>
                    <a:pt x="18832" y="4709"/>
                  </a:lnTo>
                  <a:lnTo>
                    <a:pt x="18853" y="4625"/>
                  </a:lnTo>
                  <a:lnTo>
                    <a:pt x="18853" y="4541"/>
                  </a:lnTo>
                  <a:lnTo>
                    <a:pt x="18895" y="4478"/>
                  </a:lnTo>
                  <a:lnTo>
                    <a:pt x="18916" y="4478"/>
                  </a:lnTo>
                  <a:lnTo>
                    <a:pt x="18957" y="4499"/>
                  </a:lnTo>
                  <a:lnTo>
                    <a:pt x="19020" y="4499"/>
                  </a:lnTo>
                  <a:lnTo>
                    <a:pt x="19146" y="4437"/>
                  </a:lnTo>
                  <a:lnTo>
                    <a:pt x="19439" y="4416"/>
                  </a:lnTo>
                  <a:lnTo>
                    <a:pt x="19481" y="4395"/>
                  </a:lnTo>
                  <a:lnTo>
                    <a:pt x="19543" y="4290"/>
                  </a:lnTo>
                  <a:lnTo>
                    <a:pt x="19564" y="4206"/>
                  </a:lnTo>
                  <a:lnTo>
                    <a:pt x="19648" y="4165"/>
                  </a:lnTo>
                  <a:lnTo>
                    <a:pt x="19669" y="4102"/>
                  </a:lnTo>
                  <a:lnTo>
                    <a:pt x="19627" y="4060"/>
                  </a:lnTo>
                  <a:lnTo>
                    <a:pt x="19627" y="3997"/>
                  </a:lnTo>
                  <a:lnTo>
                    <a:pt x="19313" y="3997"/>
                  </a:lnTo>
                  <a:lnTo>
                    <a:pt x="19125" y="3955"/>
                  </a:lnTo>
                  <a:lnTo>
                    <a:pt x="19020" y="3893"/>
                  </a:lnTo>
                  <a:lnTo>
                    <a:pt x="18937" y="3872"/>
                  </a:lnTo>
                  <a:lnTo>
                    <a:pt x="18685" y="3893"/>
                  </a:lnTo>
                  <a:lnTo>
                    <a:pt x="18560" y="3872"/>
                  </a:lnTo>
                  <a:lnTo>
                    <a:pt x="18455" y="3830"/>
                  </a:lnTo>
                  <a:lnTo>
                    <a:pt x="18288" y="3830"/>
                  </a:lnTo>
                  <a:lnTo>
                    <a:pt x="18162" y="3851"/>
                  </a:lnTo>
                  <a:lnTo>
                    <a:pt x="18100" y="3830"/>
                  </a:lnTo>
                  <a:lnTo>
                    <a:pt x="17995" y="3788"/>
                  </a:lnTo>
                  <a:lnTo>
                    <a:pt x="17932" y="3788"/>
                  </a:lnTo>
                  <a:lnTo>
                    <a:pt x="17849" y="3893"/>
                  </a:lnTo>
                  <a:lnTo>
                    <a:pt x="17849" y="3976"/>
                  </a:lnTo>
                  <a:lnTo>
                    <a:pt x="17765" y="4039"/>
                  </a:lnTo>
                  <a:lnTo>
                    <a:pt x="17744" y="4039"/>
                  </a:lnTo>
                  <a:lnTo>
                    <a:pt x="17765" y="3955"/>
                  </a:lnTo>
                  <a:lnTo>
                    <a:pt x="17765" y="3934"/>
                  </a:lnTo>
                  <a:lnTo>
                    <a:pt x="17681" y="3934"/>
                  </a:lnTo>
                  <a:lnTo>
                    <a:pt x="17451" y="3997"/>
                  </a:lnTo>
                  <a:lnTo>
                    <a:pt x="17305" y="4060"/>
                  </a:lnTo>
                  <a:lnTo>
                    <a:pt x="17221" y="4144"/>
                  </a:lnTo>
                  <a:lnTo>
                    <a:pt x="17158" y="4186"/>
                  </a:lnTo>
                  <a:lnTo>
                    <a:pt x="17053" y="4186"/>
                  </a:lnTo>
                  <a:lnTo>
                    <a:pt x="16949" y="4206"/>
                  </a:lnTo>
                  <a:lnTo>
                    <a:pt x="16886" y="4269"/>
                  </a:lnTo>
                  <a:lnTo>
                    <a:pt x="16781" y="4290"/>
                  </a:lnTo>
                  <a:lnTo>
                    <a:pt x="16698" y="4374"/>
                  </a:lnTo>
                  <a:lnTo>
                    <a:pt x="16698" y="4458"/>
                  </a:lnTo>
                  <a:lnTo>
                    <a:pt x="16635" y="4520"/>
                  </a:lnTo>
                  <a:lnTo>
                    <a:pt x="16593" y="4520"/>
                  </a:lnTo>
                  <a:lnTo>
                    <a:pt x="16530" y="4458"/>
                  </a:lnTo>
                  <a:lnTo>
                    <a:pt x="16530" y="4374"/>
                  </a:lnTo>
                  <a:lnTo>
                    <a:pt x="16509" y="4290"/>
                  </a:lnTo>
                  <a:lnTo>
                    <a:pt x="16468" y="4248"/>
                  </a:lnTo>
                  <a:lnTo>
                    <a:pt x="16468" y="4165"/>
                  </a:lnTo>
                  <a:lnTo>
                    <a:pt x="16509" y="4081"/>
                  </a:lnTo>
                  <a:lnTo>
                    <a:pt x="16593" y="4081"/>
                  </a:lnTo>
                  <a:lnTo>
                    <a:pt x="16698" y="4039"/>
                  </a:lnTo>
                  <a:lnTo>
                    <a:pt x="16802" y="4039"/>
                  </a:lnTo>
                  <a:lnTo>
                    <a:pt x="16886" y="3997"/>
                  </a:lnTo>
                  <a:lnTo>
                    <a:pt x="16928" y="3955"/>
                  </a:lnTo>
                  <a:lnTo>
                    <a:pt x="17012" y="3934"/>
                  </a:lnTo>
                  <a:lnTo>
                    <a:pt x="17158" y="3893"/>
                  </a:lnTo>
                  <a:lnTo>
                    <a:pt x="17263" y="3851"/>
                  </a:lnTo>
                  <a:lnTo>
                    <a:pt x="17346" y="3788"/>
                  </a:lnTo>
                  <a:lnTo>
                    <a:pt x="17472" y="3788"/>
                  </a:lnTo>
                  <a:lnTo>
                    <a:pt x="17556" y="3746"/>
                  </a:lnTo>
                  <a:lnTo>
                    <a:pt x="17577" y="3662"/>
                  </a:lnTo>
                  <a:lnTo>
                    <a:pt x="17556" y="3621"/>
                  </a:lnTo>
                  <a:lnTo>
                    <a:pt x="17514" y="3558"/>
                  </a:lnTo>
                  <a:lnTo>
                    <a:pt x="17346" y="3558"/>
                  </a:lnTo>
                  <a:lnTo>
                    <a:pt x="17346" y="3516"/>
                  </a:lnTo>
                  <a:lnTo>
                    <a:pt x="17430" y="3516"/>
                  </a:lnTo>
                  <a:lnTo>
                    <a:pt x="17451" y="3537"/>
                  </a:lnTo>
                  <a:lnTo>
                    <a:pt x="17535" y="3537"/>
                  </a:lnTo>
                  <a:lnTo>
                    <a:pt x="17577" y="3558"/>
                  </a:lnTo>
                  <a:lnTo>
                    <a:pt x="17618" y="3662"/>
                  </a:lnTo>
                  <a:lnTo>
                    <a:pt x="17639" y="3662"/>
                  </a:lnTo>
                  <a:lnTo>
                    <a:pt x="17660" y="3641"/>
                  </a:lnTo>
                  <a:lnTo>
                    <a:pt x="17765" y="3579"/>
                  </a:lnTo>
                  <a:lnTo>
                    <a:pt x="17890" y="3621"/>
                  </a:lnTo>
                  <a:lnTo>
                    <a:pt x="17974" y="3579"/>
                  </a:lnTo>
                  <a:lnTo>
                    <a:pt x="18058" y="3537"/>
                  </a:lnTo>
                  <a:lnTo>
                    <a:pt x="18141" y="3516"/>
                  </a:lnTo>
                  <a:lnTo>
                    <a:pt x="18246" y="3537"/>
                  </a:lnTo>
                  <a:lnTo>
                    <a:pt x="18351" y="3537"/>
                  </a:lnTo>
                  <a:lnTo>
                    <a:pt x="18455" y="3516"/>
                  </a:lnTo>
                  <a:lnTo>
                    <a:pt x="18518" y="3537"/>
                  </a:lnTo>
                  <a:lnTo>
                    <a:pt x="18602" y="3579"/>
                  </a:lnTo>
                  <a:lnTo>
                    <a:pt x="18769" y="3579"/>
                  </a:lnTo>
                  <a:lnTo>
                    <a:pt x="18790" y="3621"/>
                  </a:lnTo>
                  <a:lnTo>
                    <a:pt x="18832" y="3621"/>
                  </a:lnTo>
                  <a:lnTo>
                    <a:pt x="18978" y="3725"/>
                  </a:lnTo>
                  <a:lnTo>
                    <a:pt x="19041" y="3746"/>
                  </a:lnTo>
                  <a:lnTo>
                    <a:pt x="19146" y="3725"/>
                  </a:lnTo>
                  <a:lnTo>
                    <a:pt x="19209" y="3662"/>
                  </a:lnTo>
                  <a:lnTo>
                    <a:pt x="19292" y="3662"/>
                  </a:lnTo>
                  <a:lnTo>
                    <a:pt x="19355" y="3683"/>
                  </a:lnTo>
                  <a:lnTo>
                    <a:pt x="19439" y="3683"/>
                  </a:lnTo>
                  <a:lnTo>
                    <a:pt x="19502" y="3725"/>
                  </a:lnTo>
                  <a:lnTo>
                    <a:pt x="19564" y="3725"/>
                  </a:lnTo>
                  <a:lnTo>
                    <a:pt x="19732" y="3662"/>
                  </a:lnTo>
                  <a:lnTo>
                    <a:pt x="19815" y="3621"/>
                  </a:lnTo>
                  <a:lnTo>
                    <a:pt x="19920" y="3621"/>
                  </a:lnTo>
                  <a:lnTo>
                    <a:pt x="19983" y="3662"/>
                  </a:lnTo>
                  <a:lnTo>
                    <a:pt x="20046" y="3662"/>
                  </a:lnTo>
                  <a:lnTo>
                    <a:pt x="20129" y="3621"/>
                  </a:lnTo>
                  <a:lnTo>
                    <a:pt x="20234" y="3641"/>
                  </a:lnTo>
                  <a:lnTo>
                    <a:pt x="20338" y="3641"/>
                  </a:lnTo>
                  <a:lnTo>
                    <a:pt x="20338" y="3579"/>
                  </a:lnTo>
                  <a:lnTo>
                    <a:pt x="20276" y="3558"/>
                  </a:lnTo>
                  <a:lnTo>
                    <a:pt x="20276" y="3516"/>
                  </a:lnTo>
                  <a:lnTo>
                    <a:pt x="20297" y="3474"/>
                  </a:lnTo>
                  <a:lnTo>
                    <a:pt x="20359" y="3537"/>
                  </a:lnTo>
                  <a:lnTo>
                    <a:pt x="20401" y="3579"/>
                  </a:lnTo>
                  <a:lnTo>
                    <a:pt x="20485" y="3579"/>
                  </a:lnTo>
                  <a:lnTo>
                    <a:pt x="20548" y="3558"/>
                  </a:lnTo>
                  <a:lnTo>
                    <a:pt x="20694" y="3558"/>
                  </a:lnTo>
                  <a:lnTo>
                    <a:pt x="20903" y="3474"/>
                  </a:lnTo>
                  <a:lnTo>
                    <a:pt x="21008" y="3432"/>
                  </a:lnTo>
                  <a:lnTo>
                    <a:pt x="21029" y="3369"/>
                  </a:lnTo>
                  <a:lnTo>
                    <a:pt x="21029" y="3328"/>
                  </a:lnTo>
                  <a:lnTo>
                    <a:pt x="21092" y="3307"/>
                  </a:lnTo>
                  <a:lnTo>
                    <a:pt x="21134" y="3328"/>
                  </a:lnTo>
                  <a:lnTo>
                    <a:pt x="21217" y="3307"/>
                  </a:lnTo>
                  <a:lnTo>
                    <a:pt x="21322" y="3223"/>
                  </a:lnTo>
                  <a:lnTo>
                    <a:pt x="21406" y="3202"/>
                  </a:lnTo>
                  <a:lnTo>
                    <a:pt x="21406" y="3118"/>
                  </a:lnTo>
                  <a:lnTo>
                    <a:pt x="21426" y="3056"/>
                  </a:lnTo>
                  <a:lnTo>
                    <a:pt x="21489" y="3035"/>
                  </a:lnTo>
                  <a:lnTo>
                    <a:pt x="21489" y="2930"/>
                  </a:lnTo>
                  <a:lnTo>
                    <a:pt x="21447" y="2888"/>
                  </a:lnTo>
                  <a:lnTo>
                    <a:pt x="21343" y="2805"/>
                  </a:lnTo>
                  <a:lnTo>
                    <a:pt x="21217" y="2742"/>
                  </a:lnTo>
                  <a:lnTo>
                    <a:pt x="21113" y="2637"/>
                  </a:lnTo>
                  <a:lnTo>
                    <a:pt x="21092" y="2574"/>
                  </a:lnTo>
                  <a:lnTo>
                    <a:pt x="21029" y="2512"/>
                  </a:lnTo>
                  <a:lnTo>
                    <a:pt x="20882" y="2491"/>
                  </a:lnTo>
                  <a:lnTo>
                    <a:pt x="20799" y="2407"/>
                  </a:lnTo>
                  <a:lnTo>
                    <a:pt x="20778" y="2323"/>
                  </a:lnTo>
                  <a:lnTo>
                    <a:pt x="20715" y="2302"/>
                  </a:lnTo>
                  <a:lnTo>
                    <a:pt x="20694" y="2323"/>
                  </a:lnTo>
                  <a:lnTo>
                    <a:pt x="20610" y="2365"/>
                  </a:lnTo>
                  <a:lnTo>
                    <a:pt x="20569" y="2323"/>
                  </a:lnTo>
                  <a:lnTo>
                    <a:pt x="20548" y="2261"/>
                  </a:lnTo>
                  <a:lnTo>
                    <a:pt x="20485" y="2198"/>
                  </a:lnTo>
                  <a:lnTo>
                    <a:pt x="20255" y="2198"/>
                  </a:lnTo>
                  <a:lnTo>
                    <a:pt x="20171" y="2219"/>
                  </a:lnTo>
                  <a:lnTo>
                    <a:pt x="20171" y="2302"/>
                  </a:lnTo>
                  <a:lnTo>
                    <a:pt x="20171" y="2365"/>
                  </a:lnTo>
                  <a:lnTo>
                    <a:pt x="20129" y="2302"/>
                  </a:lnTo>
                  <a:lnTo>
                    <a:pt x="20066" y="2302"/>
                  </a:lnTo>
                  <a:lnTo>
                    <a:pt x="19920" y="2386"/>
                  </a:lnTo>
                  <a:lnTo>
                    <a:pt x="19836" y="2407"/>
                  </a:lnTo>
                  <a:lnTo>
                    <a:pt x="19711" y="2365"/>
                  </a:lnTo>
                  <a:lnTo>
                    <a:pt x="19606" y="2365"/>
                  </a:lnTo>
                  <a:lnTo>
                    <a:pt x="19522" y="2323"/>
                  </a:lnTo>
                  <a:lnTo>
                    <a:pt x="19460" y="2261"/>
                  </a:lnTo>
                  <a:lnTo>
                    <a:pt x="19460" y="2177"/>
                  </a:lnTo>
                  <a:lnTo>
                    <a:pt x="19522" y="2177"/>
                  </a:lnTo>
                  <a:lnTo>
                    <a:pt x="19564" y="2219"/>
                  </a:lnTo>
                  <a:lnTo>
                    <a:pt x="19669" y="2261"/>
                  </a:lnTo>
                  <a:lnTo>
                    <a:pt x="19711" y="2219"/>
                  </a:lnTo>
                  <a:lnTo>
                    <a:pt x="19711" y="2177"/>
                  </a:lnTo>
                  <a:lnTo>
                    <a:pt x="19606" y="2093"/>
                  </a:lnTo>
                  <a:lnTo>
                    <a:pt x="19606" y="2009"/>
                  </a:lnTo>
                  <a:lnTo>
                    <a:pt x="19627" y="1989"/>
                  </a:lnTo>
                  <a:lnTo>
                    <a:pt x="19669" y="2072"/>
                  </a:lnTo>
                  <a:lnTo>
                    <a:pt x="19774" y="2114"/>
                  </a:lnTo>
                  <a:lnTo>
                    <a:pt x="19857" y="2156"/>
                  </a:lnTo>
                  <a:lnTo>
                    <a:pt x="20025" y="2093"/>
                  </a:lnTo>
                  <a:lnTo>
                    <a:pt x="20171" y="1968"/>
                  </a:lnTo>
                  <a:lnTo>
                    <a:pt x="20171" y="1884"/>
                  </a:lnTo>
                  <a:lnTo>
                    <a:pt x="20150" y="1842"/>
                  </a:lnTo>
                  <a:lnTo>
                    <a:pt x="20087" y="1800"/>
                  </a:lnTo>
                  <a:lnTo>
                    <a:pt x="20087" y="1758"/>
                  </a:lnTo>
                  <a:lnTo>
                    <a:pt x="20150" y="1696"/>
                  </a:lnTo>
                  <a:lnTo>
                    <a:pt x="20150" y="1675"/>
                  </a:lnTo>
                  <a:lnTo>
                    <a:pt x="20046" y="1591"/>
                  </a:lnTo>
                  <a:lnTo>
                    <a:pt x="19962" y="1486"/>
                  </a:lnTo>
                  <a:lnTo>
                    <a:pt x="19920" y="1465"/>
                  </a:lnTo>
                  <a:lnTo>
                    <a:pt x="19857" y="1486"/>
                  </a:lnTo>
                  <a:lnTo>
                    <a:pt x="19774" y="1570"/>
                  </a:lnTo>
                  <a:lnTo>
                    <a:pt x="19627" y="1654"/>
                  </a:lnTo>
                  <a:lnTo>
                    <a:pt x="19439" y="1654"/>
                  </a:lnTo>
                  <a:lnTo>
                    <a:pt x="19334" y="1737"/>
                  </a:lnTo>
                  <a:lnTo>
                    <a:pt x="19292" y="1737"/>
                  </a:lnTo>
                  <a:lnTo>
                    <a:pt x="19229" y="1675"/>
                  </a:lnTo>
                  <a:lnTo>
                    <a:pt x="19188" y="1654"/>
                  </a:lnTo>
                  <a:lnTo>
                    <a:pt x="19104" y="1675"/>
                  </a:lnTo>
                  <a:lnTo>
                    <a:pt x="19020" y="1696"/>
                  </a:lnTo>
                  <a:lnTo>
                    <a:pt x="18937" y="1675"/>
                  </a:lnTo>
                  <a:lnTo>
                    <a:pt x="18874" y="1633"/>
                  </a:lnTo>
                  <a:lnTo>
                    <a:pt x="18769" y="1591"/>
                  </a:lnTo>
                  <a:lnTo>
                    <a:pt x="18685" y="1549"/>
                  </a:lnTo>
                  <a:lnTo>
                    <a:pt x="18581" y="1528"/>
                  </a:lnTo>
                  <a:lnTo>
                    <a:pt x="18476" y="1445"/>
                  </a:lnTo>
                  <a:lnTo>
                    <a:pt x="18309" y="1424"/>
                  </a:lnTo>
                  <a:lnTo>
                    <a:pt x="18100" y="1445"/>
                  </a:lnTo>
                  <a:lnTo>
                    <a:pt x="17995" y="1465"/>
                  </a:lnTo>
                  <a:lnTo>
                    <a:pt x="17849" y="1528"/>
                  </a:lnTo>
                  <a:lnTo>
                    <a:pt x="17723" y="1549"/>
                  </a:lnTo>
                  <a:lnTo>
                    <a:pt x="17577" y="1570"/>
                  </a:lnTo>
                  <a:lnTo>
                    <a:pt x="17472" y="1549"/>
                  </a:lnTo>
                  <a:lnTo>
                    <a:pt x="17346" y="1570"/>
                  </a:lnTo>
                  <a:lnTo>
                    <a:pt x="17325" y="1591"/>
                  </a:lnTo>
                  <a:lnTo>
                    <a:pt x="17346" y="1737"/>
                  </a:lnTo>
                  <a:lnTo>
                    <a:pt x="17346" y="1800"/>
                  </a:lnTo>
                  <a:lnTo>
                    <a:pt x="17305" y="1800"/>
                  </a:lnTo>
                  <a:lnTo>
                    <a:pt x="17242" y="1779"/>
                  </a:lnTo>
                  <a:lnTo>
                    <a:pt x="17158" y="1654"/>
                  </a:lnTo>
                  <a:lnTo>
                    <a:pt x="17137" y="1570"/>
                  </a:lnTo>
                  <a:lnTo>
                    <a:pt x="17095" y="1549"/>
                  </a:lnTo>
                  <a:lnTo>
                    <a:pt x="17012" y="1570"/>
                  </a:lnTo>
                  <a:lnTo>
                    <a:pt x="16698" y="1570"/>
                  </a:lnTo>
                  <a:cubicBezTo>
                    <a:pt x="16698" y="1570"/>
                    <a:pt x="16593" y="1633"/>
                    <a:pt x="16572" y="1633"/>
                  </a:cubicBezTo>
                  <a:lnTo>
                    <a:pt x="16489" y="1737"/>
                  </a:lnTo>
                  <a:lnTo>
                    <a:pt x="16426" y="1884"/>
                  </a:lnTo>
                  <a:lnTo>
                    <a:pt x="16384" y="1968"/>
                  </a:lnTo>
                  <a:lnTo>
                    <a:pt x="16363" y="1968"/>
                  </a:lnTo>
                  <a:lnTo>
                    <a:pt x="16363" y="1905"/>
                  </a:lnTo>
                  <a:lnTo>
                    <a:pt x="16405" y="1800"/>
                  </a:lnTo>
                  <a:lnTo>
                    <a:pt x="16426" y="1737"/>
                  </a:lnTo>
                  <a:lnTo>
                    <a:pt x="16405" y="1696"/>
                  </a:lnTo>
                  <a:lnTo>
                    <a:pt x="16321" y="1737"/>
                  </a:lnTo>
                  <a:lnTo>
                    <a:pt x="16196" y="1737"/>
                  </a:lnTo>
                  <a:lnTo>
                    <a:pt x="16154" y="1779"/>
                  </a:lnTo>
                  <a:lnTo>
                    <a:pt x="16154" y="1842"/>
                  </a:lnTo>
                  <a:lnTo>
                    <a:pt x="16112" y="1884"/>
                  </a:lnTo>
                  <a:lnTo>
                    <a:pt x="16112" y="1989"/>
                  </a:lnTo>
                  <a:lnTo>
                    <a:pt x="16049" y="2009"/>
                  </a:lnTo>
                  <a:lnTo>
                    <a:pt x="16007" y="1968"/>
                  </a:lnTo>
                  <a:lnTo>
                    <a:pt x="16007" y="1905"/>
                  </a:lnTo>
                  <a:lnTo>
                    <a:pt x="16070" y="1842"/>
                  </a:lnTo>
                  <a:lnTo>
                    <a:pt x="16070" y="1675"/>
                  </a:lnTo>
                  <a:lnTo>
                    <a:pt x="16091" y="1591"/>
                  </a:lnTo>
                  <a:lnTo>
                    <a:pt x="16300" y="1465"/>
                  </a:lnTo>
                  <a:lnTo>
                    <a:pt x="16426" y="1382"/>
                  </a:lnTo>
                  <a:lnTo>
                    <a:pt x="16593" y="1382"/>
                  </a:lnTo>
                  <a:lnTo>
                    <a:pt x="16719" y="1424"/>
                  </a:lnTo>
                  <a:lnTo>
                    <a:pt x="16823" y="1424"/>
                  </a:lnTo>
                  <a:lnTo>
                    <a:pt x="16844" y="1382"/>
                  </a:lnTo>
                  <a:lnTo>
                    <a:pt x="17116" y="1382"/>
                  </a:lnTo>
                  <a:lnTo>
                    <a:pt x="17200" y="1340"/>
                  </a:lnTo>
                  <a:lnTo>
                    <a:pt x="17221" y="1256"/>
                  </a:lnTo>
                  <a:lnTo>
                    <a:pt x="17158" y="1256"/>
                  </a:lnTo>
                  <a:lnTo>
                    <a:pt x="17095" y="1173"/>
                  </a:lnTo>
                  <a:lnTo>
                    <a:pt x="17095" y="1068"/>
                  </a:lnTo>
                  <a:lnTo>
                    <a:pt x="17200" y="1005"/>
                  </a:lnTo>
                  <a:lnTo>
                    <a:pt x="17263" y="963"/>
                  </a:lnTo>
                  <a:lnTo>
                    <a:pt x="17346" y="963"/>
                  </a:lnTo>
                  <a:lnTo>
                    <a:pt x="17367" y="1026"/>
                  </a:lnTo>
                  <a:lnTo>
                    <a:pt x="17346" y="1068"/>
                  </a:lnTo>
                  <a:lnTo>
                    <a:pt x="17305" y="1068"/>
                  </a:lnTo>
                  <a:lnTo>
                    <a:pt x="17346" y="1152"/>
                  </a:lnTo>
                  <a:lnTo>
                    <a:pt x="17346" y="1256"/>
                  </a:lnTo>
                  <a:lnTo>
                    <a:pt x="17409" y="1340"/>
                  </a:lnTo>
                  <a:lnTo>
                    <a:pt x="17556" y="1340"/>
                  </a:lnTo>
                  <a:lnTo>
                    <a:pt x="17681" y="1277"/>
                  </a:lnTo>
                  <a:lnTo>
                    <a:pt x="17765" y="1277"/>
                  </a:lnTo>
                  <a:lnTo>
                    <a:pt x="17869" y="1319"/>
                  </a:lnTo>
                  <a:lnTo>
                    <a:pt x="17953" y="1277"/>
                  </a:lnTo>
                  <a:lnTo>
                    <a:pt x="18141" y="1214"/>
                  </a:lnTo>
                  <a:lnTo>
                    <a:pt x="18267" y="1214"/>
                  </a:lnTo>
                  <a:lnTo>
                    <a:pt x="18309" y="1256"/>
                  </a:lnTo>
                  <a:lnTo>
                    <a:pt x="18393" y="1256"/>
                  </a:lnTo>
                  <a:lnTo>
                    <a:pt x="18455" y="1214"/>
                  </a:lnTo>
                  <a:lnTo>
                    <a:pt x="18581" y="1214"/>
                  </a:lnTo>
                  <a:lnTo>
                    <a:pt x="18685" y="1256"/>
                  </a:lnTo>
                  <a:lnTo>
                    <a:pt x="18769" y="1256"/>
                  </a:lnTo>
                  <a:lnTo>
                    <a:pt x="18853" y="1277"/>
                  </a:lnTo>
                  <a:lnTo>
                    <a:pt x="19083" y="1382"/>
                  </a:lnTo>
                  <a:lnTo>
                    <a:pt x="19209" y="1382"/>
                  </a:lnTo>
                  <a:lnTo>
                    <a:pt x="19313" y="1361"/>
                  </a:lnTo>
                  <a:lnTo>
                    <a:pt x="19439" y="1361"/>
                  </a:lnTo>
                  <a:lnTo>
                    <a:pt x="19481" y="1277"/>
                  </a:lnTo>
                  <a:lnTo>
                    <a:pt x="19564" y="1235"/>
                  </a:lnTo>
                  <a:lnTo>
                    <a:pt x="19669" y="1256"/>
                  </a:lnTo>
                  <a:lnTo>
                    <a:pt x="19774" y="1256"/>
                  </a:lnTo>
                  <a:lnTo>
                    <a:pt x="19836" y="1173"/>
                  </a:lnTo>
                  <a:lnTo>
                    <a:pt x="19836" y="1131"/>
                  </a:lnTo>
                  <a:lnTo>
                    <a:pt x="19669" y="1026"/>
                  </a:lnTo>
                  <a:lnTo>
                    <a:pt x="19585" y="963"/>
                  </a:lnTo>
                  <a:lnTo>
                    <a:pt x="19543" y="859"/>
                  </a:lnTo>
                  <a:lnTo>
                    <a:pt x="19439" y="796"/>
                  </a:lnTo>
                  <a:lnTo>
                    <a:pt x="19250" y="733"/>
                  </a:lnTo>
                  <a:lnTo>
                    <a:pt x="19167" y="649"/>
                  </a:lnTo>
                  <a:lnTo>
                    <a:pt x="19062" y="628"/>
                  </a:lnTo>
                  <a:lnTo>
                    <a:pt x="18957" y="649"/>
                  </a:lnTo>
                  <a:lnTo>
                    <a:pt x="18916" y="608"/>
                  </a:lnTo>
                  <a:lnTo>
                    <a:pt x="18853" y="545"/>
                  </a:lnTo>
                  <a:lnTo>
                    <a:pt x="18727" y="587"/>
                  </a:lnTo>
                  <a:lnTo>
                    <a:pt x="18685" y="524"/>
                  </a:lnTo>
                  <a:lnTo>
                    <a:pt x="18455" y="503"/>
                  </a:lnTo>
                  <a:lnTo>
                    <a:pt x="18309" y="398"/>
                  </a:lnTo>
                  <a:lnTo>
                    <a:pt x="18246" y="398"/>
                  </a:lnTo>
                  <a:lnTo>
                    <a:pt x="18058" y="294"/>
                  </a:lnTo>
                  <a:lnTo>
                    <a:pt x="17995" y="294"/>
                  </a:lnTo>
                  <a:lnTo>
                    <a:pt x="17995" y="315"/>
                  </a:lnTo>
                  <a:lnTo>
                    <a:pt x="17932" y="336"/>
                  </a:lnTo>
                  <a:lnTo>
                    <a:pt x="17765" y="231"/>
                  </a:lnTo>
                  <a:lnTo>
                    <a:pt x="17744" y="168"/>
                  </a:lnTo>
                  <a:lnTo>
                    <a:pt x="17681" y="105"/>
                  </a:lnTo>
                  <a:lnTo>
                    <a:pt x="17597" y="126"/>
                  </a:lnTo>
                  <a:lnTo>
                    <a:pt x="17535" y="126"/>
                  </a:lnTo>
                  <a:lnTo>
                    <a:pt x="17472" y="84"/>
                  </a:lnTo>
                  <a:lnTo>
                    <a:pt x="17263" y="84"/>
                  </a:lnTo>
                  <a:lnTo>
                    <a:pt x="17158" y="22"/>
                  </a:lnTo>
                  <a:lnTo>
                    <a:pt x="17074" y="84"/>
                  </a:lnTo>
                  <a:lnTo>
                    <a:pt x="17033" y="84"/>
                  </a:lnTo>
                  <a:lnTo>
                    <a:pt x="17012" y="64"/>
                  </a:lnTo>
                  <a:lnTo>
                    <a:pt x="16928" y="1"/>
                  </a:lnTo>
                  <a:lnTo>
                    <a:pt x="16740" y="22"/>
                  </a:lnTo>
                  <a:lnTo>
                    <a:pt x="166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6B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38" name="Google Shape;12080;p43">
              <a:extLst>
                <a:ext uri="{FF2B5EF4-FFF2-40B4-BE49-F238E27FC236}">
                  <a16:creationId xmlns:a16="http://schemas.microsoft.com/office/drawing/2014/main" id="{8C2BF7EC-7CF5-625B-2CF3-35E2FF2BC2C1}"/>
                </a:ext>
              </a:extLst>
            </p:cNvPr>
            <p:cNvGrpSpPr/>
            <p:nvPr/>
          </p:nvGrpSpPr>
          <p:grpSpPr>
            <a:xfrm>
              <a:off x="2905224" y="2311071"/>
              <a:ext cx="596721" cy="528992"/>
              <a:chOff x="1922950" y="1410350"/>
              <a:chExt cx="1252825" cy="1162875"/>
            </a:xfrm>
          </p:grpSpPr>
          <p:sp>
            <p:nvSpPr>
              <p:cNvPr id="228" name="Google Shape;12081;p43">
                <a:extLst>
                  <a:ext uri="{FF2B5EF4-FFF2-40B4-BE49-F238E27FC236}">
                    <a16:creationId xmlns:a16="http://schemas.microsoft.com/office/drawing/2014/main" id="{E4DDF21A-DBA4-294C-02BD-E8782D392CD4}"/>
                  </a:ext>
                </a:extLst>
              </p:cNvPr>
              <p:cNvSpPr/>
              <p:nvPr/>
            </p:nvSpPr>
            <p:spPr>
              <a:xfrm>
                <a:off x="1988325" y="2333100"/>
                <a:ext cx="52325" cy="65925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2637" extrusionOk="0">
                    <a:moveTo>
                      <a:pt x="210" y="0"/>
                    </a:moveTo>
                    <a:lnTo>
                      <a:pt x="189" y="63"/>
                    </a:lnTo>
                    <a:lnTo>
                      <a:pt x="1" y="21"/>
                    </a:lnTo>
                    <a:lnTo>
                      <a:pt x="63" y="188"/>
                    </a:lnTo>
                    <a:lnTo>
                      <a:pt x="105" y="209"/>
                    </a:lnTo>
                    <a:lnTo>
                      <a:pt x="168" y="335"/>
                    </a:lnTo>
                    <a:lnTo>
                      <a:pt x="440" y="377"/>
                    </a:lnTo>
                    <a:lnTo>
                      <a:pt x="314" y="439"/>
                    </a:lnTo>
                    <a:lnTo>
                      <a:pt x="189" y="439"/>
                    </a:lnTo>
                    <a:lnTo>
                      <a:pt x="105" y="544"/>
                    </a:lnTo>
                    <a:lnTo>
                      <a:pt x="168" y="607"/>
                    </a:lnTo>
                    <a:lnTo>
                      <a:pt x="105" y="732"/>
                    </a:lnTo>
                    <a:lnTo>
                      <a:pt x="126" y="774"/>
                    </a:lnTo>
                    <a:lnTo>
                      <a:pt x="273" y="732"/>
                    </a:lnTo>
                    <a:lnTo>
                      <a:pt x="293" y="837"/>
                    </a:lnTo>
                    <a:lnTo>
                      <a:pt x="419" y="837"/>
                    </a:lnTo>
                    <a:lnTo>
                      <a:pt x="419" y="942"/>
                    </a:lnTo>
                    <a:lnTo>
                      <a:pt x="524" y="1025"/>
                    </a:lnTo>
                    <a:lnTo>
                      <a:pt x="649" y="963"/>
                    </a:lnTo>
                    <a:lnTo>
                      <a:pt x="503" y="1130"/>
                    </a:lnTo>
                    <a:lnTo>
                      <a:pt x="545" y="1276"/>
                    </a:lnTo>
                    <a:lnTo>
                      <a:pt x="649" y="1255"/>
                    </a:lnTo>
                    <a:lnTo>
                      <a:pt x="649" y="1151"/>
                    </a:lnTo>
                    <a:lnTo>
                      <a:pt x="817" y="1109"/>
                    </a:lnTo>
                    <a:lnTo>
                      <a:pt x="817" y="1109"/>
                    </a:lnTo>
                    <a:lnTo>
                      <a:pt x="754" y="1235"/>
                    </a:lnTo>
                    <a:lnTo>
                      <a:pt x="691" y="1339"/>
                    </a:lnTo>
                    <a:lnTo>
                      <a:pt x="691" y="1423"/>
                    </a:lnTo>
                    <a:lnTo>
                      <a:pt x="733" y="1423"/>
                    </a:lnTo>
                    <a:lnTo>
                      <a:pt x="796" y="1548"/>
                    </a:lnTo>
                    <a:lnTo>
                      <a:pt x="963" y="1528"/>
                    </a:lnTo>
                    <a:lnTo>
                      <a:pt x="963" y="1632"/>
                    </a:lnTo>
                    <a:lnTo>
                      <a:pt x="1047" y="1632"/>
                    </a:lnTo>
                    <a:lnTo>
                      <a:pt x="1068" y="1737"/>
                    </a:lnTo>
                    <a:lnTo>
                      <a:pt x="1047" y="1820"/>
                    </a:lnTo>
                    <a:lnTo>
                      <a:pt x="1172" y="1967"/>
                    </a:lnTo>
                    <a:lnTo>
                      <a:pt x="1256" y="1883"/>
                    </a:lnTo>
                    <a:lnTo>
                      <a:pt x="1319" y="1946"/>
                    </a:lnTo>
                    <a:lnTo>
                      <a:pt x="1423" y="1946"/>
                    </a:lnTo>
                    <a:lnTo>
                      <a:pt x="1256" y="2113"/>
                    </a:lnTo>
                    <a:lnTo>
                      <a:pt x="1465" y="2323"/>
                    </a:lnTo>
                    <a:lnTo>
                      <a:pt x="1549" y="2364"/>
                    </a:lnTo>
                    <a:lnTo>
                      <a:pt x="1591" y="2427"/>
                    </a:lnTo>
                    <a:lnTo>
                      <a:pt x="1946" y="2636"/>
                    </a:lnTo>
                    <a:lnTo>
                      <a:pt x="1988" y="2595"/>
                    </a:lnTo>
                    <a:lnTo>
                      <a:pt x="2093" y="2616"/>
                    </a:lnTo>
                    <a:lnTo>
                      <a:pt x="2009" y="2302"/>
                    </a:lnTo>
                    <a:lnTo>
                      <a:pt x="2051" y="2176"/>
                    </a:lnTo>
                    <a:lnTo>
                      <a:pt x="2009" y="2072"/>
                    </a:lnTo>
                    <a:lnTo>
                      <a:pt x="2009" y="1820"/>
                    </a:lnTo>
                    <a:lnTo>
                      <a:pt x="1946" y="1695"/>
                    </a:lnTo>
                    <a:lnTo>
                      <a:pt x="1674" y="1548"/>
                    </a:lnTo>
                    <a:lnTo>
                      <a:pt x="1653" y="1214"/>
                    </a:lnTo>
                    <a:lnTo>
                      <a:pt x="1528" y="1004"/>
                    </a:lnTo>
                    <a:lnTo>
                      <a:pt x="1486" y="774"/>
                    </a:lnTo>
                    <a:lnTo>
                      <a:pt x="1444" y="732"/>
                    </a:lnTo>
                    <a:lnTo>
                      <a:pt x="1319" y="711"/>
                    </a:lnTo>
                    <a:lnTo>
                      <a:pt x="1130" y="607"/>
                    </a:lnTo>
                    <a:lnTo>
                      <a:pt x="1005" y="607"/>
                    </a:lnTo>
                    <a:lnTo>
                      <a:pt x="858" y="544"/>
                    </a:lnTo>
                    <a:lnTo>
                      <a:pt x="817" y="439"/>
                    </a:lnTo>
                    <a:lnTo>
                      <a:pt x="628" y="377"/>
                    </a:lnTo>
                    <a:lnTo>
                      <a:pt x="545" y="251"/>
                    </a:lnTo>
                    <a:lnTo>
                      <a:pt x="524" y="167"/>
                    </a:lnTo>
                    <a:lnTo>
                      <a:pt x="398" y="167"/>
                    </a:lnTo>
                    <a:lnTo>
                      <a:pt x="314" y="21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9" name="Google Shape;12082;p43">
                <a:extLst>
                  <a:ext uri="{FF2B5EF4-FFF2-40B4-BE49-F238E27FC236}">
                    <a16:creationId xmlns:a16="http://schemas.microsoft.com/office/drawing/2014/main" id="{47029528-403A-215F-FEE9-8624608EDFF6}"/>
                  </a:ext>
                </a:extLst>
              </p:cNvPr>
              <p:cNvSpPr/>
              <p:nvPr/>
            </p:nvSpPr>
            <p:spPr>
              <a:xfrm>
                <a:off x="1953800" y="2242075"/>
                <a:ext cx="23050" cy="54425"/>
              </a:xfrm>
              <a:custGeom>
                <a:avLst/>
                <a:gdLst/>
                <a:ahLst/>
                <a:cxnLst/>
                <a:rect l="l" t="t" r="r" b="b"/>
                <a:pathLst>
                  <a:path w="922" h="2177" extrusionOk="0">
                    <a:moveTo>
                      <a:pt x="210" y="0"/>
                    </a:moveTo>
                    <a:lnTo>
                      <a:pt x="21" y="314"/>
                    </a:lnTo>
                    <a:lnTo>
                      <a:pt x="42" y="523"/>
                    </a:lnTo>
                    <a:lnTo>
                      <a:pt x="1" y="628"/>
                    </a:lnTo>
                    <a:lnTo>
                      <a:pt x="1" y="733"/>
                    </a:lnTo>
                    <a:lnTo>
                      <a:pt x="105" y="754"/>
                    </a:lnTo>
                    <a:lnTo>
                      <a:pt x="189" y="837"/>
                    </a:lnTo>
                    <a:lnTo>
                      <a:pt x="189" y="942"/>
                    </a:lnTo>
                    <a:lnTo>
                      <a:pt x="126" y="921"/>
                    </a:lnTo>
                    <a:lnTo>
                      <a:pt x="21" y="900"/>
                    </a:lnTo>
                    <a:lnTo>
                      <a:pt x="21" y="984"/>
                    </a:lnTo>
                    <a:lnTo>
                      <a:pt x="105" y="1047"/>
                    </a:lnTo>
                    <a:lnTo>
                      <a:pt x="21" y="1193"/>
                    </a:lnTo>
                    <a:lnTo>
                      <a:pt x="105" y="1214"/>
                    </a:lnTo>
                    <a:lnTo>
                      <a:pt x="210" y="1339"/>
                    </a:lnTo>
                    <a:lnTo>
                      <a:pt x="84" y="1319"/>
                    </a:lnTo>
                    <a:lnTo>
                      <a:pt x="21" y="1402"/>
                    </a:lnTo>
                    <a:lnTo>
                      <a:pt x="42" y="1507"/>
                    </a:lnTo>
                    <a:lnTo>
                      <a:pt x="210" y="1528"/>
                    </a:lnTo>
                    <a:lnTo>
                      <a:pt x="147" y="1611"/>
                    </a:lnTo>
                    <a:lnTo>
                      <a:pt x="189" y="1758"/>
                    </a:lnTo>
                    <a:lnTo>
                      <a:pt x="356" y="2135"/>
                    </a:lnTo>
                    <a:lnTo>
                      <a:pt x="503" y="2176"/>
                    </a:lnTo>
                    <a:lnTo>
                      <a:pt x="565" y="2072"/>
                    </a:lnTo>
                    <a:lnTo>
                      <a:pt x="524" y="1988"/>
                    </a:lnTo>
                    <a:lnTo>
                      <a:pt x="440" y="1988"/>
                    </a:lnTo>
                    <a:lnTo>
                      <a:pt x="398" y="1863"/>
                    </a:lnTo>
                    <a:lnTo>
                      <a:pt x="335" y="1653"/>
                    </a:lnTo>
                    <a:lnTo>
                      <a:pt x="356" y="1507"/>
                    </a:lnTo>
                    <a:lnTo>
                      <a:pt x="314" y="1402"/>
                    </a:lnTo>
                    <a:lnTo>
                      <a:pt x="398" y="1235"/>
                    </a:lnTo>
                    <a:lnTo>
                      <a:pt x="545" y="1235"/>
                    </a:lnTo>
                    <a:lnTo>
                      <a:pt x="524" y="1109"/>
                    </a:lnTo>
                    <a:lnTo>
                      <a:pt x="419" y="1109"/>
                    </a:lnTo>
                    <a:lnTo>
                      <a:pt x="335" y="1130"/>
                    </a:lnTo>
                    <a:lnTo>
                      <a:pt x="231" y="1130"/>
                    </a:lnTo>
                    <a:lnTo>
                      <a:pt x="314" y="1026"/>
                    </a:lnTo>
                    <a:lnTo>
                      <a:pt x="419" y="1026"/>
                    </a:lnTo>
                    <a:lnTo>
                      <a:pt x="545" y="921"/>
                    </a:lnTo>
                    <a:lnTo>
                      <a:pt x="565" y="733"/>
                    </a:lnTo>
                    <a:lnTo>
                      <a:pt x="670" y="607"/>
                    </a:lnTo>
                    <a:lnTo>
                      <a:pt x="712" y="419"/>
                    </a:lnTo>
                    <a:lnTo>
                      <a:pt x="921" y="210"/>
                    </a:lnTo>
                    <a:lnTo>
                      <a:pt x="858" y="189"/>
                    </a:lnTo>
                    <a:lnTo>
                      <a:pt x="670" y="272"/>
                    </a:lnTo>
                    <a:lnTo>
                      <a:pt x="545" y="461"/>
                    </a:lnTo>
                    <a:lnTo>
                      <a:pt x="461" y="628"/>
                    </a:lnTo>
                    <a:lnTo>
                      <a:pt x="335" y="670"/>
                    </a:lnTo>
                    <a:lnTo>
                      <a:pt x="335" y="586"/>
                    </a:lnTo>
                    <a:lnTo>
                      <a:pt x="252" y="523"/>
                    </a:lnTo>
                    <a:lnTo>
                      <a:pt x="461" y="461"/>
                    </a:lnTo>
                    <a:lnTo>
                      <a:pt x="565" y="377"/>
                    </a:lnTo>
                    <a:lnTo>
                      <a:pt x="607" y="231"/>
                    </a:lnTo>
                    <a:lnTo>
                      <a:pt x="607" y="168"/>
                    </a:lnTo>
                    <a:lnTo>
                      <a:pt x="503" y="105"/>
                    </a:lnTo>
                    <a:lnTo>
                      <a:pt x="440" y="189"/>
                    </a:lnTo>
                    <a:lnTo>
                      <a:pt x="356" y="210"/>
                    </a:lnTo>
                    <a:lnTo>
                      <a:pt x="398" y="63"/>
                    </a:lnTo>
                    <a:lnTo>
                      <a:pt x="21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0" name="Google Shape;12083;p43">
                <a:extLst>
                  <a:ext uri="{FF2B5EF4-FFF2-40B4-BE49-F238E27FC236}">
                    <a16:creationId xmlns:a16="http://schemas.microsoft.com/office/drawing/2014/main" id="{EB5B98B9-A11C-A117-EDE9-1A591DB94776}"/>
                  </a:ext>
                </a:extLst>
              </p:cNvPr>
              <p:cNvSpPr/>
              <p:nvPr/>
            </p:nvSpPr>
            <p:spPr>
              <a:xfrm>
                <a:off x="2552225" y="1885325"/>
                <a:ext cx="48150" cy="486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947" extrusionOk="0">
                    <a:moveTo>
                      <a:pt x="1402" y="0"/>
                    </a:moveTo>
                    <a:lnTo>
                      <a:pt x="1256" y="21"/>
                    </a:lnTo>
                    <a:lnTo>
                      <a:pt x="1067" y="189"/>
                    </a:lnTo>
                    <a:lnTo>
                      <a:pt x="984" y="356"/>
                    </a:lnTo>
                    <a:lnTo>
                      <a:pt x="1046" y="544"/>
                    </a:lnTo>
                    <a:lnTo>
                      <a:pt x="942" y="524"/>
                    </a:lnTo>
                    <a:lnTo>
                      <a:pt x="900" y="356"/>
                    </a:lnTo>
                    <a:lnTo>
                      <a:pt x="858" y="356"/>
                    </a:lnTo>
                    <a:lnTo>
                      <a:pt x="837" y="503"/>
                    </a:lnTo>
                    <a:lnTo>
                      <a:pt x="753" y="503"/>
                    </a:lnTo>
                    <a:lnTo>
                      <a:pt x="795" y="607"/>
                    </a:lnTo>
                    <a:lnTo>
                      <a:pt x="753" y="712"/>
                    </a:lnTo>
                    <a:lnTo>
                      <a:pt x="649" y="712"/>
                    </a:lnTo>
                    <a:lnTo>
                      <a:pt x="586" y="816"/>
                    </a:lnTo>
                    <a:lnTo>
                      <a:pt x="419" y="775"/>
                    </a:lnTo>
                    <a:lnTo>
                      <a:pt x="335" y="837"/>
                    </a:lnTo>
                    <a:lnTo>
                      <a:pt x="251" y="816"/>
                    </a:lnTo>
                    <a:lnTo>
                      <a:pt x="0" y="963"/>
                    </a:lnTo>
                    <a:lnTo>
                      <a:pt x="21" y="1088"/>
                    </a:lnTo>
                    <a:lnTo>
                      <a:pt x="147" y="1235"/>
                    </a:lnTo>
                    <a:lnTo>
                      <a:pt x="230" y="1172"/>
                    </a:lnTo>
                    <a:lnTo>
                      <a:pt x="209" y="1088"/>
                    </a:lnTo>
                    <a:lnTo>
                      <a:pt x="251" y="1026"/>
                    </a:lnTo>
                    <a:lnTo>
                      <a:pt x="356" y="1130"/>
                    </a:lnTo>
                    <a:lnTo>
                      <a:pt x="314" y="1277"/>
                    </a:lnTo>
                    <a:lnTo>
                      <a:pt x="440" y="1381"/>
                    </a:lnTo>
                    <a:lnTo>
                      <a:pt x="523" y="1256"/>
                    </a:lnTo>
                    <a:lnTo>
                      <a:pt x="544" y="1340"/>
                    </a:lnTo>
                    <a:lnTo>
                      <a:pt x="523" y="1423"/>
                    </a:lnTo>
                    <a:lnTo>
                      <a:pt x="649" y="1591"/>
                    </a:lnTo>
                    <a:lnTo>
                      <a:pt x="753" y="1612"/>
                    </a:lnTo>
                    <a:lnTo>
                      <a:pt x="795" y="1779"/>
                    </a:lnTo>
                    <a:lnTo>
                      <a:pt x="879" y="1863"/>
                    </a:lnTo>
                    <a:lnTo>
                      <a:pt x="963" y="1716"/>
                    </a:lnTo>
                    <a:lnTo>
                      <a:pt x="984" y="1821"/>
                    </a:lnTo>
                    <a:lnTo>
                      <a:pt x="1109" y="1946"/>
                    </a:lnTo>
                    <a:lnTo>
                      <a:pt x="1214" y="1925"/>
                    </a:lnTo>
                    <a:lnTo>
                      <a:pt x="1318" y="1925"/>
                    </a:lnTo>
                    <a:lnTo>
                      <a:pt x="1423" y="1821"/>
                    </a:lnTo>
                    <a:lnTo>
                      <a:pt x="1507" y="1800"/>
                    </a:lnTo>
                    <a:lnTo>
                      <a:pt x="1632" y="1695"/>
                    </a:lnTo>
                    <a:lnTo>
                      <a:pt x="1695" y="1800"/>
                    </a:lnTo>
                    <a:lnTo>
                      <a:pt x="1737" y="1758"/>
                    </a:lnTo>
                    <a:lnTo>
                      <a:pt x="1925" y="1653"/>
                    </a:lnTo>
                    <a:lnTo>
                      <a:pt x="1925" y="1549"/>
                    </a:lnTo>
                    <a:lnTo>
                      <a:pt x="1800" y="1591"/>
                    </a:lnTo>
                    <a:lnTo>
                      <a:pt x="1716" y="1507"/>
                    </a:lnTo>
                    <a:lnTo>
                      <a:pt x="1841" y="1277"/>
                    </a:lnTo>
                    <a:lnTo>
                      <a:pt x="1883" y="1151"/>
                    </a:lnTo>
                    <a:lnTo>
                      <a:pt x="1737" y="1235"/>
                    </a:lnTo>
                    <a:lnTo>
                      <a:pt x="1674" y="1402"/>
                    </a:lnTo>
                    <a:lnTo>
                      <a:pt x="1674" y="1277"/>
                    </a:lnTo>
                    <a:lnTo>
                      <a:pt x="1737" y="1026"/>
                    </a:lnTo>
                    <a:lnTo>
                      <a:pt x="1695" y="649"/>
                    </a:lnTo>
                    <a:lnTo>
                      <a:pt x="1528" y="544"/>
                    </a:lnTo>
                    <a:lnTo>
                      <a:pt x="1528" y="419"/>
                    </a:lnTo>
                    <a:lnTo>
                      <a:pt x="1423" y="419"/>
                    </a:lnTo>
                    <a:lnTo>
                      <a:pt x="1360" y="524"/>
                    </a:lnTo>
                    <a:lnTo>
                      <a:pt x="1360" y="398"/>
                    </a:lnTo>
                    <a:lnTo>
                      <a:pt x="1423" y="314"/>
                    </a:lnTo>
                    <a:lnTo>
                      <a:pt x="1381" y="210"/>
                    </a:lnTo>
                    <a:lnTo>
                      <a:pt x="1402" y="105"/>
                    </a:lnTo>
                    <a:lnTo>
                      <a:pt x="14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1" name="Google Shape;12084;p43">
                <a:extLst>
                  <a:ext uri="{FF2B5EF4-FFF2-40B4-BE49-F238E27FC236}">
                    <a16:creationId xmlns:a16="http://schemas.microsoft.com/office/drawing/2014/main" id="{24D3CC0E-28B9-6F5D-15D9-A334440B795C}"/>
                  </a:ext>
                </a:extLst>
              </p:cNvPr>
              <p:cNvSpPr/>
              <p:nvPr/>
            </p:nvSpPr>
            <p:spPr>
              <a:xfrm>
                <a:off x="2722750" y="1634775"/>
                <a:ext cx="145950" cy="133925"/>
              </a:xfrm>
              <a:custGeom>
                <a:avLst/>
                <a:gdLst/>
                <a:ahLst/>
                <a:cxnLst/>
                <a:rect l="l" t="t" r="r" b="b"/>
                <a:pathLst>
                  <a:path w="5838" h="5357" extrusionOk="0">
                    <a:moveTo>
                      <a:pt x="502" y="0"/>
                    </a:moveTo>
                    <a:lnTo>
                      <a:pt x="440" y="84"/>
                    </a:lnTo>
                    <a:lnTo>
                      <a:pt x="230" y="105"/>
                    </a:lnTo>
                    <a:lnTo>
                      <a:pt x="210" y="126"/>
                    </a:lnTo>
                    <a:lnTo>
                      <a:pt x="147" y="126"/>
                    </a:lnTo>
                    <a:lnTo>
                      <a:pt x="105" y="230"/>
                    </a:lnTo>
                    <a:lnTo>
                      <a:pt x="189" y="335"/>
                    </a:lnTo>
                    <a:lnTo>
                      <a:pt x="230" y="439"/>
                    </a:lnTo>
                    <a:lnTo>
                      <a:pt x="147" y="439"/>
                    </a:lnTo>
                    <a:lnTo>
                      <a:pt x="21" y="272"/>
                    </a:lnTo>
                    <a:lnTo>
                      <a:pt x="0" y="398"/>
                    </a:lnTo>
                    <a:lnTo>
                      <a:pt x="21" y="502"/>
                    </a:lnTo>
                    <a:lnTo>
                      <a:pt x="147" y="544"/>
                    </a:lnTo>
                    <a:lnTo>
                      <a:pt x="251" y="732"/>
                    </a:lnTo>
                    <a:lnTo>
                      <a:pt x="356" y="732"/>
                    </a:lnTo>
                    <a:lnTo>
                      <a:pt x="293" y="816"/>
                    </a:lnTo>
                    <a:lnTo>
                      <a:pt x="210" y="816"/>
                    </a:lnTo>
                    <a:lnTo>
                      <a:pt x="189" y="921"/>
                    </a:lnTo>
                    <a:lnTo>
                      <a:pt x="314" y="1109"/>
                    </a:lnTo>
                    <a:lnTo>
                      <a:pt x="440" y="1151"/>
                    </a:lnTo>
                    <a:lnTo>
                      <a:pt x="419" y="1235"/>
                    </a:lnTo>
                    <a:lnTo>
                      <a:pt x="398" y="1172"/>
                    </a:lnTo>
                    <a:lnTo>
                      <a:pt x="210" y="1151"/>
                    </a:lnTo>
                    <a:lnTo>
                      <a:pt x="210" y="1235"/>
                    </a:lnTo>
                    <a:lnTo>
                      <a:pt x="147" y="1255"/>
                    </a:lnTo>
                    <a:lnTo>
                      <a:pt x="105" y="1360"/>
                    </a:lnTo>
                    <a:lnTo>
                      <a:pt x="251" y="1276"/>
                    </a:lnTo>
                    <a:lnTo>
                      <a:pt x="335" y="1360"/>
                    </a:lnTo>
                    <a:lnTo>
                      <a:pt x="523" y="1276"/>
                    </a:lnTo>
                    <a:lnTo>
                      <a:pt x="544" y="1360"/>
                    </a:lnTo>
                    <a:lnTo>
                      <a:pt x="649" y="1381"/>
                    </a:lnTo>
                    <a:lnTo>
                      <a:pt x="670" y="1465"/>
                    </a:lnTo>
                    <a:lnTo>
                      <a:pt x="837" y="1590"/>
                    </a:lnTo>
                    <a:lnTo>
                      <a:pt x="879" y="1590"/>
                    </a:lnTo>
                    <a:lnTo>
                      <a:pt x="879" y="1527"/>
                    </a:lnTo>
                    <a:lnTo>
                      <a:pt x="942" y="1548"/>
                    </a:lnTo>
                    <a:lnTo>
                      <a:pt x="1046" y="1486"/>
                    </a:lnTo>
                    <a:lnTo>
                      <a:pt x="1130" y="1527"/>
                    </a:lnTo>
                    <a:lnTo>
                      <a:pt x="1151" y="1590"/>
                    </a:lnTo>
                    <a:lnTo>
                      <a:pt x="1130" y="1674"/>
                    </a:lnTo>
                    <a:lnTo>
                      <a:pt x="1130" y="1883"/>
                    </a:lnTo>
                    <a:lnTo>
                      <a:pt x="1067" y="2051"/>
                    </a:lnTo>
                    <a:lnTo>
                      <a:pt x="1067" y="2113"/>
                    </a:lnTo>
                    <a:lnTo>
                      <a:pt x="1151" y="2260"/>
                    </a:lnTo>
                    <a:lnTo>
                      <a:pt x="1088" y="2385"/>
                    </a:lnTo>
                    <a:lnTo>
                      <a:pt x="1088" y="2469"/>
                    </a:lnTo>
                    <a:lnTo>
                      <a:pt x="1067" y="2595"/>
                    </a:lnTo>
                    <a:lnTo>
                      <a:pt x="879" y="2699"/>
                    </a:lnTo>
                    <a:lnTo>
                      <a:pt x="754" y="2741"/>
                    </a:lnTo>
                    <a:lnTo>
                      <a:pt x="733" y="2825"/>
                    </a:lnTo>
                    <a:lnTo>
                      <a:pt x="628" y="2992"/>
                    </a:lnTo>
                    <a:lnTo>
                      <a:pt x="628" y="3055"/>
                    </a:lnTo>
                    <a:lnTo>
                      <a:pt x="523" y="3118"/>
                    </a:lnTo>
                    <a:lnTo>
                      <a:pt x="461" y="3222"/>
                    </a:lnTo>
                    <a:lnTo>
                      <a:pt x="461" y="3348"/>
                    </a:lnTo>
                    <a:lnTo>
                      <a:pt x="544" y="3369"/>
                    </a:lnTo>
                    <a:lnTo>
                      <a:pt x="544" y="3452"/>
                    </a:lnTo>
                    <a:lnTo>
                      <a:pt x="440" y="3473"/>
                    </a:lnTo>
                    <a:lnTo>
                      <a:pt x="419" y="3578"/>
                    </a:lnTo>
                    <a:lnTo>
                      <a:pt x="461" y="3641"/>
                    </a:lnTo>
                    <a:lnTo>
                      <a:pt x="398" y="3745"/>
                    </a:lnTo>
                    <a:lnTo>
                      <a:pt x="356" y="3850"/>
                    </a:lnTo>
                    <a:lnTo>
                      <a:pt x="419" y="3955"/>
                    </a:lnTo>
                    <a:lnTo>
                      <a:pt x="502" y="3976"/>
                    </a:lnTo>
                    <a:lnTo>
                      <a:pt x="502" y="4059"/>
                    </a:lnTo>
                    <a:lnTo>
                      <a:pt x="565" y="4143"/>
                    </a:lnTo>
                    <a:lnTo>
                      <a:pt x="628" y="4143"/>
                    </a:lnTo>
                    <a:lnTo>
                      <a:pt x="649" y="4038"/>
                    </a:lnTo>
                    <a:lnTo>
                      <a:pt x="670" y="3955"/>
                    </a:lnTo>
                    <a:lnTo>
                      <a:pt x="733" y="3996"/>
                    </a:lnTo>
                    <a:lnTo>
                      <a:pt x="774" y="3996"/>
                    </a:lnTo>
                    <a:lnTo>
                      <a:pt x="879" y="3871"/>
                    </a:lnTo>
                    <a:lnTo>
                      <a:pt x="942" y="3892"/>
                    </a:lnTo>
                    <a:lnTo>
                      <a:pt x="879" y="4059"/>
                    </a:lnTo>
                    <a:lnTo>
                      <a:pt x="774" y="4080"/>
                    </a:lnTo>
                    <a:lnTo>
                      <a:pt x="754" y="4143"/>
                    </a:lnTo>
                    <a:lnTo>
                      <a:pt x="816" y="4185"/>
                    </a:lnTo>
                    <a:lnTo>
                      <a:pt x="816" y="4268"/>
                    </a:lnTo>
                    <a:lnTo>
                      <a:pt x="921" y="4394"/>
                    </a:lnTo>
                    <a:lnTo>
                      <a:pt x="1026" y="4352"/>
                    </a:lnTo>
                    <a:lnTo>
                      <a:pt x="1067" y="4394"/>
                    </a:lnTo>
                    <a:lnTo>
                      <a:pt x="1193" y="4415"/>
                    </a:lnTo>
                    <a:lnTo>
                      <a:pt x="1256" y="4352"/>
                    </a:lnTo>
                    <a:lnTo>
                      <a:pt x="1402" y="4310"/>
                    </a:lnTo>
                    <a:lnTo>
                      <a:pt x="1381" y="4164"/>
                    </a:lnTo>
                    <a:lnTo>
                      <a:pt x="1465" y="4164"/>
                    </a:lnTo>
                    <a:lnTo>
                      <a:pt x="1507" y="4101"/>
                    </a:lnTo>
                    <a:lnTo>
                      <a:pt x="1507" y="4185"/>
                    </a:lnTo>
                    <a:lnTo>
                      <a:pt x="1486" y="4206"/>
                    </a:lnTo>
                    <a:lnTo>
                      <a:pt x="1507" y="4310"/>
                    </a:lnTo>
                    <a:lnTo>
                      <a:pt x="1570" y="4289"/>
                    </a:lnTo>
                    <a:lnTo>
                      <a:pt x="1653" y="4143"/>
                    </a:lnTo>
                    <a:lnTo>
                      <a:pt x="1695" y="4080"/>
                    </a:lnTo>
                    <a:lnTo>
                      <a:pt x="1716" y="4143"/>
                    </a:lnTo>
                    <a:lnTo>
                      <a:pt x="1695" y="4268"/>
                    </a:lnTo>
                    <a:lnTo>
                      <a:pt x="1570" y="4478"/>
                    </a:lnTo>
                    <a:lnTo>
                      <a:pt x="1486" y="4520"/>
                    </a:lnTo>
                    <a:lnTo>
                      <a:pt x="1486" y="4624"/>
                    </a:lnTo>
                    <a:lnTo>
                      <a:pt x="1611" y="4666"/>
                    </a:lnTo>
                    <a:lnTo>
                      <a:pt x="1695" y="4729"/>
                    </a:lnTo>
                    <a:lnTo>
                      <a:pt x="1800" y="4729"/>
                    </a:lnTo>
                    <a:lnTo>
                      <a:pt x="1821" y="4771"/>
                    </a:lnTo>
                    <a:lnTo>
                      <a:pt x="1967" y="4792"/>
                    </a:lnTo>
                    <a:lnTo>
                      <a:pt x="1988" y="4708"/>
                    </a:lnTo>
                    <a:lnTo>
                      <a:pt x="2114" y="4708"/>
                    </a:lnTo>
                    <a:lnTo>
                      <a:pt x="2072" y="4771"/>
                    </a:lnTo>
                    <a:lnTo>
                      <a:pt x="2093" y="4833"/>
                    </a:lnTo>
                    <a:lnTo>
                      <a:pt x="2176" y="4833"/>
                    </a:lnTo>
                    <a:lnTo>
                      <a:pt x="2239" y="4917"/>
                    </a:lnTo>
                    <a:lnTo>
                      <a:pt x="2323" y="4875"/>
                    </a:lnTo>
                    <a:lnTo>
                      <a:pt x="2302" y="4792"/>
                    </a:lnTo>
                    <a:lnTo>
                      <a:pt x="2281" y="4708"/>
                    </a:lnTo>
                    <a:lnTo>
                      <a:pt x="2344" y="4603"/>
                    </a:lnTo>
                    <a:lnTo>
                      <a:pt x="2386" y="4687"/>
                    </a:lnTo>
                    <a:lnTo>
                      <a:pt x="2344" y="4792"/>
                    </a:lnTo>
                    <a:lnTo>
                      <a:pt x="2386" y="4917"/>
                    </a:lnTo>
                    <a:lnTo>
                      <a:pt x="2448" y="4917"/>
                    </a:lnTo>
                    <a:lnTo>
                      <a:pt x="2490" y="4792"/>
                    </a:lnTo>
                    <a:lnTo>
                      <a:pt x="2532" y="4729"/>
                    </a:lnTo>
                    <a:lnTo>
                      <a:pt x="2616" y="4708"/>
                    </a:lnTo>
                    <a:lnTo>
                      <a:pt x="2616" y="4792"/>
                    </a:lnTo>
                    <a:lnTo>
                      <a:pt x="2553" y="4833"/>
                    </a:lnTo>
                    <a:lnTo>
                      <a:pt x="2553" y="4917"/>
                    </a:lnTo>
                    <a:lnTo>
                      <a:pt x="2720" y="4917"/>
                    </a:lnTo>
                    <a:lnTo>
                      <a:pt x="2804" y="4875"/>
                    </a:lnTo>
                    <a:lnTo>
                      <a:pt x="2867" y="4687"/>
                    </a:lnTo>
                    <a:lnTo>
                      <a:pt x="2909" y="4792"/>
                    </a:lnTo>
                    <a:lnTo>
                      <a:pt x="2846" y="4833"/>
                    </a:lnTo>
                    <a:lnTo>
                      <a:pt x="2846" y="4938"/>
                    </a:lnTo>
                    <a:lnTo>
                      <a:pt x="2971" y="4917"/>
                    </a:lnTo>
                    <a:lnTo>
                      <a:pt x="3013" y="4771"/>
                    </a:lnTo>
                    <a:lnTo>
                      <a:pt x="3055" y="4687"/>
                    </a:lnTo>
                    <a:lnTo>
                      <a:pt x="3055" y="4687"/>
                    </a:lnTo>
                    <a:lnTo>
                      <a:pt x="3034" y="4917"/>
                    </a:lnTo>
                    <a:lnTo>
                      <a:pt x="3055" y="5001"/>
                    </a:lnTo>
                    <a:lnTo>
                      <a:pt x="3160" y="5001"/>
                    </a:lnTo>
                    <a:lnTo>
                      <a:pt x="3327" y="5105"/>
                    </a:lnTo>
                    <a:lnTo>
                      <a:pt x="3432" y="5043"/>
                    </a:lnTo>
                    <a:lnTo>
                      <a:pt x="3495" y="5022"/>
                    </a:lnTo>
                    <a:lnTo>
                      <a:pt x="3536" y="5105"/>
                    </a:lnTo>
                    <a:lnTo>
                      <a:pt x="3662" y="5084"/>
                    </a:lnTo>
                    <a:lnTo>
                      <a:pt x="3746" y="5022"/>
                    </a:lnTo>
                    <a:lnTo>
                      <a:pt x="3746" y="4896"/>
                    </a:lnTo>
                    <a:lnTo>
                      <a:pt x="3850" y="4792"/>
                    </a:lnTo>
                    <a:lnTo>
                      <a:pt x="3892" y="4729"/>
                    </a:lnTo>
                    <a:lnTo>
                      <a:pt x="3850" y="4603"/>
                    </a:lnTo>
                    <a:lnTo>
                      <a:pt x="3871" y="4520"/>
                    </a:lnTo>
                    <a:lnTo>
                      <a:pt x="3913" y="4520"/>
                    </a:lnTo>
                    <a:lnTo>
                      <a:pt x="3955" y="4666"/>
                    </a:lnTo>
                    <a:lnTo>
                      <a:pt x="3997" y="4687"/>
                    </a:lnTo>
                    <a:lnTo>
                      <a:pt x="3997" y="4729"/>
                    </a:lnTo>
                    <a:lnTo>
                      <a:pt x="3913" y="4812"/>
                    </a:lnTo>
                    <a:lnTo>
                      <a:pt x="3871" y="4980"/>
                    </a:lnTo>
                    <a:lnTo>
                      <a:pt x="3892" y="5210"/>
                    </a:lnTo>
                    <a:lnTo>
                      <a:pt x="3997" y="5252"/>
                    </a:lnTo>
                    <a:lnTo>
                      <a:pt x="4101" y="5210"/>
                    </a:lnTo>
                    <a:lnTo>
                      <a:pt x="4122" y="5315"/>
                    </a:lnTo>
                    <a:lnTo>
                      <a:pt x="4227" y="5315"/>
                    </a:lnTo>
                    <a:lnTo>
                      <a:pt x="4269" y="5357"/>
                    </a:lnTo>
                    <a:lnTo>
                      <a:pt x="4373" y="5357"/>
                    </a:lnTo>
                    <a:lnTo>
                      <a:pt x="4583" y="5231"/>
                    </a:lnTo>
                    <a:lnTo>
                      <a:pt x="4687" y="5210"/>
                    </a:lnTo>
                    <a:lnTo>
                      <a:pt x="4855" y="5315"/>
                    </a:lnTo>
                    <a:lnTo>
                      <a:pt x="4938" y="5294"/>
                    </a:lnTo>
                    <a:lnTo>
                      <a:pt x="5022" y="5336"/>
                    </a:lnTo>
                    <a:lnTo>
                      <a:pt x="5064" y="5252"/>
                    </a:lnTo>
                    <a:lnTo>
                      <a:pt x="5064" y="5210"/>
                    </a:lnTo>
                    <a:lnTo>
                      <a:pt x="5147" y="5084"/>
                    </a:lnTo>
                    <a:lnTo>
                      <a:pt x="5231" y="5043"/>
                    </a:lnTo>
                    <a:lnTo>
                      <a:pt x="5231" y="5001"/>
                    </a:lnTo>
                    <a:lnTo>
                      <a:pt x="5168" y="4875"/>
                    </a:lnTo>
                    <a:lnTo>
                      <a:pt x="5168" y="4729"/>
                    </a:lnTo>
                    <a:lnTo>
                      <a:pt x="5231" y="4812"/>
                    </a:lnTo>
                    <a:lnTo>
                      <a:pt x="5231" y="4896"/>
                    </a:lnTo>
                    <a:lnTo>
                      <a:pt x="5336" y="5022"/>
                    </a:lnTo>
                    <a:lnTo>
                      <a:pt x="5378" y="4938"/>
                    </a:lnTo>
                    <a:lnTo>
                      <a:pt x="5524" y="4938"/>
                    </a:lnTo>
                    <a:lnTo>
                      <a:pt x="5566" y="4980"/>
                    </a:lnTo>
                    <a:lnTo>
                      <a:pt x="5587" y="4896"/>
                    </a:lnTo>
                    <a:lnTo>
                      <a:pt x="5566" y="4792"/>
                    </a:lnTo>
                    <a:lnTo>
                      <a:pt x="5566" y="4708"/>
                    </a:lnTo>
                    <a:lnTo>
                      <a:pt x="5524" y="4666"/>
                    </a:lnTo>
                    <a:lnTo>
                      <a:pt x="5378" y="4687"/>
                    </a:lnTo>
                    <a:lnTo>
                      <a:pt x="5252" y="4708"/>
                    </a:lnTo>
                    <a:lnTo>
                      <a:pt x="5231" y="4603"/>
                    </a:lnTo>
                    <a:lnTo>
                      <a:pt x="5273" y="4582"/>
                    </a:lnTo>
                    <a:lnTo>
                      <a:pt x="5336" y="4603"/>
                    </a:lnTo>
                    <a:lnTo>
                      <a:pt x="5461" y="4561"/>
                    </a:lnTo>
                    <a:lnTo>
                      <a:pt x="5545" y="4457"/>
                    </a:lnTo>
                    <a:lnTo>
                      <a:pt x="5587" y="4520"/>
                    </a:lnTo>
                    <a:lnTo>
                      <a:pt x="5671" y="4499"/>
                    </a:lnTo>
                    <a:lnTo>
                      <a:pt x="5733" y="4394"/>
                    </a:lnTo>
                    <a:lnTo>
                      <a:pt x="5691" y="4310"/>
                    </a:lnTo>
                    <a:lnTo>
                      <a:pt x="5775" y="4206"/>
                    </a:lnTo>
                    <a:lnTo>
                      <a:pt x="5754" y="4143"/>
                    </a:lnTo>
                    <a:lnTo>
                      <a:pt x="5796" y="4143"/>
                    </a:lnTo>
                    <a:lnTo>
                      <a:pt x="5838" y="4080"/>
                    </a:lnTo>
                    <a:lnTo>
                      <a:pt x="5691" y="4038"/>
                    </a:lnTo>
                    <a:lnTo>
                      <a:pt x="5566" y="4059"/>
                    </a:lnTo>
                    <a:lnTo>
                      <a:pt x="5629" y="3976"/>
                    </a:lnTo>
                    <a:lnTo>
                      <a:pt x="5691" y="3955"/>
                    </a:lnTo>
                    <a:lnTo>
                      <a:pt x="5691" y="3850"/>
                    </a:lnTo>
                    <a:lnTo>
                      <a:pt x="5587" y="3766"/>
                    </a:lnTo>
                    <a:lnTo>
                      <a:pt x="5357" y="3766"/>
                    </a:lnTo>
                    <a:lnTo>
                      <a:pt x="5336" y="3724"/>
                    </a:lnTo>
                    <a:lnTo>
                      <a:pt x="5336" y="3641"/>
                    </a:lnTo>
                    <a:lnTo>
                      <a:pt x="5378" y="3620"/>
                    </a:lnTo>
                    <a:lnTo>
                      <a:pt x="5357" y="3515"/>
                    </a:lnTo>
                    <a:lnTo>
                      <a:pt x="5168" y="3348"/>
                    </a:lnTo>
                    <a:lnTo>
                      <a:pt x="5106" y="3348"/>
                    </a:lnTo>
                    <a:lnTo>
                      <a:pt x="5001" y="3432"/>
                    </a:lnTo>
                    <a:lnTo>
                      <a:pt x="4834" y="3432"/>
                    </a:lnTo>
                    <a:lnTo>
                      <a:pt x="4687" y="3452"/>
                    </a:lnTo>
                    <a:lnTo>
                      <a:pt x="4478" y="3327"/>
                    </a:lnTo>
                    <a:lnTo>
                      <a:pt x="4436" y="3243"/>
                    </a:lnTo>
                    <a:lnTo>
                      <a:pt x="4394" y="3222"/>
                    </a:lnTo>
                    <a:lnTo>
                      <a:pt x="4290" y="3264"/>
                    </a:lnTo>
                    <a:lnTo>
                      <a:pt x="4206" y="3264"/>
                    </a:lnTo>
                    <a:lnTo>
                      <a:pt x="4122" y="3306"/>
                    </a:lnTo>
                    <a:lnTo>
                      <a:pt x="4018" y="3306"/>
                    </a:lnTo>
                    <a:lnTo>
                      <a:pt x="3976" y="3411"/>
                    </a:lnTo>
                    <a:lnTo>
                      <a:pt x="3913" y="3348"/>
                    </a:lnTo>
                    <a:lnTo>
                      <a:pt x="3808" y="3264"/>
                    </a:lnTo>
                    <a:lnTo>
                      <a:pt x="3704" y="3327"/>
                    </a:lnTo>
                    <a:lnTo>
                      <a:pt x="3578" y="3348"/>
                    </a:lnTo>
                    <a:lnTo>
                      <a:pt x="3578" y="3411"/>
                    </a:lnTo>
                    <a:lnTo>
                      <a:pt x="3536" y="3452"/>
                    </a:lnTo>
                    <a:lnTo>
                      <a:pt x="3536" y="3369"/>
                    </a:lnTo>
                    <a:lnTo>
                      <a:pt x="3474" y="3327"/>
                    </a:lnTo>
                    <a:lnTo>
                      <a:pt x="3369" y="3348"/>
                    </a:lnTo>
                    <a:lnTo>
                      <a:pt x="3139" y="3327"/>
                    </a:lnTo>
                    <a:lnTo>
                      <a:pt x="3076" y="3348"/>
                    </a:lnTo>
                    <a:lnTo>
                      <a:pt x="3160" y="3432"/>
                    </a:lnTo>
                    <a:lnTo>
                      <a:pt x="3160" y="3536"/>
                    </a:lnTo>
                    <a:lnTo>
                      <a:pt x="3264" y="3620"/>
                    </a:lnTo>
                    <a:lnTo>
                      <a:pt x="3139" y="3578"/>
                    </a:lnTo>
                    <a:lnTo>
                      <a:pt x="3076" y="3515"/>
                    </a:lnTo>
                    <a:lnTo>
                      <a:pt x="3013" y="3473"/>
                    </a:lnTo>
                    <a:lnTo>
                      <a:pt x="2867" y="3536"/>
                    </a:lnTo>
                    <a:lnTo>
                      <a:pt x="2804" y="3473"/>
                    </a:lnTo>
                    <a:lnTo>
                      <a:pt x="2930" y="3432"/>
                    </a:lnTo>
                    <a:lnTo>
                      <a:pt x="2930" y="3348"/>
                    </a:lnTo>
                    <a:lnTo>
                      <a:pt x="2804" y="3222"/>
                    </a:lnTo>
                    <a:lnTo>
                      <a:pt x="2825" y="3139"/>
                    </a:lnTo>
                    <a:lnTo>
                      <a:pt x="2762" y="3097"/>
                    </a:lnTo>
                    <a:lnTo>
                      <a:pt x="2637" y="3160"/>
                    </a:lnTo>
                    <a:lnTo>
                      <a:pt x="2658" y="3243"/>
                    </a:lnTo>
                    <a:lnTo>
                      <a:pt x="2637" y="3306"/>
                    </a:lnTo>
                    <a:lnTo>
                      <a:pt x="2532" y="3264"/>
                    </a:lnTo>
                    <a:lnTo>
                      <a:pt x="2595" y="3201"/>
                    </a:lnTo>
                    <a:lnTo>
                      <a:pt x="2553" y="3139"/>
                    </a:lnTo>
                    <a:lnTo>
                      <a:pt x="2448" y="3097"/>
                    </a:lnTo>
                    <a:lnTo>
                      <a:pt x="2406" y="3139"/>
                    </a:lnTo>
                    <a:lnTo>
                      <a:pt x="2323" y="3139"/>
                    </a:lnTo>
                    <a:lnTo>
                      <a:pt x="2344" y="3034"/>
                    </a:lnTo>
                    <a:lnTo>
                      <a:pt x="2344" y="2992"/>
                    </a:lnTo>
                    <a:lnTo>
                      <a:pt x="2323" y="2888"/>
                    </a:lnTo>
                    <a:lnTo>
                      <a:pt x="2218" y="2908"/>
                    </a:lnTo>
                    <a:lnTo>
                      <a:pt x="2093" y="3034"/>
                    </a:lnTo>
                    <a:lnTo>
                      <a:pt x="2114" y="3160"/>
                    </a:lnTo>
                    <a:lnTo>
                      <a:pt x="2030" y="3160"/>
                    </a:lnTo>
                    <a:lnTo>
                      <a:pt x="1988" y="3055"/>
                    </a:lnTo>
                    <a:lnTo>
                      <a:pt x="2030" y="2992"/>
                    </a:lnTo>
                    <a:lnTo>
                      <a:pt x="2030" y="2908"/>
                    </a:lnTo>
                    <a:lnTo>
                      <a:pt x="2093" y="2720"/>
                    </a:lnTo>
                    <a:lnTo>
                      <a:pt x="2009" y="2636"/>
                    </a:lnTo>
                    <a:lnTo>
                      <a:pt x="1883" y="2699"/>
                    </a:lnTo>
                    <a:lnTo>
                      <a:pt x="1883" y="2636"/>
                    </a:lnTo>
                    <a:lnTo>
                      <a:pt x="1988" y="2616"/>
                    </a:lnTo>
                    <a:lnTo>
                      <a:pt x="2030" y="2490"/>
                    </a:lnTo>
                    <a:lnTo>
                      <a:pt x="2009" y="2385"/>
                    </a:lnTo>
                    <a:lnTo>
                      <a:pt x="1925" y="2427"/>
                    </a:lnTo>
                    <a:lnTo>
                      <a:pt x="1862" y="2385"/>
                    </a:lnTo>
                    <a:lnTo>
                      <a:pt x="1800" y="2427"/>
                    </a:lnTo>
                    <a:lnTo>
                      <a:pt x="1695" y="2427"/>
                    </a:lnTo>
                    <a:lnTo>
                      <a:pt x="1758" y="2385"/>
                    </a:lnTo>
                    <a:lnTo>
                      <a:pt x="1758" y="2323"/>
                    </a:lnTo>
                    <a:lnTo>
                      <a:pt x="1653" y="2323"/>
                    </a:lnTo>
                    <a:lnTo>
                      <a:pt x="1590" y="2406"/>
                    </a:lnTo>
                    <a:lnTo>
                      <a:pt x="1444" y="2427"/>
                    </a:lnTo>
                    <a:lnTo>
                      <a:pt x="1444" y="2364"/>
                    </a:lnTo>
                    <a:lnTo>
                      <a:pt x="1507" y="2323"/>
                    </a:lnTo>
                    <a:lnTo>
                      <a:pt x="1570" y="2218"/>
                    </a:lnTo>
                    <a:lnTo>
                      <a:pt x="1590" y="2155"/>
                    </a:lnTo>
                    <a:lnTo>
                      <a:pt x="1674" y="2155"/>
                    </a:lnTo>
                    <a:lnTo>
                      <a:pt x="1779" y="2260"/>
                    </a:lnTo>
                    <a:lnTo>
                      <a:pt x="1925" y="2260"/>
                    </a:lnTo>
                    <a:lnTo>
                      <a:pt x="1904" y="2197"/>
                    </a:lnTo>
                    <a:lnTo>
                      <a:pt x="1800" y="2071"/>
                    </a:lnTo>
                    <a:lnTo>
                      <a:pt x="1695" y="2071"/>
                    </a:lnTo>
                    <a:lnTo>
                      <a:pt x="1758" y="2009"/>
                    </a:lnTo>
                    <a:lnTo>
                      <a:pt x="1611" y="1883"/>
                    </a:lnTo>
                    <a:lnTo>
                      <a:pt x="1507" y="1841"/>
                    </a:lnTo>
                    <a:lnTo>
                      <a:pt x="1570" y="1799"/>
                    </a:lnTo>
                    <a:lnTo>
                      <a:pt x="1590" y="1737"/>
                    </a:lnTo>
                    <a:lnTo>
                      <a:pt x="1653" y="1737"/>
                    </a:lnTo>
                    <a:lnTo>
                      <a:pt x="1695" y="1841"/>
                    </a:lnTo>
                    <a:lnTo>
                      <a:pt x="1800" y="1967"/>
                    </a:lnTo>
                    <a:lnTo>
                      <a:pt x="1967" y="1988"/>
                    </a:lnTo>
                    <a:lnTo>
                      <a:pt x="2030" y="2092"/>
                    </a:lnTo>
                    <a:lnTo>
                      <a:pt x="2114" y="2009"/>
                    </a:lnTo>
                    <a:lnTo>
                      <a:pt x="2176" y="2092"/>
                    </a:lnTo>
                    <a:lnTo>
                      <a:pt x="2344" y="2155"/>
                    </a:lnTo>
                    <a:lnTo>
                      <a:pt x="2448" y="2155"/>
                    </a:lnTo>
                    <a:lnTo>
                      <a:pt x="2511" y="2051"/>
                    </a:lnTo>
                    <a:lnTo>
                      <a:pt x="2490" y="1904"/>
                    </a:lnTo>
                    <a:lnTo>
                      <a:pt x="2239" y="1758"/>
                    </a:lnTo>
                    <a:lnTo>
                      <a:pt x="2134" y="1653"/>
                    </a:lnTo>
                    <a:lnTo>
                      <a:pt x="2072" y="1653"/>
                    </a:lnTo>
                    <a:lnTo>
                      <a:pt x="2030" y="1548"/>
                    </a:lnTo>
                    <a:lnTo>
                      <a:pt x="1925" y="1444"/>
                    </a:lnTo>
                    <a:lnTo>
                      <a:pt x="1883" y="1444"/>
                    </a:lnTo>
                    <a:lnTo>
                      <a:pt x="1821" y="1381"/>
                    </a:lnTo>
                    <a:lnTo>
                      <a:pt x="1883" y="1318"/>
                    </a:lnTo>
                    <a:lnTo>
                      <a:pt x="1967" y="1339"/>
                    </a:lnTo>
                    <a:lnTo>
                      <a:pt x="2030" y="1444"/>
                    </a:lnTo>
                    <a:lnTo>
                      <a:pt x="2114" y="1444"/>
                    </a:lnTo>
                    <a:lnTo>
                      <a:pt x="2134" y="1548"/>
                    </a:lnTo>
                    <a:lnTo>
                      <a:pt x="2197" y="1548"/>
                    </a:lnTo>
                    <a:lnTo>
                      <a:pt x="2239" y="1465"/>
                    </a:lnTo>
                    <a:lnTo>
                      <a:pt x="2197" y="1276"/>
                    </a:lnTo>
                    <a:lnTo>
                      <a:pt x="2072" y="1130"/>
                    </a:lnTo>
                    <a:lnTo>
                      <a:pt x="1988" y="1130"/>
                    </a:lnTo>
                    <a:lnTo>
                      <a:pt x="1967" y="1109"/>
                    </a:lnTo>
                    <a:lnTo>
                      <a:pt x="1821" y="1109"/>
                    </a:lnTo>
                    <a:lnTo>
                      <a:pt x="1695" y="1172"/>
                    </a:lnTo>
                    <a:lnTo>
                      <a:pt x="1590" y="1172"/>
                    </a:lnTo>
                    <a:lnTo>
                      <a:pt x="1486" y="1109"/>
                    </a:lnTo>
                    <a:lnTo>
                      <a:pt x="1402" y="1130"/>
                    </a:lnTo>
                    <a:lnTo>
                      <a:pt x="1360" y="1025"/>
                    </a:lnTo>
                    <a:lnTo>
                      <a:pt x="1235" y="1214"/>
                    </a:lnTo>
                    <a:lnTo>
                      <a:pt x="1067" y="1276"/>
                    </a:lnTo>
                    <a:lnTo>
                      <a:pt x="1046" y="1381"/>
                    </a:lnTo>
                    <a:lnTo>
                      <a:pt x="963" y="1423"/>
                    </a:lnTo>
                    <a:lnTo>
                      <a:pt x="963" y="1339"/>
                    </a:lnTo>
                    <a:lnTo>
                      <a:pt x="1046" y="1235"/>
                    </a:lnTo>
                    <a:lnTo>
                      <a:pt x="1088" y="1235"/>
                    </a:lnTo>
                    <a:lnTo>
                      <a:pt x="1339" y="1004"/>
                    </a:lnTo>
                    <a:lnTo>
                      <a:pt x="1360" y="921"/>
                    </a:lnTo>
                    <a:lnTo>
                      <a:pt x="1298" y="816"/>
                    </a:lnTo>
                    <a:lnTo>
                      <a:pt x="1298" y="544"/>
                    </a:lnTo>
                    <a:lnTo>
                      <a:pt x="1339" y="523"/>
                    </a:lnTo>
                    <a:lnTo>
                      <a:pt x="1256" y="419"/>
                    </a:lnTo>
                    <a:lnTo>
                      <a:pt x="1193" y="481"/>
                    </a:lnTo>
                    <a:lnTo>
                      <a:pt x="1088" y="481"/>
                    </a:lnTo>
                    <a:lnTo>
                      <a:pt x="1026" y="419"/>
                    </a:lnTo>
                    <a:lnTo>
                      <a:pt x="1026" y="314"/>
                    </a:lnTo>
                    <a:lnTo>
                      <a:pt x="1026" y="230"/>
                    </a:lnTo>
                    <a:lnTo>
                      <a:pt x="816" y="188"/>
                    </a:lnTo>
                    <a:lnTo>
                      <a:pt x="733" y="84"/>
                    </a:lnTo>
                    <a:lnTo>
                      <a:pt x="628" y="84"/>
                    </a:lnTo>
                    <a:lnTo>
                      <a:pt x="50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2" name="Google Shape;12085;p43">
                <a:extLst>
                  <a:ext uri="{FF2B5EF4-FFF2-40B4-BE49-F238E27FC236}">
                    <a16:creationId xmlns:a16="http://schemas.microsoft.com/office/drawing/2014/main" id="{1D99C4EF-E6FC-C6D1-7960-A5647C530AF0}"/>
                  </a:ext>
                </a:extLst>
              </p:cNvPr>
              <p:cNvSpPr/>
              <p:nvPr/>
            </p:nvSpPr>
            <p:spPr>
              <a:xfrm>
                <a:off x="2687175" y="1694400"/>
                <a:ext cx="33500" cy="37675"/>
              </a:xfrm>
              <a:custGeom>
                <a:avLst/>
                <a:gdLst/>
                <a:ahLst/>
                <a:cxnLst/>
                <a:rect l="l" t="t" r="r" b="b"/>
                <a:pathLst>
                  <a:path w="1340" h="1507" extrusionOk="0">
                    <a:moveTo>
                      <a:pt x="796" y="0"/>
                    </a:moveTo>
                    <a:lnTo>
                      <a:pt x="670" y="21"/>
                    </a:lnTo>
                    <a:lnTo>
                      <a:pt x="607" y="84"/>
                    </a:lnTo>
                    <a:lnTo>
                      <a:pt x="691" y="147"/>
                    </a:lnTo>
                    <a:lnTo>
                      <a:pt x="691" y="231"/>
                    </a:lnTo>
                    <a:lnTo>
                      <a:pt x="628" y="210"/>
                    </a:lnTo>
                    <a:lnTo>
                      <a:pt x="565" y="147"/>
                    </a:lnTo>
                    <a:lnTo>
                      <a:pt x="461" y="126"/>
                    </a:lnTo>
                    <a:lnTo>
                      <a:pt x="419" y="210"/>
                    </a:lnTo>
                    <a:lnTo>
                      <a:pt x="524" y="210"/>
                    </a:lnTo>
                    <a:lnTo>
                      <a:pt x="565" y="251"/>
                    </a:lnTo>
                    <a:lnTo>
                      <a:pt x="524" y="293"/>
                    </a:lnTo>
                    <a:lnTo>
                      <a:pt x="398" y="314"/>
                    </a:lnTo>
                    <a:lnTo>
                      <a:pt x="356" y="335"/>
                    </a:lnTo>
                    <a:lnTo>
                      <a:pt x="398" y="440"/>
                    </a:lnTo>
                    <a:lnTo>
                      <a:pt x="419" y="461"/>
                    </a:lnTo>
                    <a:lnTo>
                      <a:pt x="419" y="523"/>
                    </a:lnTo>
                    <a:lnTo>
                      <a:pt x="293" y="461"/>
                    </a:lnTo>
                    <a:lnTo>
                      <a:pt x="168" y="503"/>
                    </a:lnTo>
                    <a:lnTo>
                      <a:pt x="84" y="565"/>
                    </a:lnTo>
                    <a:lnTo>
                      <a:pt x="42" y="712"/>
                    </a:lnTo>
                    <a:lnTo>
                      <a:pt x="0" y="733"/>
                    </a:lnTo>
                    <a:lnTo>
                      <a:pt x="0" y="754"/>
                    </a:lnTo>
                    <a:lnTo>
                      <a:pt x="63" y="754"/>
                    </a:lnTo>
                    <a:lnTo>
                      <a:pt x="42" y="837"/>
                    </a:lnTo>
                    <a:lnTo>
                      <a:pt x="42" y="879"/>
                    </a:lnTo>
                    <a:lnTo>
                      <a:pt x="63" y="921"/>
                    </a:lnTo>
                    <a:lnTo>
                      <a:pt x="147" y="816"/>
                    </a:lnTo>
                    <a:lnTo>
                      <a:pt x="168" y="837"/>
                    </a:lnTo>
                    <a:lnTo>
                      <a:pt x="105" y="963"/>
                    </a:lnTo>
                    <a:lnTo>
                      <a:pt x="147" y="1026"/>
                    </a:lnTo>
                    <a:lnTo>
                      <a:pt x="210" y="1067"/>
                    </a:lnTo>
                    <a:lnTo>
                      <a:pt x="272" y="1047"/>
                    </a:lnTo>
                    <a:lnTo>
                      <a:pt x="293" y="1067"/>
                    </a:lnTo>
                    <a:lnTo>
                      <a:pt x="314" y="1151"/>
                    </a:lnTo>
                    <a:lnTo>
                      <a:pt x="356" y="1151"/>
                    </a:lnTo>
                    <a:lnTo>
                      <a:pt x="398" y="1088"/>
                    </a:lnTo>
                    <a:lnTo>
                      <a:pt x="461" y="1130"/>
                    </a:lnTo>
                    <a:lnTo>
                      <a:pt x="461" y="1256"/>
                    </a:lnTo>
                    <a:lnTo>
                      <a:pt x="482" y="1298"/>
                    </a:lnTo>
                    <a:lnTo>
                      <a:pt x="586" y="1277"/>
                    </a:lnTo>
                    <a:lnTo>
                      <a:pt x="607" y="1402"/>
                    </a:lnTo>
                    <a:lnTo>
                      <a:pt x="712" y="1402"/>
                    </a:lnTo>
                    <a:lnTo>
                      <a:pt x="837" y="1486"/>
                    </a:lnTo>
                    <a:lnTo>
                      <a:pt x="942" y="1486"/>
                    </a:lnTo>
                    <a:lnTo>
                      <a:pt x="1005" y="1507"/>
                    </a:lnTo>
                    <a:lnTo>
                      <a:pt x="1026" y="1486"/>
                    </a:lnTo>
                    <a:lnTo>
                      <a:pt x="1005" y="1402"/>
                    </a:lnTo>
                    <a:lnTo>
                      <a:pt x="1088" y="1381"/>
                    </a:lnTo>
                    <a:lnTo>
                      <a:pt x="1151" y="1235"/>
                    </a:lnTo>
                    <a:lnTo>
                      <a:pt x="1130" y="1088"/>
                    </a:lnTo>
                    <a:lnTo>
                      <a:pt x="1214" y="942"/>
                    </a:lnTo>
                    <a:lnTo>
                      <a:pt x="1235" y="921"/>
                    </a:lnTo>
                    <a:lnTo>
                      <a:pt x="1319" y="712"/>
                    </a:lnTo>
                    <a:lnTo>
                      <a:pt x="1319" y="565"/>
                    </a:lnTo>
                    <a:lnTo>
                      <a:pt x="1340" y="523"/>
                    </a:lnTo>
                    <a:lnTo>
                      <a:pt x="1319" y="419"/>
                    </a:lnTo>
                    <a:lnTo>
                      <a:pt x="1235" y="335"/>
                    </a:lnTo>
                    <a:lnTo>
                      <a:pt x="1235" y="210"/>
                    </a:lnTo>
                    <a:lnTo>
                      <a:pt x="1193" y="147"/>
                    </a:lnTo>
                    <a:lnTo>
                      <a:pt x="1151" y="42"/>
                    </a:lnTo>
                    <a:lnTo>
                      <a:pt x="1005" y="0"/>
                    </a:lnTo>
                    <a:lnTo>
                      <a:pt x="900" y="42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3" name="Google Shape;12086;p43">
                <a:extLst>
                  <a:ext uri="{FF2B5EF4-FFF2-40B4-BE49-F238E27FC236}">
                    <a16:creationId xmlns:a16="http://schemas.microsoft.com/office/drawing/2014/main" id="{F032C33D-708C-21D7-39ED-CD165009E061}"/>
                  </a:ext>
                </a:extLst>
              </p:cNvPr>
              <p:cNvSpPr/>
              <p:nvPr/>
            </p:nvSpPr>
            <p:spPr>
              <a:xfrm>
                <a:off x="2605050" y="1520200"/>
                <a:ext cx="42400" cy="26175"/>
              </a:xfrm>
              <a:custGeom>
                <a:avLst/>
                <a:gdLst/>
                <a:ahLst/>
                <a:cxnLst/>
                <a:rect l="l" t="t" r="r" b="b"/>
                <a:pathLst>
                  <a:path w="1696" h="1047" extrusionOk="0">
                    <a:moveTo>
                      <a:pt x="1570" y="1"/>
                    </a:moveTo>
                    <a:lnTo>
                      <a:pt x="1486" y="64"/>
                    </a:lnTo>
                    <a:lnTo>
                      <a:pt x="1256" y="64"/>
                    </a:lnTo>
                    <a:lnTo>
                      <a:pt x="1130" y="168"/>
                    </a:lnTo>
                    <a:lnTo>
                      <a:pt x="963" y="168"/>
                    </a:lnTo>
                    <a:lnTo>
                      <a:pt x="921" y="189"/>
                    </a:lnTo>
                    <a:lnTo>
                      <a:pt x="816" y="105"/>
                    </a:lnTo>
                    <a:lnTo>
                      <a:pt x="712" y="84"/>
                    </a:lnTo>
                    <a:lnTo>
                      <a:pt x="356" y="189"/>
                    </a:lnTo>
                    <a:lnTo>
                      <a:pt x="126" y="189"/>
                    </a:lnTo>
                    <a:lnTo>
                      <a:pt x="105" y="273"/>
                    </a:lnTo>
                    <a:lnTo>
                      <a:pt x="0" y="377"/>
                    </a:lnTo>
                    <a:lnTo>
                      <a:pt x="0" y="482"/>
                    </a:lnTo>
                    <a:lnTo>
                      <a:pt x="105" y="461"/>
                    </a:lnTo>
                    <a:lnTo>
                      <a:pt x="231" y="461"/>
                    </a:lnTo>
                    <a:lnTo>
                      <a:pt x="314" y="419"/>
                    </a:lnTo>
                    <a:lnTo>
                      <a:pt x="398" y="461"/>
                    </a:lnTo>
                    <a:lnTo>
                      <a:pt x="503" y="461"/>
                    </a:lnTo>
                    <a:lnTo>
                      <a:pt x="565" y="503"/>
                    </a:lnTo>
                    <a:lnTo>
                      <a:pt x="503" y="587"/>
                    </a:lnTo>
                    <a:lnTo>
                      <a:pt x="544" y="712"/>
                    </a:lnTo>
                    <a:lnTo>
                      <a:pt x="628" y="817"/>
                    </a:lnTo>
                    <a:lnTo>
                      <a:pt x="712" y="712"/>
                    </a:lnTo>
                    <a:lnTo>
                      <a:pt x="712" y="628"/>
                    </a:lnTo>
                    <a:lnTo>
                      <a:pt x="754" y="587"/>
                    </a:lnTo>
                    <a:lnTo>
                      <a:pt x="858" y="712"/>
                    </a:lnTo>
                    <a:lnTo>
                      <a:pt x="837" y="838"/>
                    </a:lnTo>
                    <a:lnTo>
                      <a:pt x="984" y="1005"/>
                    </a:lnTo>
                    <a:lnTo>
                      <a:pt x="1088" y="984"/>
                    </a:lnTo>
                    <a:lnTo>
                      <a:pt x="1151" y="1047"/>
                    </a:lnTo>
                    <a:lnTo>
                      <a:pt x="1360" y="1047"/>
                    </a:lnTo>
                    <a:lnTo>
                      <a:pt x="1465" y="942"/>
                    </a:lnTo>
                    <a:lnTo>
                      <a:pt x="1591" y="900"/>
                    </a:lnTo>
                    <a:lnTo>
                      <a:pt x="1674" y="670"/>
                    </a:lnTo>
                    <a:lnTo>
                      <a:pt x="1591" y="503"/>
                    </a:lnTo>
                    <a:lnTo>
                      <a:pt x="1695" y="356"/>
                    </a:lnTo>
                    <a:lnTo>
                      <a:pt x="1695" y="273"/>
                    </a:lnTo>
                    <a:lnTo>
                      <a:pt x="1612" y="147"/>
                    </a:lnTo>
                    <a:lnTo>
                      <a:pt x="1653" y="64"/>
                    </a:lnTo>
                    <a:lnTo>
                      <a:pt x="157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4" name="Google Shape;12087;p43">
                <a:extLst>
                  <a:ext uri="{FF2B5EF4-FFF2-40B4-BE49-F238E27FC236}">
                    <a16:creationId xmlns:a16="http://schemas.microsoft.com/office/drawing/2014/main" id="{C4DA5A8E-19F3-59E9-6C32-D0709C36A8E0}"/>
                  </a:ext>
                </a:extLst>
              </p:cNvPr>
              <p:cNvSpPr/>
              <p:nvPr/>
            </p:nvSpPr>
            <p:spPr>
              <a:xfrm>
                <a:off x="2443425" y="1547400"/>
                <a:ext cx="1098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4395" h="2428" extrusionOk="0">
                    <a:moveTo>
                      <a:pt x="4268" y="1"/>
                    </a:moveTo>
                    <a:lnTo>
                      <a:pt x="4185" y="43"/>
                    </a:lnTo>
                    <a:lnTo>
                      <a:pt x="4059" y="105"/>
                    </a:lnTo>
                    <a:lnTo>
                      <a:pt x="4059" y="252"/>
                    </a:lnTo>
                    <a:lnTo>
                      <a:pt x="4038" y="336"/>
                    </a:lnTo>
                    <a:lnTo>
                      <a:pt x="4059" y="377"/>
                    </a:lnTo>
                    <a:lnTo>
                      <a:pt x="3955" y="419"/>
                    </a:lnTo>
                    <a:lnTo>
                      <a:pt x="3934" y="315"/>
                    </a:lnTo>
                    <a:lnTo>
                      <a:pt x="3892" y="315"/>
                    </a:lnTo>
                    <a:lnTo>
                      <a:pt x="3871" y="377"/>
                    </a:lnTo>
                    <a:lnTo>
                      <a:pt x="3829" y="440"/>
                    </a:lnTo>
                    <a:lnTo>
                      <a:pt x="3766" y="357"/>
                    </a:lnTo>
                    <a:lnTo>
                      <a:pt x="3745" y="168"/>
                    </a:lnTo>
                    <a:lnTo>
                      <a:pt x="3641" y="64"/>
                    </a:lnTo>
                    <a:lnTo>
                      <a:pt x="3578" y="64"/>
                    </a:lnTo>
                    <a:lnTo>
                      <a:pt x="3557" y="126"/>
                    </a:lnTo>
                    <a:lnTo>
                      <a:pt x="3432" y="126"/>
                    </a:lnTo>
                    <a:lnTo>
                      <a:pt x="3306" y="64"/>
                    </a:lnTo>
                    <a:lnTo>
                      <a:pt x="3222" y="64"/>
                    </a:lnTo>
                    <a:lnTo>
                      <a:pt x="2992" y="43"/>
                    </a:lnTo>
                    <a:lnTo>
                      <a:pt x="2846" y="126"/>
                    </a:lnTo>
                    <a:lnTo>
                      <a:pt x="2804" y="231"/>
                    </a:lnTo>
                    <a:lnTo>
                      <a:pt x="2741" y="315"/>
                    </a:lnTo>
                    <a:lnTo>
                      <a:pt x="2699" y="273"/>
                    </a:lnTo>
                    <a:lnTo>
                      <a:pt x="2636" y="273"/>
                    </a:lnTo>
                    <a:lnTo>
                      <a:pt x="2364" y="482"/>
                    </a:lnTo>
                    <a:lnTo>
                      <a:pt x="2281" y="566"/>
                    </a:lnTo>
                    <a:lnTo>
                      <a:pt x="2197" y="566"/>
                    </a:lnTo>
                    <a:lnTo>
                      <a:pt x="2051" y="670"/>
                    </a:lnTo>
                    <a:lnTo>
                      <a:pt x="1946" y="691"/>
                    </a:lnTo>
                    <a:lnTo>
                      <a:pt x="1862" y="775"/>
                    </a:lnTo>
                    <a:lnTo>
                      <a:pt x="1841" y="859"/>
                    </a:lnTo>
                    <a:lnTo>
                      <a:pt x="1653" y="859"/>
                    </a:lnTo>
                    <a:lnTo>
                      <a:pt x="1590" y="880"/>
                    </a:lnTo>
                    <a:lnTo>
                      <a:pt x="1465" y="859"/>
                    </a:lnTo>
                    <a:lnTo>
                      <a:pt x="1423" y="901"/>
                    </a:lnTo>
                    <a:lnTo>
                      <a:pt x="1339" y="901"/>
                    </a:lnTo>
                    <a:lnTo>
                      <a:pt x="1151" y="1068"/>
                    </a:lnTo>
                    <a:lnTo>
                      <a:pt x="1025" y="1152"/>
                    </a:lnTo>
                    <a:lnTo>
                      <a:pt x="900" y="1089"/>
                    </a:lnTo>
                    <a:lnTo>
                      <a:pt x="795" y="1152"/>
                    </a:lnTo>
                    <a:lnTo>
                      <a:pt x="523" y="1193"/>
                    </a:lnTo>
                    <a:lnTo>
                      <a:pt x="398" y="1382"/>
                    </a:lnTo>
                    <a:lnTo>
                      <a:pt x="314" y="1382"/>
                    </a:lnTo>
                    <a:lnTo>
                      <a:pt x="167" y="1403"/>
                    </a:lnTo>
                    <a:lnTo>
                      <a:pt x="105" y="1528"/>
                    </a:lnTo>
                    <a:lnTo>
                      <a:pt x="209" y="1528"/>
                    </a:lnTo>
                    <a:lnTo>
                      <a:pt x="272" y="1591"/>
                    </a:lnTo>
                    <a:lnTo>
                      <a:pt x="167" y="1591"/>
                    </a:lnTo>
                    <a:lnTo>
                      <a:pt x="126" y="1633"/>
                    </a:lnTo>
                    <a:lnTo>
                      <a:pt x="209" y="1717"/>
                    </a:lnTo>
                    <a:lnTo>
                      <a:pt x="188" y="1779"/>
                    </a:lnTo>
                    <a:lnTo>
                      <a:pt x="0" y="1842"/>
                    </a:lnTo>
                    <a:lnTo>
                      <a:pt x="0" y="1905"/>
                    </a:lnTo>
                    <a:lnTo>
                      <a:pt x="126" y="1926"/>
                    </a:lnTo>
                    <a:lnTo>
                      <a:pt x="230" y="1905"/>
                    </a:lnTo>
                    <a:lnTo>
                      <a:pt x="293" y="1821"/>
                    </a:lnTo>
                    <a:lnTo>
                      <a:pt x="377" y="1800"/>
                    </a:lnTo>
                    <a:lnTo>
                      <a:pt x="481" y="1842"/>
                    </a:lnTo>
                    <a:lnTo>
                      <a:pt x="586" y="1989"/>
                    </a:lnTo>
                    <a:lnTo>
                      <a:pt x="586" y="2114"/>
                    </a:lnTo>
                    <a:lnTo>
                      <a:pt x="691" y="2156"/>
                    </a:lnTo>
                    <a:lnTo>
                      <a:pt x="732" y="2114"/>
                    </a:lnTo>
                    <a:lnTo>
                      <a:pt x="732" y="2009"/>
                    </a:lnTo>
                    <a:lnTo>
                      <a:pt x="753" y="1989"/>
                    </a:lnTo>
                    <a:lnTo>
                      <a:pt x="816" y="1821"/>
                    </a:lnTo>
                    <a:lnTo>
                      <a:pt x="858" y="1821"/>
                    </a:lnTo>
                    <a:lnTo>
                      <a:pt x="1004" y="1779"/>
                    </a:lnTo>
                    <a:lnTo>
                      <a:pt x="1067" y="1800"/>
                    </a:lnTo>
                    <a:lnTo>
                      <a:pt x="1046" y="1884"/>
                    </a:lnTo>
                    <a:lnTo>
                      <a:pt x="942" y="1926"/>
                    </a:lnTo>
                    <a:lnTo>
                      <a:pt x="900" y="2093"/>
                    </a:lnTo>
                    <a:lnTo>
                      <a:pt x="942" y="2156"/>
                    </a:lnTo>
                    <a:lnTo>
                      <a:pt x="858" y="2240"/>
                    </a:lnTo>
                    <a:lnTo>
                      <a:pt x="816" y="2323"/>
                    </a:lnTo>
                    <a:lnTo>
                      <a:pt x="858" y="2407"/>
                    </a:lnTo>
                    <a:lnTo>
                      <a:pt x="921" y="2323"/>
                    </a:lnTo>
                    <a:lnTo>
                      <a:pt x="1004" y="2344"/>
                    </a:lnTo>
                    <a:lnTo>
                      <a:pt x="1004" y="2428"/>
                    </a:lnTo>
                    <a:lnTo>
                      <a:pt x="1046" y="2428"/>
                    </a:lnTo>
                    <a:lnTo>
                      <a:pt x="1235" y="2323"/>
                    </a:lnTo>
                    <a:lnTo>
                      <a:pt x="1318" y="2219"/>
                    </a:lnTo>
                    <a:lnTo>
                      <a:pt x="1381" y="2240"/>
                    </a:lnTo>
                    <a:lnTo>
                      <a:pt x="1444" y="2135"/>
                    </a:lnTo>
                    <a:lnTo>
                      <a:pt x="1444" y="2009"/>
                    </a:lnTo>
                    <a:lnTo>
                      <a:pt x="1527" y="2009"/>
                    </a:lnTo>
                    <a:lnTo>
                      <a:pt x="1590" y="1905"/>
                    </a:lnTo>
                    <a:lnTo>
                      <a:pt x="1590" y="1779"/>
                    </a:lnTo>
                    <a:lnTo>
                      <a:pt x="1653" y="1717"/>
                    </a:lnTo>
                    <a:lnTo>
                      <a:pt x="1674" y="1779"/>
                    </a:lnTo>
                    <a:lnTo>
                      <a:pt x="1653" y="1842"/>
                    </a:lnTo>
                    <a:lnTo>
                      <a:pt x="1674" y="1926"/>
                    </a:lnTo>
                    <a:lnTo>
                      <a:pt x="1653" y="2051"/>
                    </a:lnTo>
                    <a:lnTo>
                      <a:pt x="1674" y="2198"/>
                    </a:lnTo>
                    <a:lnTo>
                      <a:pt x="1737" y="2198"/>
                    </a:lnTo>
                    <a:lnTo>
                      <a:pt x="1841" y="2051"/>
                    </a:lnTo>
                    <a:lnTo>
                      <a:pt x="1862" y="1926"/>
                    </a:lnTo>
                    <a:lnTo>
                      <a:pt x="1883" y="1884"/>
                    </a:lnTo>
                    <a:lnTo>
                      <a:pt x="1967" y="1842"/>
                    </a:lnTo>
                    <a:lnTo>
                      <a:pt x="2092" y="1696"/>
                    </a:lnTo>
                    <a:lnTo>
                      <a:pt x="2113" y="1570"/>
                    </a:lnTo>
                    <a:lnTo>
                      <a:pt x="2092" y="1465"/>
                    </a:lnTo>
                    <a:lnTo>
                      <a:pt x="2155" y="1361"/>
                    </a:lnTo>
                    <a:lnTo>
                      <a:pt x="2197" y="1486"/>
                    </a:lnTo>
                    <a:lnTo>
                      <a:pt x="2406" y="1361"/>
                    </a:lnTo>
                    <a:lnTo>
                      <a:pt x="2469" y="1193"/>
                    </a:lnTo>
                    <a:lnTo>
                      <a:pt x="2490" y="1089"/>
                    </a:lnTo>
                    <a:lnTo>
                      <a:pt x="2595" y="1068"/>
                    </a:lnTo>
                    <a:lnTo>
                      <a:pt x="2636" y="1047"/>
                    </a:lnTo>
                    <a:lnTo>
                      <a:pt x="2720" y="1089"/>
                    </a:lnTo>
                    <a:lnTo>
                      <a:pt x="2825" y="984"/>
                    </a:lnTo>
                    <a:lnTo>
                      <a:pt x="2888" y="1047"/>
                    </a:lnTo>
                    <a:lnTo>
                      <a:pt x="2825" y="1256"/>
                    </a:lnTo>
                    <a:lnTo>
                      <a:pt x="2678" y="1403"/>
                    </a:lnTo>
                    <a:lnTo>
                      <a:pt x="2636" y="1507"/>
                    </a:lnTo>
                    <a:lnTo>
                      <a:pt x="2574" y="1591"/>
                    </a:lnTo>
                    <a:lnTo>
                      <a:pt x="2574" y="1633"/>
                    </a:lnTo>
                    <a:lnTo>
                      <a:pt x="2469" y="1696"/>
                    </a:lnTo>
                    <a:lnTo>
                      <a:pt x="2323" y="1926"/>
                    </a:lnTo>
                    <a:lnTo>
                      <a:pt x="2323" y="1989"/>
                    </a:lnTo>
                    <a:lnTo>
                      <a:pt x="2385" y="2093"/>
                    </a:lnTo>
                    <a:lnTo>
                      <a:pt x="2364" y="2198"/>
                    </a:lnTo>
                    <a:lnTo>
                      <a:pt x="2427" y="2219"/>
                    </a:lnTo>
                    <a:lnTo>
                      <a:pt x="2532" y="2261"/>
                    </a:lnTo>
                    <a:lnTo>
                      <a:pt x="2616" y="2198"/>
                    </a:lnTo>
                    <a:lnTo>
                      <a:pt x="2720" y="2135"/>
                    </a:lnTo>
                    <a:lnTo>
                      <a:pt x="2741" y="2030"/>
                    </a:lnTo>
                    <a:lnTo>
                      <a:pt x="2741" y="1926"/>
                    </a:lnTo>
                    <a:lnTo>
                      <a:pt x="2825" y="1842"/>
                    </a:lnTo>
                    <a:lnTo>
                      <a:pt x="2888" y="1737"/>
                    </a:lnTo>
                    <a:lnTo>
                      <a:pt x="2950" y="1737"/>
                    </a:lnTo>
                    <a:lnTo>
                      <a:pt x="3013" y="1717"/>
                    </a:lnTo>
                    <a:lnTo>
                      <a:pt x="3097" y="1779"/>
                    </a:lnTo>
                    <a:lnTo>
                      <a:pt x="3201" y="1779"/>
                    </a:lnTo>
                    <a:lnTo>
                      <a:pt x="3243" y="1717"/>
                    </a:lnTo>
                    <a:lnTo>
                      <a:pt x="3432" y="1717"/>
                    </a:lnTo>
                    <a:lnTo>
                      <a:pt x="3515" y="1612"/>
                    </a:lnTo>
                    <a:lnTo>
                      <a:pt x="3557" y="1403"/>
                    </a:lnTo>
                    <a:lnTo>
                      <a:pt x="3662" y="1256"/>
                    </a:lnTo>
                    <a:lnTo>
                      <a:pt x="3662" y="1152"/>
                    </a:lnTo>
                    <a:lnTo>
                      <a:pt x="3683" y="1089"/>
                    </a:lnTo>
                    <a:lnTo>
                      <a:pt x="3766" y="1214"/>
                    </a:lnTo>
                    <a:lnTo>
                      <a:pt x="3871" y="1256"/>
                    </a:lnTo>
                    <a:lnTo>
                      <a:pt x="3892" y="1193"/>
                    </a:lnTo>
                    <a:lnTo>
                      <a:pt x="3892" y="1110"/>
                    </a:lnTo>
                    <a:lnTo>
                      <a:pt x="3787" y="963"/>
                    </a:lnTo>
                    <a:lnTo>
                      <a:pt x="3787" y="880"/>
                    </a:lnTo>
                    <a:lnTo>
                      <a:pt x="3934" y="775"/>
                    </a:lnTo>
                    <a:lnTo>
                      <a:pt x="4038" y="754"/>
                    </a:lnTo>
                    <a:lnTo>
                      <a:pt x="4143" y="691"/>
                    </a:lnTo>
                    <a:lnTo>
                      <a:pt x="4206" y="733"/>
                    </a:lnTo>
                    <a:lnTo>
                      <a:pt x="4289" y="733"/>
                    </a:lnTo>
                    <a:lnTo>
                      <a:pt x="4394" y="587"/>
                    </a:lnTo>
                    <a:lnTo>
                      <a:pt x="4373" y="524"/>
                    </a:lnTo>
                    <a:lnTo>
                      <a:pt x="4352" y="273"/>
                    </a:lnTo>
                    <a:lnTo>
                      <a:pt x="4373" y="231"/>
                    </a:lnTo>
                    <a:lnTo>
                      <a:pt x="4352" y="168"/>
                    </a:lnTo>
                    <a:lnTo>
                      <a:pt x="4352" y="22"/>
                    </a:lnTo>
                    <a:lnTo>
                      <a:pt x="42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5" name="Google Shape;12088;p43">
                <a:extLst>
                  <a:ext uri="{FF2B5EF4-FFF2-40B4-BE49-F238E27FC236}">
                    <a16:creationId xmlns:a16="http://schemas.microsoft.com/office/drawing/2014/main" id="{EF9510AA-71F9-C538-E1AC-C70D3C53B932}"/>
                  </a:ext>
                </a:extLst>
              </p:cNvPr>
              <p:cNvSpPr/>
              <p:nvPr/>
            </p:nvSpPr>
            <p:spPr>
              <a:xfrm>
                <a:off x="2580975" y="1547400"/>
                <a:ext cx="48150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1926" h="1299" extrusionOk="0">
                    <a:moveTo>
                      <a:pt x="796" y="1"/>
                    </a:moveTo>
                    <a:lnTo>
                      <a:pt x="524" y="43"/>
                    </a:lnTo>
                    <a:lnTo>
                      <a:pt x="440" y="43"/>
                    </a:lnTo>
                    <a:lnTo>
                      <a:pt x="336" y="126"/>
                    </a:lnTo>
                    <a:lnTo>
                      <a:pt x="231" y="168"/>
                    </a:lnTo>
                    <a:lnTo>
                      <a:pt x="210" y="315"/>
                    </a:lnTo>
                    <a:lnTo>
                      <a:pt x="64" y="419"/>
                    </a:lnTo>
                    <a:lnTo>
                      <a:pt x="64" y="524"/>
                    </a:lnTo>
                    <a:lnTo>
                      <a:pt x="1" y="629"/>
                    </a:lnTo>
                    <a:lnTo>
                      <a:pt x="22" y="754"/>
                    </a:lnTo>
                    <a:lnTo>
                      <a:pt x="22" y="880"/>
                    </a:lnTo>
                    <a:lnTo>
                      <a:pt x="106" y="880"/>
                    </a:lnTo>
                    <a:lnTo>
                      <a:pt x="231" y="963"/>
                    </a:lnTo>
                    <a:lnTo>
                      <a:pt x="315" y="1110"/>
                    </a:lnTo>
                    <a:lnTo>
                      <a:pt x="231" y="1193"/>
                    </a:lnTo>
                    <a:lnTo>
                      <a:pt x="252" y="1214"/>
                    </a:lnTo>
                    <a:lnTo>
                      <a:pt x="378" y="1214"/>
                    </a:lnTo>
                    <a:lnTo>
                      <a:pt x="524" y="1256"/>
                    </a:lnTo>
                    <a:lnTo>
                      <a:pt x="566" y="1214"/>
                    </a:lnTo>
                    <a:lnTo>
                      <a:pt x="691" y="1298"/>
                    </a:lnTo>
                    <a:lnTo>
                      <a:pt x="838" y="1298"/>
                    </a:lnTo>
                    <a:lnTo>
                      <a:pt x="943" y="1256"/>
                    </a:lnTo>
                    <a:lnTo>
                      <a:pt x="1068" y="1256"/>
                    </a:lnTo>
                    <a:lnTo>
                      <a:pt x="1110" y="1152"/>
                    </a:lnTo>
                    <a:lnTo>
                      <a:pt x="1110" y="1089"/>
                    </a:lnTo>
                    <a:lnTo>
                      <a:pt x="1215" y="1068"/>
                    </a:lnTo>
                    <a:lnTo>
                      <a:pt x="1256" y="984"/>
                    </a:lnTo>
                    <a:lnTo>
                      <a:pt x="1403" y="796"/>
                    </a:lnTo>
                    <a:lnTo>
                      <a:pt x="1382" y="733"/>
                    </a:lnTo>
                    <a:lnTo>
                      <a:pt x="1319" y="754"/>
                    </a:lnTo>
                    <a:lnTo>
                      <a:pt x="1215" y="733"/>
                    </a:lnTo>
                    <a:lnTo>
                      <a:pt x="1215" y="670"/>
                    </a:lnTo>
                    <a:lnTo>
                      <a:pt x="1361" y="545"/>
                    </a:lnTo>
                    <a:lnTo>
                      <a:pt x="1466" y="545"/>
                    </a:lnTo>
                    <a:lnTo>
                      <a:pt x="1738" y="440"/>
                    </a:lnTo>
                    <a:lnTo>
                      <a:pt x="1821" y="461"/>
                    </a:lnTo>
                    <a:lnTo>
                      <a:pt x="1926" y="273"/>
                    </a:lnTo>
                    <a:lnTo>
                      <a:pt x="1905" y="231"/>
                    </a:lnTo>
                    <a:lnTo>
                      <a:pt x="1779" y="210"/>
                    </a:lnTo>
                    <a:lnTo>
                      <a:pt x="1717" y="147"/>
                    </a:lnTo>
                    <a:lnTo>
                      <a:pt x="1591" y="126"/>
                    </a:lnTo>
                    <a:lnTo>
                      <a:pt x="1424" y="126"/>
                    </a:lnTo>
                    <a:lnTo>
                      <a:pt x="1403" y="105"/>
                    </a:lnTo>
                    <a:lnTo>
                      <a:pt x="1256" y="43"/>
                    </a:lnTo>
                    <a:lnTo>
                      <a:pt x="1173" y="64"/>
                    </a:lnTo>
                    <a:lnTo>
                      <a:pt x="1047" y="64"/>
                    </a:lnTo>
                    <a:lnTo>
                      <a:pt x="963" y="43"/>
                    </a:lnTo>
                    <a:lnTo>
                      <a:pt x="859" y="43"/>
                    </a:lnTo>
                    <a:lnTo>
                      <a:pt x="79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6" name="Google Shape;12089;p43">
                <a:extLst>
                  <a:ext uri="{FF2B5EF4-FFF2-40B4-BE49-F238E27FC236}">
                    <a16:creationId xmlns:a16="http://schemas.microsoft.com/office/drawing/2014/main" id="{7A28A02A-59B7-1D80-C035-D4160E3CF9A2}"/>
                  </a:ext>
                </a:extLst>
              </p:cNvPr>
              <p:cNvSpPr/>
              <p:nvPr/>
            </p:nvSpPr>
            <p:spPr>
              <a:xfrm>
                <a:off x="2474800" y="1600250"/>
                <a:ext cx="142825" cy="88425"/>
              </a:xfrm>
              <a:custGeom>
                <a:avLst/>
                <a:gdLst/>
                <a:ahLst/>
                <a:cxnLst/>
                <a:rect l="l" t="t" r="r" b="b"/>
                <a:pathLst>
                  <a:path w="5713" h="3537" extrusionOk="0">
                    <a:moveTo>
                      <a:pt x="2177" y="0"/>
                    </a:moveTo>
                    <a:lnTo>
                      <a:pt x="1863" y="84"/>
                    </a:lnTo>
                    <a:lnTo>
                      <a:pt x="1800" y="126"/>
                    </a:lnTo>
                    <a:lnTo>
                      <a:pt x="1863" y="188"/>
                    </a:lnTo>
                    <a:lnTo>
                      <a:pt x="1863" y="293"/>
                    </a:lnTo>
                    <a:lnTo>
                      <a:pt x="1988" y="356"/>
                    </a:lnTo>
                    <a:lnTo>
                      <a:pt x="2051" y="460"/>
                    </a:lnTo>
                    <a:lnTo>
                      <a:pt x="1967" y="439"/>
                    </a:lnTo>
                    <a:lnTo>
                      <a:pt x="1842" y="335"/>
                    </a:lnTo>
                    <a:lnTo>
                      <a:pt x="1758" y="335"/>
                    </a:lnTo>
                    <a:lnTo>
                      <a:pt x="1695" y="293"/>
                    </a:lnTo>
                    <a:lnTo>
                      <a:pt x="1591" y="293"/>
                    </a:lnTo>
                    <a:lnTo>
                      <a:pt x="1465" y="335"/>
                    </a:lnTo>
                    <a:lnTo>
                      <a:pt x="1381" y="335"/>
                    </a:lnTo>
                    <a:lnTo>
                      <a:pt x="1319" y="398"/>
                    </a:lnTo>
                    <a:lnTo>
                      <a:pt x="1256" y="502"/>
                    </a:lnTo>
                    <a:lnTo>
                      <a:pt x="1130" y="607"/>
                    </a:lnTo>
                    <a:lnTo>
                      <a:pt x="1214" y="711"/>
                    </a:lnTo>
                    <a:lnTo>
                      <a:pt x="1444" y="753"/>
                    </a:lnTo>
                    <a:lnTo>
                      <a:pt x="1549" y="753"/>
                    </a:lnTo>
                    <a:lnTo>
                      <a:pt x="1653" y="837"/>
                    </a:lnTo>
                    <a:lnTo>
                      <a:pt x="1737" y="837"/>
                    </a:lnTo>
                    <a:lnTo>
                      <a:pt x="1758" y="879"/>
                    </a:lnTo>
                    <a:lnTo>
                      <a:pt x="1695" y="921"/>
                    </a:lnTo>
                    <a:lnTo>
                      <a:pt x="1570" y="879"/>
                    </a:lnTo>
                    <a:lnTo>
                      <a:pt x="1319" y="858"/>
                    </a:lnTo>
                    <a:lnTo>
                      <a:pt x="1109" y="879"/>
                    </a:lnTo>
                    <a:lnTo>
                      <a:pt x="1026" y="858"/>
                    </a:lnTo>
                    <a:lnTo>
                      <a:pt x="921" y="879"/>
                    </a:lnTo>
                    <a:lnTo>
                      <a:pt x="754" y="1046"/>
                    </a:lnTo>
                    <a:lnTo>
                      <a:pt x="607" y="1193"/>
                    </a:lnTo>
                    <a:lnTo>
                      <a:pt x="628" y="1256"/>
                    </a:lnTo>
                    <a:lnTo>
                      <a:pt x="754" y="1256"/>
                    </a:lnTo>
                    <a:lnTo>
                      <a:pt x="942" y="1297"/>
                    </a:lnTo>
                    <a:lnTo>
                      <a:pt x="1068" y="1276"/>
                    </a:lnTo>
                    <a:lnTo>
                      <a:pt x="1214" y="1276"/>
                    </a:lnTo>
                    <a:lnTo>
                      <a:pt x="1256" y="1339"/>
                    </a:lnTo>
                    <a:lnTo>
                      <a:pt x="1340" y="1381"/>
                    </a:lnTo>
                    <a:lnTo>
                      <a:pt x="1214" y="1486"/>
                    </a:lnTo>
                    <a:lnTo>
                      <a:pt x="1068" y="1486"/>
                    </a:lnTo>
                    <a:lnTo>
                      <a:pt x="963" y="1569"/>
                    </a:lnTo>
                    <a:lnTo>
                      <a:pt x="837" y="1548"/>
                    </a:lnTo>
                    <a:lnTo>
                      <a:pt x="712" y="1465"/>
                    </a:lnTo>
                    <a:lnTo>
                      <a:pt x="503" y="1465"/>
                    </a:lnTo>
                    <a:lnTo>
                      <a:pt x="419" y="1444"/>
                    </a:lnTo>
                    <a:lnTo>
                      <a:pt x="314" y="1465"/>
                    </a:lnTo>
                    <a:lnTo>
                      <a:pt x="84" y="1611"/>
                    </a:lnTo>
                    <a:lnTo>
                      <a:pt x="126" y="1674"/>
                    </a:lnTo>
                    <a:lnTo>
                      <a:pt x="126" y="1800"/>
                    </a:lnTo>
                    <a:lnTo>
                      <a:pt x="0" y="1800"/>
                    </a:lnTo>
                    <a:lnTo>
                      <a:pt x="0" y="1862"/>
                    </a:lnTo>
                    <a:lnTo>
                      <a:pt x="189" y="1988"/>
                    </a:lnTo>
                    <a:lnTo>
                      <a:pt x="314" y="2134"/>
                    </a:lnTo>
                    <a:lnTo>
                      <a:pt x="377" y="2134"/>
                    </a:lnTo>
                    <a:lnTo>
                      <a:pt x="398" y="2030"/>
                    </a:lnTo>
                    <a:lnTo>
                      <a:pt x="482" y="2072"/>
                    </a:lnTo>
                    <a:lnTo>
                      <a:pt x="419" y="2134"/>
                    </a:lnTo>
                    <a:lnTo>
                      <a:pt x="544" y="2239"/>
                    </a:lnTo>
                    <a:lnTo>
                      <a:pt x="544" y="2385"/>
                    </a:lnTo>
                    <a:lnTo>
                      <a:pt x="649" y="2427"/>
                    </a:lnTo>
                    <a:lnTo>
                      <a:pt x="733" y="2344"/>
                    </a:lnTo>
                    <a:lnTo>
                      <a:pt x="733" y="2218"/>
                    </a:lnTo>
                    <a:lnTo>
                      <a:pt x="796" y="2239"/>
                    </a:lnTo>
                    <a:lnTo>
                      <a:pt x="900" y="2239"/>
                    </a:lnTo>
                    <a:lnTo>
                      <a:pt x="837" y="2323"/>
                    </a:lnTo>
                    <a:lnTo>
                      <a:pt x="837" y="2427"/>
                    </a:lnTo>
                    <a:lnTo>
                      <a:pt x="963" y="2511"/>
                    </a:lnTo>
                    <a:lnTo>
                      <a:pt x="1068" y="2490"/>
                    </a:lnTo>
                    <a:lnTo>
                      <a:pt x="1109" y="2406"/>
                    </a:lnTo>
                    <a:lnTo>
                      <a:pt x="1277" y="2323"/>
                    </a:lnTo>
                    <a:lnTo>
                      <a:pt x="1319" y="2197"/>
                    </a:lnTo>
                    <a:lnTo>
                      <a:pt x="1340" y="2176"/>
                    </a:lnTo>
                    <a:lnTo>
                      <a:pt x="1423" y="2281"/>
                    </a:lnTo>
                    <a:lnTo>
                      <a:pt x="1465" y="2197"/>
                    </a:lnTo>
                    <a:lnTo>
                      <a:pt x="1591" y="2176"/>
                    </a:lnTo>
                    <a:lnTo>
                      <a:pt x="1674" y="2176"/>
                    </a:lnTo>
                    <a:lnTo>
                      <a:pt x="1549" y="2281"/>
                    </a:lnTo>
                    <a:lnTo>
                      <a:pt x="1423" y="2344"/>
                    </a:lnTo>
                    <a:lnTo>
                      <a:pt x="1423" y="2448"/>
                    </a:lnTo>
                    <a:lnTo>
                      <a:pt x="1570" y="2511"/>
                    </a:lnTo>
                    <a:lnTo>
                      <a:pt x="1674" y="2490"/>
                    </a:lnTo>
                    <a:lnTo>
                      <a:pt x="1737" y="2532"/>
                    </a:lnTo>
                    <a:lnTo>
                      <a:pt x="1842" y="2511"/>
                    </a:lnTo>
                    <a:lnTo>
                      <a:pt x="1946" y="2490"/>
                    </a:lnTo>
                    <a:lnTo>
                      <a:pt x="2009" y="2406"/>
                    </a:lnTo>
                    <a:lnTo>
                      <a:pt x="2093" y="2490"/>
                    </a:lnTo>
                    <a:lnTo>
                      <a:pt x="2093" y="2553"/>
                    </a:lnTo>
                    <a:lnTo>
                      <a:pt x="2260" y="2553"/>
                    </a:lnTo>
                    <a:lnTo>
                      <a:pt x="2407" y="2490"/>
                    </a:lnTo>
                    <a:lnTo>
                      <a:pt x="2407" y="2553"/>
                    </a:lnTo>
                    <a:lnTo>
                      <a:pt x="2574" y="2553"/>
                    </a:lnTo>
                    <a:lnTo>
                      <a:pt x="2637" y="2490"/>
                    </a:lnTo>
                    <a:lnTo>
                      <a:pt x="2700" y="2532"/>
                    </a:lnTo>
                    <a:lnTo>
                      <a:pt x="2616" y="2595"/>
                    </a:lnTo>
                    <a:lnTo>
                      <a:pt x="2595" y="2657"/>
                    </a:lnTo>
                    <a:lnTo>
                      <a:pt x="2323" y="2657"/>
                    </a:lnTo>
                    <a:lnTo>
                      <a:pt x="2218" y="2741"/>
                    </a:lnTo>
                    <a:lnTo>
                      <a:pt x="2156" y="2720"/>
                    </a:lnTo>
                    <a:lnTo>
                      <a:pt x="2009" y="2720"/>
                    </a:lnTo>
                    <a:lnTo>
                      <a:pt x="1842" y="2657"/>
                    </a:lnTo>
                    <a:lnTo>
                      <a:pt x="1653" y="2657"/>
                    </a:lnTo>
                    <a:lnTo>
                      <a:pt x="1486" y="2741"/>
                    </a:lnTo>
                    <a:lnTo>
                      <a:pt x="1381" y="2741"/>
                    </a:lnTo>
                    <a:lnTo>
                      <a:pt x="1256" y="2720"/>
                    </a:lnTo>
                    <a:lnTo>
                      <a:pt x="1172" y="2762"/>
                    </a:lnTo>
                    <a:lnTo>
                      <a:pt x="1005" y="2720"/>
                    </a:lnTo>
                    <a:lnTo>
                      <a:pt x="837" y="2762"/>
                    </a:lnTo>
                    <a:lnTo>
                      <a:pt x="816" y="2950"/>
                    </a:lnTo>
                    <a:lnTo>
                      <a:pt x="837" y="3034"/>
                    </a:lnTo>
                    <a:lnTo>
                      <a:pt x="796" y="3160"/>
                    </a:lnTo>
                    <a:lnTo>
                      <a:pt x="921" y="3285"/>
                    </a:lnTo>
                    <a:lnTo>
                      <a:pt x="963" y="3390"/>
                    </a:lnTo>
                    <a:lnTo>
                      <a:pt x="1130" y="3432"/>
                    </a:lnTo>
                    <a:lnTo>
                      <a:pt x="1319" y="3494"/>
                    </a:lnTo>
                    <a:lnTo>
                      <a:pt x="1465" y="3494"/>
                    </a:lnTo>
                    <a:lnTo>
                      <a:pt x="1633" y="3452"/>
                    </a:lnTo>
                    <a:lnTo>
                      <a:pt x="1779" y="3452"/>
                    </a:lnTo>
                    <a:lnTo>
                      <a:pt x="1800" y="3536"/>
                    </a:lnTo>
                    <a:lnTo>
                      <a:pt x="1946" y="3536"/>
                    </a:lnTo>
                    <a:lnTo>
                      <a:pt x="2072" y="3473"/>
                    </a:lnTo>
                    <a:lnTo>
                      <a:pt x="2093" y="3473"/>
                    </a:lnTo>
                    <a:lnTo>
                      <a:pt x="2218" y="3452"/>
                    </a:lnTo>
                    <a:lnTo>
                      <a:pt x="2260" y="3369"/>
                    </a:lnTo>
                    <a:lnTo>
                      <a:pt x="2386" y="3369"/>
                    </a:lnTo>
                    <a:lnTo>
                      <a:pt x="2428" y="3348"/>
                    </a:lnTo>
                    <a:lnTo>
                      <a:pt x="2469" y="3243"/>
                    </a:lnTo>
                    <a:lnTo>
                      <a:pt x="2532" y="3222"/>
                    </a:lnTo>
                    <a:lnTo>
                      <a:pt x="2616" y="3222"/>
                    </a:lnTo>
                    <a:lnTo>
                      <a:pt x="2679" y="3139"/>
                    </a:lnTo>
                    <a:lnTo>
                      <a:pt x="2741" y="3180"/>
                    </a:lnTo>
                    <a:lnTo>
                      <a:pt x="2909" y="3180"/>
                    </a:lnTo>
                    <a:lnTo>
                      <a:pt x="2930" y="3222"/>
                    </a:lnTo>
                    <a:lnTo>
                      <a:pt x="3055" y="3222"/>
                    </a:lnTo>
                    <a:lnTo>
                      <a:pt x="3118" y="3160"/>
                    </a:lnTo>
                    <a:lnTo>
                      <a:pt x="3306" y="3076"/>
                    </a:lnTo>
                    <a:lnTo>
                      <a:pt x="3369" y="3076"/>
                    </a:lnTo>
                    <a:lnTo>
                      <a:pt x="3453" y="3055"/>
                    </a:lnTo>
                    <a:lnTo>
                      <a:pt x="3453" y="2971"/>
                    </a:lnTo>
                    <a:lnTo>
                      <a:pt x="3537" y="3013"/>
                    </a:lnTo>
                    <a:lnTo>
                      <a:pt x="3557" y="3076"/>
                    </a:lnTo>
                    <a:lnTo>
                      <a:pt x="3516" y="3160"/>
                    </a:lnTo>
                    <a:lnTo>
                      <a:pt x="3516" y="3222"/>
                    </a:lnTo>
                    <a:lnTo>
                      <a:pt x="3662" y="3264"/>
                    </a:lnTo>
                    <a:lnTo>
                      <a:pt x="3746" y="3243"/>
                    </a:lnTo>
                    <a:lnTo>
                      <a:pt x="3767" y="3160"/>
                    </a:lnTo>
                    <a:lnTo>
                      <a:pt x="3892" y="3118"/>
                    </a:lnTo>
                    <a:lnTo>
                      <a:pt x="3934" y="3118"/>
                    </a:lnTo>
                    <a:lnTo>
                      <a:pt x="3955" y="3180"/>
                    </a:lnTo>
                    <a:lnTo>
                      <a:pt x="3871" y="3264"/>
                    </a:lnTo>
                    <a:lnTo>
                      <a:pt x="3892" y="3348"/>
                    </a:lnTo>
                    <a:lnTo>
                      <a:pt x="4039" y="3390"/>
                    </a:lnTo>
                    <a:lnTo>
                      <a:pt x="4206" y="3369"/>
                    </a:lnTo>
                    <a:lnTo>
                      <a:pt x="4394" y="3285"/>
                    </a:lnTo>
                    <a:lnTo>
                      <a:pt x="4478" y="3285"/>
                    </a:lnTo>
                    <a:lnTo>
                      <a:pt x="4583" y="3264"/>
                    </a:lnTo>
                    <a:lnTo>
                      <a:pt x="4666" y="3327"/>
                    </a:lnTo>
                    <a:lnTo>
                      <a:pt x="4708" y="3285"/>
                    </a:lnTo>
                    <a:lnTo>
                      <a:pt x="4708" y="3243"/>
                    </a:lnTo>
                    <a:lnTo>
                      <a:pt x="4771" y="3222"/>
                    </a:lnTo>
                    <a:lnTo>
                      <a:pt x="4834" y="3222"/>
                    </a:lnTo>
                    <a:lnTo>
                      <a:pt x="4876" y="3139"/>
                    </a:lnTo>
                    <a:lnTo>
                      <a:pt x="4876" y="3055"/>
                    </a:lnTo>
                    <a:lnTo>
                      <a:pt x="4980" y="2971"/>
                    </a:lnTo>
                    <a:lnTo>
                      <a:pt x="5085" y="2971"/>
                    </a:lnTo>
                    <a:lnTo>
                      <a:pt x="5190" y="2804"/>
                    </a:lnTo>
                    <a:lnTo>
                      <a:pt x="5190" y="2720"/>
                    </a:lnTo>
                    <a:lnTo>
                      <a:pt x="5210" y="2657"/>
                    </a:lnTo>
                    <a:lnTo>
                      <a:pt x="5294" y="2657"/>
                    </a:lnTo>
                    <a:lnTo>
                      <a:pt x="5399" y="2616"/>
                    </a:lnTo>
                    <a:lnTo>
                      <a:pt x="5524" y="2490"/>
                    </a:lnTo>
                    <a:lnTo>
                      <a:pt x="5650" y="2218"/>
                    </a:lnTo>
                    <a:lnTo>
                      <a:pt x="5713" y="2072"/>
                    </a:lnTo>
                    <a:lnTo>
                      <a:pt x="5650" y="1967"/>
                    </a:lnTo>
                    <a:lnTo>
                      <a:pt x="5566" y="1779"/>
                    </a:lnTo>
                    <a:lnTo>
                      <a:pt x="5441" y="1695"/>
                    </a:lnTo>
                    <a:lnTo>
                      <a:pt x="5357" y="1695"/>
                    </a:lnTo>
                    <a:lnTo>
                      <a:pt x="5190" y="1820"/>
                    </a:lnTo>
                    <a:lnTo>
                      <a:pt x="5190" y="1925"/>
                    </a:lnTo>
                    <a:lnTo>
                      <a:pt x="5106" y="2072"/>
                    </a:lnTo>
                    <a:lnTo>
                      <a:pt x="5127" y="2092"/>
                    </a:lnTo>
                    <a:lnTo>
                      <a:pt x="5106" y="2134"/>
                    </a:lnTo>
                    <a:lnTo>
                      <a:pt x="5022" y="2134"/>
                    </a:lnTo>
                    <a:lnTo>
                      <a:pt x="4918" y="2239"/>
                    </a:lnTo>
                    <a:lnTo>
                      <a:pt x="4897" y="2197"/>
                    </a:lnTo>
                    <a:lnTo>
                      <a:pt x="4980" y="2009"/>
                    </a:lnTo>
                    <a:lnTo>
                      <a:pt x="5001" y="1883"/>
                    </a:lnTo>
                    <a:lnTo>
                      <a:pt x="4834" y="1800"/>
                    </a:lnTo>
                    <a:lnTo>
                      <a:pt x="4771" y="1820"/>
                    </a:lnTo>
                    <a:lnTo>
                      <a:pt x="4687" y="1904"/>
                    </a:lnTo>
                    <a:lnTo>
                      <a:pt x="4499" y="2009"/>
                    </a:lnTo>
                    <a:lnTo>
                      <a:pt x="4457" y="2113"/>
                    </a:lnTo>
                    <a:lnTo>
                      <a:pt x="4394" y="2030"/>
                    </a:lnTo>
                    <a:lnTo>
                      <a:pt x="4415" y="1925"/>
                    </a:lnTo>
                    <a:lnTo>
                      <a:pt x="4583" y="1800"/>
                    </a:lnTo>
                    <a:lnTo>
                      <a:pt x="4771" y="1695"/>
                    </a:lnTo>
                    <a:lnTo>
                      <a:pt x="4834" y="1569"/>
                    </a:lnTo>
                    <a:lnTo>
                      <a:pt x="4813" y="1507"/>
                    </a:lnTo>
                    <a:lnTo>
                      <a:pt x="4666" y="1507"/>
                    </a:lnTo>
                    <a:lnTo>
                      <a:pt x="4562" y="1548"/>
                    </a:lnTo>
                    <a:lnTo>
                      <a:pt x="4499" y="1548"/>
                    </a:lnTo>
                    <a:lnTo>
                      <a:pt x="4499" y="1486"/>
                    </a:lnTo>
                    <a:lnTo>
                      <a:pt x="4583" y="1402"/>
                    </a:lnTo>
                    <a:lnTo>
                      <a:pt x="4771" y="1276"/>
                    </a:lnTo>
                    <a:lnTo>
                      <a:pt x="4813" y="1276"/>
                    </a:lnTo>
                    <a:lnTo>
                      <a:pt x="4876" y="1235"/>
                    </a:lnTo>
                    <a:lnTo>
                      <a:pt x="4876" y="942"/>
                    </a:lnTo>
                    <a:lnTo>
                      <a:pt x="4834" y="921"/>
                    </a:lnTo>
                    <a:lnTo>
                      <a:pt x="4834" y="753"/>
                    </a:lnTo>
                    <a:lnTo>
                      <a:pt x="4876" y="649"/>
                    </a:lnTo>
                    <a:lnTo>
                      <a:pt x="4876" y="565"/>
                    </a:lnTo>
                    <a:lnTo>
                      <a:pt x="4938" y="502"/>
                    </a:lnTo>
                    <a:lnTo>
                      <a:pt x="5022" y="502"/>
                    </a:lnTo>
                    <a:lnTo>
                      <a:pt x="5085" y="419"/>
                    </a:lnTo>
                    <a:lnTo>
                      <a:pt x="5022" y="335"/>
                    </a:lnTo>
                    <a:lnTo>
                      <a:pt x="5043" y="251"/>
                    </a:lnTo>
                    <a:lnTo>
                      <a:pt x="4897" y="188"/>
                    </a:lnTo>
                    <a:lnTo>
                      <a:pt x="4813" y="188"/>
                    </a:lnTo>
                    <a:lnTo>
                      <a:pt x="4562" y="419"/>
                    </a:lnTo>
                    <a:lnTo>
                      <a:pt x="4415" y="460"/>
                    </a:lnTo>
                    <a:lnTo>
                      <a:pt x="4374" y="565"/>
                    </a:lnTo>
                    <a:lnTo>
                      <a:pt x="4394" y="628"/>
                    </a:lnTo>
                    <a:lnTo>
                      <a:pt x="4290" y="628"/>
                    </a:lnTo>
                    <a:lnTo>
                      <a:pt x="4248" y="607"/>
                    </a:lnTo>
                    <a:lnTo>
                      <a:pt x="4143" y="649"/>
                    </a:lnTo>
                    <a:lnTo>
                      <a:pt x="4039" y="816"/>
                    </a:lnTo>
                    <a:lnTo>
                      <a:pt x="4081" y="942"/>
                    </a:lnTo>
                    <a:lnTo>
                      <a:pt x="4081" y="1067"/>
                    </a:lnTo>
                    <a:lnTo>
                      <a:pt x="4143" y="1130"/>
                    </a:lnTo>
                    <a:lnTo>
                      <a:pt x="4206" y="1297"/>
                    </a:lnTo>
                    <a:lnTo>
                      <a:pt x="4143" y="1465"/>
                    </a:lnTo>
                    <a:lnTo>
                      <a:pt x="4039" y="1465"/>
                    </a:lnTo>
                    <a:lnTo>
                      <a:pt x="3871" y="1507"/>
                    </a:lnTo>
                    <a:lnTo>
                      <a:pt x="3788" y="1507"/>
                    </a:lnTo>
                    <a:lnTo>
                      <a:pt x="3746" y="1569"/>
                    </a:lnTo>
                    <a:lnTo>
                      <a:pt x="3788" y="1674"/>
                    </a:lnTo>
                    <a:lnTo>
                      <a:pt x="3788" y="1758"/>
                    </a:lnTo>
                    <a:lnTo>
                      <a:pt x="3892" y="1883"/>
                    </a:lnTo>
                    <a:lnTo>
                      <a:pt x="3955" y="2072"/>
                    </a:lnTo>
                    <a:lnTo>
                      <a:pt x="3767" y="2134"/>
                    </a:lnTo>
                    <a:lnTo>
                      <a:pt x="3788" y="2197"/>
                    </a:lnTo>
                    <a:lnTo>
                      <a:pt x="3829" y="2239"/>
                    </a:lnTo>
                    <a:lnTo>
                      <a:pt x="3746" y="2281"/>
                    </a:lnTo>
                    <a:lnTo>
                      <a:pt x="3662" y="2134"/>
                    </a:lnTo>
                    <a:lnTo>
                      <a:pt x="3453" y="2092"/>
                    </a:lnTo>
                    <a:lnTo>
                      <a:pt x="3411" y="2113"/>
                    </a:lnTo>
                    <a:lnTo>
                      <a:pt x="3265" y="2092"/>
                    </a:lnTo>
                    <a:lnTo>
                      <a:pt x="3244" y="2009"/>
                    </a:lnTo>
                    <a:lnTo>
                      <a:pt x="3202" y="1967"/>
                    </a:lnTo>
                    <a:lnTo>
                      <a:pt x="3118" y="2030"/>
                    </a:lnTo>
                    <a:lnTo>
                      <a:pt x="2993" y="2092"/>
                    </a:lnTo>
                    <a:lnTo>
                      <a:pt x="2930" y="2030"/>
                    </a:lnTo>
                    <a:lnTo>
                      <a:pt x="2930" y="1820"/>
                    </a:lnTo>
                    <a:lnTo>
                      <a:pt x="3034" y="1758"/>
                    </a:lnTo>
                    <a:lnTo>
                      <a:pt x="3118" y="1507"/>
                    </a:lnTo>
                    <a:lnTo>
                      <a:pt x="3034" y="1507"/>
                    </a:lnTo>
                    <a:lnTo>
                      <a:pt x="2909" y="1465"/>
                    </a:lnTo>
                    <a:lnTo>
                      <a:pt x="2804" y="1486"/>
                    </a:lnTo>
                    <a:lnTo>
                      <a:pt x="2783" y="1402"/>
                    </a:lnTo>
                    <a:lnTo>
                      <a:pt x="2888" y="1381"/>
                    </a:lnTo>
                    <a:lnTo>
                      <a:pt x="2993" y="1402"/>
                    </a:lnTo>
                    <a:lnTo>
                      <a:pt x="3034" y="1339"/>
                    </a:lnTo>
                    <a:lnTo>
                      <a:pt x="3013" y="1088"/>
                    </a:lnTo>
                    <a:lnTo>
                      <a:pt x="2909" y="963"/>
                    </a:lnTo>
                    <a:lnTo>
                      <a:pt x="2951" y="879"/>
                    </a:lnTo>
                    <a:lnTo>
                      <a:pt x="3013" y="858"/>
                    </a:lnTo>
                    <a:lnTo>
                      <a:pt x="3034" y="774"/>
                    </a:lnTo>
                    <a:lnTo>
                      <a:pt x="2951" y="711"/>
                    </a:lnTo>
                    <a:lnTo>
                      <a:pt x="2951" y="649"/>
                    </a:lnTo>
                    <a:lnTo>
                      <a:pt x="2909" y="565"/>
                    </a:lnTo>
                    <a:lnTo>
                      <a:pt x="2825" y="565"/>
                    </a:lnTo>
                    <a:lnTo>
                      <a:pt x="2783" y="523"/>
                    </a:lnTo>
                    <a:lnTo>
                      <a:pt x="2700" y="565"/>
                    </a:lnTo>
                    <a:lnTo>
                      <a:pt x="2490" y="565"/>
                    </a:lnTo>
                    <a:lnTo>
                      <a:pt x="2428" y="502"/>
                    </a:lnTo>
                    <a:lnTo>
                      <a:pt x="2532" y="335"/>
                    </a:lnTo>
                    <a:lnTo>
                      <a:pt x="2616" y="293"/>
                    </a:lnTo>
                    <a:lnTo>
                      <a:pt x="2574" y="126"/>
                    </a:lnTo>
                    <a:lnTo>
                      <a:pt x="2469" y="21"/>
                    </a:lnTo>
                    <a:lnTo>
                      <a:pt x="2281" y="21"/>
                    </a:lnTo>
                    <a:lnTo>
                      <a:pt x="217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7" name="Google Shape;12090;p43">
                <a:extLst>
                  <a:ext uri="{FF2B5EF4-FFF2-40B4-BE49-F238E27FC236}">
                    <a16:creationId xmlns:a16="http://schemas.microsoft.com/office/drawing/2014/main" id="{7F63623E-05CA-7635-9B0A-879E180543D6}"/>
                  </a:ext>
                </a:extLst>
              </p:cNvPr>
              <p:cNvSpPr/>
              <p:nvPr/>
            </p:nvSpPr>
            <p:spPr>
              <a:xfrm>
                <a:off x="2638000" y="1637900"/>
                <a:ext cx="69075" cy="67500"/>
              </a:xfrm>
              <a:custGeom>
                <a:avLst/>
                <a:gdLst/>
                <a:ahLst/>
                <a:cxnLst/>
                <a:rect l="l" t="t" r="r" b="b"/>
                <a:pathLst>
                  <a:path w="2763" h="2700" extrusionOk="0">
                    <a:moveTo>
                      <a:pt x="1884" y="1"/>
                    </a:moveTo>
                    <a:lnTo>
                      <a:pt x="1758" y="84"/>
                    </a:lnTo>
                    <a:lnTo>
                      <a:pt x="1654" y="84"/>
                    </a:lnTo>
                    <a:lnTo>
                      <a:pt x="1612" y="126"/>
                    </a:lnTo>
                    <a:lnTo>
                      <a:pt x="1507" y="126"/>
                    </a:lnTo>
                    <a:lnTo>
                      <a:pt x="1423" y="189"/>
                    </a:lnTo>
                    <a:lnTo>
                      <a:pt x="1423" y="335"/>
                    </a:lnTo>
                    <a:lnTo>
                      <a:pt x="1403" y="398"/>
                    </a:lnTo>
                    <a:lnTo>
                      <a:pt x="1423" y="545"/>
                    </a:lnTo>
                    <a:lnTo>
                      <a:pt x="1528" y="649"/>
                    </a:lnTo>
                    <a:lnTo>
                      <a:pt x="1549" y="733"/>
                    </a:lnTo>
                    <a:lnTo>
                      <a:pt x="1549" y="733"/>
                    </a:lnTo>
                    <a:lnTo>
                      <a:pt x="1444" y="691"/>
                    </a:lnTo>
                    <a:lnTo>
                      <a:pt x="1361" y="691"/>
                    </a:lnTo>
                    <a:lnTo>
                      <a:pt x="1340" y="733"/>
                    </a:lnTo>
                    <a:lnTo>
                      <a:pt x="1528" y="858"/>
                    </a:lnTo>
                    <a:lnTo>
                      <a:pt x="1528" y="963"/>
                    </a:lnTo>
                    <a:lnTo>
                      <a:pt x="1423" y="1005"/>
                    </a:lnTo>
                    <a:lnTo>
                      <a:pt x="1403" y="1151"/>
                    </a:lnTo>
                    <a:lnTo>
                      <a:pt x="1444" y="1235"/>
                    </a:lnTo>
                    <a:lnTo>
                      <a:pt x="1340" y="1319"/>
                    </a:lnTo>
                    <a:lnTo>
                      <a:pt x="1235" y="1256"/>
                    </a:lnTo>
                    <a:lnTo>
                      <a:pt x="1235" y="1214"/>
                    </a:lnTo>
                    <a:lnTo>
                      <a:pt x="1256" y="1110"/>
                    </a:lnTo>
                    <a:lnTo>
                      <a:pt x="1235" y="796"/>
                    </a:lnTo>
                    <a:lnTo>
                      <a:pt x="1151" y="712"/>
                    </a:lnTo>
                    <a:lnTo>
                      <a:pt x="1131" y="628"/>
                    </a:lnTo>
                    <a:lnTo>
                      <a:pt x="1151" y="586"/>
                    </a:lnTo>
                    <a:lnTo>
                      <a:pt x="1151" y="482"/>
                    </a:lnTo>
                    <a:lnTo>
                      <a:pt x="1110" y="419"/>
                    </a:lnTo>
                    <a:lnTo>
                      <a:pt x="1089" y="314"/>
                    </a:lnTo>
                    <a:lnTo>
                      <a:pt x="1026" y="273"/>
                    </a:lnTo>
                    <a:lnTo>
                      <a:pt x="900" y="314"/>
                    </a:lnTo>
                    <a:lnTo>
                      <a:pt x="879" y="377"/>
                    </a:lnTo>
                    <a:lnTo>
                      <a:pt x="775" y="461"/>
                    </a:lnTo>
                    <a:lnTo>
                      <a:pt x="733" y="524"/>
                    </a:lnTo>
                    <a:lnTo>
                      <a:pt x="796" y="566"/>
                    </a:lnTo>
                    <a:lnTo>
                      <a:pt x="838" y="566"/>
                    </a:lnTo>
                    <a:lnTo>
                      <a:pt x="900" y="628"/>
                    </a:lnTo>
                    <a:lnTo>
                      <a:pt x="796" y="670"/>
                    </a:lnTo>
                    <a:lnTo>
                      <a:pt x="775" y="733"/>
                    </a:lnTo>
                    <a:lnTo>
                      <a:pt x="670" y="796"/>
                    </a:lnTo>
                    <a:lnTo>
                      <a:pt x="628" y="942"/>
                    </a:lnTo>
                    <a:lnTo>
                      <a:pt x="733" y="984"/>
                    </a:lnTo>
                    <a:lnTo>
                      <a:pt x="733" y="1026"/>
                    </a:lnTo>
                    <a:lnTo>
                      <a:pt x="607" y="1068"/>
                    </a:lnTo>
                    <a:lnTo>
                      <a:pt x="587" y="1172"/>
                    </a:lnTo>
                    <a:lnTo>
                      <a:pt x="628" y="1256"/>
                    </a:lnTo>
                    <a:lnTo>
                      <a:pt x="670" y="1361"/>
                    </a:lnTo>
                    <a:lnTo>
                      <a:pt x="607" y="1423"/>
                    </a:lnTo>
                    <a:lnTo>
                      <a:pt x="566" y="1382"/>
                    </a:lnTo>
                    <a:lnTo>
                      <a:pt x="566" y="1235"/>
                    </a:lnTo>
                    <a:lnTo>
                      <a:pt x="503" y="1214"/>
                    </a:lnTo>
                    <a:lnTo>
                      <a:pt x="503" y="1110"/>
                    </a:lnTo>
                    <a:lnTo>
                      <a:pt x="461" y="1130"/>
                    </a:lnTo>
                    <a:lnTo>
                      <a:pt x="294" y="1130"/>
                    </a:lnTo>
                    <a:lnTo>
                      <a:pt x="273" y="1214"/>
                    </a:lnTo>
                    <a:lnTo>
                      <a:pt x="335" y="1256"/>
                    </a:lnTo>
                    <a:lnTo>
                      <a:pt x="252" y="1298"/>
                    </a:lnTo>
                    <a:lnTo>
                      <a:pt x="168" y="1235"/>
                    </a:lnTo>
                    <a:lnTo>
                      <a:pt x="84" y="1298"/>
                    </a:lnTo>
                    <a:lnTo>
                      <a:pt x="1" y="1256"/>
                    </a:lnTo>
                    <a:lnTo>
                      <a:pt x="1" y="1402"/>
                    </a:lnTo>
                    <a:lnTo>
                      <a:pt x="63" y="1444"/>
                    </a:lnTo>
                    <a:lnTo>
                      <a:pt x="147" y="1444"/>
                    </a:lnTo>
                    <a:lnTo>
                      <a:pt x="189" y="1465"/>
                    </a:lnTo>
                    <a:lnTo>
                      <a:pt x="252" y="1444"/>
                    </a:lnTo>
                    <a:lnTo>
                      <a:pt x="356" y="1444"/>
                    </a:lnTo>
                    <a:lnTo>
                      <a:pt x="419" y="1465"/>
                    </a:lnTo>
                    <a:lnTo>
                      <a:pt x="503" y="1444"/>
                    </a:lnTo>
                    <a:lnTo>
                      <a:pt x="628" y="1507"/>
                    </a:lnTo>
                    <a:lnTo>
                      <a:pt x="796" y="1465"/>
                    </a:lnTo>
                    <a:lnTo>
                      <a:pt x="879" y="1528"/>
                    </a:lnTo>
                    <a:lnTo>
                      <a:pt x="984" y="1528"/>
                    </a:lnTo>
                    <a:lnTo>
                      <a:pt x="1444" y="1612"/>
                    </a:lnTo>
                    <a:lnTo>
                      <a:pt x="1507" y="1654"/>
                    </a:lnTo>
                    <a:lnTo>
                      <a:pt x="1423" y="1695"/>
                    </a:lnTo>
                    <a:lnTo>
                      <a:pt x="1298" y="1674"/>
                    </a:lnTo>
                    <a:lnTo>
                      <a:pt x="1151" y="1674"/>
                    </a:lnTo>
                    <a:lnTo>
                      <a:pt x="1047" y="1737"/>
                    </a:lnTo>
                    <a:lnTo>
                      <a:pt x="879" y="1758"/>
                    </a:lnTo>
                    <a:lnTo>
                      <a:pt x="921" y="1758"/>
                    </a:lnTo>
                    <a:lnTo>
                      <a:pt x="984" y="1800"/>
                    </a:lnTo>
                    <a:lnTo>
                      <a:pt x="921" y="1842"/>
                    </a:lnTo>
                    <a:lnTo>
                      <a:pt x="754" y="1779"/>
                    </a:lnTo>
                    <a:lnTo>
                      <a:pt x="670" y="1758"/>
                    </a:lnTo>
                    <a:lnTo>
                      <a:pt x="587" y="1800"/>
                    </a:lnTo>
                    <a:lnTo>
                      <a:pt x="607" y="1863"/>
                    </a:lnTo>
                    <a:lnTo>
                      <a:pt x="587" y="1905"/>
                    </a:lnTo>
                    <a:lnTo>
                      <a:pt x="524" y="1863"/>
                    </a:lnTo>
                    <a:lnTo>
                      <a:pt x="482" y="1863"/>
                    </a:lnTo>
                    <a:lnTo>
                      <a:pt x="503" y="1905"/>
                    </a:lnTo>
                    <a:lnTo>
                      <a:pt x="503" y="1967"/>
                    </a:lnTo>
                    <a:lnTo>
                      <a:pt x="566" y="2009"/>
                    </a:lnTo>
                    <a:lnTo>
                      <a:pt x="649" y="2051"/>
                    </a:lnTo>
                    <a:lnTo>
                      <a:pt x="607" y="2114"/>
                    </a:lnTo>
                    <a:lnTo>
                      <a:pt x="670" y="2198"/>
                    </a:lnTo>
                    <a:lnTo>
                      <a:pt x="607" y="2198"/>
                    </a:lnTo>
                    <a:lnTo>
                      <a:pt x="566" y="2114"/>
                    </a:lnTo>
                    <a:lnTo>
                      <a:pt x="503" y="2114"/>
                    </a:lnTo>
                    <a:lnTo>
                      <a:pt x="461" y="2218"/>
                    </a:lnTo>
                    <a:lnTo>
                      <a:pt x="461" y="2281"/>
                    </a:lnTo>
                    <a:lnTo>
                      <a:pt x="440" y="2323"/>
                    </a:lnTo>
                    <a:lnTo>
                      <a:pt x="440" y="2428"/>
                    </a:lnTo>
                    <a:lnTo>
                      <a:pt x="503" y="2491"/>
                    </a:lnTo>
                    <a:lnTo>
                      <a:pt x="607" y="2491"/>
                    </a:lnTo>
                    <a:lnTo>
                      <a:pt x="670" y="2532"/>
                    </a:lnTo>
                    <a:lnTo>
                      <a:pt x="712" y="2532"/>
                    </a:lnTo>
                    <a:lnTo>
                      <a:pt x="775" y="2470"/>
                    </a:lnTo>
                    <a:lnTo>
                      <a:pt x="900" y="2407"/>
                    </a:lnTo>
                    <a:lnTo>
                      <a:pt x="817" y="2511"/>
                    </a:lnTo>
                    <a:lnTo>
                      <a:pt x="859" y="2595"/>
                    </a:lnTo>
                    <a:lnTo>
                      <a:pt x="921" y="2595"/>
                    </a:lnTo>
                    <a:lnTo>
                      <a:pt x="1005" y="2511"/>
                    </a:lnTo>
                    <a:lnTo>
                      <a:pt x="1026" y="2574"/>
                    </a:lnTo>
                    <a:lnTo>
                      <a:pt x="1068" y="2679"/>
                    </a:lnTo>
                    <a:lnTo>
                      <a:pt x="1382" y="2700"/>
                    </a:lnTo>
                    <a:lnTo>
                      <a:pt x="1444" y="2595"/>
                    </a:lnTo>
                    <a:lnTo>
                      <a:pt x="1423" y="2511"/>
                    </a:lnTo>
                    <a:lnTo>
                      <a:pt x="1444" y="2407"/>
                    </a:lnTo>
                    <a:lnTo>
                      <a:pt x="1507" y="2365"/>
                    </a:lnTo>
                    <a:lnTo>
                      <a:pt x="1528" y="2407"/>
                    </a:lnTo>
                    <a:lnTo>
                      <a:pt x="1528" y="2511"/>
                    </a:lnTo>
                    <a:lnTo>
                      <a:pt x="1570" y="2616"/>
                    </a:lnTo>
                    <a:lnTo>
                      <a:pt x="1612" y="2574"/>
                    </a:lnTo>
                    <a:lnTo>
                      <a:pt x="1612" y="2470"/>
                    </a:lnTo>
                    <a:lnTo>
                      <a:pt x="1612" y="2407"/>
                    </a:lnTo>
                    <a:lnTo>
                      <a:pt x="1654" y="2323"/>
                    </a:lnTo>
                    <a:lnTo>
                      <a:pt x="1675" y="2281"/>
                    </a:lnTo>
                    <a:lnTo>
                      <a:pt x="1570" y="2302"/>
                    </a:lnTo>
                    <a:lnTo>
                      <a:pt x="1486" y="2344"/>
                    </a:lnTo>
                    <a:lnTo>
                      <a:pt x="1528" y="2239"/>
                    </a:lnTo>
                    <a:lnTo>
                      <a:pt x="1633" y="2198"/>
                    </a:lnTo>
                    <a:lnTo>
                      <a:pt x="1695" y="2135"/>
                    </a:lnTo>
                    <a:lnTo>
                      <a:pt x="1758" y="2072"/>
                    </a:lnTo>
                    <a:lnTo>
                      <a:pt x="1758" y="1988"/>
                    </a:lnTo>
                    <a:lnTo>
                      <a:pt x="1821" y="1967"/>
                    </a:lnTo>
                    <a:lnTo>
                      <a:pt x="1905" y="1988"/>
                    </a:lnTo>
                    <a:lnTo>
                      <a:pt x="1905" y="2072"/>
                    </a:lnTo>
                    <a:lnTo>
                      <a:pt x="1905" y="2156"/>
                    </a:lnTo>
                    <a:lnTo>
                      <a:pt x="1947" y="2093"/>
                    </a:lnTo>
                    <a:lnTo>
                      <a:pt x="2072" y="1926"/>
                    </a:lnTo>
                    <a:lnTo>
                      <a:pt x="2072" y="1863"/>
                    </a:lnTo>
                    <a:lnTo>
                      <a:pt x="1947" y="1779"/>
                    </a:lnTo>
                    <a:lnTo>
                      <a:pt x="1947" y="1737"/>
                    </a:lnTo>
                    <a:lnTo>
                      <a:pt x="1988" y="1674"/>
                    </a:lnTo>
                    <a:lnTo>
                      <a:pt x="2051" y="1716"/>
                    </a:lnTo>
                    <a:lnTo>
                      <a:pt x="2135" y="1716"/>
                    </a:lnTo>
                    <a:lnTo>
                      <a:pt x="2156" y="1612"/>
                    </a:lnTo>
                    <a:lnTo>
                      <a:pt x="2156" y="1549"/>
                    </a:lnTo>
                    <a:lnTo>
                      <a:pt x="2260" y="1423"/>
                    </a:lnTo>
                    <a:lnTo>
                      <a:pt x="2281" y="1340"/>
                    </a:lnTo>
                    <a:lnTo>
                      <a:pt x="2407" y="1214"/>
                    </a:lnTo>
                    <a:lnTo>
                      <a:pt x="2511" y="1151"/>
                    </a:lnTo>
                    <a:lnTo>
                      <a:pt x="2553" y="1089"/>
                    </a:lnTo>
                    <a:lnTo>
                      <a:pt x="2511" y="942"/>
                    </a:lnTo>
                    <a:lnTo>
                      <a:pt x="2616" y="775"/>
                    </a:lnTo>
                    <a:lnTo>
                      <a:pt x="2742" y="691"/>
                    </a:lnTo>
                    <a:lnTo>
                      <a:pt x="2763" y="586"/>
                    </a:lnTo>
                    <a:lnTo>
                      <a:pt x="2700" y="482"/>
                    </a:lnTo>
                    <a:lnTo>
                      <a:pt x="2595" y="461"/>
                    </a:lnTo>
                    <a:lnTo>
                      <a:pt x="2553" y="356"/>
                    </a:lnTo>
                    <a:lnTo>
                      <a:pt x="2595" y="356"/>
                    </a:lnTo>
                    <a:lnTo>
                      <a:pt x="2616" y="294"/>
                    </a:lnTo>
                    <a:lnTo>
                      <a:pt x="2595" y="252"/>
                    </a:lnTo>
                    <a:lnTo>
                      <a:pt x="2616" y="168"/>
                    </a:lnTo>
                    <a:lnTo>
                      <a:pt x="2595" y="84"/>
                    </a:lnTo>
                    <a:lnTo>
                      <a:pt x="2511" y="84"/>
                    </a:lnTo>
                    <a:lnTo>
                      <a:pt x="2553" y="147"/>
                    </a:lnTo>
                    <a:lnTo>
                      <a:pt x="2553" y="252"/>
                    </a:lnTo>
                    <a:lnTo>
                      <a:pt x="2470" y="273"/>
                    </a:lnTo>
                    <a:lnTo>
                      <a:pt x="2386" y="189"/>
                    </a:lnTo>
                    <a:lnTo>
                      <a:pt x="2302" y="273"/>
                    </a:lnTo>
                    <a:lnTo>
                      <a:pt x="2302" y="461"/>
                    </a:lnTo>
                    <a:lnTo>
                      <a:pt x="2260" y="503"/>
                    </a:lnTo>
                    <a:lnTo>
                      <a:pt x="2198" y="503"/>
                    </a:lnTo>
                    <a:lnTo>
                      <a:pt x="2156" y="566"/>
                    </a:lnTo>
                    <a:lnTo>
                      <a:pt x="2093" y="566"/>
                    </a:lnTo>
                    <a:lnTo>
                      <a:pt x="2093" y="482"/>
                    </a:lnTo>
                    <a:lnTo>
                      <a:pt x="2177" y="398"/>
                    </a:lnTo>
                    <a:lnTo>
                      <a:pt x="2219" y="168"/>
                    </a:lnTo>
                    <a:lnTo>
                      <a:pt x="2156" y="105"/>
                    </a:lnTo>
                    <a:lnTo>
                      <a:pt x="2072" y="126"/>
                    </a:lnTo>
                    <a:lnTo>
                      <a:pt x="1988" y="84"/>
                    </a:lnTo>
                    <a:lnTo>
                      <a:pt x="1967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8" name="Google Shape;12091;p43">
                <a:extLst>
                  <a:ext uri="{FF2B5EF4-FFF2-40B4-BE49-F238E27FC236}">
                    <a16:creationId xmlns:a16="http://schemas.microsoft.com/office/drawing/2014/main" id="{D93410A5-2F3C-0B03-8F04-32B0695ACA95}"/>
                  </a:ext>
                </a:extLst>
              </p:cNvPr>
              <p:cNvSpPr/>
              <p:nvPr/>
            </p:nvSpPr>
            <p:spPr>
              <a:xfrm>
                <a:off x="2686125" y="1510800"/>
                <a:ext cx="62275" cy="87900"/>
              </a:xfrm>
              <a:custGeom>
                <a:avLst/>
                <a:gdLst/>
                <a:ahLst/>
                <a:cxnLst/>
                <a:rect l="l" t="t" r="r" b="b"/>
                <a:pathLst>
                  <a:path w="2491" h="3516" extrusionOk="0">
                    <a:moveTo>
                      <a:pt x="1026" y="0"/>
                    </a:moveTo>
                    <a:lnTo>
                      <a:pt x="921" y="63"/>
                    </a:lnTo>
                    <a:lnTo>
                      <a:pt x="879" y="147"/>
                    </a:lnTo>
                    <a:lnTo>
                      <a:pt x="754" y="230"/>
                    </a:lnTo>
                    <a:lnTo>
                      <a:pt x="733" y="335"/>
                    </a:lnTo>
                    <a:lnTo>
                      <a:pt x="607" y="481"/>
                    </a:lnTo>
                    <a:lnTo>
                      <a:pt x="607" y="586"/>
                    </a:lnTo>
                    <a:lnTo>
                      <a:pt x="712" y="649"/>
                    </a:lnTo>
                    <a:lnTo>
                      <a:pt x="754" y="586"/>
                    </a:lnTo>
                    <a:lnTo>
                      <a:pt x="879" y="565"/>
                    </a:lnTo>
                    <a:lnTo>
                      <a:pt x="921" y="628"/>
                    </a:lnTo>
                    <a:lnTo>
                      <a:pt x="775" y="753"/>
                    </a:lnTo>
                    <a:lnTo>
                      <a:pt x="649" y="837"/>
                    </a:lnTo>
                    <a:lnTo>
                      <a:pt x="545" y="984"/>
                    </a:lnTo>
                    <a:lnTo>
                      <a:pt x="545" y="1046"/>
                    </a:lnTo>
                    <a:lnTo>
                      <a:pt x="712" y="963"/>
                    </a:lnTo>
                    <a:lnTo>
                      <a:pt x="858" y="837"/>
                    </a:lnTo>
                    <a:lnTo>
                      <a:pt x="942" y="837"/>
                    </a:lnTo>
                    <a:lnTo>
                      <a:pt x="1026" y="774"/>
                    </a:lnTo>
                    <a:lnTo>
                      <a:pt x="1068" y="858"/>
                    </a:lnTo>
                    <a:lnTo>
                      <a:pt x="1047" y="984"/>
                    </a:lnTo>
                    <a:lnTo>
                      <a:pt x="963" y="984"/>
                    </a:lnTo>
                    <a:lnTo>
                      <a:pt x="838" y="1109"/>
                    </a:lnTo>
                    <a:lnTo>
                      <a:pt x="775" y="1193"/>
                    </a:lnTo>
                    <a:lnTo>
                      <a:pt x="838" y="1276"/>
                    </a:lnTo>
                    <a:lnTo>
                      <a:pt x="984" y="1256"/>
                    </a:lnTo>
                    <a:lnTo>
                      <a:pt x="1089" y="1297"/>
                    </a:lnTo>
                    <a:lnTo>
                      <a:pt x="963" y="1381"/>
                    </a:lnTo>
                    <a:lnTo>
                      <a:pt x="817" y="1465"/>
                    </a:lnTo>
                    <a:lnTo>
                      <a:pt x="712" y="1402"/>
                    </a:lnTo>
                    <a:lnTo>
                      <a:pt x="712" y="1486"/>
                    </a:lnTo>
                    <a:lnTo>
                      <a:pt x="838" y="1528"/>
                    </a:lnTo>
                    <a:lnTo>
                      <a:pt x="838" y="1590"/>
                    </a:lnTo>
                    <a:lnTo>
                      <a:pt x="649" y="1779"/>
                    </a:lnTo>
                    <a:lnTo>
                      <a:pt x="607" y="1779"/>
                    </a:lnTo>
                    <a:lnTo>
                      <a:pt x="545" y="1611"/>
                    </a:lnTo>
                    <a:lnTo>
                      <a:pt x="440" y="1569"/>
                    </a:lnTo>
                    <a:lnTo>
                      <a:pt x="335" y="1423"/>
                    </a:lnTo>
                    <a:lnTo>
                      <a:pt x="126" y="1528"/>
                    </a:lnTo>
                    <a:lnTo>
                      <a:pt x="126" y="1590"/>
                    </a:lnTo>
                    <a:lnTo>
                      <a:pt x="1" y="1800"/>
                    </a:lnTo>
                    <a:lnTo>
                      <a:pt x="105" y="1925"/>
                    </a:lnTo>
                    <a:lnTo>
                      <a:pt x="105" y="2051"/>
                    </a:lnTo>
                    <a:lnTo>
                      <a:pt x="189" y="2093"/>
                    </a:lnTo>
                    <a:lnTo>
                      <a:pt x="294" y="2009"/>
                    </a:lnTo>
                    <a:lnTo>
                      <a:pt x="356" y="2009"/>
                    </a:lnTo>
                    <a:lnTo>
                      <a:pt x="545" y="2051"/>
                    </a:lnTo>
                    <a:lnTo>
                      <a:pt x="733" y="2051"/>
                    </a:lnTo>
                    <a:lnTo>
                      <a:pt x="754" y="2113"/>
                    </a:lnTo>
                    <a:lnTo>
                      <a:pt x="942" y="2051"/>
                    </a:lnTo>
                    <a:lnTo>
                      <a:pt x="942" y="2134"/>
                    </a:lnTo>
                    <a:lnTo>
                      <a:pt x="838" y="2155"/>
                    </a:lnTo>
                    <a:lnTo>
                      <a:pt x="775" y="2239"/>
                    </a:lnTo>
                    <a:lnTo>
                      <a:pt x="817" y="2344"/>
                    </a:lnTo>
                    <a:lnTo>
                      <a:pt x="963" y="2323"/>
                    </a:lnTo>
                    <a:lnTo>
                      <a:pt x="1089" y="2427"/>
                    </a:lnTo>
                    <a:lnTo>
                      <a:pt x="1172" y="2616"/>
                    </a:lnTo>
                    <a:lnTo>
                      <a:pt x="1256" y="2616"/>
                    </a:lnTo>
                    <a:lnTo>
                      <a:pt x="1298" y="2657"/>
                    </a:lnTo>
                    <a:lnTo>
                      <a:pt x="1256" y="2741"/>
                    </a:lnTo>
                    <a:lnTo>
                      <a:pt x="1256" y="2867"/>
                    </a:lnTo>
                    <a:lnTo>
                      <a:pt x="1068" y="3201"/>
                    </a:lnTo>
                    <a:lnTo>
                      <a:pt x="1130" y="3390"/>
                    </a:lnTo>
                    <a:lnTo>
                      <a:pt x="1172" y="3494"/>
                    </a:lnTo>
                    <a:lnTo>
                      <a:pt x="1256" y="3494"/>
                    </a:lnTo>
                    <a:lnTo>
                      <a:pt x="1361" y="3473"/>
                    </a:lnTo>
                    <a:lnTo>
                      <a:pt x="1403" y="3515"/>
                    </a:lnTo>
                    <a:lnTo>
                      <a:pt x="1486" y="3515"/>
                    </a:lnTo>
                    <a:lnTo>
                      <a:pt x="1654" y="3411"/>
                    </a:lnTo>
                    <a:lnTo>
                      <a:pt x="1654" y="3348"/>
                    </a:lnTo>
                    <a:lnTo>
                      <a:pt x="1758" y="3285"/>
                    </a:lnTo>
                    <a:lnTo>
                      <a:pt x="1821" y="3160"/>
                    </a:lnTo>
                    <a:lnTo>
                      <a:pt x="1863" y="3034"/>
                    </a:lnTo>
                    <a:lnTo>
                      <a:pt x="1884" y="2846"/>
                    </a:lnTo>
                    <a:lnTo>
                      <a:pt x="1988" y="2678"/>
                    </a:lnTo>
                    <a:lnTo>
                      <a:pt x="1905" y="2657"/>
                    </a:lnTo>
                    <a:lnTo>
                      <a:pt x="1905" y="2574"/>
                    </a:lnTo>
                    <a:lnTo>
                      <a:pt x="1988" y="2532"/>
                    </a:lnTo>
                    <a:lnTo>
                      <a:pt x="2072" y="2365"/>
                    </a:lnTo>
                    <a:lnTo>
                      <a:pt x="2135" y="2365"/>
                    </a:lnTo>
                    <a:lnTo>
                      <a:pt x="2219" y="2260"/>
                    </a:lnTo>
                    <a:lnTo>
                      <a:pt x="2344" y="2197"/>
                    </a:lnTo>
                    <a:lnTo>
                      <a:pt x="2386" y="2030"/>
                    </a:lnTo>
                    <a:lnTo>
                      <a:pt x="2386" y="1925"/>
                    </a:lnTo>
                    <a:lnTo>
                      <a:pt x="2491" y="1841"/>
                    </a:lnTo>
                    <a:lnTo>
                      <a:pt x="2491" y="1800"/>
                    </a:lnTo>
                    <a:lnTo>
                      <a:pt x="2428" y="1695"/>
                    </a:lnTo>
                    <a:lnTo>
                      <a:pt x="2407" y="1569"/>
                    </a:lnTo>
                    <a:lnTo>
                      <a:pt x="2344" y="1569"/>
                    </a:lnTo>
                    <a:lnTo>
                      <a:pt x="2239" y="1507"/>
                    </a:lnTo>
                    <a:lnTo>
                      <a:pt x="2114" y="1507"/>
                    </a:lnTo>
                    <a:lnTo>
                      <a:pt x="2093" y="1465"/>
                    </a:lnTo>
                    <a:lnTo>
                      <a:pt x="2135" y="1360"/>
                    </a:lnTo>
                    <a:lnTo>
                      <a:pt x="2302" y="1276"/>
                    </a:lnTo>
                    <a:lnTo>
                      <a:pt x="2302" y="1193"/>
                    </a:lnTo>
                    <a:lnTo>
                      <a:pt x="2239" y="1109"/>
                    </a:lnTo>
                    <a:lnTo>
                      <a:pt x="2239" y="984"/>
                    </a:lnTo>
                    <a:lnTo>
                      <a:pt x="2281" y="879"/>
                    </a:lnTo>
                    <a:lnTo>
                      <a:pt x="2177" y="774"/>
                    </a:lnTo>
                    <a:lnTo>
                      <a:pt x="2093" y="774"/>
                    </a:lnTo>
                    <a:lnTo>
                      <a:pt x="1967" y="858"/>
                    </a:lnTo>
                    <a:lnTo>
                      <a:pt x="1779" y="900"/>
                    </a:lnTo>
                    <a:lnTo>
                      <a:pt x="1758" y="984"/>
                    </a:lnTo>
                    <a:lnTo>
                      <a:pt x="1675" y="1088"/>
                    </a:lnTo>
                    <a:lnTo>
                      <a:pt x="1591" y="1067"/>
                    </a:lnTo>
                    <a:lnTo>
                      <a:pt x="1570" y="963"/>
                    </a:lnTo>
                    <a:lnTo>
                      <a:pt x="1695" y="900"/>
                    </a:lnTo>
                    <a:lnTo>
                      <a:pt x="1758" y="837"/>
                    </a:lnTo>
                    <a:lnTo>
                      <a:pt x="1758" y="670"/>
                    </a:lnTo>
                    <a:lnTo>
                      <a:pt x="1800" y="460"/>
                    </a:lnTo>
                    <a:lnTo>
                      <a:pt x="1758" y="356"/>
                    </a:lnTo>
                    <a:lnTo>
                      <a:pt x="1695" y="272"/>
                    </a:lnTo>
                    <a:lnTo>
                      <a:pt x="1654" y="168"/>
                    </a:lnTo>
                    <a:lnTo>
                      <a:pt x="1507" y="105"/>
                    </a:lnTo>
                    <a:lnTo>
                      <a:pt x="1403" y="147"/>
                    </a:lnTo>
                    <a:lnTo>
                      <a:pt x="1277" y="105"/>
                    </a:lnTo>
                    <a:lnTo>
                      <a:pt x="1130" y="230"/>
                    </a:lnTo>
                    <a:lnTo>
                      <a:pt x="1047" y="209"/>
                    </a:lnTo>
                    <a:lnTo>
                      <a:pt x="1047" y="21"/>
                    </a:lnTo>
                    <a:lnTo>
                      <a:pt x="102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9" name="Google Shape;12092;p43">
                <a:extLst>
                  <a:ext uri="{FF2B5EF4-FFF2-40B4-BE49-F238E27FC236}">
                    <a16:creationId xmlns:a16="http://schemas.microsoft.com/office/drawing/2014/main" id="{6ED31951-9763-6C76-1FF8-3670EA5EFEAA}"/>
                  </a:ext>
                </a:extLst>
              </p:cNvPr>
              <p:cNvSpPr/>
              <p:nvPr/>
            </p:nvSpPr>
            <p:spPr>
              <a:xfrm>
                <a:off x="2799125" y="1455875"/>
                <a:ext cx="96775" cy="158525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6341" extrusionOk="0">
                    <a:moveTo>
                      <a:pt x="2385" y="0"/>
                    </a:moveTo>
                    <a:lnTo>
                      <a:pt x="2385" y="126"/>
                    </a:lnTo>
                    <a:lnTo>
                      <a:pt x="2302" y="272"/>
                    </a:lnTo>
                    <a:lnTo>
                      <a:pt x="2385" y="356"/>
                    </a:lnTo>
                    <a:lnTo>
                      <a:pt x="2490" y="356"/>
                    </a:lnTo>
                    <a:lnTo>
                      <a:pt x="2595" y="314"/>
                    </a:lnTo>
                    <a:lnTo>
                      <a:pt x="2741" y="377"/>
                    </a:lnTo>
                    <a:lnTo>
                      <a:pt x="2783" y="460"/>
                    </a:lnTo>
                    <a:lnTo>
                      <a:pt x="2888" y="481"/>
                    </a:lnTo>
                    <a:lnTo>
                      <a:pt x="2888" y="565"/>
                    </a:lnTo>
                    <a:lnTo>
                      <a:pt x="2699" y="733"/>
                    </a:lnTo>
                    <a:lnTo>
                      <a:pt x="2616" y="733"/>
                    </a:lnTo>
                    <a:lnTo>
                      <a:pt x="2490" y="649"/>
                    </a:lnTo>
                    <a:lnTo>
                      <a:pt x="2385" y="649"/>
                    </a:lnTo>
                    <a:lnTo>
                      <a:pt x="2281" y="628"/>
                    </a:lnTo>
                    <a:lnTo>
                      <a:pt x="2281" y="628"/>
                    </a:lnTo>
                    <a:lnTo>
                      <a:pt x="2323" y="733"/>
                    </a:lnTo>
                    <a:lnTo>
                      <a:pt x="2406" y="753"/>
                    </a:lnTo>
                    <a:lnTo>
                      <a:pt x="2323" y="837"/>
                    </a:lnTo>
                    <a:lnTo>
                      <a:pt x="2218" y="858"/>
                    </a:lnTo>
                    <a:lnTo>
                      <a:pt x="2072" y="691"/>
                    </a:lnTo>
                    <a:lnTo>
                      <a:pt x="1904" y="774"/>
                    </a:lnTo>
                    <a:lnTo>
                      <a:pt x="1862" y="942"/>
                    </a:lnTo>
                    <a:lnTo>
                      <a:pt x="1779" y="1005"/>
                    </a:lnTo>
                    <a:lnTo>
                      <a:pt x="1779" y="1088"/>
                    </a:lnTo>
                    <a:lnTo>
                      <a:pt x="1883" y="1109"/>
                    </a:lnTo>
                    <a:lnTo>
                      <a:pt x="1904" y="1256"/>
                    </a:lnTo>
                    <a:lnTo>
                      <a:pt x="2051" y="1318"/>
                    </a:lnTo>
                    <a:lnTo>
                      <a:pt x="2051" y="1381"/>
                    </a:lnTo>
                    <a:lnTo>
                      <a:pt x="1946" y="1381"/>
                    </a:lnTo>
                    <a:lnTo>
                      <a:pt x="1946" y="1465"/>
                    </a:lnTo>
                    <a:lnTo>
                      <a:pt x="1988" y="1528"/>
                    </a:lnTo>
                    <a:lnTo>
                      <a:pt x="1988" y="1611"/>
                    </a:lnTo>
                    <a:lnTo>
                      <a:pt x="1904" y="1590"/>
                    </a:lnTo>
                    <a:lnTo>
                      <a:pt x="1841" y="1528"/>
                    </a:lnTo>
                    <a:lnTo>
                      <a:pt x="1695" y="1507"/>
                    </a:lnTo>
                    <a:lnTo>
                      <a:pt x="1590" y="1423"/>
                    </a:lnTo>
                    <a:lnTo>
                      <a:pt x="1528" y="1402"/>
                    </a:lnTo>
                    <a:lnTo>
                      <a:pt x="1423" y="1486"/>
                    </a:lnTo>
                    <a:lnTo>
                      <a:pt x="1381" y="1569"/>
                    </a:lnTo>
                    <a:lnTo>
                      <a:pt x="1465" y="1674"/>
                    </a:lnTo>
                    <a:lnTo>
                      <a:pt x="1423" y="1779"/>
                    </a:lnTo>
                    <a:lnTo>
                      <a:pt x="1360" y="1737"/>
                    </a:lnTo>
                    <a:lnTo>
                      <a:pt x="1360" y="1674"/>
                    </a:lnTo>
                    <a:lnTo>
                      <a:pt x="1276" y="1611"/>
                    </a:lnTo>
                    <a:lnTo>
                      <a:pt x="1151" y="1569"/>
                    </a:lnTo>
                    <a:lnTo>
                      <a:pt x="1109" y="1569"/>
                    </a:lnTo>
                    <a:lnTo>
                      <a:pt x="1025" y="1486"/>
                    </a:lnTo>
                    <a:lnTo>
                      <a:pt x="942" y="1465"/>
                    </a:lnTo>
                    <a:lnTo>
                      <a:pt x="921" y="1528"/>
                    </a:lnTo>
                    <a:lnTo>
                      <a:pt x="963" y="1674"/>
                    </a:lnTo>
                    <a:lnTo>
                      <a:pt x="963" y="1800"/>
                    </a:lnTo>
                    <a:lnTo>
                      <a:pt x="1004" y="1946"/>
                    </a:lnTo>
                    <a:lnTo>
                      <a:pt x="1109" y="2009"/>
                    </a:lnTo>
                    <a:lnTo>
                      <a:pt x="1235" y="2030"/>
                    </a:lnTo>
                    <a:lnTo>
                      <a:pt x="1276" y="2093"/>
                    </a:lnTo>
                    <a:lnTo>
                      <a:pt x="1256" y="2113"/>
                    </a:lnTo>
                    <a:lnTo>
                      <a:pt x="1130" y="2113"/>
                    </a:lnTo>
                    <a:lnTo>
                      <a:pt x="1256" y="2197"/>
                    </a:lnTo>
                    <a:lnTo>
                      <a:pt x="1318" y="2260"/>
                    </a:lnTo>
                    <a:lnTo>
                      <a:pt x="1423" y="2344"/>
                    </a:lnTo>
                    <a:lnTo>
                      <a:pt x="1548" y="2344"/>
                    </a:lnTo>
                    <a:lnTo>
                      <a:pt x="1632" y="2260"/>
                    </a:lnTo>
                    <a:lnTo>
                      <a:pt x="1674" y="2260"/>
                    </a:lnTo>
                    <a:lnTo>
                      <a:pt x="1674" y="2344"/>
                    </a:lnTo>
                    <a:lnTo>
                      <a:pt x="1590" y="2427"/>
                    </a:lnTo>
                    <a:lnTo>
                      <a:pt x="1548" y="2616"/>
                    </a:lnTo>
                    <a:lnTo>
                      <a:pt x="1486" y="2616"/>
                    </a:lnTo>
                    <a:lnTo>
                      <a:pt x="1339" y="2469"/>
                    </a:lnTo>
                    <a:lnTo>
                      <a:pt x="1025" y="2427"/>
                    </a:lnTo>
                    <a:lnTo>
                      <a:pt x="921" y="2260"/>
                    </a:lnTo>
                    <a:lnTo>
                      <a:pt x="837" y="2239"/>
                    </a:lnTo>
                    <a:lnTo>
                      <a:pt x="795" y="2155"/>
                    </a:lnTo>
                    <a:lnTo>
                      <a:pt x="753" y="2155"/>
                    </a:lnTo>
                    <a:lnTo>
                      <a:pt x="712" y="2302"/>
                    </a:lnTo>
                    <a:lnTo>
                      <a:pt x="712" y="2344"/>
                    </a:lnTo>
                    <a:lnTo>
                      <a:pt x="649" y="2406"/>
                    </a:lnTo>
                    <a:lnTo>
                      <a:pt x="712" y="2574"/>
                    </a:lnTo>
                    <a:lnTo>
                      <a:pt x="628" y="2637"/>
                    </a:lnTo>
                    <a:lnTo>
                      <a:pt x="544" y="2616"/>
                    </a:lnTo>
                    <a:lnTo>
                      <a:pt x="544" y="2762"/>
                    </a:lnTo>
                    <a:lnTo>
                      <a:pt x="502" y="2783"/>
                    </a:lnTo>
                    <a:lnTo>
                      <a:pt x="502" y="3034"/>
                    </a:lnTo>
                    <a:lnTo>
                      <a:pt x="586" y="3097"/>
                    </a:lnTo>
                    <a:lnTo>
                      <a:pt x="732" y="3097"/>
                    </a:lnTo>
                    <a:lnTo>
                      <a:pt x="837" y="3160"/>
                    </a:lnTo>
                    <a:lnTo>
                      <a:pt x="942" y="3139"/>
                    </a:lnTo>
                    <a:lnTo>
                      <a:pt x="942" y="3181"/>
                    </a:lnTo>
                    <a:lnTo>
                      <a:pt x="858" y="3243"/>
                    </a:lnTo>
                    <a:lnTo>
                      <a:pt x="753" y="3181"/>
                    </a:lnTo>
                    <a:lnTo>
                      <a:pt x="586" y="3181"/>
                    </a:lnTo>
                    <a:lnTo>
                      <a:pt x="523" y="3160"/>
                    </a:lnTo>
                    <a:lnTo>
                      <a:pt x="419" y="3181"/>
                    </a:lnTo>
                    <a:lnTo>
                      <a:pt x="272" y="3369"/>
                    </a:lnTo>
                    <a:lnTo>
                      <a:pt x="230" y="3473"/>
                    </a:lnTo>
                    <a:lnTo>
                      <a:pt x="314" y="3557"/>
                    </a:lnTo>
                    <a:lnTo>
                      <a:pt x="293" y="3599"/>
                    </a:lnTo>
                    <a:lnTo>
                      <a:pt x="209" y="3620"/>
                    </a:lnTo>
                    <a:lnTo>
                      <a:pt x="209" y="3725"/>
                    </a:lnTo>
                    <a:lnTo>
                      <a:pt x="293" y="3787"/>
                    </a:lnTo>
                    <a:lnTo>
                      <a:pt x="335" y="3725"/>
                    </a:lnTo>
                    <a:lnTo>
                      <a:pt x="502" y="3725"/>
                    </a:lnTo>
                    <a:lnTo>
                      <a:pt x="586" y="3662"/>
                    </a:lnTo>
                    <a:lnTo>
                      <a:pt x="628" y="3704"/>
                    </a:lnTo>
                    <a:lnTo>
                      <a:pt x="628" y="3787"/>
                    </a:lnTo>
                    <a:lnTo>
                      <a:pt x="523" y="3808"/>
                    </a:lnTo>
                    <a:lnTo>
                      <a:pt x="440" y="3913"/>
                    </a:lnTo>
                    <a:lnTo>
                      <a:pt x="502" y="3976"/>
                    </a:lnTo>
                    <a:lnTo>
                      <a:pt x="586" y="3976"/>
                    </a:lnTo>
                    <a:lnTo>
                      <a:pt x="691" y="3892"/>
                    </a:lnTo>
                    <a:lnTo>
                      <a:pt x="753" y="3892"/>
                    </a:lnTo>
                    <a:lnTo>
                      <a:pt x="858" y="3808"/>
                    </a:lnTo>
                    <a:lnTo>
                      <a:pt x="858" y="3871"/>
                    </a:lnTo>
                    <a:lnTo>
                      <a:pt x="816" y="3934"/>
                    </a:lnTo>
                    <a:lnTo>
                      <a:pt x="858" y="3976"/>
                    </a:lnTo>
                    <a:lnTo>
                      <a:pt x="1046" y="3976"/>
                    </a:lnTo>
                    <a:lnTo>
                      <a:pt x="1067" y="4018"/>
                    </a:lnTo>
                    <a:lnTo>
                      <a:pt x="963" y="4038"/>
                    </a:lnTo>
                    <a:lnTo>
                      <a:pt x="963" y="4122"/>
                    </a:lnTo>
                    <a:lnTo>
                      <a:pt x="1067" y="4143"/>
                    </a:lnTo>
                    <a:lnTo>
                      <a:pt x="1172" y="4122"/>
                    </a:lnTo>
                    <a:lnTo>
                      <a:pt x="1318" y="4206"/>
                    </a:lnTo>
                    <a:lnTo>
                      <a:pt x="1590" y="4290"/>
                    </a:lnTo>
                    <a:lnTo>
                      <a:pt x="1632" y="4331"/>
                    </a:lnTo>
                    <a:lnTo>
                      <a:pt x="1381" y="4310"/>
                    </a:lnTo>
                    <a:lnTo>
                      <a:pt x="1276" y="4331"/>
                    </a:lnTo>
                    <a:lnTo>
                      <a:pt x="1130" y="4227"/>
                    </a:lnTo>
                    <a:lnTo>
                      <a:pt x="963" y="4290"/>
                    </a:lnTo>
                    <a:lnTo>
                      <a:pt x="963" y="4352"/>
                    </a:lnTo>
                    <a:lnTo>
                      <a:pt x="1130" y="4415"/>
                    </a:lnTo>
                    <a:lnTo>
                      <a:pt x="1339" y="4436"/>
                    </a:lnTo>
                    <a:lnTo>
                      <a:pt x="1569" y="4436"/>
                    </a:lnTo>
                    <a:lnTo>
                      <a:pt x="1653" y="4499"/>
                    </a:lnTo>
                    <a:lnTo>
                      <a:pt x="1423" y="4541"/>
                    </a:lnTo>
                    <a:lnTo>
                      <a:pt x="1339" y="4520"/>
                    </a:lnTo>
                    <a:lnTo>
                      <a:pt x="1109" y="4499"/>
                    </a:lnTo>
                    <a:lnTo>
                      <a:pt x="942" y="4457"/>
                    </a:lnTo>
                    <a:lnTo>
                      <a:pt x="900" y="4394"/>
                    </a:lnTo>
                    <a:lnTo>
                      <a:pt x="753" y="4352"/>
                    </a:lnTo>
                    <a:lnTo>
                      <a:pt x="607" y="4206"/>
                    </a:lnTo>
                    <a:lnTo>
                      <a:pt x="544" y="4248"/>
                    </a:lnTo>
                    <a:lnTo>
                      <a:pt x="481" y="4331"/>
                    </a:lnTo>
                    <a:lnTo>
                      <a:pt x="293" y="4352"/>
                    </a:lnTo>
                    <a:lnTo>
                      <a:pt x="209" y="4415"/>
                    </a:lnTo>
                    <a:lnTo>
                      <a:pt x="188" y="4624"/>
                    </a:lnTo>
                    <a:lnTo>
                      <a:pt x="314" y="4729"/>
                    </a:lnTo>
                    <a:lnTo>
                      <a:pt x="314" y="4854"/>
                    </a:lnTo>
                    <a:lnTo>
                      <a:pt x="272" y="4917"/>
                    </a:lnTo>
                    <a:lnTo>
                      <a:pt x="188" y="4729"/>
                    </a:lnTo>
                    <a:lnTo>
                      <a:pt x="126" y="4729"/>
                    </a:lnTo>
                    <a:lnTo>
                      <a:pt x="63" y="4980"/>
                    </a:lnTo>
                    <a:lnTo>
                      <a:pt x="84" y="5126"/>
                    </a:lnTo>
                    <a:lnTo>
                      <a:pt x="168" y="5147"/>
                    </a:lnTo>
                    <a:lnTo>
                      <a:pt x="188" y="5126"/>
                    </a:lnTo>
                    <a:lnTo>
                      <a:pt x="272" y="5126"/>
                    </a:lnTo>
                    <a:lnTo>
                      <a:pt x="335" y="5252"/>
                    </a:lnTo>
                    <a:lnTo>
                      <a:pt x="419" y="5273"/>
                    </a:lnTo>
                    <a:lnTo>
                      <a:pt x="335" y="5294"/>
                    </a:lnTo>
                    <a:lnTo>
                      <a:pt x="272" y="5336"/>
                    </a:lnTo>
                    <a:lnTo>
                      <a:pt x="188" y="5231"/>
                    </a:lnTo>
                    <a:lnTo>
                      <a:pt x="21" y="5252"/>
                    </a:lnTo>
                    <a:lnTo>
                      <a:pt x="0" y="5461"/>
                    </a:lnTo>
                    <a:lnTo>
                      <a:pt x="63" y="5503"/>
                    </a:lnTo>
                    <a:lnTo>
                      <a:pt x="126" y="5482"/>
                    </a:lnTo>
                    <a:lnTo>
                      <a:pt x="84" y="5566"/>
                    </a:lnTo>
                    <a:lnTo>
                      <a:pt x="84" y="5817"/>
                    </a:lnTo>
                    <a:lnTo>
                      <a:pt x="168" y="5754"/>
                    </a:lnTo>
                    <a:lnTo>
                      <a:pt x="230" y="5775"/>
                    </a:lnTo>
                    <a:lnTo>
                      <a:pt x="230" y="5963"/>
                    </a:lnTo>
                    <a:lnTo>
                      <a:pt x="398" y="6005"/>
                    </a:lnTo>
                    <a:lnTo>
                      <a:pt x="628" y="6173"/>
                    </a:lnTo>
                    <a:lnTo>
                      <a:pt x="732" y="6110"/>
                    </a:lnTo>
                    <a:lnTo>
                      <a:pt x="795" y="6005"/>
                    </a:lnTo>
                    <a:lnTo>
                      <a:pt x="753" y="5922"/>
                    </a:lnTo>
                    <a:lnTo>
                      <a:pt x="921" y="5922"/>
                    </a:lnTo>
                    <a:lnTo>
                      <a:pt x="942" y="6026"/>
                    </a:lnTo>
                    <a:lnTo>
                      <a:pt x="921" y="6131"/>
                    </a:lnTo>
                    <a:lnTo>
                      <a:pt x="942" y="6235"/>
                    </a:lnTo>
                    <a:lnTo>
                      <a:pt x="1004" y="6214"/>
                    </a:lnTo>
                    <a:lnTo>
                      <a:pt x="1067" y="5963"/>
                    </a:lnTo>
                    <a:lnTo>
                      <a:pt x="1067" y="5712"/>
                    </a:lnTo>
                    <a:lnTo>
                      <a:pt x="1130" y="5566"/>
                    </a:lnTo>
                    <a:lnTo>
                      <a:pt x="1256" y="5440"/>
                    </a:lnTo>
                    <a:lnTo>
                      <a:pt x="1318" y="5294"/>
                    </a:lnTo>
                    <a:lnTo>
                      <a:pt x="1318" y="5461"/>
                    </a:lnTo>
                    <a:lnTo>
                      <a:pt x="1172" y="5670"/>
                    </a:lnTo>
                    <a:lnTo>
                      <a:pt x="1151" y="5817"/>
                    </a:lnTo>
                    <a:lnTo>
                      <a:pt x="1172" y="5922"/>
                    </a:lnTo>
                    <a:lnTo>
                      <a:pt x="1130" y="6131"/>
                    </a:lnTo>
                    <a:lnTo>
                      <a:pt x="1172" y="6235"/>
                    </a:lnTo>
                    <a:lnTo>
                      <a:pt x="1151" y="6319"/>
                    </a:lnTo>
                    <a:lnTo>
                      <a:pt x="1214" y="6340"/>
                    </a:lnTo>
                    <a:lnTo>
                      <a:pt x="1256" y="6298"/>
                    </a:lnTo>
                    <a:lnTo>
                      <a:pt x="1339" y="6173"/>
                    </a:lnTo>
                    <a:lnTo>
                      <a:pt x="1528" y="5984"/>
                    </a:lnTo>
                    <a:lnTo>
                      <a:pt x="1590" y="5691"/>
                    </a:lnTo>
                    <a:lnTo>
                      <a:pt x="1674" y="5650"/>
                    </a:lnTo>
                    <a:lnTo>
                      <a:pt x="1674" y="5754"/>
                    </a:lnTo>
                    <a:lnTo>
                      <a:pt x="1632" y="5880"/>
                    </a:lnTo>
                    <a:lnTo>
                      <a:pt x="1632" y="5963"/>
                    </a:lnTo>
                    <a:lnTo>
                      <a:pt x="1737" y="5984"/>
                    </a:lnTo>
                    <a:lnTo>
                      <a:pt x="1862" y="5859"/>
                    </a:lnTo>
                    <a:lnTo>
                      <a:pt x="1946" y="5775"/>
                    </a:lnTo>
                    <a:lnTo>
                      <a:pt x="1946" y="5670"/>
                    </a:lnTo>
                    <a:lnTo>
                      <a:pt x="1841" y="5650"/>
                    </a:lnTo>
                    <a:lnTo>
                      <a:pt x="1841" y="5608"/>
                    </a:lnTo>
                    <a:lnTo>
                      <a:pt x="1946" y="5566"/>
                    </a:lnTo>
                    <a:lnTo>
                      <a:pt x="1946" y="5398"/>
                    </a:lnTo>
                    <a:lnTo>
                      <a:pt x="1904" y="5336"/>
                    </a:lnTo>
                    <a:lnTo>
                      <a:pt x="1904" y="5231"/>
                    </a:lnTo>
                    <a:lnTo>
                      <a:pt x="2072" y="5126"/>
                    </a:lnTo>
                    <a:lnTo>
                      <a:pt x="2113" y="4938"/>
                    </a:lnTo>
                    <a:lnTo>
                      <a:pt x="2218" y="4875"/>
                    </a:lnTo>
                    <a:lnTo>
                      <a:pt x="2281" y="4813"/>
                    </a:lnTo>
                    <a:lnTo>
                      <a:pt x="2281" y="4917"/>
                    </a:lnTo>
                    <a:lnTo>
                      <a:pt x="2281" y="4959"/>
                    </a:lnTo>
                    <a:lnTo>
                      <a:pt x="2197" y="4980"/>
                    </a:lnTo>
                    <a:lnTo>
                      <a:pt x="2113" y="5168"/>
                    </a:lnTo>
                    <a:lnTo>
                      <a:pt x="2051" y="5294"/>
                    </a:lnTo>
                    <a:lnTo>
                      <a:pt x="2009" y="5461"/>
                    </a:lnTo>
                    <a:lnTo>
                      <a:pt x="2072" y="5566"/>
                    </a:lnTo>
                    <a:lnTo>
                      <a:pt x="2092" y="5691"/>
                    </a:lnTo>
                    <a:lnTo>
                      <a:pt x="2155" y="5650"/>
                    </a:lnTo>
                    <a:lnTo>
                      <a:pt x="2260" y="5461"/>
                    </a:lnTo>
                    <a:lnTo>
                      <a:pt x="2469" y="5273"/>
                    </a:lnTo>
                    <a:lnTo>
                      <a:pt x="2532" y="5147"/>
                    </a:lnTo>
                    <a:lnTo>
                      <a:pt x="2532" y="4980"/>
                    </a:lnTo>
                    <a:lnTo>
                      <a:pt x="2616" y="4875"/>
                    </a:lnTo>
                    <a:lnTo>
                      <a:pt x="2699" y="4854"/>
                    </a:lnTo>
                    <a:lnTo>
                      <a:pt x="2699" y="4917"/>
                    </a:lnTo>
                    <a:lnTo>
                      <a:pt x="2678" y="4959"/>
                    </a:lnTo>
                    <a:lnTo>
                      <a:pt x="2678" y="5085"/>
                    </a:lnTo>
                    <a:lnTo>
                      <a:pt x="2741" y="5064"/>
                    </a:lnTo>
                    <a:lnTo>
                      <a:pt x="2888" y="4875"/>
                    </a:lnTo>
                    <a:lnTo>
                      <a:pt x="2971" y="4875"/>
                    </a:lnTo>
                    <a:lnTo>
                      <a:pt x="3139" y="4917"/>
                    </a:lnTo>
                    <a:lnTo>
                      <a:pt x="3327" y="4854"/>
                    </a:lnTo>
                    <a:lnTo>
                      <a:pt x="3432" y="4834"/>
                    </a:lnTo>
                    <a:lnTo>
                      <a:pt x="3494" y="4750"/>
                    </a:lnTo>
                    <a:lnTo>
                      <a:pt x="3620" y="4729"/>
                    </a:lnTo>
                    <a:lnTo>
                      <a:pt x="3662" y="4624"/>
                    </a:lnTo>
                    <a:lnTo>
                      <a:pt x="3662" y="4541"/>
                    </a:lnTo>
                    <a:lnTo>
                      <a:pt x="3683" y="4457"/>
                    </a:lnTo>
                    <a:lnTo>
                      <a:pt x="3620" y="4394"/>
                    </a:lnTo>
                    <a:lnTo>
                      <a:pt x="3662" y="4227"/>
                    </a:lnTo>
                    <a:lnTo>
                      <a:pt x="3662" y="3976"/>
                    </a:lnTo>
                    <a:lnTo>
                      <a:pt x="3620" y="3976"/>
                    </a:lnTo>
                    <a:lnTo>
                      <a:pt x="3536" y="4122"/>
                    </a:lnTo>
                    <a:lnTo>
                      <a:pt x="3411" y="4290"/>
                    </a:lnTo>
                    <a:lnTo>
                      <a:pt x="3348" y="4290"/>
                    </a:lnTo>
                    <a:lnTo>
                      <a:pt x="3348" y="4206"/>
                    </a:lnTo>
                    <a:lnTo>
                      <a:pt x="3432" y="4101"/>
                    </a:lnTo>
                    <a:lnTo>
                      <a:pt x="3536" y="4018"/>
                    </a:lnTo>
                    <a:lnTo>
                      <a:pt x="3557" y="3934"/>
                    </a:lnTo>
                    <a:lnTo>
                      <a:pt x="3432" y="3829"/>
                    </a:lnTo>
                    <a:lnTo>
                      <a:pt x="3411" y="3725"/>
                    </a:lnTo>
                    <a:lnTo>
                      <a:pt x="3348" y="3725"/>
                    </a:lnTo>
                    <a:lnTo>
                      <a:pt x="3306" y="3766"/>
                    </a:lnTo>
                    <a:lnTo>
                      <a:pt x="3264" y="3829"/>
                    </a:lnTo>
                    <a:lnTo>
                      <a:pt x="3201" y="3787"/>
                    </a:lnTo>
                    <a:lnTo>
                      <a:pt x="3097" y="3808"/>
                    </a:lnTo>
                    <a:lnTo>
                      <a:pt x="3013" y="3871"/>
                    </a:lnTo>
                    <a:lnTo>
                      <a:pt x="2909" y="3829"/>
                    </a:lnTo>
                    <a:lnTo>
                      <a:pt x="2950" y="3787"/>
                    </a:lnTo>
                    <a:lnTo>
                      <a:pt x="3222" y="3683"/>
                    </a:lnTo>
                    <a:lnTo>
                      <a:pt x="3327" y="3662"/>
                    </a:lnTo>
                    <a:lnTo>
                      <a:pt x="3536" y="3453"/>
                    </a:lnTo>
                    <a:lnTo>
                      <a:pt x="3578" y="3390"/>
                    </a:lnTo>
                    <a:lnTo>
                      <a:pt x="3725" y="3160"/>
                    </a:lnTo>
                    <a:lnTo>
                      <a:pt x="3766" y="2971"/>
                    </a:lnTo>
                    <a:lnTo>
                      <a:pt x="3725" y="2950"/>
                    </a:lnTo>
                    <a:lnTo>
                      <a:pt x="3641" y="2971"/>
                    </a:lnTo>
                    <a:lnTo>
                      <a:pt x="3578" y="3034"/>
                    </a:lnTo>
                    <a:lnTo>
                      <a:pt x="3536" y="2950"/>
                    </a:lnTo>
                    <a:lnTo>
                      <a:pt x="3578" y="2888"/>
                    </a:lnTo>
                    <a:lnTo>
                      <a:pt x="3641" y="2846"/>
                    </a:lnTo>
                    <a:lnTo>
                      <a:pt x="3725" y="2867"/>
                    </a:lnTo>
                    <a:lnTo>
                      <a:pt x="3766" y="2783"/>
                    </a:lnTo>
                    <a:lnTo>
                      <a:pt x="3766" y="2657"/>
                    </a:lnTo>
                    <a:lnTo>
                      <a:pt x="3871" y="2553"/>
                    </a:lnTo>
                    <a:lnTo>
                      <a:pt x="3871" y="2427"/>
                    </a:lnTo>
                    <a:lnTo>
                      <a:pt x="3850" y="2365"/>
                    </a:lnTo>
                    <a:lnTo>
                      <a:pt x="3850" y="2302"/>
                    </a:lnTo>
                    <a:lnTo>
                      <a:pt x="3745" y="2260"/>
                    </a:lnTo>
                    <a:lnTo>
                      <a:pt x="3641" y="2302"/>
                    </a:lnTo>
                    <a:lnTo>
                      <a:pt x="3494" y="2553"/>
                    </a:lnTo>
                    <a:lnTo>
                      <a:pt x="3494" y="2678"/>
                    </a:lnTo>
                    <a:lnTo>
                      <a:pt x="3557" y="2762"/>
                    </a:lnTo>
                    <a:lnTo>
                      <a:pt x="3473" y="2846"/>
                    </a:lnTo>
                    <a:lnTo>
                      <a:pt x="3432" y="2888"/>
                    </a:lnTo>
                    <a:lnTo>
                      <a:pt x="3369" y="2867"/>
                    </a:lnTo>
                    <a:lnTo>
                      <a:pt x="3411" y="2825"/>
                    </a:lnTo>
                    <a:lnTo>
                      <a:pt x="3348" y="2762"/>
                    </a:lnTo>
                    <a:lnTo>
                      <a:pt x="3348" y="2657"/>
                    </a:lnTo>
                    <a:lnTo>
                      <a:pt x="3453" y="2448"/>
                    </a:lnTo>
                    <a:lnTo>
                      <a:pt x="3432" y="2344"/>
                    </a:lnTo>
                    <a:lnTo>
                      <a:pt x="3453" y="2302"/>
                    </a:lnTo>
                    <a:lnTo>
                      <a:pt x="3473" y="2323"/>
                    </a:lnTo>
                    <a:lnTo>
                      <a:pt x="3557" y="2302"/>
                    </a:lnTo>
                    <a:lnTo>
                      <a:pt x="3536" y="2134"/>
                    </a:lnTo>
                    <a:lnTo>
                      <a:pt x="3453" y="2030"/>
                    </a:lnTo>
                    <a:lnTo>
                      <a:pt x="3348" y="2030"/>
                    </a:lnTo>
                    <a:lnTo>
                      <a:pt x="3222" y="2051"/>
                    </a:lnTo>
                    <a:lnTo>
                      <a:pt x="3160" y="2155"/>
                    </a:lnTo>
                    <a:lnTo>
                      <a:pt x="3139" y="2113"/>
                    </a:lnTo>
                    <a:lnTo>
                      <a:pt x="3118" y="2051"/>
                    </a:lnTo>
                    <a:lnTo>
                      <a:pt x="3139" y="1904"/>
                    </a:lnTo>
                    <a:lnTo>
                      <a:pt x="3055" y="1737"/>
                    </a:lnTo>
                    <a:lnTo>
                      <a:pt x="3097" y="1507"/>
                    </a:lnTo>
                    <a:lnTo>
                      <a:pt x="3097" y="1318"/>
                    </a:lnTo>
                    <a:lnTo>
                      <a:pt x="3139" y="1193"/>
                    </a:lnTo>
                    <a:lnTo>
                      <a:pt x="3160" y="1005"/>
                    </a:lnTo>
                    <a:lnTo>
                      <a:pt x="3139" y="858"/>
                    </a:lnTo>
                    <a:lnTo>
                      <a:pt x="3243" y="670"/>
                    </a:lnTo>
                    <a:lnTo>
                      <a:pt x="3243" y="523"/>
                    </a:lnTo>
                    <a:lnTo>
                      <a:pt x="3139" y="419"/>
                    </a:lnTo>
                    <a:lnTo>
                      <a:pt x="3118" y="272"/>
                    </a:lnTo>
                    <a:lnTo>
                      <a:pt x="2950" y="147"/>
                    </a:lnTo>
                    <a:lnTo>
                      <a:pt x="2909" y="63"/>
                    </a:lnTo>
                    <a:lnTo>
                      <a:pt x="2741" y="0"/>
                    </a:lnTo>
                    <a:lnTo>
                      <a:pt x="2699" y="21"/>
                    </a:lnTo>
                    <a:lnTo>
                      <a:pt x="2699" y="105"/>
                    </a:lnTo>
                    <a:lnTo>
                      <a:pt x="2678" y="126"/>
                    </a:lnTo>
                    <a:lnTo>
                      <a:pt x="2511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0" name="Google Shape;12093;p43">
                <a:extLst>
                  <a:ext uri="{FF2B5EF4-FFF2-40B4-BE49-F238E27FC236}">
                    <a16:creationId xmlns:a16="http://schemas.microsoft.com/office/drawing/2014/main" id="{2E71FB63-B197-64EA-EC02-9C1489A5BE98}"/>
                  </a:ext>
                </a:extLst>
              </p:cNvPr>
              <p:cNvSpPr/>
              <p:nvPr/>
            </p:nvSpPr>
            <p:spPr>
              <a:xfrm>
                <a:off x="2744725" y="1557875"/>
                <a:ext cx="36625" cy="48150"/>
              </a:xfrm>
              <a:custGeom>
                <a:avLst/>
                <a:gdLst/>
                <a:ahLst/>
                <a:cxnLst/>
                <a:rect l="l" t="t" r="r" b="b"/>
                <a:pathLst>
                  <a:path w="1465" h="1926" extrusionOk="0">
                    <a:moveTo>
                      <a:pt x="711" y="0"/>
                    </a:moveTo>
                    <a:lnTo>
                      <a:pt x="586" y="105"/>
                    </a:lnTo>
                    <a:lnTo>
                      <a:pt x="502" y="168"/>
                    </a:lnTo>
                    <a:lnTo>
                      <a:pt x="502" y="356"/>
                    </a:lnTo>
                    <a:lnTo>
                      <a:pt x="419" y="419"/>
                    </a:lnTo>
                    <a:lnTo>
                      <a:pt x="356" y="377"/>
                    </a:lnTo>
                    <a:lnTo>
                      <a:pt x="272" y="544"/>
                    </a:lnTo>
                    <a:lnTo>
                      <a:pt x="272" y="733"/>
                    </a:lnTo>
                    <a:lnTo>
                      <a:pt x="188" y="837"/>
                    </a:lnTo>
                    <a:lnTo>
                      <a:pt x="272" y="963"/>
                    </a:lnTo>
                    <a:lnTo>
                      <a:pt x="147" y="963"/>
                    </a:lnTo>
                    <a:lnTo>
                      <a:pt x="167" y="1005"/>
                    </a:lnTo>
                    <a:lnTo>
                      <a:pt x="272" y="1088"/>
                    </a:lnTo>
                    <a:lnTo>
                      <a:pt x="398" y="1256"/>
                    </a:lnTo>
                    <a:lnTo>
                      <a:pt x="377" y="1360"/>
                    </a:lnTo>
                    <a:lnTo>
                      <a:pt x="356" y="1360"/>
                    </a:lnTo>
                    <a:lnTo>
                      <a:pt x="209" y="1256"/>
                    </a:lnTo>
                    <a:lnTo>
                      <a:pt x="84" y="1256"/>
                    </a:lnTo>
                    <a:lnTo>
                      <a:pt x="63" y="1318"/>
                    </a:lnTo>
                    <a:lnTo>
                      <a:pt x="0" y="1402"/>
                    </a:lnTo>
                    <a:lnTo>
                      <a:pt x="105" y="1465"/>
                    </a:lnTo>
                    <a:lnTo>
                      <a:pt x="147" y="1590"/>
                    </a:lnTo>
                    <a:lnTo>
                      <a:pt x="188" y="1632"/>
                    </a:lnTo>
                    <a:lnTo>
                      <a:pt x="105" y="1737"/>
                    </a:lnTo>
                    <a:lnTo>
                      <a:pt x="105" y="1883"/>
                    </a:lnTo>
                    <a:lnTo>
                      <a:pt x="251" y="1821"/>
                    </a:lnTo>
                    <a:lnTo>
                      <a:pt x="272" y="1737"/>
                    </a:lnTo>
                    <a:lnTo>
                      <a:pt x="356" y="1737"/>
                    </a:lnTo>
                    <a:lnTo>
                      <a:pt x="377" y="1883"/>
                    </a:lnTo>
                    <a:lnTo>
                      <a:pt x="460" y="1883"/>
                    </a:lnTo>
                    <a:lnTo>
                      <a:pt x="607" y="1842"/>
                    </a:lnTo>
                    <a:lnTo>
                      <a:pt x="711" y="1883"/>
                    </a:lnTo>
                    <a:lnTo>
                      <a:pt x="837" y="1779"/>
                    </a:lnTo>
                    <a:lnTo>
                      <a:pt x="900" y="1821"/>
                    </a:lnTo>
                    <a:lnTo>
                      <a:pt x="900" y="1925"/>
                    </a:lnTo>
                    <a:lnTo>
                      <a:pt x="983" y="1925"/>
                    </a:lnTo>
                    <a:lnTo>
                      <a:pt x="1025" y="1883"/>
                    </a:lnTo>
                    <a:lnTo>
                      <a:pt x="1235" y="1737"/>
                    </a:lnTo>
                    <a:lnTo>
                      <a:pt x="1235" y="1632"/>
                    </a:lnTo>
                    <a:lnTo>
                      <a:pt x="1214" y="1465"/>
                    </a:lnTo>
                    <a:lnTo>
                      <a:pt x="1151" y="1465"/>
                    </a:lnTo>
                    <a:lnTo>
                      <a:pt x="1109" y="1402"/>
                    </a:lnTo>
                    <a:lnTo>
                      <a:pt x="1193" y="1360"/>
                    </a:lnTo>
                    <a:lnTo>
                      <a:pt x="1297" y="1381"/>
                    </a:lnTo>
                    <a:lnTo>
                      <a:pt x="1339" y="1298"/>
                    </a:lnTo>
                    <a:lnTo>
                      <a:pt x="1465" y="1214"/>
                    </a:lnTo>
                    <a:lnTo>
                      <a:pt x="1423" y="984"/>
                    </a:lnTo>
                    <a:lnTo>
                      <a:pt x="1360" y="900"/>
                    </a:lnTo>
                    <a:lnTo>
                      <a:pt x="1360" y="837"/>
                    </a:lnTo>
                    <a:lnTo>
                      <a:pt x="1235" y="837"/>
                    </a:lnTo>
                    <a:lnTo>
                      <a:pt x="1193" y="691"/>
                    </a:lnTo>
                    <a:lnTo>
                      <a:pt x="1193" y="649"/>
                    </a:lnTo>
                    <a:lnTo>
                      <a:pt x="1130" y="586"/>
                    </a:lnTo>
                    <a:lnTo>
                      <a:pt x="1109" y="482"/>
                    </a:lnTo>
                    <a:lnTo>
                      <a:pt x="1046" y="461"/>
                    </a:lnTo>
                    <a:lnTo>
                      <a:pt x="1004" y="377"/>
                    </a:lnTo>
                    <a:lnTo>
                      <a:pt x="1025" y="272"/>
                    </a:lnTo>
                    <a:lnTo>
                      <a:pt x="983" y="168"/>
                    </a:lnTo>
                    <a:lnTo>
                      <a:pt x="837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1" name="Google Shape;12094;p43">
                <a:extLst>
                  <a:ext uri="{FF2B5EF4-FFF2-40B4-BE49-F238E27FC236}">
                    <a16:creationId xmlns:a16="http://schemas.microsoft.com/office/drawing/2014/main" id="{B7843154-0015-9885-EA66-A2E5ECA629F3}"/>
                  </a:ext>
                </a:extLst>
              </p:cNvPr>
              <p:cNvSpPr/>
              <p:nvPr/>
            </p:nvSpPr>
            <p:spPr>
              <a:xfrm>
                <a:off x="2789175" y="1410350"/>
                <a:ext cx="386600" cy="302375"/>
              </a:xfrm>
              <a:custGeom>
                <a:avLst/>
                <a:gdLst/>
                <a:ahLst/>
                <a:cxnLst/>
                <a:rect l="l" t="t" r="r" b="b"/>
                <a:pathLst>
                  <a:path w="15464" h="12095" extrusionOk="0">
                    <a:moveTo>
                      <a:pt x="9625" y="1"/>
                    </a:moveTo>
                    <a:lnTo>
                      <a:pt x="9521" y="105"/>
                    </a:lnTo>
                    <a:lnTo>
                      <a:pt x="9416" y="105"/>
                    </a:lnTo>
                    <a:lnTo>
                      <a:pt x="9353" y="168"/>
                    </a:lnTo>
                    <a:lnTo>
                      <a:pt x="9416" y="252"/>
                    </a:lnTo>
                    <a:lnTo>
                      <a:pt x="9521" y="273"/>
                    </a:lnTo>
                    <a:lnTo>
                      <a:pt x="9584" y="315"/>
                    </a:lnTo>
                    <a:lnTo>
                      <a:pt x="9458" y="315"/>
                    </a:lnTo>
                    <a:lnTo>
                      <a:pt x="9395" y="377"/>
                    </a:lnTo>
                    <a:lnTo>
                      <a:pt x="9458" y="461"/>
                    </a:lnTo>
                    <a:lnTo>
                      <a:pt x="9584" y="566"/>
                    </a:lnTo>
                    <a:lnTo>
                      <a:pt x="9563" y="629"/>
                    </a:lnTo>
                    <a:lnTo>
                      <a:pt x="9521" y="691"/>
                    </a:lnTo>
                    <a:lnTo>
                      <a:pt x="9625" y="796"/>
                    </a:lnTo>
                    <a:lnTo>
                      <a:pt x="9709" y="817"/>
                    </a:lnTo>
                    <a:lnTo>
                      <a:pt x="9709" y="880"/>
                    </a:lnTo>
                    <a:lnTo>
                      <a:pt x="9605" y="901"/>
                    </a:lnTo>
                    <a:lnTo>
                      <a:pt x="9605" y="942"/>
                    </a:lnTo>
                    <a:lnTo>
                      <a:pt x="9395" y="712"/>
                    </a:lnTo>
                    <a:lnTo>
                      <a:pt x="9353" y="712"/>
                    </a:lnTo>
                    <a:lnTo>
                      <a:pt x="9312" y="796"/>
                    </a:lnTo>
                    <a:lnTo>
                      <a:pt x="9312" y="901"/>
                    </a:lnTo>
                    <a:lnTo>
                      <a:pt x="9270" y="880"/>
                    </a:lnTo>
                    <a:lnTo>
                      <a:pt x="9249" y="691"/>
                    </a:lnTo>
                    <a:lnTo>
                      <a:pt x="9270" y="566"/>
                    </a:lnTo>
                    <a:lnTo>
                      <a:pt x="9186" y="419"/>
                    </a:lnTo>
                    <a:lnTo>
                      <a:pt x="9186" y="273"/>
                    </a:lnTo>
                    <a:lnTo>
                      <a:pt x="9123" y="210"/>
                    </a:lnTo>
                    <a:lnTo>
                      <a:pt x="9081" y="252"/>
                    </a:lnTo>
                    <a:lnTo>
                      <a:pt x="8956" y="147"/>
                    </a:lnTo>
                    <a:lnTo>
                      <a:pt x="8872" y="105"/>
                    </a:lnTo>
                    <a:lnTo>
                      <a:pt x="8851" y="252"/>
                    </a:lnTo>
                    <a:lnTo>
                      <a:pt x="8872" y="461"/>
                    </a:lnTo>
                    <a:lnTo>
                      <a:pt x="8851" y="670"/>
                    </a:lnTo>
                    <a:lnTo>
                      <a:pt x="8893" y="817"/>
                    </a:lnTo>
                    <a:lnTo>
                      <a:pt x="8935" y="984"/>
                    </a:lnTo>
                    <a:lnTo>
                      <a:pt x="8935" y="1047"/>
                    </a:lnTo>
                    <a:lnTo>
                      <a:pt x="8935" y="1193"/>
                    </a:lnTo>
                    <a:lnTo>
                      <a:pt x="8872" y="1235"/>
                    </a:lnTo>
                    <a:lnTo>
                      <a:pt x="8830" y="1131"/>
                    </a:lnTo>
                    <a:lnTo>
                      <a:pt x="8788" y="984"/>
                    </a:lnTo>
                    <a:lnTo>
                      <a:pt x="8747" y="901"/>
                    </a:lnTo>
                    <a:lnTo>
                      <a:pt x="8747" y="775"/>
                    </a:lnTo>
                    <a:lnTo>
                      <a:pt x="8726" y="629"/>
                    </a:lnTo>
                    <a:lnTo>
                      <a:pt x="8684" y="482"/>
                    </a:lnTo>
                    <a:lnTo>
                      <a:pt x="8475" y="357"/>
                    </a:lnTo>
                    <a:lnTo>
                      <a:pt x="8412" y="357"/>
                    </a:lnTo>
                    <a:lnTo>
                      <a:pt x="8370" y="482"/>
                    </a:lnTo>
                    <a:lnTo>
                      <a:pt x="8349" y="524"/>
                    </a:lnTo>
                    <a:lnTo>
                      <a:pt x="8370" y="691"/>
                    </a:lnTo>
                    <a:lnTo>
                      <a:pt x="8558" y="817"/>
                    </a:lnTo>
                    <a:lnTo>
                      <a:pt x="8558" y="901"/>
                    </a:lnTo>
                    <a:lnTo>
                      <a:pt x="8370" y="880"/>
                    </a:lnTo>
                    <a:lnTo>
                      <a:pt x="8328" y="838"/>
                    </a:lnTo>
                    <a:lnTo>
                      <a:pt x="8244" y="838"/>
                    </a:lnTo>
                    <a:lnTo>
                      <a:pt x="8161" y="921"/>
                    </a:lnTo>
                    <a:lnTo>
                      <a:pt x="8244" y="1131"/>
                    </a:lnTo>
                    <a:lnTo>
                      <a:pt x="8224" y="1193"/>
                    </a:lnTo>
                    <a:lnTo>
                      <a:pt x="8077" y="1235"/>
                    </a:lnTo>
                    <a:lnTo>
                      <a:pt x="8035" y="1340"/>
                    </a:lnTo>
                    <a:lnTo>
                      <a:pt x="7952" y="1403"/>
                    </a:lnTo>
                    <a:lnTo>
                      <a:pt x="7910" y="1319"/>
                    </a:lnTo>
                    <a:lnTo>
                      <a:pt x="7910" y="1214"/>
                    </a:lnTo>
                    <a:lnTo>
                      <a:pt x="7847" y="1214"/>
                    </a:lnTo>
                    <a:lnTo>
                      <a:pt x="7784" y="1361"/>
                    </a:lnTo>
                    <a:lnTo>
                      <a:pt x="7700" y="1403"/>
                    </a:lnTo>
                    <a:lnTo>
                      <a:pt x="7680" y="1131"/>
                    </a:lnTo>
                    <a:lnTo>
                      <a:pt x="7700" y="984"/>
                    </a:lnTo>
                    <a:lnTo>
                      <a:pt x="7700" y="921"/>
                    </a:lnTo>
                    <a:lnTo>
                      <a:pt x="7491" y="838"/>
                    </a:lnTo>
                    <a:lnTo>
                      <a:pt x="7470" y="775"/>
                    </a:lnTo>
                    <a:lnTo>
                      <a:pt x="7533" y="691"/>
                    </a:lnTo>
                    <a:lnTo>
                      <a:pt x="7554" y="608"/>
                    </a:lnTo>
                    <a:lnTo>
                      <a:pt x="7470" y="566"/>
                    </a:lnTo>
                    <a:lnTo>
                      <a:pt x="7261" y="524"/>
                    </a:lnTo>
                    <a:lnTo>
                      <a:pt x="7219" y="482"/>
                    </a:lnTo>
                    <a:lnTo>
                      <a:pt x="7073" y="524"/>
                    </a:lnTo>
                    <a:lnTo>
                      <a:pt x="7031" y="629"/>
                    </a:lnTo>
                    <a:lnTo>
                      <a:pt x="7115" y="712"/>
                    </a:lnTo>
                    <a:lnTo>
                      <a:pt x="7115" y="921"/>
                    </a:lnTo>
                    <a:lnTo>
                      <a:pt x="7073" y="984"/>
                    </a:lnTo>
                    <a:lnTo>
                      <a:pt x="6968" y="942"/>
                    </a:lnTo>
                    <a:lnTo>
                      <a:pt x="6864" y="984"/>
                    </a:lnTo>
                    <a:lnTo>
                      <a:pt x="6780" y="901"/>
                    </a:lnTo>
                    <a:lnTo>
                      <a:pt x="6654" y="901"/>
                    </a:lnTo>
                    <a:lnTo>
                      <a:pt x="6633" y="1026"/>
                    </a:lnTo>
                    <a:lnTo>
                      <a:pt x="6675" y="1089"/>
                    </a:lnTo>
                    <a:lnTo>
                      <a:pt x="6738" y="1193"/>
                    </a:lnTo>
                    <a:lnTo>
                      <a:pt x="6801" y="1256"/>
                    </a:lnTo>
                    <a:lnTo>
                      <a:pt x="6801" y="1403"/>
                    </a:lnTo>
                    <a:lnTo>
                      <a:pt x="6864" y="1465"/>
                    </a:lnTo>
                    <a:lnTo>
                      <a:pt x="6905" y="1465"/>
                    </a:lnTo>
                    <a:lnTo>
                      <a:pt x="7010" y="1633"/>
                    </a:lnTo>
                    <a:lnTo>
                      <a:pt x="7010" y="1779"/>
                    </a:lnTo>
                    <a:lnTo>
                      <a:pt x="6968" y="1842"/>
                    </a:lnTo>
                    <a:lnTo>
                      <a:pt x="6989" y="1717"/>
                    </a:lnTo>
                    <a:lnTo>
                      <a:pt x="6947" y="1717"/>
                    </a:lnTo>
                    <a:lnTo>
                      <a:pt x="6843" y="1842"/>
                    </a:lnTo>
                    <a:lnTo>
                      <a:pt x="6780" y="1758"/>
                    </a:lnTo>
                    <a:lnTo>
                      <a:pt x="6780" y="1654"/>
                    </a:lnTo>
                    <a:lnTo>
                      <a:pt x="6801" y="1633"/>
                    </a:lnTo>
                    <a:lnTo>
                      <a:pt x="6780" y="1549"/>
                    </a:lnTo>
                    <a:lnTo>
                      <a:pt x="6738" y="1612"/>
                    </a:lnTo>
                    <a:lnTo>
                      <a:pt x="6654" y="1612"/>
                    </a:lnTo>
                    <a:lnTo>
                      <a:pt x="6654" y="1758"/>
                    </a:lnTo>
                    <a:lnTo>
                      <a:pt x="6592" y="1842"/>
                    </a:lnTo>
                    <a:lnTo>
                      <a:pt x="6571" y="1758"/>
                    </a:lnTo>
                    <a:lnTo>
                      <a:pt x="6508" y="1675"/>
                    </a:lnTo>
                    <a:lnTo>
                      <a:pt x="6550" y="1570"/>
                    </a:lnTo>
                    <a:lnTo>
                      <a:pt x="6550" y="1424"/>
                    </a:lnTo>
                    <a:lnTo>
                      <a:pt x="6445" y="1298"/>
                    </a:lnTo>
                    <a:lnTo>
                      <a:pt x="6382" y="1298"/>
                    </a:lnTo>
                    <a:lnTo>
                      <a:pt x="6257" y="1465"/>
                    </a:lnTo>
                    <a:lnTo>
                      <a:pt x="6215" y="1507"/>
                    </a:lnTo>
                    <a:lnTo>
                      <a:pt x="6215" y="1633"/>
                    </a:lnTo>
                    <a:lnTo>
                      <a:pt x="6257" y="1717"/>
                    </a:lnTo>
                    <a:lnTo>
                      <a:pt x="6215" y="1758"/>
                    </a:lnTo>
                    <a:lnTo>
                      <a:pt x="6131" y="1675"/>
                    </a:lnTo>
                    <a:lnTo>
                      <a:pt x="6152" y="1612"/>
                    </a:lnTo>
                    <a:lnTo>
                      <a:pt x="6110" y="1528"/>
                    </a:lnTo>
                    <a:lnTo>
                      <a:pt x="6131" y="1424"/>
                    </a:lnTo>
                    <a:lnTo>
                      <a:pt x="6110" y="1298"/>
                    </a:lnTo>
                    <a:lnTo>
                      <a:pt x="5985" y="1235"/>
                    </a:lnTo>
                    <a:lnTo>
                      <a:pt x="5985" y="1089"/>
                    </a:lnTo>
                    <a:lnTo>
                      <a:pt x="5985" y="984"/>
                    </a:lnTo>
                    <a:lnTo>
                      <a:pt x="5943" y="984"/>
                    </a:lnTo>
                    <a:lnTo>
                      <a:pt x="5796" y="1110"/>
                    </a:lnTo>
                    <a:lnTo>
                      <a:pt x="5713" y="1131"/>
                    </a:lnTo>
                    <a:lnTo>
                      <a:pt x="5692" y="1256"/>
                    </a:lnTo>
                    <a:lnTo>
                      <a:pt x="5713" y="1340"/>
                    </a:lnTo>
                    <a:lnTo>
                      <a:pt x="5692" y="1403"/>
                    </a:lnTo>
                    <a:lnTo>
                      <a:pt x="5692" y="1465"/>
                    </a:lnTo>
                    <a:lnTo>
                      <a:pt x="5608" y="1528"/>
                    </a:lnTo>
                    <a:lnTo>
                      <a:pt x="5608" y="1445"/>
                    </a:lnTo>
                    <a:lnTo>
                      <a:pt x="5629" y="1403"/>
                    </a:lnTo>
                    <a:lnTo>
                      <a:pt x="5608" y="1340"/>
                    </a:lnTo>
                    <a:lnTo>
                      <a:pt x="5524" y="1424"/>
                    </a:lnTo>
                    <a:lnTo>
                      <a:pt x="5462" y="1570"/>
                    </a:lnTo>
                    <a:lnTo>
                      <a:pt x="5399" y="1612"/>
                    </a:lnTo>
                    <a:lnTo>
                      <a:pt x="5399" y="1340"/>
                    </a:lnTo>
                    <a:lnTo>
                      <a:pt x="5420" y="1256"/>
                    </a:lnTo>
                    <a:lnTo>
                      <a:pt x="5420" y="1193"/>
                    </a:lnTo>
                    <a:lnTo>
                      <a:pt x="5336" y="1152"/>
                    </a:lnTo>
                    <a:lnTo>
                      <a:pt x="5273" y="1214"/>
                    </a:lnTo>
                    <a:lnTo>
                      <a:pt x="5022" y="1214"/>
                    </a:lnTo>
                    <a:lnTo>
                      <a:pt x="4876" y="1319"/>
                    </a:lnTo>
                    <a:lnTo>
                      <a:pt x="4771" y="1298"/>
                    </a:lnTo>
                    <a:lnTo>
                      <a:pt x="4646" y="1361"/>
                    </a:lnTo>
                    <a:lnTo>
                      <a:pt x="4583" y="1465"/>
                    </a:lnTo>
                    <a:lnTo>
                      <a:pt x="4457" y="1465"/>
                    </a:lnTo>
                    <a:lnTo>
                      <a:pt x="4353" y="1528"/>
                    </a:lnTo>
                    <a:lnTo>
                      <a:pt x="4332" y="1654"/>
                    </a:lnTo>
                    <a:lnTo>
                      <a:pt x="4248" y="1612"/>
                    </a:lnTo>
                    <a:lnTo>
                      <a:pt x="4227" y="1633"/>
                    </a:lnTo>
                    <a:lnTo>
                      <a:pt x="4248" y="1737"/>
                    </a:lnTo>
                    <a:lnTo>
                      <a:pt x="4290" y="1758"/>
                    </a:lnTo>
                    <a:lnTo>
                      <a:pt x="4269" y="1863"/>
                    </a:lnTo>
                    <a:lnTo>
                      <a:pt x="4290" y="1968"/>
                    </a:lnTo>
                    <a:lnTo>
                      <a:pt x="4415" y="1947"/>
                    </a:lnTo>
                    <a:lnTo>
                      <a:pt x="4478" y="1863"/>
                    </a:lnTo>
                    <a:lnTo>
                      <a:pt x="4478" y="1779"/>
                    </a:lnTo>
                    <a:lnTo>
                      <a:pt x="4604" y="1758"/>
                    </a:lnTo>
                    <a:lnTo>
                      <a:pt x="4667" y="1717"/>
                    </a:lnTo>
                    <a:lnTo>
                      <a:pt x="4708" y="1675"/>
                    </a:lnTo>
                    <a:lnTo>
                      <a:pt x="4750" y="1821"/>
                    </a:lnTo>
                    <a:lnTo>
                      <a:pt x="4813" y="1758"/>
                    </a:lnTo>
                    <a:lnTo>
                      <a:pt x="4855" y="1654"/>
                    </a:lnTo>
                    <a:lnTo>
                      <a:pt x="4897" y="1633"/>
                    </a:lnTo>
                    <a:lnTo>
                      <a:pt x="4876" y="1779"/>
                    </a:lnTo>
                    <a:lnTo>
                      <a:pt x="4918" y="1842"/>
                    </a:lnTo>
                    <a:lnTo>
                      <a:pt x="5064" y="1842"/>
                    </a:lnTo>
                    <a:lnTo>
                      <a:pt x="4939" y="1884"/>
                    </a:lnTo>
                    <a:lnTo>
                      <a:pt x="4771" y="1926"/>
                    </a:lnTo>
                    <a:lnTo>
                      <a:pt x="4604" y="2051"/>
                    </a:lnTo>
                    <a:lnTo>
                      <a:pt x="4478" y="2093"/>
                    </a:lnTo>
                    <a:lnTo>
                      <a:pt x="4499" y="2198"/>
                    </a:lnTo>
                    <a:lnTo>
                      <a:pt x="4499" y="2281"/>
                    </a:lnTo>
                    <a:lnTo>
                      <a:pt x="4583" y="2281"/>
                    </a:lnTo>
                    <a:lnTo>
                      <a:pt x="4667" y="2198"/>
                    </a:lnTo>
                    <a:lnTo>
                      <a:pt x="4771" y="2198"/>
                    </a:lnTo>
                    <a:lnTo>
                      <a:pt x="4918" y="2156"/>
                    </a:lnTo>
                    <a:lnTo>
                      <a:pt x="5127" y="2135"/>
                    </a:lnTo>
                    <a:lnTo>
                      <a:pt x="5378" y="2072"/>
                    </a:lnTo>
                    <a:lnTo>
                      <a:pt x="5420" y="2135"/>
                    </a:lnTo>
                    <a:lnTo>
                      <a:pt x="5420" y="2198"/>
                    </a:lnTo>
                    <a:lnTo>
                      <a:pt x="5336" y="2240"/>
                    </a:lnTo>
                    <a:lnTo>
                      <a:pt x="5273" y="2177"/>
                    </a:lnTo>
                    <a:lnTo>
                      <a:pt x="5169" y="2177"/>
                    </a:lnTo>
                    <a:lnTo>
                      <a:pt x="5064" y="2261"/>
                    </a:lnTo>
                    <a:lnTo>
                      <a:pt x="4876" y="2261"/>
                    </a:lnTo>
                    <a:lnTo>
                      <a:pt x="4708" y="2386"/>
                    </a:lnTo>
                    <a:lnTo>
                      <a:pt x="4562" y="2386"/>
                    </a:lnTo>
                    <a:lnTo>
                      <a:pt x="4541" y="2449"/>
                    </a:lnTo>
                    <a:lnTo>
                      <a:pt x="4604" y="2554"/>
                    </a:lnTo>
                    <a:lnTo>
                      <a:pt x="4708" y="2554"/>
                    </a:lnTo>
                    <a:lnTo>
                      <a:pt x="4813" y="2616"/>
                    </a:lnTo>
                    <a:lnTo>
                      <a:pt x="4750" y="2658"/>
                    </a:lnTo>
                    <a:lnTo>
                      <a:pt x="4562" y="2658"/>
                    </a:lnTo>
                    <a:lnTo>
                      <a:pt x="4478" y="2574"/>
                    </a:lnTo>
                    <a:lnTo>
                      <a:pt x="4415" y="2574"/>
                    </a:lnTo>
                    <a:lnTo>
                      <a:pt x="4353" y="2616"/>
                    </a:lnTo>
                    <a:lnTo>
                      <a:pt x="4353" y="2763"/>
                    </a:lnTo>
                    <a:lnTo>
                      <a:pt x="4290" y="2826"/>
                    </a:lnTo>
                    <a:lnTo>
                      <a:pt x="4332" y="2909"/>
                    </a:lnTo>
                    <a:lnTo>
                      <a:pt x="4415" y="2972"/>
                    </a:lnTo>
                    <a:lnTo>
                      <a:pt x="4562" y="2909"/>
                    </a:lnTo>
                    <a:lnTo>
                      <a:pt x="4750" y="3014"/>
                    </a:lnTo>
                    <a:lnTo>
                      <a:pt x="4897" y="2993"/>
                    </a:lnTo>
                    <a:lnTo>
                      <a:pt x="4918" y="3035"/>
                    </a:lnTo>
                    <a:lnTo>
                      <a:pt x="5022" y="3035"/>
                    </a:lnTo>
                    <a:lnTo>
                      <a:pt x="5169" y="3139"/>
                    </a:lnTo>
                    <a:lnTo>
                      <a:pt x="5231" y="3139"/>
                    </a:lnTo>
                    <a:lnTo>
                      <a:pt x="5315" y="3118"/>
                    </a:lnTo>
                    <a:lnTo>
                      <a:pt x="5462" y="3139"/>
                    </a:lnTo>
                    <a:lnTo>
                      <a:pt x="5545" y="3139"/>
                    </a:lnTo>
                    <a:lnTo>
                      <a:pt x="5713" y="3035"/>
                    </a:lnTo>
                    <a:lnTo>
                      <a:pt x="5943" y="3035"/>
                    </a:lnTo>
                    <a:lnTo>
                      <a:pt x="6110" y="3014"/>
                    </a:lnTo>
                    <a:lnTo>
                      <a:pt x="6173" y="2972"/>
                    </a:lnTo>
                    <a:lnTo>
                      <a:pt x="6236" y="2930"/>
                    </a:lnTo>
                    <a:lnTo>
                      <a:pt x="6320" y="2930"/>
                    </a:lnTo>
                    <a:lnTo>
                      <a:pt x="6320" y="2993"/>
                    </a:lnTo>
                    <a:lnTo>
                      <a:pt x="6278" y="3077"/>
                    </a:lnTo>
                    <a:lnTo>
                      <a:pt x="6068" y="3098"/>
                    </a:lnTo>
                    <a:lnTo>
                      <a:pt x="5838" y="3139"/>
                    </a:lnTo>
                    <a:lnTo>
                      <a:pt x="5755" y="3202"/>
                    </a:lnTo>
                    <a:lnTo>
                      <a:pt x="5650" y="3223"/>
                    </a:lnTo>
                    <a:lnTo>
                      <a:pt x="5629" y="3244"/>
                    </a:lnTo>
                    <a:lnTo>
                      <a:pt x="5462" y="3223"/>
                    </a:lnTo>
                    <a:lnTo>
                      <a:pt x="5336" y="3286"/>
                    </a:lnTo>
                    <a:lnTo>
                      <a:pt x="5231" y="3286"/>
                    </a:lnTo>
                    <a:lnTo>
                      <a:pt x="5190" y="3223"/>
                    </a:lnTo>
                    <a:lnTo>
                      <a:pt x="5085" y="3223"/>
                    </a:lnTo>
                    <a:lnTo>
                      <a:pt x="4897" y="3118"/>
                    </a:lnTo>
                    <a:lnTo>
                      <a:pt x="4562" y="3118"/>
                    </a:lnTo>
                    <a:lnTo>
                      <a:pt x="4499" y="3077"/>
                    </a:lnTo>
                    <a:lnTo>
                      <a:pt x="4374" y="3098"/>
                    </a:lnTo>
                    <a:lnTo>
                      <a:pt x="4269" y="3077"/>
                    </a:lnTo>
                    <a:lnTo>
                      <a:pt x="4227" y="3118"/>
                    </a:lnTo>
                    <a:lnTo>
                      <a:pt x="4248" y="3286"/>
                    </a:lnTo>
                    <a:lnTo>
                      <a:pt x="4290" y="3328"/>
                    </a:lnTo>
                    <a:lnTo>
                      <a:pt x="4290" y="3516"/>
                    </a:lnTo>
                    <a:lnTo>
                      <a:pt x="4353" y="3642"/>
                    </a:lnTo>
                    <a:lnTo>
                      <a:pt x="4395" y="3704"/>
                    </a:lnTo>
                    <a:lnTo>
                      <a:pt x="4478" y="3725"/>
                    </a:lnTo>
                    <a:lnTo>
                      <a:pt x="4646" y="3934"/>
                    </a:lnTo>
                    <a:lnTo>
                      <a:pt x="4708" y="3976"/>
                    </a:lnTo>
                    <a:lnTo>
                      <a:pt x="4771" y="3955"/>
                    </a:lnTo>
                    <a:lnTo>
                      <a:pt x="4897" y="3767"/>
                    </a:lnTo>
                    <a:lnTo>
                      <a:pt x="5106" y="3662"/>
                    </a:lnTo>
                    <a:lnTo>
                      <a:pt x="5315" y="3537"/>
                    </a:lnTo>
                    <a:lnTo>
                      <a:pt x="5441" y="3432"/>
                    </a:lnTo>
                    <a:lnTo>
                      <a:pt x="5503" y="3349"/>
                    </a:lnTo>
                    <a:lnTo>
                      <a:pt x="5545" y="3349"/>
                    </a:lnTo>
                    <a:lnTo>
                      <a:pt x="5817" y="3411"/>
                    </a:lnTo>
                    <a:lnTo>
                      <a:pt x="6027" y="3390"/>
                    </a:lnTo>
                    <a:lnTo>
                      <a:pt x="6173" y="3390"/>
                    </a:lnTo>
                    <a:lnTo>
                      <a:pt x="6320" y="3495"/>
                    </a:lnTo>
                    <a:lnTo>
                      <a:pt x="6571" y="3516"/>
                    </a:lnTo>
                    <a:lnTo>
                      <a:pt x="6780" y="3516"/>
                    </a:lnTo>
                    <a:lnTo>
                      <a:pt x="6864" y="3558"/>
                    </a:lnTo>
                    <a:lnTo>
                      <a:pt x="6843" y="3600"/>
                    </a:lnTo>
                    <a:lnTo>
                      <a:pt x="6654" y="3621"/>
                    </a:lnTo>
                    <a:lnTo>
                      <a:pt x="6550" y="3600"/>
                    </a:lnTo>
                    <a:lnTo>
                      <a:pt x="6361" y="3558"/>
                    </a:lnTo>
                    <a:lnTo>
                      <a:pt x="6152" y="3453"/>
                    </a:lnTo>
                    <a:lnTo>
                      <a:pt x="6047" y="3453"/>
                    </a:lnTo>
                    <a:lnTo>
                      <a:pt x="5964" y="3495"/>
                    </a:lnTo>
                    <a:lnTo>
                      <a:pt x="5734" y="3453"/>
                    </a:lnTo>
                    <a:lnTo>
                      <a:pt x="5608" y="3432"/>
                    </a:lnTo>
                    <a:lnTo>
                      <a:pt x="5545" y="3516"/>
                    </a:lnTo>
                    <a:lnTo>
                      <a:pt x="5399" y="3600"/>
                    </a:lnTo>
                    <a:lnTo>
                      <a:pt x="5294" y="3725"/>
                    </a:lnTo>
                    <a:lnTo>
                      <a:pt x="5106" y="3830"/>
                    </a:lnTo>
                    <a:lnTo>
                      <a:pt x="5022" y="3976"/>
                    </a:lnTo>
                    <a:lnTo>
                      <a:pt x="4939" y="4060"/>
                    </a:lnTo>
                    <a:lnTo>
                      <a:pt x="4918" y="4123"/>
                    </a:lnTo>
                    <a:lnTo>
                      <a:pt x="5064" y="4227"/>
                    </a:lnTo>
                    <a:lnTo>
                      <a:pt x="5190" y="4227"/>
                    </a:lnTo>
                    <a:lnTo>
                      <a:pt x="5190" y="4290"/>
                    </a:lnTo>
                    <a:lnTo>
                      <a:pt x="5294" y="4395"/>
                    </a:lnTo>
                    <a:lnTo>
                      <a:pt x="5503" y="4395"/>
                    </a:lnTo>
                    <a:lnTo>
                      <a:pt x="5755" y="4478"/>
                    </a:lnTo>
                    <a:lnTo>
                      <a:pt x="5943" y="4478"/>
                    </a:lnTo>
                    <a:lnTo>
                      <a:pt x="6110" y="4332"/>
                    </a:lnTo>
                    <a:lnTo>
                      <a:pt x="6131" y="4144"/>
                    </a:lnTo>
                    <a:lnTo>
                      <a:pt x="6278" y="4081"/>
                    </a:lnTo>
                    <a:lnTo>
                      <a:pt x="6382" y="4123"/>
                    </a:lnTo>
                    <a:lnTo>
                      <a:pt x="6257" y="4165"/>
                    </a:lnTo>
                    <a:lnTo>
                      <a:pt x="6257" y="4269"/>
                    </a:lnTo>
                    <a:lnTo>
                      <a:pt x="6361" y="4290"/>
                    </a:lnTo>
                    <a:lnTo>
                      <a:pt x="6508" y="4248"/>
                    </a:lnTo>
                    <a:lnTo>
                      <a:pt x="6654" y="4269"/>
                    </a:lnTo>
                    <a:lnTo>
                      <a:pt x="6780" y="4186"/>
                    </a:lnTo>
                    <a:lnTo>
                      <a:pt x="6884" y="4227"/>
                    </a:lnTo>
                    <a:lnTo>
                      <a:pt x="6780" y="4332"/>
                    </a:lnTo>
                    <a:lnTo>
                      <a:pt x="6571" y="4353"/>
                    </a:lnTo>
                    <a:lnTo>
                      <a:pt x="6466" y="4374"/>
                    </a:lnTo>
                    <a:lnTo>
                      <a:pt x="6320" y="4374"/>
                    </a:lnTo>
                    <a:lnTo>
                      <a:pt x="6152" y="4541"/>
                    </a:lnTo>
                    <a:lnTo>
                      <a:pt x="6173" y="4604"/>
                    </a:lnTo>
                    <a:lnTo>
                      <a:pt x="6257" y="4646"/>
                    </a:lnTo>
                    <a:lnTo>
                      <a:pt x="6445" y="4604"/>
                    </a:lnTo>
                    <a:lnTo>
                      <a:pt x="6571" y="4771"/>
                    </a:lnTo>
                    <a:lnTo>
                      <a:pt x="7010" y="4771"/>
                    </a:lnTo>
                    <a:lnTo>
                      <a:pt x="7156" y="4750"/>
                    </a:lnTo>
                    <a:lnTo>
                      <a:pt x="7554" y="4583"/>
                    </a:lnTo>
                    <a:lnTo>
                      <a:pt x="7680" y="4562"/>
                    </a:lnTo>
                    <a:lnTo>
                      <a:pt x="7889" y="4395"/>
                    </a:lnTo>
                    <a:lnTo>
                      <a:pt x="7847" y="4353"/>
                    </a:lnTo>
                    <a:lnTo>
                      <a:pt x="7805" y="4353"/>
                    </a:lnTo>
                    <a:lnTo>
                      <a:pt x="7952" y="4165"/>
                    </a:lnTo>
                    <a:lnTo>
                      <a:pt x="8056" y="4165"/>
                    </a:lnTo>
                    <a:lnTo>
                      <a:pt x="8140" y="4039"/>
                    </a:lnTo>
                    <a:lnTo>
                      <a:pt x="8161" y="4060"/>
                    </a:lnTo>
                    <a:lnTo>
                      <a:pt x="8224" y="4165"/>
                    </a:lnTo>
                    <a:lnTo>
                      <a:pt x="8265" y="4165"/>
                    </a:lnTo>
                    <a:lnTo>
                      <a:pt x="8265" y="4060"/>
                    </a:lnTo>
                    <a:lnTo>
                      <a:pt x="8579" y="3830"/>
                    </a:lnTo>
                    <a:lnTo>
                      <a:pt x="8788" y="3809"/>
                    </a:lnTo>
                    <a:lnTo>
                      <a:pt x="9123" y="3662"/>
                    </a:lnTo>
                    <a:lnTo>
                      <a:pt x="9123" y="3746"/>
                    </a:lnTo>
                    <a:lnTo>
                      <a:pt x="8851" y="3872"/>
                    </a:lnTo>
                    <a:lnTo>
                      <a:pt x="8684" y="3872"/>
                    </a:lnTo>
                    <a:lnTo>
                      <a:pt x="8370" y="4060"/>
                    </a:lnTo>
                    <a:lnTo>
                      <a:pt x="8328" y="4227"/>
                    </a:lnTo>
                    <a:lnTo>
                      <a:pt x="8203" y="4332"/>
                    </a:lnTo>
                    <a:lnTo>
                      <a:pt x="8056" y="4332"/>
                    </a:lnTo>
                    <a:lnTo>
                      <a:pt x="8014" y="4478"/>
                    </a:lnTo>
                    <a:lnTo>
                      <a:pt x="7952" y="4541"/>
                    </a:lnTo>
                    <a:lnTo>
                      <a:pt x="7952" y="4583"/>
                    </a:lnTo>
                    <a:lnTo>
                      <a:pt x="8244" y="4562"/>
                    </a:lnTo>
                    <a:lnTo>
                      <a:pt x="8328" y="4604"/>
                    </a:lnTo>
                    <a:lnTo>
                      <a:pt x="8454" y="4604"/>
                    </a:lnTo>
                    <a:lnTo>
                      <a:pt x="8579" y="4688"/>
                    </a:lnTo>
                    <a:lnTo>
                      <a:pt x="8558" y="4750"/>
                    </a:lnTo>
                    <a:lnTo>
                      <a:pt x="8663" y="4792"/>
                    </a:lnTo>
                    <a:lnTo>
                      <a:pt x="8747" y="4792"/>
                    </a:lnTo>
                    <a:lnTo>
                      <a:pt x="8788" y="4855"/>
                    </a:lnTo>
                    <a:lnTo>
                      <a:pt x="8663" y="4876"/>
                    </a:lnTo>
                    <a:lnTo>
                      <a:pt x="8558" y="4918"/>
                    </a:lnTo>
                    <a:lnTo>
                      <a:pt x="8433" y="4813"/>
                    </a:lnTo>
                    <a:lnTo>
                      <a:pt x="8224" y="4750"/>
                    </a:lnTo>
                    <a:lnTo>
                      <a:pt x="7952" y="4771"/>
                    </a:lnTo>
                    <a:lnTo>
                      <a:pt x="7554" y="4813"/>
                    </a:lnTo>
                    <a:lnTo>
                      <a:pt x="7408" y="4876"/>
                    </a:lnTo>
                    <a:lnTo>
                      <a:pt x="7303" y="4876"/>
                    </a:lnTo>
                    <a:lnTo>
                      <a:pt x="7303" y="4918"/>
                    </a:lnTo>
                    <a:lnTo>
                      <a:pt x="7324" y="4981"/>
                    </a:lnTo>
                    <a:lnTo>
                      <a:pt x="7512" y="5022"/>
                    </a:lnTo>
                    <a:lnTo>
                      <a:pt x="7680" y="5022"/>
                    </a:lnTo>
                    <a:lnTo>
                      <a:pt x="7784" y="5085"/>
                    </a:lnTo>
                    <a:lnTo>
                      <a:pt x="7784" y="5169"/>
                    </a:lnTo>
                    <a:lnTo>
                      <a:pt x="7638" y="5190"/>
                    </a:lnTo>
                    <a:lnTo>
                      <a:pt x="7533" y="5106"/>
                    </a:lnTo>
                    <a:lnTo>
                      <a:pt x="7324" y="5085"/>
                    </a:lnTo>
                    <a:lnTo>
                      <a:pt x="7219" y="5002"/>
                    </a:lnTo>
                    <a:lnTo>
                      <a:pt x="7115" y="4981"/>
                    </a:lnTo>
                    <a:lnTo>
                      <a:pt x="6947" y="5064"/>
                    </a:lnTo>
                    <a:lnTo>
                      <a:pt x="6696" y="5085"/>
                    </a:lnTo>
                    <a:lnTo>
                      <a:pt x="6508" y="5002"/>
                    </a:lnTo>
                    <a:lnTo>
                      <a:pt x="6361" y="5002"/>
                    </a:lnTo>
                    <a:lnTo>
                      <a:pt x="6215" y="4960"/>
                    </a:lnTo>
                    <a:lnTo>
                      <a:pt x="6131" y="4897"/>
                    </a:lnTo>
                    <a:lnTo>
                      <a:pt x="5922" y="4918"/>
                    </a:lnTo>
                    <a:lnTo>
                      <a:pt x="5859" y="5064"/>
                    </a:lnTo>
                    <a:lnTo>
                      <a:pt x="5922" y="5169"/>
                    </a:lnTo>
                    <a:lnTo>
                      <a:pt x="5922" y="5587"/>
                    </a:lnTo>
                    <a:lnTo>
                      <a:pt x="5943" y="5629"/>
                    </a:lnTo>
                    <a:lnTo>
                      <a:pt x="5838" y="5755"/>
                    </a:lnTo>
                    <a:lnTo>
                      <a:pt x="5838" y="5839"/>
                    </a:lnTo>
                    <a:lnTo>
                      <a:pt x="5922" y="5901"/>
                    </a:lnTo>
                    <a:lnTo>
                      <a:pt x="5985" y="6006"/>
                    </a:lnTo>
                    <a:lnTo>
                      <a:pt x="6131" y="6006"/>
                    </a:lnTo>
                    <a:lnTo>
                      <a:pt x="6236" y="6069"/>
                    </a:lnTo>
                    <a:lnTo>
                      <a:pt x="6110" y="6048"/>
                    </a:lnTo>
                    <a:lnTo>
                      <a:pt x="6027" y="6111"/>
                    </a:lnTo>
                    <a:lnTo>
                      <a:pt x="5985" y="6173"/>
                    </a:lnTo>
                    <a:lnTo>
                      <a:pt x="5964" y="6069"/>
                    </a:lnTo>
                    <a:lnTo>
                      <a:pt x="5859" y="5964"/>
                    </a:lnTo>
                    <a:lnTo>
                      <a:pt x="5817" y="5964"/>
                    </a:lnTo>
                    <a:lnTo>
                      <a:pt x="5796" y="6027"/>
                    </a:lnTo>
                    <a:lnTo>
                      <a:pt x="5713" y="5922"/>
                    </a:lnTo>
                    <a:lnTo>
                      <a:pt x="5692" y="5734"/>
                    </a:lnTo>
                    <a:lnTo>
                      <a:pt x="5692" y="5525"/>
                    </a:lnTo>
                    <a:lnTo>
                      <a:pt x="5629" y="5232"/>
                    </a:lnTo>
                    <a:lnTo>
                      <a:pt x="5503" y="5085"/>
                    </a:lnTo>
                    <a:lnTo>
                      <a:pt x="5503" y="4981"/>
                    </a:lnTo>
                    <a:lnTo>
                      <a:pt x="5231" y="4792"/>
                    </a:lnTo>
                    <a:lnTo>
                      <a:pt x="5169" y="4792"/>
                    </a:lnTo>
                    <a:lnTo>
                      <a:pt x="5001" y="4688"/>
                    </a:lnTo>
                    <a:lnTo>
                      <a:pt x="4980" y="4583"/>
                    </a:lnTo>
                    <a:lnTo>
                      <a:pt x="4876" y="4541"/>
                    </a:lnTo>
                    <a:lnTo>
                      <a:pt x="4708" y="4583"/>
                    </a:lnTo>
                    <a:lnTo>
                      <a:pt x="4353" y="4981"/>
                    </a:lnTo>
                    <a:lnTo>
                      <a:pt x="4290" y="5106"/>
                    </a:lnTo>
                    <a:lnTo>
                      <a:pt x="4290" y="5211"/>
                    </a:lnTo>
                    <a:lnTo>
                      <a:pt x="4374" y="5274"/>
                    </a:lnTo>
                    <a:lnTo>
                      <a:pt x="4499" y="5315"/>
                    </a:lnTo>
                    <a:lnTo>
                      <a:pt x="4562" y="5441"/>
                    </a:lnTo>
                    <a:lnTo>
                      <a:pt x="4562" y="5525"/>
                    </a:lnTo>
                    <a:lnTo>
                      <a:pt x="4541" y="5546"/>
                    </a:lnTo>
                    <a:lnTo>
                      <a:pt x="4457" y="5420"/>
                    </a:lnTo>
                    <a:lnTo>
                      <a:pt x="4374" y="5399"/>
                    </a:lnTo>
                    <a:lnTo>
                      <a:pt x="4290" y="5336"/>
                    </a:lnTo>
                    <a:lnTo>
                      <a:pt x="4248" y="5378"/>
                    </a:lnTo>
                    <a:lnTo>
                      <a:pt x="4164" y="5399"/>
                    </a:lnTo>
                    <a:lnTo>
                      <a:pt x="4143" y="5483"/>
                    </a:lnTo>
                    <a:lnTo>
                      <a:pt x="4185" y="5608"/>
                    </a:lnTo>
                    <a:lnTo>
                      <a:pt x="4269" y="5650"/>
                    </a:lnTo>
                    <a:lnTo>
                      <a:pt x="4332" y="5818"/>
                    </a:lnTo>
                    <a:lnTo>
                      <a:pt x="4353" y="6131"/>
                    </a:lnTo>
                    <a:lnTo>
                      <a:pt x="4269" y="6278"/>
                    </a:lnTo>
                    <a:lnTo>
                      <a:pt x="4269" y="6445"/>
                    </a:lnTo>
                    <a:lnTo>
                      <a:pt x="4185" y="6634"/>
                    </a:lnTo>
                    <a:lnTo>
                      <a:pt x="4185" y="6759"/>
                    </a:lnTo>
                    <a:lnTo>
                      <a:pt x="4227" y="6780"/>
                    </a:lnTo>
                    <a:lnTo>
                      <a:pt x="4290" y="6759"/>
                    </a:lnTo>
                    <a:lnTo>
                      <a:pt x="4290" y="6759"/>
                    </a:lnTo>
                    <a:lnTo>
                      <a:pt x="4269" y="6906"/>
                    </a:lnTo>
                    <a:lnTo>
                      <a:pt x="4185" y="7052"/>
                    </a:lnTo>
                    <a:lnTo>
                      <a:pt x="4143" y="6968"/>
                    </a:lnTo>
                    <a:lnTo>
                      <a:pt x="4123" y="6864"/>
                    </a:lnTo>
                    <a:lnTo>
                      <a:pt x="4018" y="6780"/>
                    </a:lnTo>
                    <a:lnTo>
                      <a:pt x="3934" y="6864"/>
                    </a:lnTo>
                    <a:lnTo>
                      <a:pt x="3934" y="7052"/>
                    </a:lnTo>
                    <a:lnTo>
                      <a:pt x="4081" y="7303"/>
                    </a:lnTo>
                    <a:lnTo>
                      <a:pt x="4248" y="7282"/>
                    </a:lnTo>
                    <a:lnTo>
                      <a:pt x="4353" y="7324"/>
                    </a:lnTo>
                    <a:lnTo>
                      <a:pt x="4395" y="7408"/>
                    </a:lnTo>
                    <a:lnTo>
                      <a:pt x="4583" y="7408"/>
                    </a:lnTo>
                    <a:lnTo>
                      <a:pt x="4792" y="7491"/>
                    </a:lnTo>
                    <a:lnTo>
                      <a:pt x="4876" y="7408"/>
                    </a:lnTo>
                    <a:lnTo>
                      <a:pt x="5001" y="7324"/>
                    </a:lnTo>
                    <a:lnTo>
                      <a:pt x="5001" y="7261"/>
                    </a:lnTo>
                    <a:lnTo>
                      <a:pt x="5085" y="7219"/>
                    </a:lnTo>
                    <a:lnTo>
                      <a:pt x="5085" y="7303"/>
                    </a:lnTo>
                    <a:lnTo>
                      <a:pt x="5022" y="7408"/>
                    </a:lnTo>
                    <a:lnTo>
                      <a:pt x="5022" y="7533"/>
                    </a:lnTo>
                    <a:lnTo>
                      <a:pt x="4980" y="7596"/>
                    </a:lnTo>
                    <a:lnTo>
                      <a:pt x="4876" y="7533"/>
                    </a:lnTo>
                    <a:lnTo>
                      <a:pt x="4646" y="7533"/>
                    </a:lnTo>
                    <a:lnTo>
                      <a:pt x="4541" y="7575"/>
                    </a:lnTo>
                    <a:lnTo>
                      <a:pt x="4541" y="7680"/>
                    </a:lnTo>
                    <a:lnTo>
                      <a:pt x="4583" y="7701"/>
                    </a:lnTo>
                    <a:lnTo>
                      <a:pt x="4708" y="7701"/>
                    </a:lnTo>
                    <a:lnTo>
                      <a:pt x="4750" y="7784"/>
                    </a:lnTo>
                    <a:lnTo>
                      <a:pt x="4646" y="7784"/>
                    </a:lnTo>
                    <a:lnTo>
                      <a:pt x="4646" y="7952"/>
                    </a:lnTo>
                    <a:lnTo>
                      <a:pt x="4478" y="7722"/>
                    </a:lnTo>
                    <a:lnTo>
                      <a:pt x="4395" y="7722"/>
                    </a:lnTo>
                    <a:lnTo>
                      <a:pt x="4353" y="7617"/>
                    </a:lnTo>
                    <a:lnTo>
                      <a:pt x="4290" y="7533"/>
                    </a:lnTo>
                    <a:lnTo>
                      <a:pt x="4039" y="7366"/>
                    </a:lnTo>
                    <a:lnTo>
                      <a:pt x="3976" y="7366"/>
                    </a:lnTo>
                    <a:lnTo>
                      <a:pt x="3830" y="7199"/>
                    </a:lnTo>
                    <a:lnTo>
                      <a:pt x="3830" y="7178"/>
                    </a:lnTo>
                    <a:lnTo>
                      <a:pt x="3725" y="7178"/>
                    </a:lnTo>
                    <a:lnTo>
                      <a:pt x="3620" y="7261"/>
                    </a:lnTo>
                    <a:lnTo>
                      <a:pt x="3516" y="7261"/>
                    </a:lnTo>
                    <a:lnTo>
                      <a:pt x="3432" y="7303"/>
                    </a:lnTo>
                    <a:lnTo>
                      <a:pt x="3286" y="7261"/>
                    </a:lnTo>
                    <a:lnTo>
                      <a:pt x="3034" y="7303"/>
                    </a:lnTo>
                    <a:lnTo>
                      <a:pt x="2972" y="7282"/>
                    </a:lnTo>
                    <a:lnTo>
                      <a:pt x="2783" y="7471"/>
                    </a:lnTo>
                    <a:lnTo>
                      <a:pt x="2700" y="7617"/>
                    </a:lnTo>
                    <a:lnTo>
                      <a:pt x="2700" y="7743"/>
                    </a:lnTo>
                    <a:lnTo>
                      <a:pt x="2595" y="7784"/>
                    </a:lnTo>
                    <a:lnTo>
                      <a:pt x="2490" y="7847"/>
                    </a:lnTo>
                    <a:lnTo>
                      <a:pt x="2365" y="7910"/>
                    </a:lnTo>
                    <a:lnTo>
                      <a:pt x="2344" y="7994"/>
                    </a:lnTo>
                    <a:lnTo>
                      <a:pt x="2198" y="8098"/>
                    </a:lnTo>
                    <a:lnTo>
                      <a:pt x="2177" y="8224"/>
                    </a:lnTo>
                    <a:lnTo>
                      <a:pt x="2260" y="8224"/>
                    </a:lnTo>
                    <a:lnTo>
                      <a:pt x="2281" y="8307"/>
                    </a:lnTo>
                    <a:lnTo>
                      <a:pt x="2177" y="8307"/>
                    </a:lnTo>
                    <a:lnTo>
                      <a:pt x="2093" y="8349"/>
                    </a:lnTo>
                    <a:lnTo>
                      <a:pt x="2260" y="8475"/>
                    </a:lnTo>
                    <a:lnTo>
                      <a:pt x="2407" y="8517"/>
                    </a:lnTo>
                    <a:lnTo>
                      <a:pt x="2511" y="8433"/>
                    </a:lnTo>
                    <a:lnTo>
                      <a:pt x="2490" y="8349"/>
                    </a:lnTo>
                    <a:lnTo>
                      <a:pt x="2658" y="8370"/>
                    </a:lnTo>
                    <a:lnTo>
                      <a:pt x="2825" y="8245"/>
                    </a:lnTo>
                    <a:lnTo>
                      <a:pt x="2825" y="8349"/>
                    </a:lnTo>
                    <a:lnTo>
                      <a:pt x="2700" y="8412"/>
                    </a:lnTo>
                    <a:lnTo>
                      <a:pt x="2616" y="8538"/>
                    </a:lnTo>
                    <a:lnTo>
                      <a:pt x="2616" y="8621"/>
                    </a:lnTo>
                    <a:lnTo>
                      <a:pt x="2783" y="8621"/>
                    </a:lnTo>
                    <a:lnTo>
                      <a:pt x="2888" y="8642"/>
                    </a:lnTo>
                    <a:lnTo>
                      <a:pt x="3014" y="8475"/>
                    </a:lnTo>
                    <a:lnTo>
                      <a:pt x="3202" y="8349"/>
                    </a:lnTo>
                    <a:lnTo>
                      <a:pt x="3307" y="8119"/>
                    </a:lnTo>
                    <a:lnTo>
                      <a:pt x="3453" y="7931"/>
                    </a:lnTo>
                    <a:lnTo>
                      <a:pt x="3558" y="7910"/>
                    </a:lnTo>
                    <a:lnTo>
                      <a:pt x="3558" y="7910"/>
                    </a:lnTo>
                    <a:lnTo>
                      <a:pt x="3537" y="7994"/>
                    </a:lnTo>
                    <a:lnTo>
                      <a:pt x="3453" y="8035"/>
                    </a:lnTo>
                    <a:lnTo>
                      <a:pt x="3307" y="8245"/>
                    </a:lnTo>
                    <a:lnTo>
                      <a:pt x="3348" y="8349"/>
                    </a:lnTo>
                    <a:lnTo>
                      <a:pt x="3244" y="8349"/>
                    </a:lnTo>
                    <a:lnTo>
                      <a:pt x="3181" y="8454"/>
                    </a:lnTo>
                    <a:lnTo>
                      <a:pt x="3202" y="8538"/>
                    </a:lnTo>
                    <a:lnTo>
                      <a:pt x="3286" y="8538"/>
                    </a:lnTo>
                    <a:lnTo>
                      <a:pt x="3223" y="8580"/>
                    </a:lnTo>
                    <a:lnTo>
                      <a:pt x="3139" y="8580"/>
                    </a:lnTo>
                    <a:lnTo>
                      <a:pt x="3034" y="8684"/>
                    </a:lnTo>
                    <a:lnTo>
                      <a:pt x="3076" y="8747"/>
                    </a:lnTo>
                    <a:lnTo>
                      <a:pt x="3202" y="8747"/>
                    </a:lnTo>
                    <a:lnTo>
                      <a:pt x="3118" y="8789"/>
                    </a:lnTo>
                    <a:lnTo>
                      <a:pt x="2993" y="8747"/>
                    </a:lnTo>
                    <a:lnTo>
                      <a:pt x="2888" y="8747"/>
                    </a:lnTo>
                    <a:lnTo>
                      <a:pt x="2804" y="8789"/>
                    </a:lnTo>
                    <a:lnTo>
                      <a:pt x="2721" y="8831"/>
                    </a:lnTo>
                    <a:lnTo>
                      <a:pt x="2679" y="8872"/>
                    </a:lnTo>
                    <a:lnTo>
                      <a:pt x="2721" y="8977"/>
                    </a:lnTo>
                    <a:lnTo>
                      <a:pt x="2804" y="8977"/>
                    </a:lnTo>
                    <a:lnTo>
                      <a:pt x="2867" y="8935"/>
                    </a:lnTo>
                    <a:lnTo>
                      <a:pt x="2909" y="8956"/>
                    </a:lnTo>
                    <a:lnTo>
                      <a:pt x="3014" y="8956"/>
                    </a:lnTo>
                    <a:lnTo>
                      <a:pt x="3014" y="9040"/>
                    </a:lnTo>
                    <a:lnTo>
                      <a:pt x="2930" y="9040"/>
                    </a:lnTo>
                    <a:lnTo>
                      <a:pt x="2825" y="8998"/>
                    </a:lnTo>
                    <a:lnTo>
                      <a:pt x="2783" y="9040"/>
                    </a:lnTo>
                    <a:lnTo>
                      <a:pt x="2783" y="9082"/>
                    </a:lnTo>
                    <a:lnTo>
                      <a:pt x="2888" y="9103"/>
                    </a:lnTo>
                    <a:lnTo>
                      <a:pt x="2867" y="9144"/>
                    </a:lnTo>
                    <a:lnTo>
                      <a:pt x="2783" y="9186"/>
                    </a:lnTo>
                    <a:lnTo>
                      <a:pt x="2700" y="9186"/>
                    </a:lnTo>
                    <a:lnTo>
                      <a:pt x="2700" y="9249"/>
                    </a:lnTo>
                    <a:lnTo>
                      <a:pt x="2783" y="9396"/>
                    </a:lnTo>
                    <a:lnTo>
                      <a:pt x="2867" y="9396"/>
                    </a:lnTo>
                    <a:lnTo>
                      <a:pt x="2909" y="9312"/>
                    </a:lnTo>
                    <a:lnTo>
                      <a:pt x="3034" y="9207"/>
                    </a:lnTo>
                    <a:lnTo>
                      <a:pt x="3014" y="9312"/>
                    </a:lnTo>
                    <a:lnTo>
                      <a:pt x="2909" y="9396"/>
                    </a:lnTo>
                    <a:lnTo>
                      <a:pt x="2825" y="9479"/>
                    </a:lnTo>
                    <a:lnTo>
                      <a:pt x="2804" y="9563"/>
                    </a:lnTo>
                    <a:lnTo>
                      <a:pt x="2972" y="9626"/>
                    </a:lnTo>
                    <a:lnTo>
                      <a:pt x="3097" y="9626"/>
                    </a:lnTo>
                    <a:lnTo>
                      <a:pt x="3118" y="9605"/>
                    </a:lnTo>
                    <a:lnTo>
                      <a:pt x="3181" y="9605"/>
                    </a:lnTo>
                    <a:lnTo>
                      <a:pt x="3244" y="9668"/>
                    </a:lnTo>
                    <a:lnTo>
                      <a:pt x="3432" y="9584"/>
                    </a:lnTo>
                    <a:lnTo>
                      <a:pt x="3620" y="9416"/>
                    </a:lnTo>
                    <a:lnTo>
                      <a:pt x="3620" y="9396"/>
                    </a:lnTo>
                    <a:lnTo>
                      <a:pt x="3725" y="9312"/>
                    </a:lnTo>
                    <a:lnTo>
                      <a:pt x="3934" y="9103"/>
                    </a:lnTo>
                    <a:lnTo>
                      <a:pt x="3934" y="9040"/>
                    </a:lnTo>
                    <a:lnTo>
                      <a:pt x="4018" y="8956"/>
                    </a:lnTo>
                    <a:lnTo>
                      <a:pt x="4081" y="8956"/>
                    </a:lnTo>
                    <a:lnTo>
                      <a:pt x="4018" y="9040"/>
                    </a:lnTo>
                    <a:lnTo>
                      <a:pt x="3976" y="9144"/>
                    </a:lnTo>
                    <a:lnTo>
                      <a:pt x="3809" y="9354"/>
                    </a:lnTo>
                    <a:lnTo>
                      <a:pt x="3599" y="9479"/>
                    </a:lnTo>
                    <a:lnTo>
                      <a:pt x="3453" y="9626"/>
                    </a:lnTo>
                    <a:lnTo>
                      <a:pt x="3307" y="9709"/>
                    </a:lnTo>
                    <a:lnTo>
                      <a:pt x="3223" y="9793"/>
                    </a:lnTo>
                    <a:lnTo>
                      <a:pt x="3286" y="9877"/>
                    </a:lnTo>
                    <a:lnTo>
                      <a:pt x="3223" y="9898"/>
                    </a:lnTo>
                    <a:lnTo>
                      <a:pt x="3076" y="9772"/>
                    </a:lnTo>
                    <a:lnTo>
                      <a:pt x="2825" y="9772"/>
                    </a:lnTo>
                    <a:lnTo>
                      <a:pt x="2825" y="9835"/>
                    </a:lnTo>
                    <a:lnTo>
                      <a:pt x="2783" y="9814"/>
                    </a:lnTo>
                    <a:lnTo>
                      <a:pt x="2700" y="9688"/>
                    </a:lnTo>
                    <a:lnTo>
                      <a:pt x="2490" y="9584"/>
                    </a:lnTo>
                    <a:lnTo>
                      <a:pt x="2407" y="9605"/>
                    </a:lnTo>
                    <a:lnTo>
                      <a:pt x="2365" y="9563"/>
                    </a:lnTo>
                    <a:lnTo>
                      <a:pt x="2407" y="9416"/>
                    </a:lnTo>
                    <a:lnTo>
                      <a:pt x="2407" y="9082"/>
                    </a:lnTo>
                    <a:lnTo>
                      <a:pt x="2365" y="8872"/>
                    </a:lnTo>
                    <a:lnTo>
                      <a:pt x="2239" y="8726"/>
                    </a:lnTo>
                    <a:lnTo>
                      <a:pt x="2156" y="8726"/>
                    </a:lnTo>
                    <a:lnTo>
                      <a:pt x="2030" y="8663"/>
                    </a:lnTo>
                    <a:lnTo>
                      <a:pt x="1946" y="8684"/>
                    </a:lnTo>
                    <a:lnTo>
                      <a:pt x="1821" y="8684"/>
                    </a:lnTo>
                    <a:lnTo>
                      <a:pt x="1737" y="8726"/>
                    </a:lnTo>
                    <a:lnTo>
                      <a:pt x="1633" y="8747"/>
                    </a:lnTo>
                    <a:lnTo>
                      <a:pt x="1633" y="8831"/>
                    </a:lnTo>
                    <a:lnTo>
                      <a:pt x="1654" y="8935"/>
                    </a:lnTo>
                    <a:lnTo>
                      <a:pt x="1633" y="8977"/>
                    </a:lnTo>
                    <a:lnTo>
                      <a:pt x="1612" y="9165"/>
                    </a:lnTo>
                    <a:lnTo>
                      <a:pt x="1654" y="9249"/>
                    </a:lnTo>
                    <a:lnTo>
                      <a:pt x="1716" y="9249"/>
                    </a:lnTo>
                    <a:lnTo>
                      <a:pt x="1716" y="9312"/>
                    </a:lnTo>
                    <a:lnTo>
                      <a:pt x="1612" y="9396"/>
                    </a:lnTo>
                    <a:lnTo>
                      <a:pt x="1570" y="9458"/>
                    </a:lnTo>
                    <a:lnTo>
                      <a:pt x="1654" y="9563"/>
                    </a:lnTo>
                    <a:lnTo>
                      <a:pt x="1737" y="9563"/>
                    </a:lnTo>
                    <a:lnTo>
                      <a:pt x="1758" y="9500"/>
                    </a:lnTo>
                    <a:lnTo>
                      <a:pt x="1884" y="9563"/>
                    </a:lnTo>
                    <a:lnTo>
                      <a:pt x="1863" y="9584"/>
                    </a:lnTo>
                    <a:lnTo>
                      <a:pt x="1737" y="9584"/>
                    </a:lnTo>
                    <a:lnTo>
                      <a:pt x="1737" y="9605"/>
                    </a:lnTo>
                    <a:lnTo>
                      <a:pt x="1821" y="9668"/>
                    </a:lnTo>
                    <a:lnTo>
                      <a:pt x="1821" y="9709"/>
                    </a:lnTo>
                    <a:lnTo>
                      <a:pt x="1737" y="9772"/>
                    </a:lnTo>
                    <a:lnTo>
                      <a:pt x="1716" y="9793"/>
                    </a:lnTo>
                    <a:lnTo>
                      <a:pt x="1779" y="9814"/>
                    </a:lnTo>
                    <a:lnTo>
                      <a:pt x="1842" y="9877"/>
                    </a:lnTo>
                    <a:lnTo>
                      <a:pt x="1946" y="9877"/>
                    </a:lnTo>
                    <a:lnTo>
                      <a:pt x="1967" y="9898"/>
                    </a:lnTo>
                    <a:lnTo>
                      <a:pt x="1926" y="9940"/>
                    </a:lnTo>
                    <a:lnTo>
                      <a:pt x="1821" y="9940"/>
                    </a:lnTo>
                    <a:lnTo>
                      <a:pt x="1779" y="9981"/>
                    </a:lnTo>
                    <a:lnTo>
                      <a:pt x="1654" y="9877"/>
                    </a:lnTo>
                    <a:lnTo>
                      <a:pt x="1612" y="9898"/>
                    </a:lnTo>
                    <a:lnTo>
                      <a:pt x="1570" y="9940"/>
                    </a:lnTo>
                    <a:lnTo>
                      <a:pt x="1507" y="9940"/>
                    </a:lnTo>
                    <a:lnTo>
                      <a:pt x="1444" y="9835"/>
                    </a:lnTo>
                    <a:lnTo>
                      <a:pt x="1361" y="9814"/>
                    </a:lnTo>
                    <a:lnTo>
                      <a:pt x="1298" y="9877"/>
                    </a:lnTo>
                    <a:lnTo>
                      <a:pt x="1110" y="9877"/>
                    </a:lnTo>
                    <a:lnTo>
                      <a:pt x="984" y="9793"/>
                    </a:lnTo>
                    <a:lnTo>
                      <a:pt x="879" y="9793"/>
                    </a:lnTo>
                    <a:lnTo>
                      <a:pt x="817" y="9835"/>
                    </a:lnTo>
                    <a:lnTo>
                      <a:pt x="817" y="9919"/>
                    </a:lnTo>
                    <a:lnTo>
                      <a:pt x="733" y="9940"/>
                    </a:lnTo>
                    <a:lnTo>
                      <a:pt x="628" y="9981"/>
                    </a:lnTo>
                    <a:lnTo>
                      <a:pt x="586" y="10044"/>
                    </a:lnTo>
                    <a:lnTo>
                      <a:pt x="419" y="10086"/>
                    </a:lnTo>
                    <a:lnTo>
                      <a:pt x="377" y="10107"/>
                    </a:lnTo>
                    <a:lnTo>
                      <a:pt x="273" y="10128"/>
                    </a:lnTo>
                    <a:lnTo>
                      <a:pt x="189" y="10212"/>
                    </a:lnTo>
                    <a:lnTo>
                      <a:pt x="168" y="10316"/>
                    </a:lnTo>
                    <a:lnTo>
                      <a:pt x="168" y="10358"/>
                    </a:lnTo>
                    <a:lnTo>
                      <a:pt x="147" y="10442"/>
                    </a:lnTo>
                    <a:lnTo>
                      <a:pt x="1" y="10525"/>
                    </a:lnTo>
                    <a:lnTo>
                      <a:pt x="1" y="10609"/>
                    </a:lnTo>
                    <a:lnTo>
                      <a:pt x="42" y="10651"/>
                    </a:lnTo>
                    <a:lnTo>
                      <a:pt x="42" y="10818"/>
                    </a:lnTo>
                    <a:lnTo>
                      <a:pt x="63" y="10860"/>
                    </a:lnTo>
                    <a:lnTo>
                      <a:pt x="189" y="10860"/>
                    </a:lnTo>
                    <a:lnTo>
                      <a:pt x="252" y="10735"/>
                    </a:lnTo>
                    <a:lnTo>
                      <a:pt x="294" y="10735"/>
                    </a:lnTo>
                    <a:lnTo>
                      <a:pt x="273" y="10756"/>
                    </a:lnTo>
                    <a:lnTo>
                      <a:pt x="210" y="10860"/>
                    </a:lnTo>
                    <a:lnTo>
                      <a:pt x="273" y="10881"/>
                    </a:lnTo>
                    <a:lnTo>
                      <a:pt x="356" y="10818"/>
                    </a:lnTo>
                    <a:lnTo>
                      <a:pt x="356" y="10651"/>
                    </a:lnTo>
                    <a:lnTo>
                      <a:pt x="398" y="10421"/>
                    </a:lnTo>
                    <a:lnTo>
                      <a:pt x="482" y="10400"/>
                    </a:lnTo>
                    <a:lnTo>
                      <a:pt x="566" y="10337"/>
                    </a:lnTo>
                    <a:lnTo>
                      <a:pt x="419" y="10567"/>
                    </a:lnTo>
                    <a:lnTo>
                      <a:pt x="419" y="10672"/>
                    </a:lnTo>
                    <a:lnTo>
                      <a:pt x="398" y="10714"/>
                    </a:lnTo>
                    <a:lnTo>
                      <a:pt x="377" y="10839"/>
                    </a:lnTo>
                    <a:lnTo>
                      <a:pt x="314" y="10944"/>
                    </a:lnTo>
                    <a:lnTo>
                      <a:pt x="377" y="10986"/>
                    </a:lnTo>
                    <a:lnTo>
                      <a:pt x="419" y="10986"/>
                    </a:lnTo>
                    <a:lnTo>
                      <a:pt x="503" y="11069"/>
                    </a:lnTo>
                    <a:lnTo>
                      <a:pt x="607" y="11069"/>
                    </a:lnTo>
                    <a:lnTo>
                      <a:pt x="628" y="10965"/>
                    </a:lnTo>
                    <a:lnTo>
                      <a:pt x="607" y="10944"/>
                    </a:lnTo>
                    <a:lnTo>
                      <a:pt x="670" y="10839"/>
                    </a:lnTo>
                    <a:lnTo>
                      <a:pt x="691" y="10735"/>
                    </a:lnTo>
                    <a:lnTo>
                      <a:pt x="733" y="10672"/>
                    </a:lnTo>
                    <a:lnTo>
                      <a:pt x="733" y="10756"/>
                    </a:lnTo>
                    <a:lnTo>
                      <a:pt x="775" y="10818"/>
                    </a:lnTo>
                    <a:lnTo>
                      <a:pt x="712" y="10944"/>
                    </a:lnTo>
                    <a:lnTo>
                      <a:pt x="712" y="11028"/>
                    </a:lnTo>
                    <a:lnTo>
                      <a:pt x="712" y="11090"/>
                    </a:lnTo>
                    <a:lnTo>
                      <a:pt x="796" y="11195"/>
                    </a:lnTo>
                    <a:lnTo>
                      <a:pt x="838" y="11237"/>
                    </a:lnTo>
                    <a:lnTo>
                      <a:pt x="921" y="11153"/>
                    </a:lnTo>
                    <a:lnTo>
                      <a:pt x="900" y="11069"/>
                    </a:lnTo>
                    <a:lnTo>
                      <a:pt x="900" y="11048"/>
                    </a:lnTo>
                    <a:lnTo>
                      <a:pt x="921" y="11028"/>
                    </a:lnTo>
                    <a:lnTo>
                      <a:pt x="1005" y="11028"/>
                    </a:lnTo>
                    <a:lnTo>
                      <a:pt x="1047" y="10965"/>
                    </a:lnTo>
                    <a:lnTo>
                      <a:pt x="1026" y="10860"/>
                    </a:lnTo>
                    <a:lnTo>
                      <a:pt x="984" y="10818"/>
                    </a:lnTo>
                    <a:lnTo>
                      <a:pt x="984" y="10735"/>
                    </a:lnTo>
                    <a:lnTo>
                      <a:pt x="1026" y="10756"/>
                    </a:lnTo>
                    <a:lnTo>
                      <a:pt x="1110" y="10923"/>
                    </a:lnTo>
                    <a:lnTo>
                      <a:pt x="1110" y="10986"/>
                    </a:lnTo>
                    <a:lnTo>
                      <a:pt x="1047" y="11090"/>
                    </a:lnTo>
                    <a:lnTo>
                      <a:pt x="1005" y="11090"/>
                    </a:lnTo>
                    <a:lnTo>
                      <a:pt x="942" y="11195"/>
                    </a:lnTo>
                    <a:lnTo>
                      <a:pt x="984" y="11258"/>
                    </a:lnTo>
                    <a:lnTo>
                      <a:pt x="1026" y="11258"/>
                    </a:lnTo>
                    <a:lnTo>
                      <a:pt x="1089" y="11279"/>
                    </a:lnTo>
                    <a:lnTo>
                      <a:pt x="1110" y="11341"/>
                    </a:lnTo>
                    <a:lnTo>
                      <a:pt x="1151" y="11341"/>
                    </a:lnTo>
                    <a:lnTo>
                      <a:pt x="1340" y="11446"/>
                    </a:lnTo>
                    <a:lnTo>
                      <a:pt x="1402" y="11446"/>
                    </a:lnTo>
                    <a:lnTo>
                      <a:pt x="1402" y="11551"/>
                    </a:lnTo>
                    <a:lnTo>
                      <a:pt x="1612" y="11551"/>
                    </a:lnTo>
                    <a:lnTo>
                      <a:pt x="1674" y="11593"/>
                    </a:lnTo>
                    <a:lnTo>
                      <a:pt x="1737" y="11572"/>
                    </a:lnTo>
                    <a:lnTo>
                      <a:pt x="1779" y="11488"/>
                    </a:lnTo>
                    <a:lnTo>
                      <a:pt x="1716" y="11362"/>
                    </a:lnTo>
                    <a:lnTo>
                      <a:pt x="1654" y="11174"/>
                    </a:lnTo>
                    <a:lnTo>
                      <a:pt x="1716" y="11048"/>
                    </a:lnTo>
                    <a:lnTo>
                      <a:pt x="1758" y="10986"/>
                    </a:lnTo>
                    <a:lnTo>
                      <a:pt x="1779" y="11048"/>
                    </a:lnTo>
                    <a:lnTo>
                      <a:pt x="1821" y="11174"/>
                    </a:lnTo>
                    <a:lnTo>
                      <a:pt x="1821" y="11279"/>
                    </a:lnTo>
                    <a:lnTo>
                      <a:pt x="1842" y="11341"/>
                    </a:lnTo>
                    <a:lnTo>
                      <a:pt x="1926" y="11341"/>
                    </a:lnTo>
                    <a:lnTo>
                      <a:pt x="1946" y="11279"/>
                    </a:lnTo>
                    <a:lnTo>
                      <a:pt x="2030" y="11279"/>
                    </a:lnTo>
                    <a:lnTo>
                      <a:pt x="2051" y="11237"/>
                    </a:lnTo>
                    <a:lnTo>
                      <a:pt x="2072" y="11153"/>
                    </a:lnTo>
                    <a:lnTo>
                      <a:pt x="2135" y="11090"/>
                    </a:lnTo>
                    <a:lnTo>
                      <a:pt x="2156" y="10965"/>
                    </a:lnTo>
                    <a:lnTo>
                      <a:pt x="2177" y="10923"/>
                    </a:lnTo>
                    <a:lnTo>
                      <a:pt x="2198" y="10923"/>
                    </a:lnTo>
                    <a:lnTo>
                      <a:pt x="2260" y="11048"/>
                    </a:lnTo>
                    <a:lnTo>
                      <a:pt x="2239" y="11090"/>
                    </a:lnTo>
                    <a:lnTo>
                      <a:pt x="2177" y="11195"/>
                    </a:lnTo>
                    <a:lnTo>
                      <a:pt x="2156" y="11279"/>
                    </a:lnTo>
                    <a:lnTo>
                      <a:pt x="2198" y="11341"/>
                    </a:lnTo>
                    <a:lnTo>
                      <a:pt x="2198" y="11404"/>
                    </a:lnTo>
                    <a:lnTo>
                      <a:pt x="2302" y="11488"/>
                    </a:lnTo>
                    <a:lnTo>
                      <a:pt x="2386" y="11446"/>
                    </a:lnTo>
                    <a:lnTo>
                      <a:pt x="2490" y="11279"/>
                    </a:lnTo>
                    <a:lnTo>
                      <a:pt x="2449" y="11174"/>
                    </a:lnTo>
                    <a:lnTo>
                      <a:pt x="2470" y="11028"/>
                    </a:lnTo>
                    <a:lnTo>
                      <a:pt x="2574" y="10944"/>
                    </a:lnTo>
                    <a:lnTo>
                      <a:pt x="2679" y="10923"/>
                    </a:lnTo>
                    <a:lnTo>
                      <a:pt x="2574" y="11028"/>
                    </a:lnTo>
                    <a:lnTo>
                      <a:pt x="2553" y="11132"/>
                    </a:lnTo>
                    <a:lnTo>
                      <a:pt x="2595" y="11237"/>
                    </a:lnTo>
                    <a:lnTo>
                      <a:pt x="2511" y="11446"/>
                    </a:lnTo>
                    <a:lnTo>
                      <a:pt x="2511" y="11509"/>
                    </a:lnTo>
                    <a:lnTo>
                      <a:pt x="2595" y="11593"/>
                    </a:lnTo>
                    <a:lnTo>
                      <a:pt x="2700" y="11572"/>
                    </a:lnTo>
                    <a:lnTo>
                      <a:pt x="2783" y="11593"/>
                    </a:lnTo>
                    <a:lnTo>
                      <a:pt x="2867" y="11572"/>
                    </a:lnTo>
                    <a:lnTo>
                      <a:pt x="2867" y="11446"/>
                    </a:lnTo>
                    <a:lnTo>
                      <a:pt x="2930" y="11362"/>
                    </a:lnTo>
                    <a:lnTo>
                      <a:pt x="2909" y="11279"/>
                    </a:lnTo>
                    <a:lnTo>
                      <a:pt x="2825" y="11132"/>
                    </a:lnTo>
                    <a:lnTo>
                      <a:pt x="2909" y="10944"/>
                    </a:lnTo>
                    <a:lnTo>
                      <a:pt x="2909" y="10818"/>
                    </a:lnTo>
                    <a:lnTo>
                      <a:pt x="2972" y="10923"/>
                    </a:lnTo>
                    <a:lnTo>
                      <a:pt x="2930" y="11028"/>
                    </a:lnTo>
                    <a:lnTo>
                      <a:pt x="2909" y="11090"/>
                    </a:lnTo>
                    <a:lnTo>
                      <a:pt x="2993" y="11258"/>
                    </a:lnTo>
                    <a:lnTo>
                      <a:pt x="3076" y="11279"/>
                    </a:lnTo>
                    <a:lnTo>
                      <a:pt x="3118" y="11300"/>
                    </a:lnTo>
                    <a:lnTo>
                      <a:pt x="3034" y="11341"/>
                    </a:lnTo>
                    <a:lnTo>
                      <a:pt x="2993" y="11488"/>
                    </a:lnTo>
                    <a:lnTo>
                      <a:pt x="3014" y="11551"/>
                    </a:lnTo>
                    <a:lnTo>
                      <a:pt x="3181" y="11593"/>
                    </a:lnTo>
                    <a:lnTo>
                      <a:pt x="3244" y="11551"/>
                    </a:lnTo>
                    <a:lnTo>
                      <a:pt x="3348" y="11697"/>
                    </a:lnTo>
                    <a:lnTo>
                      <a:pt x="3348" y="11802"/>
                    </a:lnTo>
                    <a:lnTo>
                      <a:pt x="3286" y="11906"/>
                    </a:lnTo>
                    <a:lnTo>
                      <a:pt x="3181" y="11990"/>
                    </a:lnTo>
                    <a:lnTo>
                      <a:pt x="3223" y="12011"/>
                    </a:lnTo>
                    <a:lnTo>
                      <a:pt x="3286" y="12095"/>
                    </a:lnTo>
                    <a:lnTo>
                      <a:pt x="3369" y="12095"/>
                    </a:lnTo>
                    <a:lnTo>
                      <a:pt x="3495" y="12074"/>
                    </a:lnTo>
                    <a:lnTo>
                      <a:pt x="3537" y="12095"/>
                    </a:lnTo>
                    <a:lnTo>
                      <a:pt x="3725" y="11927"/>
                    </a:lnTo>
                    <a:lnTo>
                      <a:pt x="3830" y="11969"/>
                    </a:lnTo>
                    <a:lnTo>
                      <a:pt x="3871" y="11990"/>
                    </a:lnTo>
                    <a:lnTo>
                      <a:pt x="4039" y="11823"/>
                    </a:lnTo>
                    <a:lnTo>
                      <a:pt x="4123" y="11802"/>
                    </a:lnTo>
                    <a:lnTo>
                      <a:pt x="4227" y="11655"/>
                    </a:lnTo>
                    <a:lnTo>
                      <a:pt x="4290" y="11593"/>
                    </a:lnTo>
                    <a:lnTo>
                      <a:pt x="4332" y="11613"/>
                    </a:lnTo>
                    <a:lnTo>
                      <a:pt x="4290" y="11781"/>
                    </a:lnTo>
                    <a:lnTo>
                      <a:pt x="4269" y="11906"/>
                    </a:lnTo>
                    <a:lnTo>
                      <a:pt x="4290" y="11927"/>
                    </a:lnTo>
                    <a:lnTo>
                      <a:pt x="4395" y="11865"/>
                    </a:lnTo>
                    <a:lnTo>
                      <a:pt x="4478" y="11718"/>
                    </a:lnTo>
                    <a:lnTo>
                      <a:pt x="4583" y="11655"/>
                    </a:lnTo>
                    <a:lnTo>
                      <a:pt x="4687" y="11655"/>
                    </a:lnTo>
                    <a:lnTo>
                      <a:pt x="4813" y="11446"/>
                    </a:lnTo>
                    <a:lnTo>
                      <a:pt x="4876" y="11237"/>
                    </a:lnTo>
                    <a:lnTo>
                      <a:pt x="4855" y="11153"/>
                    </a:lnTo>
                    <a:lnTo>
                      <a:pt x="4876" y="11048"/>
                    </a:lnTo>
                    <a:lnTo>
                      <a:pt x="4792" y="11028"/>
                    </a:lnTo>
                    <a:lnTo>
                      <a:pt x="4750" y="11048"/>
                    </a:lnTo>
                    <a:lnTo>
                      <a:pt x="4667" y="11048"/>
                    </a:lnTo>
                    <a:lnTo>
                      <a:pt x="4541" y="11132"/>
                    </a:lnTo>
                    <a:lnTo>
                      <a:pt x="4478" y="11195"/>
                    </a:lnTo>
                    <a:lnTo>
                      <a:pt x="4374" y="11195"/>
                    </a:lnTo>
                    <a:lnTo>
                      <a:pt x="4457" y="11090"/>
                    </a:lnTo>
                    <a:lnTo>
                      <a:pt x="4478" y="11028"/>
                    </a:lnTo>
                    <a:lnTo>
                      <a:pt x="4374" y="11048"/>
                    </a:lnTo>
                    <a:lnTo>
                      <a:pt x="4353" y="10986"/>
                    </a:lnTo>
                    <a:lnTo>
                      <a:pt x="4374" y="10923"/>
                    </a:lnTo>
                    <a:lnTo>
                      <a:pt x="4457" y="10923"/>
                    </a:lnTo>
                    <a:lnTo>
                      <a:pt x="4499" y="10735"/>
                    </a:lnTo>
                    <a:lnTo>
                      <a:pt x="4562" y="10651"/>
                    </a:lnTo>
                    <a:lnTo>
                      <a:pt x="4541" y="10546"/>
                    </a:lnTo>
                    <a:lnTo>
                      <a:pt x="4395" y="10463"/>
                    </a:lnTo>
                    <a:lnTo>
                      <a:pt x="4185" y="10525"/>
                    </a:lnTo>
                    <a:lnTo>
                      <a:pt x="4060" y="10630"/>
                    </a:lnTo>
                    <a:lnTo>
                      <a:pt x="4123" y="10504"/>
                    </a:lnTo>
                    <a:lnTo>
                      <a:pt x="4039" y="10358"/>
                    </a:lnTo>
                    <a:lnTo>
                      <a:pt x="3892" y="10295"/>
                    </a:lnTo>
                    <a:lnTo>
                      <a:pt x="3830" y="10316"/>
                    </a:lnTo>
                    <a:lnTo>
                      <a:pt x="3767" y="10358"/>
                    </a:lnTo>
                    <a:lnTo>
                      <a:pt x="3725" y="10358"/>
                    </a:lnTo>
                    <a:lnTo>
                      <a:pt x="3599" y="10525"/>
                    </a:lnTo>
                    <a:lnTo>
                      <a:pt x="3495" y="10525"/>
                    </a:lnTo>
                    <a:lnTo>
                      <a:pt x="3558" y="10337"/>
                    </a:lnTo>
                    <a:lnTo>
                      <a:pt x="3453" y="10232"/>
                    </a:lnTo>
                    <a:lnTo>
                      <a:pt x="3809" y="10232"/>
                    </a:lnTo>
                    <a:lnTo>
                      <a:pt x="3830" y="10191"/>
                    </a:lnTo>
                    <a:lnTo>
                      <a:pt x="3725" y="10044"/>
                    </a:lnTo>
                    <a:lnTo>
                      <a:pt x="3767" y="9981"/>
                    </a:lnTo>
                    <a:lnTo>
                      <a:pt x="3830" y="9793"/>
                    </a:lnTo>
                    <a:lnTo>
                      <a:pt x="3830" y="9709"/>
                    </a:lnTo>
                    <a:lnTo>
                      <a:pt x="3934" y="9605"/>
                    </a:lnTo>
                    <a:lnTo>
                      <a:pt x="3934" y="9668"/>
                    </a:lnTo>
                    <a:lnTo>
                      <a:pt x="3955" y="9730"/>
                    </a:lnTo>
                    <a:lnTo>
                      <a:pt x="3934" y="9835"/>
                    </a:lnTo>
                    <a:lnTo>
                      <a:pt x="3871" y="9898"/>
                    </a:lnTo>
                    <a:lnTo>
                      <a:pt x="3934" y="10128"/>
                    </a:lnTo>
                    <a:lnTo>
                      <a:pt x="4164" y="10421"/>
                    </a:lnTo>
                    <a:lnTo>
                      <a:pt x="4332" y="10442"/>
                    </a:lnTo>
                    <a:lnTo>
                      <a:pt x="4353" y="10421"/>
                    </a:lnTo>
                    <a:lnTo>
                      <a:pt x="4478" y="10421"/>
                    </a:lnTo>
                    <a:lnTo>
                      <a:pt x="4771" y="10546"/>
                    </a:lnTo>
                    <a:lnTo>
                      <a:pt x="4813" y="10525"/>
                    </a:lnTo>
                    <a:lnTo>
                      <a:pt x="4897" y="10358"/>
                    </a:lnTo>
                    <a:lnTo>
                      <a:pt x="4980" y="10295"/>
                    </a:lnTo>
                    <a:lnTo>
                      <a:pt x="5022" y="10295"/>
                    </a:lnTo>
                    <a:lnTo>
                      <a:pt x="4980" y="10358"/>
                    </a:lnTo>
                    <a:lnTo>
                      <a:pt x="5064" y="10400"/>
                    </a:lnTo>
                    <a:lnTo>
                      <a:pt x="5169" y="10337"/>
                    </a:lnTo>
                    <a:lnTo>
                      <a:pt x="5190" y="10253"/>
                    </a:lnTo>
                    <a:lnTo>
                      <a:pt x="5211" y="10212"/>
                    </a:lnTo>
                    <a:lnTo>
                      <a:pt x="5273" y="10253"/>
                    </a:lnTo>
                    <a:lnTo>
                      <a:pt x="5399" y="10212"/>
                    </a:lnTo>
                    <a:lnTo>
                      <a:pt x="5399" y="10086"/>
                    </a:lnTo>
                    <a:lnTo>
                      <a:pt x="5545" y="9981"/>
                    </a:lnTo>
                    <a:lnTo>
                      <a:pt x="5545" y="9877"/>
                    </a:lnTo>
                    <a:lnTo>
                      <a:pt x="5524" y="9835"/>
                    </a:lnTo>
                    <a:lnTo>
                      <a:pt x="5420" y="9835"/>
                    </a:lnTo>
                    <a:lnTo>
                      <a:pt x="5524" y="9730"/>
                    </a:lnTo>
                    <a:lnTo>
                      <a:pt x="5545" y="9521"/>
                    </a:lnTo>
                    <a:lnTo>
                      <a:pt x="5713" y="9500"/>
                    </a:lnTo>
                    <a:lnTo>
                      <a:pt x="5943" y="9563"/>
                    </a:lnTo>
                    <a:lnTo>
                      <a:pt x="6027" y="9626"/>
                    </a:lnTo>
                    <a:lnTo>
                      <a:pt x="6173" y="9626"/>
                    </a:lnTo>
                    <a:lnTo>
                      <a:pt x="6278" y="9563"/>
                    </a:lnTo>
                    <a:lnTo>
                      <a:pt x="6382" y="9563"/>
                    </a:lnTo>
                    <a:lnTo>
                      <a:pt x="6466" y="9668"/>
                    </a:lnTo>
                    <a:lnTo>
                      <a:pt x="6571" y="9626"/>
                    </a:lnTo>
                    <a:lnTo>
                      <a:pt x="6675" y="9521"/>
                    </a:lnTo>
                    <a:lnTo>
                      <a:pt x="6759" y="9479"/>
                    </a:lnTo>
                    <a:lnTo>
                      <a:pt x="6759" y="9396"/>
                    </a:lnTo>
                    <a:lnTo>
                      <a:pt x="6633" y="9396"/>
                    </a:lnTo>
                    <a:lnTo>
                      <a:pt x="6278" y="9207"/>
                    </a:lnTo>
                    <a:lnTo>
                      <a:pt x="6257" y="9144"/>
                    </a:lnTo>
                    <a:lnTo>
                      <a:pt x="6340" y="9082"/>
                    </a:lnTo>
                    <a:lnTo>
                      <a:pt x="6445" y="9103"/>
                    </a:lnTo>
                    <a:lnTo>
                      <a:pt x="6487" y="9165"/>
                    </a:lnTo>
                    <a:lnTo>
                      <a:pt x="6592" y="9144"/>
                    </a:lnTo>
                    <a:lnTo>
                      <a:pt x="6780" y="9291"/>
                    </a:lnTo>
                    <a:lnTo>
                      <a:pt x="6864" y="9270"/>
                    </a:lnTo>
                    <a:lnTo>
                      <a:pt x="6989" y="9165"/>
                    </a:lnTo>
                    <a:lnTo>
                      <a:pt x="7073" y="9144"/>
                    </a:lnTo>
                    <a:lnTo>
                      <a:pt x="7115" y="9061"/>
                    </a:lnTo>
                    <a:lnTo>
                      <a:pt x="7094" y="8935"/>
                    </a:lnTo>
                    <a:lnTo>
                      <a:pt x="6968" y="8831"/>
                    </a:lnTo>
                    <a:lnTo>
                      <a:pt x="6884" y="8831"/>
                    </a:lnTo>
                    <a:lnTo>
                      <a:pt x="6864" y="8747"/>
                    </a:lnTo>
                    <a:lnTo>
                      <a:pt x="6738" y="8684"/>
                    </a:lnTo>
                    <a:lnTo>
                      <a:pt x="6738" y="8642"/>
                    </a:lnTo>
                    <a:lnTo>
                      <a:pt x="6864" y="8663"/>
                    </a:lnTo>
                    <a:lnTo>
                      <a:pt x="6947" y="8684"/>
                    </a:lnTo>
                    <a:lnTo>
                      <a:pt x="6968" y="8768"/>
                    </a:lnTo>
                    <a:lnTo>
                      <a:pt x="7031" y="8789"/>
                    </a:lnTo>
                    <a:lnTo>
                      <a:pt x="7156" y="8789"/>
                    </a:lnTo>
                    <a:lnTo>
                      <a:pt x="7198" y="8852"/>
                    </a:lnTo>
                    <a:lnTo>
                      <a:pt x="7387" y="8726"/>
                    </a:lnTo>
                    <a:lnTo>
                      <a:pt x="7428" y="8726"/>
                    </a:lnTo>
                    <a:lnTo>
                      <a:pt x="7470" y="8538"/>
                    </a:lnTo>
                    <a:lnTo>
                      <a:pt x="7596" y="8328"/>
                    </a:lnTo>
                    <a:lnTo>
                      <a:pt x="7596" y="8224"/>
                    </a:lnTo>
                    <a:lnTo>
                      <a:pt x="7512" y="8161"/>
                    </a:lnTo>
                    <a:lnTo>
                      <a:pt x="7387" y="8056"/>
                    </a:lnTo>
                    <a:lnTo>
                      <a:pt x="7198" y="8056"/>
                    </a:lnTo>
                    <a:lnTo>
                      <a:pt x="7094" y="8119"/>
                    </a:lnTo>
                    <a:lnTo>
                      <a:pt x="7094" y="8035"/>
                    </a:lnTo>
                    <a:lnTo>
                      <a:pt x="7219" y="7994"/>
                    </a:lnTo>
                    <a:lnTo>
                      <a:pt x="7366" y="7994"/>
                    </a:lnTo>
                    <a:lnTo>
                      <a:pt x="7387" y="7931"/>
                    </a:lnTo>
                    <a:lnTo>
                      <a:pt x="7198" y="7784"/>
                    </a:lnTo>
                    <a:lnTo>
                      <a:pt x="7115" y="7743"/>
                    </a:lnTo>
                    <a:lnTo>
                      <a:pt x="7010" y="7743"/>
                    </a:lnTo>
                    <a:lnTo>
                      <a:pt x="6968" y="7722"/>
                    </a:lnTo>
                    <a:lnTo>
                      <a:pt x="6947" y="7743"/>
                    </a:lnTo>
                    <a:lnTo>
                      <a:pt x="6843" y="7784"/>
                    </a:lnTo>
                    <a:lnTo>
                      <a:pt x="6801" y="7743"/>
                    </a:lnTo>
                    <a:lnTo>
                      <a:pt x="6780" y="7784"/>
                    </a:lnTo>
                    <a:lnTo>
                      <a:pt x="6675" y="7784"/>
                    </a:lnTo>
                    <a:lnTo>
                      <a:pt x="6675" y="7701"/>
                    </a:lnTo>
                    <a:lnTo>
                      <a:pt x="6696" y="7638"/>
                    </a:lnTo>
                    <a:lnTo>
                      <a:pt x="6487" y="7533"/>
                    </a:lnTo>
                    <a:lnTo>
                      <a:pt x="6466" y="7491"/>
                    </a:lnTo>
                    <a:lnTo>
                      <a:pt x="6466" y="7491"/>
                    </a:lnTo>
                    <a:lnTo>
                      <a:pt x="6571" y="7533"/>
                    </a:lnTo>
                    <a:lnTo>
                      <a:pt x="6759" y="7575"/>
                    </a:lnTo>
                    <a:lnTo>
                      <a:pt x="6843" y="7617"/>
                    </a:lnTo>
                    <a:lnTo>
                      <a:pt x="6801" y="7701"/>
                    </a:lnTo>
                    <a:lnTo>
                      <a:pt x="6801" y="7701"/>
                    </a:lnTo>
                    <a:lnTo>
                      <a:pt x="6989" y="7638"/>
                    </a:lnTo>
                    <a:lnTo>
                      <a:pt x="7198" y="7638"/>
                    </a:lnTo>
                    <a:lnTo>
                      <a:pt x="7324" y="7743"/>
                    </a:lnTo>
                    <a:lnTo>
                      <a:pt x="7366" y="7722"/>
                    </a:lnTo>
                    <a:lnTo>
                      <a:pt x="7387" y="7596"/>
                    </a:lnTo>
                    <a:lnTo>
                      <a:pt x="7115" y="7512"/>
                    </a:lnTo>
                    <a:lnTo>
                      <a:pt x="6905" y="7491"/>
                    </a:lnTo>
                    <a:lnTo>
                      <a:pt x="6759" y="7429"/>
                    </a:lnTo>
                    <a:lnTo>
                      <a:pt x="6780" y="7387"/>
                    </a:lnTo>
                    <a:lnTo>
                      <a:pt x="6884" y="7366"/>
                    </a:lnTo>
                    <a:lnTo>
                      <a:pt x="6989" y="7429"/>
                    </a:lnTo>
                    <a:lnTo>
                      <a:pt x="7219" y="7491"/>
                    </a:lnTo>
                    <a:lnTo>
                      <a:pt x="7408" y="7491"/>
                    </a:lnTo>
                    <a:lnTo>
                      <a:pt x="7470" y="7596"/>
                    </a:lnTo>
                    <a:lnTo>
                      <a:pt x="7470" y="7722"/>
                    </a:lnTo>
                    <a:lnTo>
                      <a:pt x="7491" y="7805"/>
                    </a:lnTo>
                    <a:lnTo>
                      <a:pt x="7638" y="7910"/>
                    </a:lnTo>
                    <a:lnTo>
                      <a:pt x="7805" y="7952"/>
                    </a:lnTo>
                    <a:lnTo>
                      <a:pt x="7889" y="8035"/>
                    </a:lnTo>
                    <a:lnTo>
                      <a:pt x="7910" y="8035"/>
                    </a:lnTo>
                    <a:lnTo>
                      <a:pt x="7993" y="7994"/>
                    </a:lnTo>
                    <a:lnTo>
                      <a:pt x="7952" y="7847"/>
                    </a:lnTo>
                    <a:lnTo>
                      <a:pt x="7993" y="7743"/>
                    </a:lnTo>
                    <a:lnTo>
                      <a:pt x="7952" y="7701"/>
                    </a:lnTo>
                    <a:lnTo>
                      <a:pt x="8056" y="7617"/>
                    </a:lnTo>
                    <a:lnTo>
                      <a:pt x="7993" y="7575"/>
                    </a:lnTo>
                    <a:lnTo>
                      <a:pt x="7680" y="7491"/>
                    </a:lnTo>
                    <a:lnTo>
                      <a:pt x="7554" y="7512"/>
                    </a:lnTo>
                    <a:lnTo>
                      <a:pt x="7512" y="7512"/>
                    </a:lnTo>
                    <a:lnTo>
                      <a:pt x="7408" y="7408"/>
                    </a:lnTo>
                    <a:lnTo>
                      <a:pt x="7282" y="7387"/>
                    </a:lnTo>
                    <a:lnTo>
                      <a:pt x="7198" y="7282"/>
                    </a:lnTo>
                    <a:lnTo>
                      <a:pt x="7115" y="7282"/>
                    </a:lnTo>
                    <a:lnTo>
                      <a:pt x="7073" y="7324"/>
                    </a:lnTo>
                    <a:lnTo>
                      <a:pt x="6989" y="7324"/>
                    </a:lnTo>
                    <a:lnTo>
                      <a:pt x="7010" y="7219"/>
                    </a:lnTo>
                    <a:lnTo>
                      <a:pt x="6864" y="7178"/>
                    </a:lnTo>
                    <a:lnTo>
                      <a:pt x="6843" y="7094"/>
                    </a:lnTo>
                    <a:lnTo>
                      <a:pt x="6947" y="7073"/>
                    </a:lnTo>
                    <a:lnTo>
                      <a:pt x="6989" y="7115"/>
                    </a:lnTo>
                    <a:lnTo>
                      <a:pt x="7094" y="7157"/>
                    </a:lnTo>
                    <a:lnTo>
                      <a:pt x="7156" y="7073"/>
                    </a:lnTo>
                    <a:lnTo>
                      <a:pt x="7115" y="7010"/>
                    </a:lnTo>
                    <a:lnTo>
                      <a:pt x="7156" y="6968"/>
                    </a:lnTo>
                    <a:lnTo>
                      <a:pt x="7219" y="7052"/>
                    </a:lnTo>
                    <a:lnTo>
                      <a:pt x="7219" y="7178"/>
                    </a:lnTo>
                    <a:lnTo>
                      <a:pt x="7324" y="7219"/>
                    </a:lnTo>
                    <a:lnTo>
                      <a:pt x="7638" y="7303"/>
                    </a:lnTo>
                    <a:lnTo>
                      <a:pt x="7700" y="7261"/>
                    </a:lnTo>
                    <a:lnTo>
                      <a:pt x="7554" y="7052"/>
                    </a:lnTo>
                    <a:lnTo>
                      <a:pt x="7408" y="6989"/>
                    </a:lnTo>
                    <a:lnTo>
                      <a:pt x="7303" y="6947"/>
                    </a:lnTo>
                    <a:lnTo>
                      <a:pt x="7303" y="6864"/>
                    </a:lnTo>
                    <a:lnTo>
                      <a:pt x="7324" y="6801"/>
                    </a:lnTo>
                    <a:lnTo>
                      <a:pt x="7408" y="6906"/>
                    </a:lnTo>
                    <a:lnTo>
                      <a:pt x="7554" y="6906"/>
                    </a:lnTo>
                    <a:lnTo>
                      <a:pt x="7638" y="6968"/>
                    </a:lnTo>
                    <a:lnTo>
                      <a:pt x="7680" y="7073"/>
                    </a:lnTo>
                    <a:lnTo>
                      <a:pt x="7721" y="7052"/>
                    </a:lnTo>
                    <a:lnTo>
                      <a:pt x="7805" y="7157"/>
                    </a:lnTo>
                    <a:lnTo>
                      <a:pt x="7910" y="7199"/>
                    </a:lnTo>
                    <a:lnTo>
                      <a:pt x="7952" y="7261"/>
                    </a:lnTo>
                    <a:lnTo>
                      <a:pt x="8014" y="7282"/>
                    </a:lnTo>
                    <a:lnTo>
                      <a:pt x="8077" y="7178"/>
                    </a:lnTo>
                    <a:lnTo>
                      <a:pt x="8203" y="7178"/>
                    </a:lnTo>
                    <a:lnTo>
                      <a:pt x="8307" y="7282"/>
                    </a:lnTo>
                    <a:lnTo>
                      <a:pt x="8349" y="7261"/>
                    </a:lnTo>
                    <a:lnTo>
                      <a:pt x="8349" y="7157"/>
                    </a:lnTo>
                    <a:lnTo>
                      <a:pt x="8412" y="7157"/>
                    </a:lnTo>
                    <a:lnTo>
                      <a:pt x="8516" y="7261"/>
                    </a:lnTo>
                    <a:lnTo>
                      <a:pt x="8642" y="7261"/>
                    </a:lnTo>
                    <a:lnTo>
                      <a:pt x="8684" y="7199"/>
                    </a:lnTo>
                    <a:lnTo>
                      <a:pt x="8684" y="6885"/>
                    </a:lnTo>
                    <a:lnTo>
                      <a:pt x="8433" y="6634"/>
                    </a:lnTo>
                    <a:lnTo>
                      <a:pt x="8349" y="6634"/>
                    </a:lnTo>
                    <a:lnTo>
                      <a:pt x="8307" y="6655"/>
                    </a:lnTo>
                    <a:lnTo>
                      <a:pt x="8224" y="6634"/>
                    </a:lnTo>
                    <a:lnTo>
                      <a:pt x="8244" y="6571"/>
                    </a:lnTo>
                    <a:lnTo>
                      <a:pt x="8433" y="6550"/>
                    </a:lnTo>
                    <a:lnTo>
                      <a:pt x="8516" y="6571"/>
                    </a:lnTo>
                    <a:lnTo>
                      <a:pt x="8558" y="6550"/>
                    </a:lnTo>
                    <a:lnTo>
                      <a:pt x="8642" y="6592"/>
                    </a:lnTo>
                    <a:lnTo>
                      <a:pt x="8642" y="6696"/>
                    </a:lnTo>
                    <a:lnTo>
                      <a:pt x="8684" y="6759"/>
                    </a:lnTo>
                    <a:lnTo>
                      <a:pt x="8851" y="6780"/>
                    </a:lnTo>
                    <a:lnTo>
                      <a:pt x="8851" y="6968"/>
                    </a:lnTo>
                    <a:lnTo>
                      <a:pt x="8893" y="7052"/>
                    </a:lnTo>
                    <a:lnTo>
                      <a:pt x="8998" y="7052"/>
                    </a:lnTo>
                    <a:lnTo>
                      <a:pt x="9060" y="7094"/>
                    </a:lnTo>
                    <a:lnTo>
                      <a:pt x="9353" y="7115"/>
                    </a:lnTo>
                    <a:lnTo>
                      <a:pt x="9500" y="7115"/>
                    </a:lnTo>
                    <a:lnTo>
                      <a:pt x="9688" y="6947"/>
                    </a:lnTo>
                    <a:lnTo>
                      <a:pt x="9709" y="6864"/>
                    </a:lnTo>
                    <a:lnTo>
                      <a:pt x="9605" y="6801"/>
                    </a:lnTo>
                    <a:lnTo>
                      <a:pt x="9563" y="6843"/>
                    </a:lnTo>
                    <a:lnTo>
                      <a:pt x="9500" y="6780"/>
                    </a:lnTo>
                    <a:lnTo>
                      <a:pt x="9563" y="6759"/>
                    </a:lnTo>
                    <a:lnTo>
                      <a:pt x="9709" y="6696"/>
                    </a:lnTo>
                    <a:lnTo>
                      <a:pt x="9835" y="6738"/>
                    </a:lnTo>
                    <a:lnTo>
                      <a:pt x="9981" y="6675"/>
                    </a:lnTo>
                    <a:lnTo>
                      <a:pt x="10002" y="6571"/>
                    </a:lnTo>
                    <a:lnTo>
                      <a:pt x="9918" y="6466"/>
                    </a:lnTo>
                    <a:lnTo>
                      <a:pt x="9625" y="6466"/>
                    </a:lnTo>
                    <a:lnTo>
                      <a:pt x="9395" y="6424"/>
                    </a:lnTo>
                    <a:lnTo>
                      <a:pt x="9416" y="6362"/>
                    </a:lnTo>
                    <a:lnTo>
                      <a:pt x="9521" y="6362"/>
                    </a:lnTo>
                    <a:lnTo>
                      <a:pt x="9563" y="6257"/>
                    </a:lnTo>
                    <a:lnTo>
                      <a:pt x="9605" y="6278"/>
                    </a:lnTo>
                    <a:lnTo>
                      <a:pt x="9625" y="6383"/>
                    </a:lnTo>
                    <a:lnTo>
                      <a:pt x="9709" y="6383"/>
                    </a:lnTo>
                    <a:lnTo>
                      <a:pt x="9772" y="6341"/>
                    </a:lnTo>
                    <a:lnTo>
                      <a:pt x="9981" y="6424"/>
                    </a:lnTo>
                    <a:lnTo>
                      <a:pt x="10044" y="6362"/>
                    </a:lnTo>
                    <a:lnTo>
                      <a:pt x="10149" y="6445"/>
                    </a:lnTo>
                    <a:lnTo>
                      <a:pt x="10211" y="6445"/>
                    </a:lnTo>
                    <a:lnTo>
                      <a:pt x="10316" y="6320"/>
                    </a:lnTo>
                    <a:lnTo>
                      <a:pt x="10295" y="6236"/>
                    </a:lnTo>
                    <a:lnTo>
                      <a:pt x="10149" y="6152"/>
                    </a:lnTo>
                    <a:lnTo>
                      <a:pt x="10211" y="6048"/>
                    </a:lnTo>
                    <a:lnTo>
                      <a:pt x="10253" y="6006"/>
                    </a:lnTo>
                    <a:lnTo>
                      <a:pt x="10232" y="5839"/>
                    </a:lnTo>
                    <a:lnTo>
                      <a:pt x="10316" y="5901"/>
                    </a:lnTo>
                    <a:lnTo>
                      <a:pt x="10316" y="6006"/>
                    </a:lnTo>
                    <a:lnTo>
                      <a:pt x="10253" y="6069"/>
                    </a:lnTo>
                    <a:lnTo>
                      <a:pt x="10295" y="6152"/>
                    </a:lnTo>
                    <a:lnTo>
                      <a:pt x="10358" y="6173"/>
                    </a:lnTo>
                    <a:lnTo>
                      <a:pt x="10441" y="6111"/>
                    </a:lnTo>
                    <a:lnTo>
                      <a:pt x="10734" y="6111"/>
                    </a:lnTo>
                    <a:lnTo>
                      <a:pt x="10776" y="6027"/>
                    </a:lnTo>
                    <a:lnTo>
                      <a:pt x="10923" y="5922"/>
                    </a:lnTo>
                    <a:lnTo>
                      <a:pt x="10881" y="5797"/>
                    </a:lnTo>
                    <a:lnTo>
                      <a:pt x="10944" y="5755"/>
                    </a:lnTo>
                    <a:lnTo>
                      <a:pt x="11048" y="5755"/>
                    </a:lnTo>
                    <a:lnTo>
                      <a:pt x="11132" y="5650"/>
                    </a:lnTo>
                    <a:lnTo>
                      <a:pt x="11216" y="5692"/>
                    </a:lnTo>
                    <a:lnTo>
                      <a:pt x="11299" y="5629"/>
                    </a:lnTo>
                    <a:lnTo>
                      <a:pt x="11550" y="5608"/>
                    </a:lnTo>
                    <a:lnTo>
                      <a:pt x="11613" y="5483"/>
                    </a:lnTo>
                    <a:lnTo>
                      <a:pt x="11822" y="5420"/>
                    </a:lnTo>
                    <a:lnTo>
                      <a:pt x="11927" y="5336"/>
                    </a:lnTo>
                    <a:lnTo>
                      <a:pt x="12073" y="5336"/>
                    </a:lnTo>
                    <a:lnTo>
                      <a:pt x="12136" y="5315"/>
                    </a:lnTo>
                    <a:lnTo>
                      <a:pt x="12262" y="5315"/>
                    </a:lnTo>
                    <a:lnTo>
                      <a:pt x="12429" y="5232"/>
                    </a:lnTo>
                    <a:lnTo>
                      <a:pt x="12555" y="5106"/>
                    </a:lnTo>
                    <a:lnTo>
                      <a:pt x="12659" y="5085"/>
                    </a:lnTo>
                    <a:lnTo>
                      <a:pt x="12743" y="4960"/>
                    </a:lnTo>
                    <a:lnTo>
                      <a:pt x="12952" y="4918"/>
                    </a:lnTo>
                    <a:lnTo>
                      <a:pt x="13036" y="4876"/>
                    </a:lnTo>
                    <a:lnTo>
                      <a:pt x="13224" y="4771"/>
                    </a:lnTo>
                    <a:lnTo>
                      <a:pt x="13308" y="4604"/>
                    </a:lnTo>
                    <a:lnTo>
                      <a:pt x="13371" y="4458"/>
                    </a:lnTo>
                    <a:lnTo>
                      <a:pt x="13182" y="4458"/>
                    </a:lnTo>
                    <a:lnTo>
                      <a:pt x="13057" y="4478"/>
                    </a:lnTo>
                    <a:lnTo>
                      <a:pt x="12973" y="4437"/>
                    </a:lnTo>
                    <a:lnTo>
                      <a:pt x="12848" y="4458"/>
                    </a:lnTo>
                    <a:lnTo>
                      <a:pt x="12659" y="4646"/>
                    </a:lnTo>
                    <a:lnTo>
                      <a:pt x="12387" y="4667"/>
                    </a:lnTo>
                    <a:lnTo>
                      <a:pt x="11927" y="4709"/>
                    </a:lnTo>
                    <a:lnTo>
                      <a:pt x="11801" y="4688"/>
                    </a:lnTo>
                    <a:lnTo>
                      <a:pt x="11488" y="4688"/>
                    </a:lnTo>
                    <a:lnTo>
                      <a:pt x="11299" y="4771"/>
                    </a:lnTo>
                    <a:lnTo>
                      <a:pt x="11299" y="4667"/>
                    </a:lnTo>
                    <a:lnTo>
                      <a:pt x="11174" y="4667"/>
                    </a:lnTo>
                    <a:lnTo>
                      <a:pt x="11216" y="4562"/>
                    </a:lnTo>
                    <a:lnTo>
                      <a:pt x="11362" y="4562"/>
                    </a:lnTo>
                    <a:lnTo>
                      <a:pt x="11446" y="4583"/>
                    </a:lnTo>
                    <a:lnTo>
                      <a:pt x="11550" y="4541"/>
                    </a:lnTo>
                    <a:lnTo>
                      <a:pt x="11571" y="4604"/>
                    </a:lnTo>
                    <a:lnTo>
                      <a:pt x="11718" y="4604"/>
                    </a:lnTo>
                    <a:lnTo>
                      <a:pt x="11906" y="4583"/>
                    </a:lnTo>
                    <a:lnTo>
                      <a:pt x="12032" y="4583"/>
                    </a:lnTo>
                    <a:lnTo>
                      <a:pt x="12346" y="4541"/>
                    </a:lnTo>
                    <a:lnTo>
                      <a:pt x="12848" y="4332"/>
                    </a:lnTo>
                    <a:lnTo>
                      <a:pt x="12931" y="4269"/>
                    </a:lnTo>
                    <a:lnTo>
                      <a:pt x="12848" y="4186"/>
                    </a:lnTo>
                    <a:lnTo>
                      <a:pt x="12638" y="4144"/>
                    </a:lnTo>
                    <a:lnTo>
                      <a:pt x="12262" y="4081"/>
                    </a:lnTo>
                    <a:lnTo>
                      <a:pt x="12199" y="3976"/>
                    </a:lnTo>
                    <a:lnTo>
                      <a:pt x="12199" y="3976"/>
                    </a:lnTo>
                    <a:lnTo>
                      <a:pt x="12346" y="4060"/>
                    </a:lnTo>
                    <a:lnTo>
                      <a:pt x="12450" y="4039"/>
                    </a:lnTo>
                    <a:lnTo>
                      <a:pt x="12450" y="3976"/>
                    </a:lnTo>
                    <a:lnTo>
                      <a:pt x="12325" y="3851"/>
                    </a:lnTo>
                    <a:lnTo>
                      <a:pt x="12304" y="3725"/>
                    </a:lnTo>
                    <a:lnTo>
                      <a:pt x="12408" y="3851"/>
                    </a:lnTo>
                    <a:lnTo>
                      <a:pt x="12597" y="4060"/>
                    </a:lnTo>
                    <a:lnTo>
                      <a:pt x="12638" y="4060"/>
                    </a:lnTo>
                    <a:lnTo>
                      <a:pt x="12722" y="4018"/>
                    </a:lnTo>
                    <a:lnTo>
                      <a:pt x="12764" y="4081"/>
                    </a:lnTo>
                    <a:lnTo>
                      <a:pt x="12973" y="4081"/>
                    </a:lnTo>
                    <a:lnTo>
                      <a:pt x="13057" y="4144"/>
                    </a:lnTo>
                    <a:lnTo>
                      <a:pt x="13141" y="4144"/>
                    </a:lnTo>
                    <a:lnTo>
                      <a:pt x="13287" y="4165"/>
                    </a:lnTo>
                    <a:lnTo>
                      <a:pt x="13371" y="4123"/>
                    </a:lnTo>
                    <a:lnTo>
                      <a:pt x="13308" y="4081"/>
                    </a:lnTo>
                    <a:lnTo>
                      <a:pt x="13162" y="4060"/>
                    </a:lnTo>
                    <a:lnTo>
                      <a:pt x="13162" y="3976"/>
                    </a:lnTo>
                    <a:lnTo>
                      <a:pt x="13350" y="4018"/>
                    </a:lnTo>
                    <a:lnTo>
                      <a:pt x="13475" y="4060"/>
                    </a:lnTo>
                    <a:lnTo>
                      <a:pt x="13601" y="4165"/>
                    </a:lnTo>
                    <a:lnTo>
                      <a:pt x="13664" y="4144"/>
                    </a:lnTo>
                    <a:lnTo>
                      <a:pt x="13706" y="4018"/>
                    </a:lnTo>
                    <a:lnTo>
                      <a:pt x="13810" y="4081"/>
                    </a:lnTo>
                    <a:lnTo>
                      <a:pt x="13978" y="4081"/>
                    </a:lnTo>
                    <a:lnTo>
                      <a:pt x="14124" y="4039"/>
                    </a:lnTo>
                    <a:lnTo>
                      <a:pt x="14229" y="4018"/>
                    </a:lnTo>
                    <a:lnTo>
                      <a:pt x="14354" y="3914"/>
                    </a:lnTo>
                    <a:lnTo>
                      <a:pt x="14710" y="3746"/>
                    </a:lnTo>
                    <a:lnTo>
                      <a:pt x="14794" y="3662"/>
                    </a:lnTo>
                    <a:lnTo>
                      <a:pt x="14794" y="3621"/>
                    </a:lnTo>
                    <a:lnTo>
                      <a:pt x="14877" y="3600"/>
                    </a:lnTo>
                    <a:lnTo>
                      <a:pt x="15003" y="3621"/>
                    </a:lnTo>
                    <a:lnTo>
                      <a:pt x="15045" y="3558"/>
                    </a:lnTo>
                    <a:lnTo>
                      <a:pt x="15275" y="3432"/>
                    </a:lnTo>
                    <a:lnTo>
                      <a:pt x="15400" y="3181"/>
                    </a:lnTo>
                    <a:lnTo>
                      <a:pt x="15463" y="2909"/>
                    </a:lnTo>
                    <a:lnTo>
                      <a:pt x="15442" y="2721"/>
                    </a:lnTo>
                    <a:lnTo>
                      <a:pt x="15379" y="2595"/>
                    </a:lnTo>
                    <a:lnTo>
                      <a:pt x="15233" y="2512"/>
                    </a:lnTo>
                    <a:lnTo>
                      <a:pt x="15149" y="2512"/>
                    </a:lnTo>
                    <a:lnTo>
                      <a:pt x="15128" y="2554"/>
                    </a:lnTo>
                    <a:lnTo>
                      <a:pt x="15024" y="2554"/>
                    </a:lnTo>
                    <a:lnTo>
                      <a:pt x="14961" y="2658"/>
                    </a:lnTo>
                    <a:lnTo>
                      <a:pt x="14877" y="2700"/>
                    </a:lnTo>
                    <a:lnTo>
                      <a:pt x="14835" y="2658"/>
                    </a:lnTo>
                    <a:lnTo>
                      <a:pt x="14961" y="2470"/>
                    </a:lnTo>
                    <a:lnTo>
                      <a:pt x="15003" y="2386"/>
                    </a:lnTo>
                    <a:lnTo>
                      <a:pt x="15107" y="2302"/>
                    </a:lnTo>
                    <a:lnTo>
                      <a:pt x="15128" y="2156"/>
                    </a:lnTo>
                    <a:lnTo>
                      <a:pt x="15066" y="2051"/>
                    </a:lnTo>
                    <a:lnTo>
                      <a:pt x="15024" y="2030"/>
                    </a:lnTo>
                    <a:lnTo>
                      <a:pt x="15107" y="1968"/>
                    </a:lnTo>
                    <a:lnTo>
                      <a:pt x="15170" y="1737"/>
                    </a:lnTo>
                    <a:lnTo>
                      <a:pt x="15066" y="1717"/>
                    </a:lnTo>
                    <a:lnTo>
                      <a:pt x="14940" y="1737"/>
                    </a:lnTo>
                    <a:lnTo>
                      <a:pt x="14919" y="1842"/>
                    </a:lnTo>
                    <a:lnTo>
                      <a:pt x="14856" y="1884"/>
                    </a:lnTo>
                    <a:lnTo>
                      <a:pt x="14794" y="1926"/>
                    </a:lnTo>
                    <a:lnTo>
                      <a:pt x="14731" y="1863"/>
                    </a:lnTo>
                    <a:lnTo>
                      <a:pt x="14794" y="1779"/>
                    </a:lnTo>
                    <a:lnTo>
                      <a:pt x="14794" y="1717"/>
                    </a:lnTo>
                    <a:lnTo>
                      <a:pt x="14835" y="1633"/>
                    </a:lnTo>
                    <a:lnTo>
                      <a:pt x="14814" y="1570"/>
                    </a:lnTo>
                    <a:lnTo>
                      <a:pt x="14689" y="1654"/>
                    </a:lnTo>
                    <a:lnTo>
                      <a:pt x="14626" y="1779"/>
                    </a:lnTo>
                    <a:lnTo>
                      <a:pt x="14584" y="1821"/>
                    </a:lnTo>
                    <a:lnTo>
                      <a:pt x="14522" y="1758"/>
                    </a:lnTo>
                    <a:lnTo>
                      <a:pt x="14584" y="1633"/>
                    </a:lnTo>
                    <a:lnTo>
                      <a:pt x="14542" y="1549"/>
                    </a:lnTo>
                    <a:lnTo>
                      <a:pt x="14417" y="1549"/>
                    </a:lnTo>
                    <a:lnTo>
                      <a:pt x="14270" y="1633"/>
                    </a:lnTo>
                    <a:lnTo>
                      <a:pt x="14208" y="1737"/>
                    </a:lnTo>
                    <a:lnTo>
                      <a:pt x="14082" y="1737"/>
                    </a:lnTo>
                    <a:lnTo>
                      <a:pt x="14019" y="1779"/>
                    </a:lnTo>
                    <a:lnTo>
                      <a:pt x="13978" y="1884"/>
                    </a:lnTo>
                    <a:lnTo>
                      <a:pt x="13894" y="1884"/>
                    </a:lnTo>
                    <a:lnTo>
                      <a:pt x="13789" y="1842"/>
                    </a:lnTo>
                    <a:lnTo>
                      <a:pt x="13580" y="1821"/>
                    </a:lnTo>
                    <a:lnTo>
                      <a:pt x="13308" y="1821"/>
                    </a:lnTo>
                    <a:lnTo>
                      <a:pt x="13496" y="1758"/>
                    </a:lnTo>
                    <a:lnTo>
                      <a:pt x="13559" y="1717"/>
                    </a:lnTo>
                    <a:lnTo>
                      <a:pt x="13643" y="1737"/>
                    </a:lnTo>
                    <a:lnTo>
                      <a:pt x="13747" y="1737"/>
                    </a:lnTo>
                    <a:lnTo>
                      <a:pt x="13894" y="1654"/>
                    </a:lnTo>
                    <a:lnTo>
                      <a:pt x="14019" y="1633"/>
                    </a:lnTo>
                    <a:lnTo>
                      <a:pt x="14124" y="1507"/>
                    </a:lnTo>
                    <a:lnTo>
                      <a:pt x="14333" y="1403"/>
                    </a:lnTo>
                    <a:lnTo>
                      <a:pt x="14396" y="1340"/>
                    </a:lnTo>
                    <a:lnTo>
                      <a:pt x="14354" y="1298"/>
                    </a:lnTo>
                    <a:lnTo>
                      <a:pt x="14270" y="1298"/>
                    </a:lnTo>
                    <a:lnTo>
                      <a:pt x="14061" y="1152"/>
                    </a:lnTo>
                    <a:lnTo>
                      <a:pt x="14019" y="1089"/>
                    </a:lnTo>
                    <a:lnTo>
                      <a:pt x="13978" y="1089"/>
                    </a:lnTo>
                    <a:lnTo>
                      <a:pt x="13873" y="1131"/>
                    </a:lnTo>
                    <a:lnTo>
                      <a:pt x="13810" y="1193"/>
                    </a:lnTo>
                    <a:lnTo>
                      <a:pt x="13747" y="1152"/>
                    </a:lnTo>
                    <a:lnTo>
                      <a:pt x="13706" y="1089"/>
                    </a:lnTo>
                    <a:lnTo>
                      <a:pt x="13789" y="1005"/>
                    </a:lnTo>
                    <a:lnTo>
                      <a:pt x="13768" y="921"/>
                    </a:lnTo>
                    <a:lnTo>
                      <a:pt x="13601" y="942"/>
                    </a:lnTo>
                    <a:lnTo>
                      <a:pt x="13538" y="1047"/>
                    </a:lnTo>
                    <a:lnTo>
                      <a:pt x="13454" y="1026"/>
                    </a:lnTo>
                    <a:lnTo>
                      <a:pt x="13454" y="901"/>
                    </a:lnTo>
                    <a:lnTo>
                      <a:pt x="13308" y="942"/>
                    </a:lnTo>
                    <a:lnTo>
                      <a:pt x="13266" y="1005"/>
                    </a:lnTo>
                    <a:lnTo>
                      <a:pt x="13224" y="921"/>
                    </a:lnTo>
                    <a:lnTo>
                      <a:pt x="13287" y="838"/>
                    </a:lnTo>
                    <a:lnTo>
                      <a:pt x="13245" y="775"/>
                    </a:lnTo>
                    <a:lnTo>
                      <a:pt x="13308" y="775"/>
                    </a:lnTo>
                    <a:lnTo>
                      <a:pt x="13371" y="691"/>
                    </a:lnTo>
                    <a:lnTo>
                      <a:pt x="13287" y="608"/>
                    </a:lnTo>
                    <a:lnTo>
                      <a:pt x="13078" y="587"/>
                    </a:lnTo>
                    <a:lnTo>
                      <a:pt x="12910" y="503"/>
                    </a:lnTo>
                    <a:lnTo>
                      <a:pt x="12785" y="524"/>
                    </a:lnTo>
                    <a:lnTo>
                      <a:pt x="12659" y="629"/>
                    </a:lnTo>
                    <a:lnTo>
                      <a:pt x="12638" y="733"/>
                    </a:lnTo>
                    <a:lnTo>
                      <a:pt x="12597" y="775"/>
                    </a:lnTo>
                    <a:lnTo>
                      <a:pt x="12513" y="670"/>
                    </a:lnTo>
                    <a:lnTo>
                      <a:pt x="12638" y="524"/>
                    </a:lnTo>
                    <a:lnTo>
                      <a:pt x="12659" y="461"/>
                    </a:lnTo>
                    <a:lnTo>
                      <a:pt x="12513" y="461"/>
                    </a:lnTo>
                    <a:lnTo>
                      <a:pt x="12387" y="377"/>
                    </a:lnTo>
                    <a:lnTo>
                      <a:pt x="12262" y="377"/>
                    </a:lnTo>
                    <a:lnTo>
                      <a:pt x="12199" y="482"/>
                    </a:lnTo>
                    <a:lnTo>
                      <a:pt x="12011" y="608"/>
                    </a:lnTo>
                    <a:lnTo>
                      <a:pt x="11885" y="733"/>
                    </a:lnTo>
                    <a:lnTo>
                      <a:pt x="11801" y="775"/>
                    </a:lnTo>
                    <a:lnTo>
                      <a:pt x="11781" y="712"/>
                    </a:lnTo>
                    <a:lnTo>
                      <a:pt x="11822" y="587"/>
                    </a:lnTo>
                    <a:lnTo>
                      <a:pt x="11822" y="419"/>
                    </a:lnTo>
                    <a:lnTo>
                      <a:pt x="11781" y="377"/>
                    </a:lnTo>
                    <a:lnTo>
                      <a:pt x="11739" y="273"/>
                    </a:lnTo>
                    <a:lnTo>
                      <a:pt x="11592" y="189"/>
                    </a:lnTo>
                    <a:lnTo>
                      <a:pt x="11467" y="210"/>
                    </a:lnTo>
                    <a:lnTo>
                      <a:pt x="11341" y="189"/>
                    </a:lnTo>
                    <a:lnTo>
                      <a:pt x="11278" y="85"/>
                    </a:lnTo>
                    <a:lnTo>
                      <a:pt x="11153" y="64"/>
                    </a:lnTo>
                    <a:lnTo>
                      <a:pt x="10985" y="105"/>
                    </a:lnTo>
                    <a:lnTo>
                      <a:pt x="10881" y="85"/>
                    </a:lnTo>
                    <a:lnTo>
                      <a:pt x="10818" y="64"/>
                    </a:lnTo>
                    <a:lnTo>
                      <a:pt x="10734" y="1"/>
                    </a:lnTo>
                    <a:lnTo>
                      <a:pt x="10651" y="64"/>
                    </a:lnTo>
                    <a:lnTo>
                      <a:pt x="10630" y="210"/>
                    </a:lnTo>
                    <a:lnTo>
                      <a:pt x="10734" y="461"/>
                    </a:lnTo>
                    <a:lnTo>
                      <a:pt x="10651" y="670"/>
                    </a:lnTo>
                    <a:lnTo>
                      <a:pt x="10651" y="817"/>
                    </a:lnTo>
                    <a:lnTo>
                      <a:pt x="10609" y="880"/>
                    </a:lnTo>
                    <a:lnTo>
                      <a:pt x="10525" y="838"/>
                    </a:lnTo>
                    <a:lnTo>
                      <a:pt x="10400" y="880"/>
                    </a:lnTo>
                    <a:lnTo>
                      <a:pt x="10337" y="817"/>
                    </a:lnTo>
                    <a:lnTo>
                      <a:pt x="10421" y="733"/>
                    </a:lnTo>
                    <a:lnTo>
                      <a:pt x="10358" y="566"/>
                    </a:lnTo>
                    <a:lnTo>
                      <a:pt x="10421" y="461"/>
                    </a:lnTo>
                    <a:lnTo>
                      <a:pt x="10441" y="315"/>
                    </a:lnTo>
                    <a:lnTo>
                      <a:pt x="10400" y="273"/>
                    </a:lnTo>
                    <a:lnTo>
                      <a:pt x="10232" y="398"/>
                    </a:lnTo>
                    <a:lnTo>
                      <a:pt x="10232" y="461"/>
                    </a:lnTo>
                    <a:lnTo>
                      <a:pt x="10149" y="482"/>
                    </a:lnTo>
                    <a:lnTo>
                      <a:pt x="10107" y="419"/>
                    </a:lnTo>
                    <a:lnTo>
                      <a:pt x="10149" y="273"/>
                    </a:lnTo>
                    <a:lnTo>
                      <a:pt x="10107" y="210"/>
                    </a:lnTo>
                    <a:lnTo>
                      <a:pt x="10044" y="252"/>
                    </a:lnTo>
                    <a:lnTo>
                      <a:pt x="9981" y="398"/>
                    </a:lnTo>
                    <a:lnTo>
                      <a:pt x="9897" y="398"/>
                    </a:lnTo>
                    <a:lnTo>
                      <a:pt x="9877" y="357"/>
                    </a:lnTo>
                    <a:lnTo>
                      <a:pt x="9918" y="252"/>
                    </a:lnTo>
                    <a:lnTo>
                      <a:pt x="9918" y="105"/>
                    </a:lnTo>
                    <a:lnTo>
                      <a:pt x="9897" y="64"/>
                    </a:lnTo>
                    <a:lnTo>
                      <a:pt x="9625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2" name="Google Shape;12095;p43">
                <a:extLst>
                  <a:ext uri="{FF2B5EF4-FFF2-40B4-BE49-F238E27FC236}">
                    <a16:creationId xmlns:a16="http://schemas.microsoft.com/office/drawing/2014/main" id="{2C41B3CA-3C2B-62A8-33AA-E79CBD78DD95}"/>
                  </a:ext>
                </a:extLst>
              </p:cNvPr>
              <p:cNvSpPr/>
              <p:nvPr/>
            </p:nvSpPr>
            <p:spPr>
              <a:xfrm>
                <a:off x="2905300" y="2401625"/>
                <a:ext cx="91575" cy="98875"/>
              </a:xfrm>
              <a:custGeom>
                <a:avLst/>
                <a:gdLst/>
                <a:ahLst/>
                <a:cxnLst/>
                <a:rect l="l" t="t" r="r" b="b"/>
                <a:pathLst>
                  <a:path w="3663" h="3955" extrusionOk="0">
                    <a:moveTo>
                      <a:pt x="2909" y="2155"/>
                    </a:move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930" y="2155"/>
                    </a:lnTo>
                    <a:close/>
                    <a:moveTo>
                      <a:pt x="2323" y="0"/>
                    </a:moveTo>
                    <a:lnTo>
                      <a:pt x="2260" y="42"/>
                    </a:lnTo>
                    <a:lnTo>
                      <a:pt x="2219" y="84"/>
                    </a:lnTo>
                    <a:lnTo>
                      <a:pt x="2135" y="84"/>
                    </a:lnTo>
                    <a:lnTo>
                      <a:pt x="2072" y="147"/>
                    </a:lnTo>
                    <a:lnTo>
                      <a:pt x="2009" y="188"/>
                    </a:lnTo>
                    <a:lnTo>
                      <a:pt x="1905" y="188"/>
                    </a:lnTo>
                    <a:lnTo>
                      <a:pt x="1779" y="293"/>
                    </a:lnTo>
                    <a:lnTo>
                      <a:pt x="1675" y="377"/>
                    </a:lnTo>
                    <a:lnTo>
                      <a:pt x="1675" y="460"/>
                    </a:lnTo>
                    <a:lnTo>
                      <a:pt x="1612" y="460"/>
                    </a:lnTo>
                    <a:lnTo>
                      <a:pt x="1570" y="419"/>
                    </a:lnTo>
                    <a:lnTo>
                      <a:pt x="1570" y="460"/>
                    </a:lnTo>
                    <a:lnTo>
                      <a:pt x="1591" y="481"/>
                    </a:lnTo>
                    <a:lnTo>
                      <a:pt x="1591" y="523"/>
                    </a:lnTo>
                    <a:lnTo>
                      <a:pt x="1528" y="586"/>
                    </a:lnTo>
                    <a:lnTo>
                      <a:pt x="1423" y="670"/>
                    </a:lnTo>
                    <a:lnTo>
                      <a:pt x="1382" y="691"/>
                    </a:lnTo>
                    <a:lnTo>
                      <a:pt x="1402" y="711"/>
                    </a:lnTo>
                    <a:lnTo>
                      <a:pt x="1382" y="774"/>
                    </a:lnTo>
                    <a:lnTo>
                      <a:pt x="1319" y="774"/>
                    </a:lnTo>
                    <a:lnTo>
                      <a:pt x="1319" y="816"/>
                    </a:lnTo>
                    <a:lnTo>
                      <a:pt x="1382" y="837"/>
                    </a:lnTo>
                    <a:lnTo>
                      <a:pt x="1319" y="879"/>
                    </a:lnTo>
                    <a:lnTo>
                      <a:pt x="1256" y="879"/>
                    </a:lnTo>
                    <a:lnTo>
                      <a:pt x="1193" y="942"/>
                    </a:lnTo>
                    <a:lnTo>
                      <a:pt x="1193" y="1004"/>
                    </a:lnTo>
                    <a:lnTo>
                      <a:pt x="1214" y="1004"/>
                    </a:lnTo>
                    <a:lnTo>
                      <a:pt x="1256" y="1025"/>
                    </a:lnTo>
                    <a:lnTo>
                      <a:pt x="1193" y="1046"/>
                    </a:lnTo>
                    <a:lnTo>
                      <a:pt x="1151" y="1046"/>
                    </a:lnTo>
                    <a:lnTo>
                      <a:pt x="1089" y="1151"/>
                    </a:lnTo>
                    <a:lnTo>
                      <a:pt x="1068" y="1214"/>
                    </a:lnTo>
                    <a:lnTo>
                      <a:pt x="942" y="1402"/>
                    </a:lnTo>
                    <a:lnTo>
                      <a:pt x="942" y="1444"/>
                    </a:lnTo>
                    <a:lnTo>
                      <a:pt x="984" y="1507"/>
                    </a:lnTo>
                    <a:lnTo>
                      <a:pt x="984" y="1548"/>
                    </a:lnTo>
                    <a:lnTo>
                      <a:pt x="963" y="1548"/>
                    </a:lnTo>
                    <a:lnTo>
                      <a:pt x="942" y="1527"/>
                    </a:lnTo>
                    <a:lnTo>
                      <a:pt x="900" y="1527"/>
                    </a:lnTo>
                    <a:lnTo>
                      <a:pt x="796" y="1569"/>
                    </a:lnTo>
                    <a:lnTo>
                      <a:pt x="754" y="1653"/>
                    </a:lnTo>
                    <a:lnTo>
                      <a:pt x="754" y="1716"/>
                    </a:lnTo>
                    <a:lnTo>
                      <a:pt x="796" y="1716"/>
                    </a:lnTo>
                    <a:lnTo>
                      <a:pt x="858" y="1758"/>
                    </a:lnTo>
                    <a:lnTo>
                      <a:pt x="838" y="1779"/>
                    </a:lnTo>
                    <a:lnTo>
                      <a:pt x="838" y="1841"/>
                    </a:lnTo>
                    <a:lnTo>
                      <a:pt x="775" y="1883"/>
                    </a:lnTo>
                    <a:lnTo>
                      <a:pt x="649" y="1862"/>
                    </a:lnTo>
                    <a:lnTo>
                      <a:pt x="628" y="1883"/>
                    </a:lnTo>
                    <a:lnTo>
                      <a:pt x="628" y="1946"/>
                    </a:lnTo>
                    <a:lnTo>
                      <a:pt x="545" y="2030"/>
                    </a:lnTo>
                    <a:lnTo>
                      <a:pt x="482" y="2134"/>
                    </a:lnTo>
                    <a:lnTo>
                      <a:pt x="440" y="2197"/>
                    </a:lnTo>
                    <a:lnTo>
                      <a:pt x="419" y="2197"/>
                    </a:lnTo>
                    <a:lnTo>
                      <a:pt x="419" y="2134"/>
                    </a:lnTo>
                    <a:lnTo>
                      <a:pt x="377" y="2197"/>
                    </a:lnTo>
                    <a:lnTo>
                      <a:pt x="335" y="2134"/>
                    </a:lnTo>
                    <a:lnTo>
                      <a:pt x="356" y="2072"/>
                    </a:lnTo>
                    <a:lnTo>
                      <a:pt x="440" y="2030"/>
                    </a:lnTo>
                    <a:lnTo>
                      <a:pt x="461" y="1967"/>
                    </a:lnTo>
                    <a:lnTo>
                      <a:pt x="440" y="1988"/>
                    </a:lnTo>
                    <a:lnTo>
                      <a:pt x="356" y="2051"/>
                    </a:lnTo>
                    <a:lnTo>
                      <a:pt x="231" y="2134"/>
                    </a:lnTo>
                    <a:lnTo>
                      <a:pt x="168" y="2260"/>
                    </a:lnTo>
                    <a:lnTo>
                      <a:pt x="231" y="2260"/>
                    </a:lnTo>
                    <a:lnTo>
                      <a:pt x="314" y="2239"/>
                    </a:lnTo>
                    <a:lnTo>
                      <a:pt x="461" y="2197"/>
                    </a:lnTo>
                    <a:lnTo>
                      <a:pt x="586" y="2197"/>
                    </a:lnTo>
                    <a:lnTo>
                      <a:pt x="524" y="2281"/>
                    </a:lnTo>
                    <a:lnTo>
                      <a:pt x="419" y="2406"/>
                    </a:lnTo>
                    <a:lnTo>
                      <a:pt x="335" y="2511"/>
                    </a:lnTo>
                    <a:lnTo>
                      <a:pt x="210" y="2595"/>
                    </a:lnTo>
                    <a:lnTo>
                      <a:pt x="105" y="2699"/>
                    </a:lnTo>
                    <a:lnTo>
                      <a:pt x="22" y="2699"/>
                    </a:lnTo>
                    <a:lnTo>
                      <a:pt x="1" y="2762"/>
                    </a:lnTo>
                    <a:lnTo>
                      <a:pt x="22" y="2804"/>
                    </a:lnTo>
                    <a:lnTo>
                      <a:pt x="1" y="2888"/>
                    </a:lnTo>
                    <a:lnTo>
                      <a:pt x="22" y="2929"/>
                    </a:lnTo>
                    <a:lnTo>
                      <a:pt x="63" y="2929"/>
                    </a:lnTo>
                    <a:lnTo>
                      <a:pt x="168" y="2971"/>
                    </a:lnTo>
                    <a:lnTo>
                      <a:pt x="314" y="2929"/>
                    </a:lnTo>
                    <a:lnTo>
                      <a:pt x="377" y="2888"/>
                    </a:lnTo>
                    <a:lnTo>
                      <a:pt x="482" y="2888"/>
                    </a:lnTo>
                    <a:lnTo>
                      <a:pt x="566" y="2825"/>
                    </a:lnTo>
                    <a:lnTo>
                      <a:pt x="586" y="2783"/>
                    </a:lnTo>
                    <a:lnTo>
                      <a:pt x="586" y="2804"/>
                    </a:lnTo>
                    <a:lnTo>
                      <a:pt x="545" y="2888"/>
                    </a:lnTo>
                    <a:lnTo>
                      <a:pt x="670" y="2908"/>
                    </a:lnTo>
                    <a:lnTo>
                      <a:pt x="754" y="2888"/>
                    </a:lnTo>
                    <a:lnTo>
                      <a:pt x="796" y="2929"/>
                    </a:lnTo>
                    <a:lnTo>
                      <a:pt x="963" y="2929"/>
                    </a:lnTo>
                    <a:lnTo>
                      <a:pt x="1047" y="2908"/>
                    </a:lnTo>
                    <a:lnTo>
                      <a:pt x="1068" y="2971"/>
                    </a:lnTo>
                    <a:lnTo>
                      <a:pt x="1110" y="3013"/>
                    </a:lnTo>
                    <a:lnTo>
                      <a:pt x="1214" y="3013"/>
                    </a:lnTo>
                    <a:lnTo>
                      <a:pt x="1256" y="2992"/>
                    </a:lnTo>
                    <a:lnTo>
                      <a:pt x="1277" y="3013"/>
                    </a:lnTo>
                    <a:lnTo>
                      <a:pt x="1361" y="3013"/>
                    </a:lnTo>
                    <a:lnTo>
                      <a:pt x="1402" y="2992"/>
                    </a:lnTo>
                    <a:lnTo>
                      <a:pt x="1402" y="2950"/>
                    </a:lnTo>
                    <a:lnTo>
                      <a:pt x="1486" y="2950"/>
                    </a:lnTo>
                    <a:lnTo>
                      <a:pt x="1507" y="2992"/>
                    </a:lnTo>
                    <a:lnTo>
                      <a:pt x="1570" y="2992"/>
                    </a:lnTo>
                    <a:lnTo>
                      <a:pt x="1591" y="2929"/>
                    </a:lnTo>
                    <a:lnTo>
                      <a:pt x="1633" y="2929"/>
                    </a:lnTo>
                    <a:lnTo>
                      <a:pt x="1695" y="2971"/>
                    </a:lnTo>
                    <a:lnTo>
                      <a:pt x="1716" y="2908"/>
                    </a:lnTo>
                    <a:lnTo>
                      <a:pt x="1716" y="2867"/>
                    </a:lnTo>
                    <a:lnTo>
                      <a:pt x="1716" y="2783"/>
                    </a:lnTo>
                    <a:lnTo>
                      <a:pt x="1737" y="2804"/>
                    </a:lnTo>
                    <a:lnTo>
                      <a:pt x="1779" y="2762"/>
                    </a:lnTo>
                    <a:lnTo>
                      <a:pt x="1821" y="2762"/>
                    </a:lnTo>
                    <a:lnTo>
                      <a:pt x="1800" y="2783"/>
                    </a:lnTo>
                    <a:lnTo>
                      <a:pt x="1779" y="2888"/>
                    </a:lnTo>
                    <a:lnTo>
                      <a:pt x="1800" y="2908"/>
                    </a:lnTo>
                    <a:lnTo>
                      <a:pt x="1821" y="2867"/>
                    </a:lnTo>
                    <a:lnTo>
                      <a:pt x="1884" y="2783"/>
                    </a:lnTo>
                    <a:lnTo>
                      <a:pt x="1905" y="2783"/>
                    </a:lnTo>
                    <a:lnTo>
                      <a:pt x="1905" y="2867"/>
                    </a:lnTo>
                    <a:lnTo>
                      <a:pt x="1884" y="2908"/>
                    </a:lnTo>
                    <a:lnTo>
                      <a:pt x="1884" y="2971"/>
                    </a:lnTo>
                    <a:lnTo>
                      <a:pt x="1947" y="2929"/>
                    </a:lnTo>
                    <a:lnTo>
                      <a:pt x="1988" y="2929"/>
                    </a:lnTo>
                    <a:lnTo>
                      <a:pt x="1988" y="2971"/>
                    </a:lnTo>
                    <a:lnTo>
                      <a:pt x="1884" y="3034"/>
                    </a:lnTo>
                    <a:lnTo>
                      <a:pt x="1779" y="3097"/>
                    </a:lnTo>
                    <a:lnTo>
                      <a:pt x="1800" y="3118"/>
                    </a:lnTo>
                    <a:lnTo>
                      <a:pt x="1821" y="3097"/>
                    </a:lnTo>
                    <a:lnTo>
                      <a:pt x="1884" y="3097"/>
                    </a:lnTo>
                    <a:lnTo>
                      <a:pt x="1905" y="3118"/>
                    </a:lnTo>
                    <a:lnTo>
                      <a:pt x="1947" y="3118"/>
                    </a:lnTo>
                    <a:lnTo>
                      <a:pt x="1988" y="3139"/>
                    </a:lnTo>
                    <a:lnTo>
                      <a:pt x="2030" y="3118"/>
                    </a:lnTo>
                    <a:lnTo>
                      <a:pt x="2114" y="3097"/>
                    </a:lnTo>
                    <a:lnTo>
                      <a:pt x="2135" y="3013"/>
                    </a:lnTo>
                    <a:lnTo>
                      <a:pt x="2135" y="2971"/>
                    </a:lnTo>
                    <a:lnTo>
                      <a:pt x="2198" y="2992"/>
                    </a:lnTo>
                    <a:lnTo>
                      <a:pt x="2260" y="3013"/>
                    </a:lnTo>
                    <a:lnTo>
                      <a:pt x="2323" y="3076"/>
                    </a:lnTo>
                    <a:lnTo>
                      <a:pt x="2365" y="3034"/>
                    </a:lnTo>
                    <a:lnTo>
                      <a:pt x="2428" y="3013"/>
                    </a:lnTo>
                    <a:lnTo>
                      <a:pt x="2511" y="3013"/>
                    </a:lnTo>
                    <a:lnTo>
                      <a:pt x="2449" y="3076"/>
                    </a:lnTo>
                    <a:lnTo>
                      <a:pt x="2449" y="3097"/>
                    </a:lnTo>
                    <a:lnTo>
                      <a:pt x="2344" y="3139"/>
                    </a:lnTo>
                    <a:lnTo>
                      <a:pt x="2239" y="3139"/>
                    </a:lnTo>
                    <a:lnTo>
                      <a:pt x="2198" y="3201"/>
                    </a:lnTo>
                    <a:lnTo>
                      <a:pt x="2198" y="3243"/>
                    </a:lnTo>
                    <a:lnTo>
                      <a:pt x="2156" y="3285"/>
                    </a:lnTo>
                    <a:lnTo>
                      <a:pt x="2135" y="3327"/>
                    </a:lnTo>
                    <a:lnTo>
                      <a:pt x="2051" y="3327"/>
                    </a:lnTo>
                    <a:lnTo>
                      <a:pt x="2009" y="3348"/>
                    </a:lnTo>
                    <a:lnTo>
                      <a:pt x="1988" y="3411"/>
                    </a:lnTo>
                    <a:lnTo>
                      <a:pt x="1926" y="3432"/>
                    </a:lnTo>
                    <a:lnTo>
                      <a:pt x="1821" y="3452"/>
                    </a:lnTo>
                    <a:lnTo>
                      <a:pt x="1737" y="3515"/>
                    </a:lnTo>
                    <a:lnTo>
                      <a:pt x="1716" y="3557"/>
                    </a:lnTo>
                    <a:lnTo>
                      <a:pt x="1737" y="3599"/>
                    </a:lnTo>
                    <a:lnTo>
                      <a:pt x="1779" y="3620"/>
                    </a:lnTo>
                    <a:lnTo>
                      <a:pt x="1842" y="3620"/>
                    </a:lnTo>
                    <a:lnTo>
                      <a:pt x="1884" y="3557"/>
                    </a:lnTo>
                    <a:lnTo>
                      <a:pt x="1905" y="3536"/>
                    </a:lnTo>
                    <a:lnTo>
                      <a:pt x="1947" y="3536"/>
                    </a:lnTo>
                    <a:lnTo>
                      <a:pt x="1947" y="3599"/>
                    </a:lnTo>
                    <a:lnTo>
                      <a:pt x="1988" y="3620"/>
                    </a:lnTo>
                    <a:lnTo>
                      <a:pt x="2051" y="3599"/>
                    </a:lnTo>
                    <a:lnTo>
                      <a:pt x="2114" y="3536"/>
                    </a:lnTo>
                    <a:lnTo>
                      <a:pt x="2135" y="3494"/>
                    </a:lnTo>
                    <a:lnTo>
                      <a:pt x="2156" y="3494"/>
                    </a:lnTo>
                    <a:lnTo>
                      <a:pt x="2198" y="3432"/>
                    </a:lnTo>
                    <a:lnTo>
                      <a:pt x="2219" y="3348"/>
                    </a:lnTo>
                    <a:lnTo>
                      <a:pt x="2260" y="3327"/>
                    </a:lnTo>
                    <a:lnTo>
                      <a:pt x="2365" y="3222"/>
                    </a:lnTo>
                    <a:lnTo>
                      <a:pt x="2428" y="3201"/>
                    </a:lnTo>
                    <a:lnTo>
                      <a:pt x="2470" y="3222"/>
                    </a:lnTo>
                    <a:lnTo>
                      <a:pt x="2553" y="3222"/>
                    </a:lnTo>
                    <a:lnTo>
                      <a:pt x="2511" y="3285"/>
                    </a:lnTo>
                    <a:lnTo>
                      <a:pt x="2553" y="3285"/>
                    </a:lnTo>
                    <a:lnTo>
                      <a:pt x="2616" y="3243"/>
                    </a:lnTo>
                    <a:lnTo>
                      <a:pt x="2658" y="3118"/>
                    </a:lnTo>
                    <a:lnTo>
                      <a:pt x="2721" y="3013"/>
                    </a:lnTo>
                    <a:lnTo>
                      <a:pt x="2721" y="2908"/>
                    </a:lnTo>
                    <a:lnTo>
                      <a:pt x="2742" y="2888"/>
                    </a:lnTo>
                    <a:lnTo>
                      <a:pt x="2763" y="2888"/>
                    </a:lnTo>
                    <a:lnTo>
                      <a:pt x="2825" y="2929"/>
                    </a:lnTo>
                    <a:lnTo>
                      <a:pt x="2846" y="2929"/>
                    </a:lnTo>
                    <a:lnTo>
                      <a:pt x="2888" y="2971"/>
                    </a:lnTo>
                    <a:lnTo>
                      <a:pt x="2888" y="3076"/>
                    </a:lnTo>
                    <a:lnTo>
                      <a:pt x="2867" y="3139"/>
                    </a:lnTo>
                    <a:lnTo>
                      <a:pt x="2846" y="3222"/>
                    </a:lnTo>
                    <a:lnTo>
                      <a:pt x="2867" y="3285"/>
                    </a:lnTo>
                    <a:lnTo>
                      <a:pt x="2846" y="3327"/>
                    </a:lnTo>
                    <a:lnTo>
                      <a:pt x="2763" y="3411"/>
                    </a:lnTo>
                    <a:lnTo>
                      <a:pt x="2721" y="3557"/>
                    </a:lnTo>
                    <a:lnTo>
                      <a:pt x="2721" y="3641"/>
                    </a:lnTo>
                    <a:lnTo>
                      <a:pt x="2679" y="3662"/>
                    </a:lnTo>
                    <a:lnTo>
                      <a:pt x="2679" y="3745"/>
                    </a:lnTo>
                    <a:lnTo>
                      <a:pt x="2742" y="3766"/>
                    </a:lnTo>
                    <a:lnTo>
                      <a:pt x="2825" y="3724"/>
                    </a:lnTo>
                    <a:lnTo>
                      <a:pt x="2888" y="3557"/>
                    </a:lnTo>
                    <a:lnTo>
                      <a:pt x="2951" y="3557"/>
                    </a:lnTo>
                    <a:lnTo>
                      <a:pt x="3035" y="3452"/>
                    </a:lnTo>
                    <a:lnTo>
                      <a:pt x="3076" y="3411"/>
                    </a:lnTo>
                    <a:lnTo>
                      <a:pt x="3097" y="3432"/>
                    </a:lnTo>
                    <a:lnTo>
                      <a:pt x="3202" y="3432"/>
                    </a:lnTo>
                    <a:lnTo>
                      <a:pt x="3202" y="3494"/>
                    </a:lnTo>
                    <a:lnTo>
                      <a:pt x="3139" y="3515"/>
                    </a:lnTo>
                    <a:lnTo>
                      <a:pt x="3035" y="3620"/>
                    </a:lnTo>
                    <a:lnTo>
                      <a:pt x="3035" y="3704"/>
                    </a:lnTo>
                    <a:lnTo>
                      <a:pt x="2993" y="3766"/>
                    </a:lnTo>
                    <a:lnTo>
                      <a:pt x="3035" y="3808"/>
                    </a:lnTo>
                    <a:lnTo>
                      <a:pt x="3035" y="3913"/>
                    </a:lnTo>
                    <a:lnTo>
                      <a:pt x="3076" y="3955"/>
                    </a:lnTo>
                    <a:lnTo>
                      <a:pt x="3097" y="3871"/>
                    </a:lnTo>
                    <a:lnTo>
                      <a:pt x="3160" y="3829"/>
                    </a:lnTo>
                    <a:lnTo>
                      <a:pt x="3202" y="3829"/>
                    </a:lnTo>
                    <a:lnTo>
                      <a:pt x="3265" y="3913"/>
                    </a:lnTo>
                    <a:lnTo>
                      <a:pt x="3307" y="3934"/>
                    </a:lnTo>
                    <a:lnTo>
                      <a:pt x="3390" y="3871"/>
                    </a:lnTo>
                    <a:lnTo>
                      <a:pt x="3390" y="3829"/>
                    </a:lnTo>
                    <a:lnTo>
                      <a:pt x="3411" y="3829"/>
                    </a:lnTo>
                    <a:lnTo>
                      <a:pt x="3453" y="3766"/>
                    </a:lnTo>
                    <a:lnTo>
                      <a:pt x="3453" y="3704"/>
                    </a:lnTo>
                    <a:lnTo>
                      <a:pt x="3474" y="3704"/>
                    </a:lnTo>
                    <a:lnTo>
                      <a:pt x="3495" y="3641"/>
                    </a:lnTo>
                    <a:lnTo>
                      <a:pt x="3474" y="3599"/>
                    </a:lnTo>
                    <a:lnTo>
                      <a:pt x="3495" y="3494"/>
                    </a:lnTo>
                    <a:lnTo>
                      <a:pt x="3599" y="3348"/>
                    </a:lnTo>
                    <a:lnTo>
                      <a:pt x="3662" y="3243"/>
                    </a:lnTo>
                    <a:lnTo>
                      <a:pt x="3662" y="3097"/>
                    </a:lnTo>
                    <a:lnTo>
                      <a:pt x="3662" y="3034"/>
                    </a:lnTo>
                    <a:lnTo>
                      <a:pt x="3620" y="3034"/>
                    </a:lnTo>
                    <a:lnTo>
                      <a:pt x="3620" y="3097"/>
                    </a:lnTo>
                    <a:lnTo>
                      <a:pt x="3579" y="3180"/>
                    </a:lnTo>
                    <a:lnTo>
                      <a:pt x="3495" y="3222"/>
                    </a:lnTo>
                    <a:lnTo>
                      <a:pt x="3411" y="3306"/>
                    </a:lnTo>
                    <a:lnTo>
                      <a:pt x="3369" y="3327"/>
                    </a:lnTo>
                    <a:lnTo>
                      <a:pt x="3348" y="3243"/>
                    </a:lnTo>
                    <a:lnTo>
                      <a:pt x="3369" y="3180"/>
                    </a:lnTo>
                    <a:lnTo>
                      <a:pt x="3369" y="3097"/>
                    </a:lnTo>
                    <a:lnTo>
                      <a:pt x="3474" y="3013"/>
                    </a:lnTo>
                    <a:lnTo>
                      <a:pt x="3495" y="2971"/>
                    </a:lnTo>
                    <a:lnTo>
                      <a:pt x="3579" y="2888"/>
                    </a:lnTo>
                    <a:lnTo>
                      <a:pt x="3599" y="2888"/>
                    </a:lnTo>
                    <a:lnTo>
                      <a:pt x="3662" y="2867"/>
                    </a:lnTo>
                    <a:lnTo>
                      <a:pt x="3620" y="2804"/>
                    </a:lnTo>
                    <a:lnTo>
                      <a:pt x="3579" y="2867"/>
                    </a:lnTo>
                    <a:lnTo>
                      <a:pt x="3516" y="2867"/>
                    </a:lnTo>
                    <a:lnTo>
                      <a:pt x="3453" y="2888"/>
                    </a:lnTo>
                    <a:lnTo>
                      <a:pt x="3390" y="2888"/>
                    </a:lnTo>
                    <a:lnTo>
                      <a:pt x="3307" y="2929"/>
                    </a:lnTo>
                    <a:lnTo>
                      <a:pt x="3286" y="2992"/>
                    </a:lnTo>
                    <a:lnTo>
                      <a:pt x="3181" y="3076"/>
                    </a:lnTo>
                    <a:lnTo>
                      <a:pt x="3181" y="3118"/>
                    </a:lnTo>
                    <a:lnTo>
                      <a:pt x="3139" y="3180"/>
                    </a:lnTo>
                    <a:lnTo>
                      <a:pt x="3055" y="3097"/>
                    </a:lnTo>
                    <a:lnTo>
                      <a:pt x="3055" y="3034"/>
                    </a:lnTo>
                    <a:lnTo>
                      <a:pt x="3035" y="2971"/>
                    </a:lnTo>
                    <a:lnTo>
                      <a:pt x="3035" y="2888"/>
                    </a:lnTo>
                    <a:lnTo>
                      <a:pt x="3076" y="2929"/>
                    </a:lnTo>
                    <a:lnTo>
                      <a:pt x="3097" y="2929"/>
                    </a:lnTo>
                    <a:lnTo>
                      <a:pt x="3181" y="2825"/>
                    </a:lnTo>
                    <a:lnTo>
                      <a:pt x="3139" y="2825"/>
                    </a:lnTo>
                    <a:lnTo>
                      <a:pt x="3055" y="2804"/>
                    </a:lnTo>
                    <a:lnTo>
                      <a:pt x="3181" y="2804"/>
                    </a:lnTo>
                    <a:lnTo>
                      <a:pt x="3076" y="2783"/>
                    </a:lnTo>
                    <a:lnTo>
                      <a:pt x="3035" y="2720"/>
                    </a:lnTo>
                    <a:lnTo>
                      <a:pt x="3035" y="2678"/>
                    </a:lnTo>
                    <a:lnTo>
                      <a:pt x="3055" y="2657"/>
                    </a:lnTo>
                    <a:lnTo>
                      <a:pt x="3160" y="2657"/>
                    </a:lnTo>
                    <a:lnTo>
                      <a:pt x="3181" y="2616"/>
                    </a:lnTo>
                    <a:lnTo>
                      <a:pt x="3265" y="2553"/>
                    </a:lnTo>
                    <a:lnTo>
                      <a:pt x="3286" y="2448"/>
                    </a:lnTo>
                    <a:lnTo>
                      <a:pt x="3369" y="2448"/>
                    </a:lnTo>
                    <a:lnTo>
                      <a:pt x="3390" y="2469"/>
                    </a:lnTo>
                    <a:lnTo>
                      <a:pt x="3495" y="2406"/>
                    </a:lnTo>
                    <a:lnTo>
                      <a:pt x="3516" y="2344"/>
                    </a:lnTo>
                    <a:lnTo>
                      <a:pt x="3516" y="2260"/>
                    </a:lnTo>
                    <a:lnTo>
                      <a:pt x="3495" y="2197"/>
                    </a:lnTo>
                    <a:lnTo>
                      <a:pt x="3411" y="2281"/>
                    </a:lnTo>
                    <a:lnTo>
                      <a:pt x="3369" y="2302"/>
                    </a:lnTo>
                    <a:lnTo>
                      <a:pt x="3348" y="2281"/>
                    </a:lnTo>
                    <a:lnTo>
                      <a:pt x="3286" y="2281"/>
                    </a:lnTo>
                    <a:lnTo>
                      <a:pt x="3286" y="2344"/>
                    </a:lnTo>
                    <a:lnTo>
                      <a:pt x="3286" y="2406"/>
                    </a:lnTo>
                    <a:lnTo>
                      <a:pt x="3244" y="2448"/>
                    </a:lnTo>
                    <a:lnTo>
                      <a:pt x="3181" y="2448"/>
                    </a:lnTo>
                    <a:lnTo>
                      <a:pt x="3097" y="2490"/>
                    </a:lnTo>
                    <a:lnTo>
                      <a:pt x="3055" y="2511"/>
                    </a:lnTo>
                    <a:lnTo>
                      <a:pt x="3055" y="2574"/>
                    </a:lnTo>
                    <a:lnTo>
                      <a:pt x="2993" y="2595"/>
                    </a:lnTo>
                    <a:lnTo>
                      <a:pt x="3035" y="2553"/>
                    </a:lnTo>
                    <a:lnTo>
                      <a:pt x="3035" y="2469"/>
                    </a:lnTo>
                    <a:lnTo>
                      <a:pt x="2993" y="2490"/>
                    </a:lnTo>
                    <a:lnTo>
                      <a:pt x="2951" y="2490"/>
                    </a:lnTo>
                    <a:lnTo>
                      <a:pt x="2993" y="2469"/>
                    </a:lnTo>
                    <a:lnTo>
                      <a:pt x="3055" y="2406"/>
                    </a:lnTo>
                    <a:lnTo>
                      <a:pt x="3076" y="2385"/>
                    </a:lnTo>
                    <a:lnTo>
                      <a:pt x="3035" y="2364"/>
                    </a:lnTo>
                    <a:lnTo>
                      <a:pt x="3076" y="2302"/>
                    </a:lnTo>
                    <a:lnTo>
                      <a:pt x="3097" y="2239"/>
                    </a:lnTo>
                    <a:lnTo>
                      <a:pt x="3055" y="2197"/>
                    </a:lnTo>
                    <a:lnTo>
                      <a:pt x="2993" y="2260"/>
                    </a:lnTo>
                    <a:lnTo>
                      <a:pt x="3035" y="2197"/>
                    </a:lnTo>
                    <a:lnTo>
                      <a:pt x="3035" y="2155"/>
                    </a:lnTo>
                    <a:lnTo>
                      <a:pt x="2993" y="2155"/>
                    </a:lnTo>
                    <a:lnTo>
                      <a:pt x="2930" y="2176"/>
                    </a:lnTo>
                    <a:lnTo>
                      <a:pt x="2878" y="2166"/>
                    </a:lnTo>
                    <a:lnTo>
                      <a:pt x="2878" y="2166"/>
                    </a:lnTo>
                    <a:lnTo>
                      <a:pt x="2825" y="2176"/>
                    </a:lnTo>
                    <a:lnTo>
                      <a:pt x="2872" y="2165"/>
                    </a:lnTo>
                    <a:lnTo>
                      <a:pt x="2872" y="2165"/>
                    </a:lnTo>
                    <a:lnTo>
                      <a:pt x="2825" y="2155"/>
                    </a:lnTo>
                    <a:lnTo>
                      <a:pt x="2909" y="2155"/>
                    </a:lnTo>
                    <a:lnTo>
                      <a:pt x="2993" y="2113"/>
                    </a:lnTo>
                    <a:lnTo>
                      <a:pt x="3035" y="2072"/>
                    </a:lnTo>
                    <a:lnTo>
                      <a:pt x="3076" y="2072"/>
                    </a:lnTo>
                    <a:lnTo>
                      <a:pt x="3139" y="2051"/>
                    </a:lnTo>
                    <a:lnTo>
                      <a:pt x="3139" y="1967"/>
                    </a:lnTo>
                    <a:lnTo>
                      <a:pt x="3181" y="1904"/>
                    </a:lnTo>
                    <a:lnTo>
                      <a:pt x="3181" y="1862"/>
                    </a:lnTo>
                    <a:lnTo>
                      <a:pt x="3097" y="1800"/>
                    </a:lnTo>
                    <a:lnTo>
                      <a:pt x="2993" y="1716"/>
                    </a:lnTo>
                    <a:lnTo>
                      <a:pt x="2888" y="1716"/>
                    </a:lnTo>
                    <a:lnTo>
                      <a:pt x="2783" y="1737"/>
                    </a:lnTo>
                    <a:lnTo>
                      <a:pt x="2742" y="1737"/>
                    </a:lnTo>
                    <a:lnTo>
                      <a:pt x="2742" y="1779"/>
                    </a:lnTo>
                    <a:lnTo>
                      <a:pt x="2679" y="1862"/>
                    </a:lnTo>
                    <a:lnTo>
                      <a:pt x="2658" y="1946"/>
                    </a:lnTo>
                    <a:lnTo>
                      <a:pt x="2679" y="1841"/>
                    </a:lnTo>
                    <a:lnTo>
                      <a:pt x="2658" y="1820"/>
                    </a:lnTo>
                    <a:lnTo>
                      <a:pt x="2679" y="1758"/>
                    </a:lnTo>
                    <a:lnTo>
                      <a:pt x="2742" y="1674"/>
                    </a:lnTo>
                    <a:lnTo>
                      <a:pt x="2721" y="1674"/>
                    </a:lnTo>
                    <a:lnTo>
                      <a:pt x="2637" y="1737"/>
                    </a:lnTo>
                    <a:lnTo>
                      <a:pt x="2574" y="1779"/>
                    </a:lnTo>
                    <a:lnTo>
                      <a:pt x="2553" y="1862"/>
                    </a:lnTo>
                    <a:lnTo>
                      <a:pt x="2532" y="1841"/>
                    </a:lnTo>
                    <a:lnTo>
                      <a:pt x="2491" y="1862"/>
                    </a:lnTo>
                    <a:lnTo>
                      <a:pt x="2449" y="1883"/>
                    </a:lnTo>
                    <a:lnTo>
                      <a:pt x="2428" y="1862"/>
                    </a:lnTo>
                    <a:lnTo>
                      <a:pt x="2344" y="1925"/>
                    </a:lnTo>
                    <a:lnTo>
                      <a:pt x="2323" y="2030"/>
                    </a:lnTo>
                    <a:lnTo>
                      <a:pt x="2239" y="2072"/>
                    </a:lnTo>
                    <a:lnTo>
                      <a:pt x="2239" y="2072"/>
                    </a:lnTo>
                    <a:lnTo>
                      <a:pt x="2281" y="2030"/>
                    </a:lnTo>
                    <a:lnTo>
                      <a:pt x="2323" y="1883"/>
                    </a:lnTo>
                    <a:lnTo>
                      <a:pt x="2365" y="1779"/>
                    </a:lnTo>
                    <a:lnTo>
                      <a:pt x="2344" y="1758"/>
                    </a:lnTo>
                    <a:lnTo>
                      <a:pt x="2281" y="1779"/>
                    </a:lnTo>
                    <a:lnTo>
                      <a:pt x="2260" y="1841"/>
                    </a:lnTo>
                    <a:lnTo>
                      <a:pt x="2219" y="1883"/>
                    </a:lnTo>
                    <a:lnTo>
                      <a:pt x="2177" y="1841"/>
                    </a:lnTo>
                    <a:lnTo>
                      <a:pt x="2239" y="1779"/>
                    </a:lnTo>
                    <a:lnTo>
                      <a:pt x="2260" y="1737"/>
                    </a:lnTo>
                    <a:lnTo>
                      <a:pt x="2260" y="1716"/>
                    </a:lnTo>
                    <a:lnTo>
                      <a:pt x="2177" y="1737"/>
                    </a:lnTo>
                    <a:lnTo>
                      <a:pt x="2072" y="1820"/>
                    </a:lnTo>
                    <a:lnTo>
                      <a:pt x="2030" y="1820"/>
                    </a:lnTo>
                    <a:lnTo>
                      <a:pt x="2009" y="1737"/>
                    </a:lnTo>
                    <a:lnTo>
                      <a:pt x="1967" y="1737"/>
                    </a:lnTo>
                    <a:lnTo>
                      <a:pt x="1905" y="1820"/>
                    </a:lnTo>
                    <a:lnTo>
                      <a:pt x="1842" y="1820"/>
                    </a:lnTo>
                    <a:lnTo>
                      <a:pt x="1842" y="1779"/>
                    </a:lnTo>
                    <a:lnTo>
                      <a:pt x="1947" y="1737"/>
                    </a:lnTo>
                    <a:lnTo>
                      <a:pt x="2009" y="1632"/>
                    </a:lnTo>
                    <a:lnTo>
                      <a:pt x="2030" y="1548"/>
                    </a:lnTo>
                    <a:lnTo>
                      <a:pt x="1947" y="1548"/>
                    </a:lnTo>
                    <a:lnTo>
                      <a:pt x="1863" y="1611"/>
                    </a:lnTo>
                    <a:lnTo>
                      <a:pt x="1863" y="1611"/>
                    </a:lnTo>
                    <a:lnTo>
                      <a:pt x="1926" y="1527"/>
                    </a:lnTo>
                    <a:lnTo>
                      <a:pt x="2009" y="1444"/>
                    </a:lnTo>
                    <a:lnTo>
                      <a:pt x="2114" y="1444"/>
                    </a:lnTo>
                    <a:lnTo>
                      <a:pt x="2156" y="1423"/>
                    </a:lnTo>
                    <a:lnTo>
                      <a:pt x="2239" y="1381"/>
                    </a:lnTo>
                    <a:lnTo>
                      <a:pt x="2281" y="1339"/>
                    </a:lnTo>
                    <a:lnTo>
                      <a:pt x="2281" y="1276"/>
                    </a:lnTo>
                    <a:lnTo>
                      <a:pt x="2260" y="1318"/>
                    </a:lnTo>
                    <a:lnTo>
                      <a:pt x="2156" y="1339"/>
                    </a:lnTo>
                    <a:lnTo>
                      <a:pt x="2114" y="1318"/>
                    </a:lnTo>
                    <a:lnTo>
                      <a:pt x="2030" y="1235"/>
                    </a:lnTo>
                    <a:lnTo>
                      <a:pt x="1967" y="1235"/>
                    </a:lnTo>
                    <a:lnTo>
                      <a:pt x="1926" y="1255"/>
                    </a:lnTo>
                    <a:lnTo>
                      <a:pt x="1967" y="1151"/>
                    </a:lnTo>
                    <a:lnTo>
                      <a:pt x="2009" y="1130"/>
                    </a:lnTo>
                    <a:lnTo>
                      <a:pt x="2009" y="1109"/>
                    </a:lnTo>
                    <a:lnTo>
                      <a:pt x="1947" y="1130"/>
                    </a:lnTo>
                    <a:lnTo>
                      <a:pt x="1863" y="1193"/>
                    </a:lnTo>
                    <a:lnTo>
                      <a:pt x="1821" y="1255"/>
                    </a:lnTo>
                    <a:lnTo>
                      <a:pt x="1737" y="1339"/>
                    </a:lnTo>
                    <a:lnTo>
                      <a:pt x="1695" y="1360"/>
                    </a:lnTo>
                    <a:lnTo>
                      <a:pt x="1654" y="1423"/>
                    </a:lnTo>
                    <a:lnTo>
                      <a:pt x="1591" y="1465"/>
                    </a:lnTo>
                    <a:lnTo>
                      <a:pt x="1528" y="1548"/>
                    </a:lnTo>
                    <a:lnTo>
                      <a:pt x="1528" y="1444"/>
                    </a:lnTo>
                    <a:lnTo>
                      <a:pt x="1549" y="1360"/>
                    </a:lnTo>
                    <a:lnTo>
                      <a:pt x="1612" y="1297"/>
                    </a:lnTo>
                    <a:lnTo>
                      <a:pt x="1612" y="1235"/>
                    </a:lnTo>
                    <a:lnTo>
                      <a:pt x="1654" y="1130"/>
                    </a:lnTo>
                    <a:lnTo>
                      <a:pt x="1737" y="1046"/>
                    </a:lnTo>
                    <a:lnTo>
                      <a:pt x="1737" y="1004"/>
                    </a:lnTo>
                    <a:lnTo>
                      <a:pt x="1800" y="942"/>
                    </a:lnTo>
                    <a:lnTo>
                      <a:pt x="1821" y="921"/>
                    </a:lnTo>
                    <a:lnTo>
                      <a:pt x="1863" y="816"/>
                    </a:lnTo>
                    <a:lnTo>
                      <a:pt x="1947" y="774"/>
                    </a:lnTo>
                    <a:lnTo>
                      <a:pt x="2009" y="711"/>
                    </a:lnTo>
                    <a:lnTo>
                      <a:pt x="2051" y="691"/>
                    </a:lnTo>
                    <a:lnTo>
                      <a:pt x="2072" y="670"/>
                    </a:lnTo>
                    <a:lnTo>
                      <a:pt x="2072" y="607"/>
                    </a:lnTo>
                    <a:lnTo>
                      <a:pt x="2114" y="565"/>
                    </a:lnTo>
                    <a:lnTo>
                      <a:pt x="2135" y="481"/>
                    </a:lnTo>
                    <a:lnTo>
                      <a:pt x="2135" y="523"/>
                    </a:lnTo>
                    <a:lnTo>
                      <a:pt x="2114" y="586"/>
                    </a:lnTo>
                    <a:lnTo>
                      <a:pt x="2135" y="628"/>
                    </a:lnTo>
                    <a:lnTo>
                      <a:pt x="2219" y="523"/>
                    </a:lnTo>
                    <a:lnTo>
                      <a:pt x="2323" y="419"/>
                    </a:lnTo>
                    <a:lnTo>
                      <a:pt x="2344" y="377"/>
                    </a:lnTo>
                    <a:lnTo>
                      <a:pt x="2323" y="314"/>
                    </a:lnTo>
                    <a:lnTo>
                      <a:pt x="2260" y="314"/>
                    </a:lnTo>
                    <a:lnTo>
                      <a:pt x="2219" y="377"/>
                    </a:lnTo>
                    <a:lnTo>
                      <a:pt x="2177" y="293"/>
                    </a:lnTo>
                    <a:lnTo>
                      <a:pt x="2156" y="272"/>
                    </a:lnTo>
                    <a:lnTo>
                      <a:pt x="2177" y="209"/>
                    </a:lnTo>
                    <a:lnTo>
                      <a:pt x="2239" y="188"/>
                    </a:lnTo>
                    <a:lnTo>
                      <a:pt x="2323" y="209"/>
                    </a:lnTo>
                    <a:lnTo>
                      <a:pt x="2386" y="272"/>
                    </a:lnTo>
                    <a:lnTo>
                      <a:pt x="2449" y="251"/>
                    </a:lnTo>
                    <a:lnTo>
                      <a:pt x="2491" y="188"/>
                    </a:lnTo>
                    <a:lnTo>
                      <a:pt x="2491" y="42"/>
                    </a:lnTo>
                    <a:lnTo>
                      <a:pt x="2428" y="42"/>
                    </a:lnTo>
                    <a:lnTo>
                      <a:pt x="2365" y="63"/>
                    </a:lnTo>
                    <a:lnTo>
                      <a:pt x="2365" y="105"/>
                    </a:lnTo>
                    <a:lnTo>
                      <a:pt x="2323" y="105"/>
                    </a:lnTo>
                    <a:lnTo>
                      <a:pt x="2323" y="63"/>
                    </a:lnTo>
                    <a:lnTo>
                      <a:pt x="232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3" name="Google Shape;12096;p43">
                <a:extLst>
                  <a:ext uri="{FF2B5EF4-FFF2-40B4-BE49-F238E27FC236}">
                    <a16:creationId xmlns:a16="http://schemas.microsoft.com/office/drawing/2014/main" id="{3A531D24-5F51-5495-014B-1F9BAAC78A5B}"/>
                  </a:ext>
                </a:extLst>
              </p:cNvPr>
              <p:cNvSpPr/>
              <p:nvPr/>
            </p:nvSpPr>
            <p:spPr>
              <a:xfrm>
                <a:off x="1922950" y="1659350"/>
                <a:ext cx="1050900" cy="913875"/>
              </a:xfrm>
              <a:custGeom>
                <a:avLst/>
                <a:gdLst/>
                <a:ahLst/>
                <a:cxnLst/>
                <a:rect l="l" t="t" r="r" b="b"/>
                <a:pathLst>
                  <a:path w="42036" h="36555" extrusionOk="0">
                    <a:moveTo>
                      <a:pt x="4310" y="26929"/>
                    </a:moveTo>
                    <a:lnTo>
                      <a:pt x="4310" y="27055"/>
                    </a:lnTo>
                    <a:lnTo>
                      <a:pt x="4268" y="27159"/>
                    </a:lnTo>
                    <a:lnTo>
                      <a:pt x="4101" y="27264"/>
                    </a:lnTo>
                    <a:lnTo>
                      <a:pt x="4076" y="27268"/>
                    </a:lnTo>
                    <a:lnTo>
                      <a:pt x="4076" y="27268"/>
                    </a:lnTo>
                    <a:lnTo>
                      <a:pt x="4101" y="27243"/>
                    </a:lnTo>
                    <a:lnTo>
                      <a:pt x="4185" y="27117"/>
                    </a:lnTo>
                    <a:lnTo>
                      <a:pt x="4289" y="27034"/>
                    </a:lnTo>
                    <a:lnTo>
                      <a:pt x="4310" y="26929"/>
                    </a:lnTo>
                    <a:close/>
                    <a:moveTo>
                      <a:pt x="40508" y="27473"/>
                    </a:moveTo>
                    <a:lnTo>
                      <a:pt x="40299" y="27557"/>
                    </a:lnTo>
                    <a:lnTo>
                      <a:pt x="40090" y="27599"/>
                    </a:lnTo>
                    <a:lnTo>
                      <a:pt x="40132" y="27536"/>
                    </a:lnTo>
                    <a:lnTo>
                      <a:pt x="40404" y="27473"/>
                    </a:lnTo>
                    <a:close/>
                    <a:moveTo>
                      <a:pt x="19459" y="0"/>
                    </a:moveTo>
                    <a:lnTo>
                      <a:pt x="19187" y="105"/>
                    </a:lnTo>
                    <a:lnTo>
                      <a:pt x="18810" y="105"/>
                    </a:lnTo>
                    <a:lnTo>
                      <a:pt x="18727" y="63"/>
                    </a:lnTo>
                    <a:lnTo>
                      <a:pt x="18392" y="84"/>
                    </a:lnTo>
                    <a:lnTo>
                      <a:pt x="18308" y="63"/>
                    </a:lnTo>
                    <a:lnTo>
                      <a:pt x="18120" y="105"/>
                    </a:lnTo>
                    <a:lnTo>
                      <a:pt x="18078" y="210"/>
                    </a:lnTo>
                    <a:lnTo>
                      <a:pt x="18120" y="272"/>
                    </a:lnTo>
                    <a:lnTo>
                      <a:pt x="18078" y="377"/>
                    </a:lnTo>
                    <a:lnTo>
                      <a:pt x="18078" y="524"/>
                    </a:lnTo>
                    <a:lnTo>
                      <a:pt x="18036" y="775"/>
                    </a:lnTo>
                    <a:lnTo>
                      <a:pt x="18120" y="879"/>
                    </a:lnTo>
                    <a:lnTo>
                      <a:pt x="18036" y="942"/>
                    </a:lnTo>
                    <a:lnTo>
                      <a:pt x="17911" y="942"/>
                    </a:lnTo>
                    <a:lnTo>
                      <a:pt x="17764" y="1109"/>
                    </a:lnTo>
                    <a:lnTo>
                      <a:pt x="17701" y="1214"/>
                    </a:lnTo>
                    <a:lnTo>
                      <a:pt x="17471" y="1298"/>
                    </a:lnTo>
                    <a:lnTo>
                      <a:pt x="17367" y="1444"/>
                    </a:lnTo>
                    <a:lnTo>
                      <a:pt x="17095" y="1633"/>
                    </a:lnTo>
                    <a:lnTo>
                      <a:pt x="16990" y="1674"/>
                    </a:lnTo>
                    <a:lnTo>
                      <a:pt x="16990" y="1758"/>
                    </a:lnTo>
                    <a:lnTo>
                      <a:pt x="17074" y="1925"/>
                    </a:lnTo>
                    <a:lnTo>
                      <a:pt x="17074" y="2072"/>
                    </a:lnTo>
                    <a:lnTo>
                      <a:pt x="16760" y="2030"/>
                    </a:lnTo>
                    <a:lnTo>
                      <a:pt x="16739" y="1946"/>
                    </a:lnTo>
                    <a:lnTo>
                      <a:pt x="16718" y="2135"/>
                    </a:lnTo>
                    <a:lnTo>
                      <a:pt x="16613" y="2281"/>
                    </a:lnTo>
                    <a:lnTo>
                      <a:pt x="16530" y="2302"/>
                    </a:lnTo>
                    <a:lnTo>
                      <a:pt x="16509" y="2365"/>
                    </a:lnTo>
                    <a:lnTo>
                      <a:pt x="16300" y="2407"/>
                    </a:lnTo>
                    <a:lnTo>
                      <a:pt x="16237" y="2574"/>
                    </a:lnTo>
                    <a:lnTo>
                      <a:pt x="16132" y="2595"/>
                    </a:lnTo>
                    <a:lnTo>
                      <a:pt x="16028" y="2700"/>
                    </a:lnTo>
                    <a:lnTo>
                      <a:pt x="15944" y="2700"/>
                    </a:lnTo>
                    <a:lnTo>
                      <a:pt x="15923" y="2804"/>
                    </a:lnTo>
                    <a:lnTo>
                      <a:pt x="15776" y="2888"/>
                    </a:lnTo>
                    <a:lnTo>
                      <a:pt x="15672" y="2993"/>
                    </a:lnTo>
                    <a:lnTo>
                      <a:pt x="15588" y="2972"/>
                    </a:lnTo>
                    <a:lnTo>
                      <a:pt x="15588" y="3076"/>
                    </a:lnTo>
                    <a:lnTo>
                      <a:pt x="15776" y="3139"/>
                    </a:lnTo>
                    <a:lnTo>
                      <a:pt x="15986" y="3139"/>
                    </a:lnTo>
                    <a:lnTo>
                      <a:pt x="15986" y="3244"/>
                    </a:lnTo>
                    <a:lnTo>
                      <a:pt x="15839" y="3202"/>
                    </a:lnTo>
                    <a:lnTo>
                      <a:pt x="15944" y="3516"/>
                    </a:lnTo>
                    <a:lnTo>
                      <a:pt x="16028" y="3599"/>
                    </a:lnTo>
                    <a:lnTo>
                      <a:pt x="16007" y="3725"/>
                    </a:lnTo>
                    <a:lnTo>
                      <a:pt x="15944" y="3871"/>
                    </a:lnTo>
                    <a:lnTo>
                      <a:pt x="16007" y="4018"/>
                    </a:lnTo>
                    <a:lnTo>
                      <a:pt x="15902" y="4185"/>
                    </a:lnTo>
                    <a:lnTo>
                      <a:pt x="15902" y="4394"/>
                    </a:lnTo>
                    <a:lnTo>
                      <a:pt x="15902" y="4457"/>
                    </a:lnTo>
                    <a:lnTo>
                      <a:pt x="15986" y="4457"/>
                    </a:lnTo>
                    <a:lnTo>
                      <a:pt x="16028" y="4478"/>
                    </a:lnTo>
                    <a:lnTo>
                      <a:pt x="16111" y="4394"/>
                    </a:lnTo>
                    <a:lnTo>
                      <a:pt x="16237" y="4374"/>
                    </a:lnTo>
                    <a:lnTo>
                      <a:pt x="16341" y="4394"/>
                    </a:lnTo>
                    <a:lnTo>
                      <a:pt x="16509" y="4374"/>
                    </a:lnTo>
                    <a:lnTo>
                      <a:pt x="16676" y="4227"/>
                    </a:lnTo>
                    <a:lnTo>
                      <a:pt x="16760" y="4185"/>
                    </a:lnTo>
                    <a:lnTo>
                      <a:pt x="16760" y="4143"/>
                    </a:lnTo>
                    <a:lnTo>
                      <a:pt x="16864" y="4060"/>
                    </a:lnTo>
                    <a:lnTo>
                      <a:pt x="16927" y="4143"/>
                    </a:lnTo>
                    <a:lnTo>
                      <a:pt x="16927" y="4269"/>
                    </a:lnTo>
                    <a:lnTo>
                      <a:pt x="16844" y="4353"/>
                    </a:lnTo>
                    <a:lnTo>
                      <a:pt x="16927" y="4457"/>
                    </a:lnTo>
                    <a:lnTo>
                      <a:pt x="17032" y="4457"/>
                    </a:lnTo>
                    <a:lnTo>
                      <a:pt x="17178" y="4374"/>
                    </a:lnTo>
                    <a:lnTo>
                      <a:pt x="17346" y="4374"/>
                    </a:lnTo>
                    <a:lnTo>
                      <a:pt x="17450" y="4248"/>
                    </a:lnTo>
                    <a:lnTo>
                      <a:pt x="17597" y="4081"/>
                    </a:lnTo>
                    <a:lnTo>
                      <a:pt x="17576" y="4018"/>
                    </a:lnTo>
                    <a:lnTo>
                      <a:pt x="17701" y="3850"/>
                    </a:lnTo>
                    <a:lnTo>
                      <a:pt x="17722" y="3767"/>
                    </a:lnTo>
                    <a:lnTo>
                      <a:pt x="17890" y="3620"/>
                    </a:lnTo>
                    <a:lnTo>
                      <a:pt x="18015" y="3557"/>
                    </a:lnTo>
                    <a:lnTo>
                      <a:pt x="18036" y="3453"/>
                    </a:lnTo>
                    <a:lnTo>
                      <a:pt x="18099" y="3306"/>
                    </a:lnTo>
                    <a:lnTo>
                      <a:pt x="18204" y="3453"/>
                    </a:lnTo>
                    <a:lnTo>
                      <a:pt x="18350" y="3453"/>
                    </a:lnTo>
                    <a:lnTo>
                      <a:pt x="18497" y="3348"/>
                    </a:lnTo>
                    <a:lnTo>
                      <a:pt x="18643" y="3327"/>
                    </a:lnTo>
                    <a:lnTo>
                      <a:pt x="18706" y="3181"/>
                    </a:lnTo>
                    <a:lnTo>
                      <a:pt x="18769" y="3181"/>
                    </a:lnTo>
                    <a:lnTo>
                      <a:pt x="18873" y="3076"/>
                    </a:lnTo>
                    <a:lnTo>
                      <a:pt x="18936" y="2909"/>
                    </a:lnTo>
                    <a:lnTo>
                      <a:pt x="19124" y="2867"/>
                    </a:lnTo>
                    <a:lnTo>
                      <a:pt x="19187" y="2846"/>
                    </a:lnTo>
                    <a:lnTo>
                      <a:pt x="19250" y="2888"/>
                    </a:lnTo>
                    <a:lnTo>
                      <a:pt x="19333" y="2846"/>
                    </a:lnTo>
                    <a:lnTo>
                      <a:pt x="19543" y="2846"/>
                    </a:lnTo>
                    <a:lnTo>
                      <a:pt x="19668" y="2762"/>
                    </a:lnTo>
                    <a:lnTo>
                      <a:pt x="19773" y="2762"/>
                    </a:lnTo>
                    <a:lnTo>
                      <a:pt x="20024" y="2658"/>
                    </a:lnTo>
                    <a:lnTo>
                      <a:pt x="20233" y="2616"/>
                    </a:lnTo>
                    <a:lnTo>
                      <a:pt x="20296" y="2595"/>
                    </a:lnTo>
                    <a:cubicBezTo>
                      <a:pt x="20338" y="2679"/>
                      <a:pt x="20442" y="2741"/>
                      <a:pt x="20526" y="2762"/>
                    </a:cubicBezTo>
                    <a:lnTo>
                      <a:pt x="20401" y="2783"/>
                    </a:lnTo>
                    <a:lnTo>
                      <a:pt x="19877" y="2993"/>
                    </a:lnTo>
                    <a:lnTo>
                      <a:pt x="19752" y="3097"/>
                    </a:lnTo>
                    <a:lnTo>
                      <a:pt x="19438" y="3181"/>
                    </a:lnTo>
                    <a:lnTo>
                      <a:pt x="19020" y="3369"/>
                    </a:lnTo>
                    <a:lnTo>
                      <a:pt x="18852" y="3495"/>
                    </a:lnTo>
                    <a:lnTo>
                      <a:pt x="18852" y="3578"/>
                    </a:lnTo>
                    <a:lnTo>
                      <a:pt x="18957" y="3578"/>
                    </a:lnTo>
                    <a:lnTo>
                      <a:pt x="19020" y="3620"/>
                    </a:lnTo>
                    <a:lnTo>
                      <a:pt x="18915" y="3704"/>
                    </a:lnTo>
                    <a:lnTo>
                      <a:pt x="18831" y="3704"/>
                    </a:lnTo>
                    <a:lnTo>
                      <a:pt x="18643" y="3850"/>
                    </a:lnTo>
                    <a:lnTo>
                      <a:pt x="18497" y="3850"/>
                    </a:lnTo>
                    <a:lnTo>
                      <a:pt x="18413" y="3934"/>
                    </a:lnTo>
                    <a:lnTo>
                      <a:pt x="18392" y="4039"/>
                    </a:lnTo>
                    <a:lnTo>
                      <a:pt x="18225" y="4143"/>
                    </a:lnTo>
                    <a:lnTo>
                      <a:pt x="18162" y="4227"/>
                    </a:lnTo>
                    <a:lnTo>
                      <a:pt x="18162" y="4353"/>
                    </a:lnTo>
                    <a:lnTo>
                      <a:pt x="18225" y="4311"/>
                    </a:lnTo>
                    <a:lnTo>
                      <a:pt x="18308" y="4374"/>
                    </a:lnTo>
                    <a:lnTo>
                      <a:pt x="18266" y="4457"/>
                    </a:lnTo>
                    <a:lnTo>
                      <a:pt x="18287" y="4478"/>
                    </a:lnTo>
                    <a:lnTo>
                      <a:pt x="18371" y="4457"/>
                    </a:lnTo>
                    <a:lnTo>
                      <a:pt x="18476" y="4415"/>
                    </a:lnTo>
                    <a:lnTo>
                      <a:pt x="18580" y="4415"/>
                    </a:lnTo>
                    <a:lnTo>
                      <a:pt x="18643" y="4457"/>
                    </a:lnTo>
                    <a:lnTo>
                      <a:pt x="18622" y="4541"/>
                    </a:lnTo>
                    <a:lnTo>
                      <a:pt x="18497" y="4583"/>
                    </a:lnTo>
                    <a:lnTo>
                      <a:pt x="18371" y="4520"/>
                    </a:lnTo>
                    <a:lnTo>
                      <a:pt x="18287" y="4562"/>
                    </a:lnTo>
                    <a:lnTo>
                      <a:pt x="18308" y="4666"/>
                    </a:lnTo>
                    <a:lnTo>
                      <a:pt x="18517" y="4771"/>
                    </a:lnTo>
                    <a:lnTo>
                      <a:pt x="18601" y="4729"/>
                    </a:lnTo>
                    <a:lnTo>
                      <a:pt x="18622" y="4646"/>
                    </a:lnTo>
                    <a:lnTo>
                      <a:pt x="18685" y="4646"/>
                    </a:lnTo>
                    <a:lnTo>
                      <a:pt x="18727" y="4687"/>
                    </a:lnTo>
                    <a:lnTo>
                      <a:pt x="18685" y="4771"/>
                    </a:lnTo>
                    <a:lnTo>
                      <a:pt x="18789" y="4771"/>
                    </a:lnTo>
                    <a:lnTo>
                      <a:pt x="18957" y="4792"/>
                    </a:lnTo>
                    <a:lnTo>
                      <a:pt x="19145" y="4750"/>
                    </a:lnTo>
                    <a:lnTo>
                      <a:pt x="19250" y="4750"/>
                    </a:lnTo>
                    <a:lnTo>
                      <a:pt x="19417" y="4834"/>
                    </a:lnTo>
                    <a:lnTo>
                      <a:pt x="19543" y="4792"/>
                    </a:lnTo>
                    <a:lnTo>
                      <a:pt x="19647" y="4855"/>
                    </a:lnTo>
                    <a:lnTo>
                      <a:pt x="19689" y="4959"/>
                    </a:lnTo>
                    <a:lnTo>
                      <a:pt x="19773" y="4959"/>
                    </a:lnTo>
                    <a:lnTo>
                      <a:pt x="19752" y="5001"/>
                    </a:lnTo>
                    <a:lnTo>
                      <a:pt x="19668" y="5001"/>
                    </a:lnTo>
                    <a:lnTo>
                      <a:pt x="19522" y="4897"/>
                    </a:lnTo>
                    <a:lnTo>
                      <a:pt x="19313" y="4897"/>
                    </a:lnTo>
                    <a:lnTo>
                      <a:pt x="19250" y="4959"/>
                    </a:lnTo>
                    <a:lnTo>
                      <a:pt x="19375" y="5001"/>
                    </a:lnTo>
                    <a:lnTo>
                      <a:pt x="19417" y="5064"/>
                    </a:lnTo>
                    <a:lnTo>
                      <a:pt x="19229" y="5064"/>
                    </a:lnTo>
                    <a:lnTo>
                      <a:pt x="19145" y="4980"/>
                    </a:lnTo>
                    <a:lnTo>
                      <a:pt x="18894" y="5001"/>
                    </a:lnTo>
                    <a:lnTo>
                      <a:pt x="18810" y="5064"/>
                    </a:lnTo>
                    <a:lnTo>
                      <a:pt x="18727" y="5001"/>
                    </a:lnTo>
                    <a:lnTo>
                      <a:pt x="18643" y="5001"/>
                    </a:lnTo>
                    <a:lnTo>
                      <a:pt x="18580" y="5043"/>
                    </a:lnTo>
                    <a:lnTo>
                      <a:pt x="18497" y="5043"/>
                    </a:lnTo>
                    <a:lnTo>
                      <a:pt x="18225" y="5064"/>
                    </a:lnTo>
                    <a:lnTo>
                      <a:pt x="18183" y="5085"/>
                    </a:lnTo>
                    <a:lnTo>
                      <a:pt x="17973" y="5127"/>
                    </a:lnTo>
                    <a:lnTo>
                      <a:pt x="17953" y="5273"/>
                    </a:lnTo>
                    <a:lnTo>
                      <a:pt x="17973" y="5587"/>
                    </a:lnTo>
                    <a:lnTo>
                      <a:pt x="17994" y="5629"/>
                    </a:lnTo>
                    <a:lnTo>
                      <a:pt x="17994" y="5754"/>
                    </a:lnTo>
                    <a:lnTo>
                      <a:pt x="17953" y="5796"/>
                    </a:lnTo>
                    <a:lnTo>
                      <a:pt x="17953" y="5859"/>
                    </a:lnTo>
                    <a:lnTo>
                      <a:pt x="17994" y="5922"/>
                    </a:lnTo>
                    <a:lnTo>
                      <a:pt x="18099" y="5901"/>
                    </a:lnTo>
                    <a:lnTo>
                      <a:pt x="18141" y="5901"/>
                    </a:lnTo>
                    <a:lnTo>
                      <a:pt x="18225" y="5943"/>
                    </a:lnTo>
                    <a:lnTo>
                      <a:pt x="18329" y="5943"/>
                    </a:lnTo>
                    <a:lnTo>
                      <a:pt x="18371" y="5901"/>
                    </a:lnTo>
                    <a:lnTo>
                      <a:pt x="18392" y="5901"/>
                    </a:lnTo>
                    <a:lnTo>
                      <a:pt x="18476" y="5922"/>
                    </a:lnTo>
                    <a:lnTo>
                      <a:pt x="18517" y="5964"/>
                    </a:lnTo>
                    <a:lnTo>
                      <a:pt x="18559" y="5943"/>
                    </a:lnTo>
                    <a:lnTo>
                      <a:pt x="18622" y="6006"/>
                    </a:lnTo>
                    <a:lnTo>
                      <a:pt x="18622" y="6047"/>
                    </a:lnTo>
                    <a:lnTo>
                      <a:pt x="18706" y="6068"/>
                    </a:lnTo>
                    <a:lnTo>
                      <a:pt x="18789" y="6047"/>
                    </a:lnTo>
                    <a:lnTo>
                      <a:pt x="18852" y="6047"/>
                    </a:lnTo>
                    <a:lnTo>
                      <a:pt x="18915" y="6110"/>
                    </a:lnTo>
                    <a:lnTo>
                      <a:pt x="19041" y="6110"/>
                    </a:lnTo>
                    <a:lnTo>
                      <a:pt x="19124" y="6068"/>
                    </a:lnTo>
                    <a:lnTo>
                      <a:pt x="19229" y="6131"/>
                    </a:lnTo>
                    <a:lnTo>
                      <a:pt x="19333" y="6068"/>
                    </a:lnTo>
                    <a:lnTo>
                      <a:pt x="19417" y="6110"/>
                    </a:lnTo>
                    <a:lnTo>
                      <a:pt x="19543" y="6110"/>
                    </a:lnTo>
                    <a:lnTo>
                      <a:pt x="19647" y="6068"/>
                    </a:lnTo>
                    <a:lnTo>
                      <a:pt x="19752" y="6131"/>
                    </a:lnTo>
                    <a:lnTo>
                      <a:pt x="19773" y="6215"/>
                    </a:lnTo>
                    <a:lnTo>
                      <a:pt x="19857" y="6152"/>
                    </a:lnTo>
                    <a:lnTo>
                      <a:pt x="19877" y="6257"/>
                    </a:lnTo>
                    <a:lnTo>
                      <a:pt x="19982" y="6340"/>
                    </a:lnTo>
                    <a:lnTo>
                      <a:pt x="19982" y="6382"/>
                    </a:lnTo>
                    <a:lnTo>
                      <a:pt x="20003" y="6445"/>
                    </a:lnTo>
                    <a:lnTo>
                      <a:pt x="20108" y="6445"/>
                    </a:lnTo>
                    <a:lnTo>
                      <a:pt x="20191" y="6466"/>
                    </a:lnTo>
                    <a:lnTo>
                      <a:pt x="20212" y="6550"/>
                    </a:lnTo>
                    <a:lnTo>
                      <a:pt x="20275" y="6570"/>
                    </a:lnTo>
                    <a:lnTo>
                      <a:pt x="20359" y="6654"/>
                    </a:lnTo>
                    <a:lnTo>
                      <a:pt x="20317" y="6696"/>
                    </a:lnTo>
                    <a:lnTo>
                      <a:pt x="20317" y="6780"/>
                    </a:lnTo>
                    <a:lnTo>
                      <a:pt x="20422" y="6884"/>
                    </a:lnTo>
                    <a:lnTo>
                      <a:pt x="20589" y="6989"/>
                    </a:lnTo>
                    <a:lnTo>
                      <a:pt x="20589" y="7052"/>
                    </a:lnTo>
                    <a:lnTo>
                      <a:pt x="20568" y="7073"/>
                    </a:lnTo>
                    <a:lnTo>
                      <a:pt x="20589" y="7114"/>
                    </a:lnTo>
                    <a:lnTo>
                      <a:pt x="20526" y="7094"/>
                    </a:lnTo>
                    <a:lnTo>
                      <a:pt x="20317" y="7052"/>
                    </a:lnTo>
                    <a:lnTo>
                      <a:pt x="20170" y="6989"/>
                    </a:lnTo>
                    <a:lnTo>
                      <a:pt x="20087" y="7010"/>
                    </a:lnTo>
                    <a:lnTo>
                      <a:pt x="20003" y="6989"/>
                    </a:lnTo>
                    <a:lnTo>
                      <a:pt x="19982" y="7010"/>
                    </a:lnTo>
                    <a:lnTo>
                      <a:pt x="19898" y="7010"/>
                    </a:lnTo>
                    <a:lnTo>
                      <a:pt x="19836" y="6905"/>
                    </a:lnTo>
                    <a:lnTo>
                      <a:pt x="19752" y="6905"/>
                    </a:lnTo>
                    <a:lnTo>
                      <a:pt x="19689" y="6801"/>
                    </a:lnTo>
                    <a:lnTo>
                      <a:pt x="19647" y="6780"/>
                    </a:lnTo>
                    <a:lnTo>
                      <a:pt x="19522" y="6801"/>
                    </a:lnTo>
                    <a:lnTo>
                      <a:pt x="19438" y="6780"/>
                    </a:lnTo>
                    <a:lnTo>
                      <a:pt x="19375" y="6738"/>
                    </a:lnTo>
                    <a:lnTo>
                      <a:pt x="19250" y="6675"/>
                    </a:lnTo>
                    <a:lnTo>
                      <a:pt x="19229" y="6591"/>
                    </a:lnTo>
                    <a:lnTo>
                      <a:pt x="19166" y="6591"/>
                    </a:lnTo>
                    <a:lnTo>
                      <a:pt x="19124" y="6570"/>
                    </a:lnTo>
                    <a:lnTo>
                      <a:pt x="18999" y="6570"/>
                    </a:lnTo>
                    <a:lnTo>
                      <a:pt x="18936" y="6550"/>
                    </a:lnTo>
                    <a:lnTo>
                      <a:pt x="18685" y="6550"/>
                    </a:lnTo>
                    <a:lnTo>
                      <a:pt x="18517" y="6529"/>
                    </a:lnTo>
                    <a:lnTo>
                      <a:pt x="18413" y="6487"/>
                    </a:lnTo>
                    <a:lnTo>
                      <a:pt x="17973" y="6487"/>
                    </a:lnTo>
                    <a:lnTo>
                      <a:pt x="17890" y="6529"/>
                    </a:lnTo>
                    <a:lnTo>
                      <a:pt x="17764" y="6550"/>
                    </a:lnTo>
                    <a:lnTo>
                      <a:pt x="17701" y="6633"/>
                    </a:lnTo>
                    <a:lnTo>
                      <a:pt x="17701" y="6801"/>
                    </a:lnTo>
                    <a:lnTo>
                      <a:pt x="17597" y="6968"/>
                    </a:lnTo>
                    <a:lnTo>
                      <a:pt x="17639" y="7156"/>
                    </a:lnTo>
                    <a:lnTo>
                      <a:pt x="17597" y="7219"/>
                    </a:lnTo>
                    <a:lnTo>
                      <a:pt x="17639" y="7282"/>
                    </a:lnTo>
                    <a:lnTo>
                      <a:pt x="17701" y="7303"/>
                    </a:lnTo>
                    <a:lnTo>
                      <a:pt x="17681" y="7366"/>
                    </a:lnTo>
                    <a:lnTo>
                      <a:pt x="17639" y="7387"/>
                    </a:lnTo>
                    <a:lnTo>
                      <a:pt x="17701" y="7617"/>
                    </a:lnTo>
                    <a:lnTo>
                      <a:pt x="17785" y="7700"/>
                    </a:lnTo>
                    <a:lnTo>
                      <a:pt x="17806" y="7742"/>
                    </a:lnTo>
                    <a:lnTo>
                      <a:pt x="17973" y="7847"/>
                    </a:lnTo>
                    <a:lnTo>
                      <a:pt x="18015" y="7910"/>
                    </a:lnTo>
                    <a:lnTo>
                      <a:pt x="18120" y="7889"/>
                    </a:lnTo>
                    <a:lnTo>
                      <a:pt x="18183" y="7951"/>
                    </a:lnTo>
                    <a:lnTo>
                      <a:pt x="18266" y="7993"/>
                    </a:lnTo>
                    <a:lnTo>
                      <a:pt x="18392" y="7931"/>
                    </a:lnTo>
                    <a:lnTo>
                      <a:pt x="18476" y="7931"/>
                    </a:lnTo>
                    <a:lnTo>
                      <a:pt x="18538" y="8014"/>
                    </a:lnTo>
                    <a:lnTo>
                      <a:pt x="18685" y="8014"/>
                    </a:lnTo>
                    <a:lnTo>
                      <a:pt x="18748" y="8140"/>
                    </a:lnTo>
                    <a:lnTo>
                      <a:pt x="18831" y="8161"/>
                    </a:lnTo>
                    <a:lnTo>
                      <a:pt x="18852" y="8223"/>
                    </a:lnTo>
                    <a:lnTo>
                      <a:pt x="18727" y="8265"/>
                    </a:lnTo>
                    <a:lnTo>
                      <a:pt x="18727" y="8349"/>
                    </a:lnTo>
                    <a:lnTo>
                      <a:pt x="18685" y="8412"/>
                    </a:lnTo>
                    <a:lnTo>
                      <a:pt x="18685" y="8454"/>
                    </a:lnTo>
                    <a:lnTo>
                      <a:pt x="18622" y="8537"/>
                    </a:lnTo>
                    <a:lnTo>
                      <a:pt x="18497" y="8621"/>
                    </a:lnTo>
                    <a:lnTo>
                      <a:pt x="18497" y="8663"/>
                    </a:lnTo>
                    <a:lnTo>
                      <a:pt x="18434" y="8747"/>
                    </a:lnTo>
                    <a:lnTo>
                      <a:pt x="18517" y="8788"/>
                    </a:lnTo>
                    <a:lnTo>
                      <a:pt x="18517" y="8935"/>
                    </a:lnTo>
                    <a:lnTo>
                      <a:pt x="18580" y="9060"/>
                    </a:lnTo>
                    <a:lnTo>
                      <a:pt x="18580" y="9144"/>
                    </a:lnTo>
                    <a:lnTo>
                      <a:pt x="18434" y="9165"/>
                    </a:lnTo>
                    <a:lnTo>
                      <a:pt x="18497" y="9207"/>
                    </a:lnTo>
                    <a:lnTo>
                      <a:pt x="18685" y="9249"/>
                    </a:lnTo>
                    <a:lnTo>
                      <a:pt x="18748" y="9207"/>
                    </a:lnTo>
                    <a:lnTo>
                      <a:pt x="18810" y="9207"/>
                    </a:lnTo>
                    <a:lnTo>
                      <a:pt x="18831" y="9270"/>
                    </a:lnTo>
                    <a:lnTo>
                      <a:pt x="18894" y="9207"/>
                    </a:lnTo>
                    <a:lnTo>
                      <a:pt x="18936" y="9207"/>
                    </a:lnTo>
                    <a:lnTo>
                      <a:pt x="18999" y="9249"/>
                    </a:lnTo>
                    <a:lnTo>
                      <a:pt x="19145" y="9249"/>
                    </a:lnTo>
                    <a:lnTo>
                      <a:pt x="19333" y="9311"/>
                    </a:lnTo>
                    <a:lnTo>
                      <a:pt x="19417" y="9249"/>
                    </a:lnTo>
                    <a:lnTo>
                      <a:pt x="19564" y="9249"/>
                    </a:lnTo>
                    <a:lnTo>
                      <a:pt x="19585" y="9291"/>
                    </a:lnTo>
                    <a:lnTo>
                      <a:pt x="19626" y="9291"/>
                    </a:lnTo>
                    <a:lnTo>
                      <a:pt x="19668" y="9270"/>
                    </a:lnTo>
                    <a:lnTo>
                      <a:pt x="19752" y="9249"/>
                    </a:lnTo>
                    <a:lnTo>
                      <a:pt x="19794" y="9270"/>
                    </a:lnTo>
                    <a:lnTo>
                      <a:pt x="19836" y="9353"/>
                    </a:lnTo>
                    <a:lnTo>
                      <a:pt x="19877" y="9353"/>
                    </a:lnTo>
                    <a:lnTo>
                      <a:pt x="19940" y="9311"/>
                    </a:lnTo>
                    <a:lnTo>
                      <a:pt x="19982" y="9353"/>
                    </a:lnTo>
                    <a:lnTo>
                      <a:pt x="20003" y="9416"/>
                    </a:lnTo>
                    <a:lnTo>
                      <a:pt x="20066" y="9416"/>
                    </a:lnTo>
                    <a:lnTo>
                      <a:pt x="20108" y="9374"/>
                    </a:lnTo>
                    <a:lnTo>
                      <a:pt x="20254" y="9353"/>
                    </a:lnTo>
                    <a:lnTo>
                      <a:pt x="20296" y="9270"/>
                    </a:lnTo>
                    <a:lnTo>
                      <a:pt x="20401" y="9249"/>
                    </a:lnTo>
                    <a:lnTo>
                      <a:pt x="20484" y="9249"/>
                    </a:lnTo>
                    <a:lnTo>
                      <a:pt x="20589" y="9144"/>
                    </a:lnTo>
                    <a:lnTo>
                      <a:pt x="20714" y="9081"/>
                    </a:lnTo>
                    <a:lnTo>
                      <a:pt x="20819" y="9060"/>
                    </a:lnTo>
                    <a:lnTo>
                      <a:pt x="20840" y="8998"/>
                    </a:lnTo>
                    <a:lnTo>
                      <a:pt x="20924" y="8998"/>
                    </a:lnTo>
                    <a:lnTo>
                      <a:pt x="21028" y="9039"/>
                    </a:lnTo>
                    <a:lnTo>
                      <a:pt x="21112" y="9039"/>
                    </a:lnTo>
                    <a:lnTo>
                      <a:pt x="21196" y="9081"/>
                    </a:lnTo>
                    <a:lnTo>
                      <a:pt x="21405" y="9081"/>
                    </a:lnTo>
                    <a:lnTo>
                      <a:pt x="21635" y="8935"/>
                    </a:lnTo>
                    <a:lnTo>
                      <a:pt x="21656" y="8851"/>
                    </a:lnTo>
                    <a:lnTo>
                      <a:pt x="21719" y="8851"/>
                    </a:lnTo>
                    <a:lnTo>
                      <a:pt x="21740" y="8893"/>
                    </a:lnTo>
                    <a:lnTo>
                      <a:pt x="21761" y="8851"/>
                    </a:lnTo>
                    <a:lnTo>
                      <a:pt x="21844" y="8788"/>
                    </a:lnTo>
                    <a:lnTo>
                      <a:pt x="21844" y="8726"/>
                    </a:lnTo>
                    <a:lnTo>
                      <a:pt x="21865" y="8663"/>
                    </a:lnTo>
                    <a:lnTo>
                      <a:pt x="21928" y="8684"/>
                    </a:lnTo>
                    <a:lnTo>
                      <a:pt x="21991" y="8684"/>
                    </a:lnTo>
                    <a:lnTo>
                      <a:pt x="22054" y="8642"/>
                    </a:lnTo>
                    <a:lnTo>
                      <a:pt x="22054" y="8579"/>
                    </a:lnTo>
                    <a:lnTo>
                      <a:pt x="22095" y="8621"/>
                    </a:lnTo>
                    <a:lnTo>
                      <a:pt x="22158" y="8621"/>
                    </a:lnTo>
                    <a:lnTo>
                      <a:pt x="22179" y="8663"/>
                    </a:lnTo>
                    <a:lnTo>
                      <a:pt x="22179" y="8726"/>
                    </a:lnTo>
                    <a:lnTo>
                      <a:pt x="22242" y="8767"/>
                    </a:lnTo>
                    <a:lnTo>
                      <a:pt x="22158" y="8830"/>
                    </a:lnTo>
                    <a:lnTo>
                      <a:pt x="22158" y="8893"/>
                    </a:lnTo>
                    <a:lnTo>
                      <a:pt x="22095" y="8977"/>
                    </a:lnTo>
                    <a:lnTo>
                      <a:pt x="22054" y="8998"/>
                    </a:lnTo>
                    <a:lnTo>
                      <a:pt x="22054" y="9060"/>
                    </a:lnTo>
                    <a:lnTo>
                      <a:pt x="22137" y="9081"/>
                    </a:lnTo>
                    <a:lnTo>
                      <a:pt x="22200" y="9165"/>
                    </a:lnTo>
                    <a:lnTo>
                      <a:pt x="22242" y="9144"/>
                    </a:lnTo>
                    <a:lnTo>
                      <a:pt x="22305" y="9144"/>
                    </a:lnTo>
                    <a:lnTo>
                      <a:pt x="22409" y="9186"/>
                    </a:lnTo>
                    <a:lnTo>
                      <a:pt x="22409" y="9207"/>
                    </a:lnTo>
                    <a:cubicBezTo>
                      <a:pt x="22367" y="9207"/>
                      <a:pt x="22305" y="9249"/>
                      <a:pt x="22263" y="9270"/>
                    </a:cubicBezTo>
                    <a:lnTo>
                      <a:pt x="22242" y="9270"/>
                    </a:lnTo>
                    <a:cubicBezTo>
                      <a:pt x="22137" y="9291"/>
                      <a:pt x="22054" y="9353"/>
                      <a:pt x="21949" y="9374"/>
                    </a:cubicBezTo>
                    <a:cubicBezTo>
                      <a:pt x="21886" y="9374"/>
                      <a:pt x="21865" y="9395"/>
                      <a:pt x="21844" y="9458"/>
                    </a:cubicBezTo>
                    <a:lnTo>
                      <a:pt x="21551" y="9521"/>
                    </a:lnTo>
                    <a:lnTo>
                      <a:pt x="21133" y="9563"/>
                    </a:lnTo>
                    <a:lnTo>
                      <a:pt x="21007" y="9521"/>
                    </a:lnTo>
                    <a:lnTo>
                      <a:pt x="20903" y="9521"/>
                    </a:lnTo>
                    <a:lnTo>
                      <a:pt x="20735" y="9730"/>
                    </a:lnTo>
                    <a:lnTo>
                      <a:pt x="20631" y="9793"/>
                    </a:lnTo>
                    <a:lnTo>
                      <a:pt x="20589" y="9876"/>
                    </a:lnTo>
                    <a:lnTo>
                      <a:pt x="20673" y="9918"/>
                    </a:lnTo>
                    <a:lnTo>
                      <a:pt x="20735" y="9876"/>
                    </a:lnTo>
                    <a:lnTo>
                      <a:pt x="20798" y="9876"/>
                    </a:lnTo>
                    <a:lnTo>
                      <a:pt x="20777" y="9981"/>
                    </a:lnTo>
                    <a:lnTo>
                      <a:pt x="20694" y="10023"/>
                    </a:lnTo>
                    <a:lnTo>
                      <a:pt x="20714" y="10086"/>
                    </a:lnTo>
                    <a:lnTo>
                      <a:pt x="20882" y="10107"/>
                    </a:lnTo>
                    <a:lnTo>
                      <a:pt x="20903" y="10148"/>
                    </a:lnTo>
                    <a:lnTo>
                      <a:pt x="21028" y="10127"/>
                    </a:lnTo>
                    <a:lnTo>
                      <a:pt x="21028" y="10044"/>
                    </a:lnTo>
                    <a:lnTo>
                      <a:pt x="20945" y="9981"/>
                    </a:lnTo>
                    <a:lnTo>
                      <a:pt x="20945" y="9897"/>
                    </a:lnTo>
                    <a:lnTo>
                      <a:pt x="21028" y="9876"/>
                    </a:lnTo>
                    <a:lnTo>
                      <a:pt x="21049" y="9918"/>
                    </a:lnTo>
                    <a:lnTo>
                      <a:pt x="21133" y="9918"/>
                    </a:lnTo>
                    <a:lnTo>
                      <a:pt x="21238" y="10002"/>
                    </a:lnTo>
                    <a:lnTo>
                      <a:pt x="21321" y="9981"/>
                    </a:lnTo>
                    <a:lnTo>
                      <a:pt x="21342" y="9876"/>
                    </a:lnTo>
                    <a:lnTo>
                      <a:pt x="21426" y="9814"/>
                    </a:lnTo>
                    <a:lnTo>
                      <a:pt x="21426" y="9918"/>
                    </a:lnTo>
                    <a:lnTo>
                      <a:pt x="21530" y="10023"/>
                    </a:lnTo>
                    <a:lnTo>
                      <a:pt x="21551" y="9981"/>
                    </a:lnTo>
                    <a:lnTo>
                      <a:pt x="21551" y="9897"/>
                    </a:lnTo>
                    <a:lnTo>
                      <a:pt x="21656" y="9897"/>
                    </a:lnTo>
                    <a:lnTo>
                      <a:pt x="21677" y="9814"/>
                    </a:lnTo>
                    <a:lnTo>
                      <a:pt x="21761" y="9814"/>
                    </a:lnTo>
                    <a:lnTo>
                      <a:pt x="21886" y="9772"/>
                    </a:lnTo>
                    <a:cubicBezTo>
                      <a:pt x="21932" y="9802"/>
                      <a:pt x="21989" y="9822"/>
                      <a:pt x="22041" y="9822"/>
                    </a:cubicBezTo>
                    <a:cubicBezTo>
                      <a:pt x="22060" y="9822"/>
                      <a:pt x="22079" y="9819"/>
                      <a:pt x="22095" y="9814"/>
                    </a:cubicBezTo>
                    <a:cubicBezTo>
                      <a:pt x="22116" y="9814"/>
                      <a:pt x="22132" y="9808"/>
                      <a:pt x="22142" y="9803"/>
                    </a:cubicBezTo>
                    <a:lnTo>
                      <a:pt x="22142" y="9803"/>
                    </a:lnTo>
                    <a:lnTo>
                      <a:pt x="22095" y="9835"/>
                    </a:lnTo>
                    <a:lnTo>
                      <a:pt x="22158" y="9918"/>
                    </a:lnTo>
                    <a:lnTo>
                      <a:pt x="22033" y="10044"/>
                    </a:lnTo>
                    <a:lnTo>
                      <a:pt x="21949" y="10002"/>
                    </a:lnTo>
                    <a:lnTo>
                      <a:pt x="21886" y="10044"/>
                    </a:lnTo>
                    <a:lnTo>
                      <a:pt x="21782" y="10044"/>
                    </a:lnTo>
                    <a:lnTo>
                      <a:pt x="21740" y="10002"/>
                    </a:lnTo>
                    <a:lnTo>
                      <a:pt x="21656" y="10002"/>
                    </a:lnTo>
                    <a:lnTo>
                      <a:pt x="21551" y="10190"/>
                    </a:lnTo>
                    <a:lnTo>
                      <a:pt x="21572" y="10316"/>
                    </a:lnTo>
                    <a:lnTo>
                      <a:pt x="21572" y="10462"/>
                    </a:lnTo>
                    <a:lnTo>
                      <a:pt x="21551" y="10316"/>
                    </a:lnTo>
                    <a:lnTo>
                      <a:pt x="21510" y="10316"/>
                    </a:lnTo>
                    <a:lnTo>
                      <a:pt x="21468" y="10232"/>
                    </a:lnTo>
                    <a:lnTo>
                      <a:pt x="21405" y="10232"/>
                    </a:lnTo>
                    <a:lnTo>
                      <a:pt x="21342" y="10337"/>
                    </a:lnTo>
                    <a:lnTo>
                      <a:pt x="21196" y="10379"/>
                    </a:lnTo>
                    <a:lnTo>
                      <a:pt x="21133" y="10400"/>
                    </a:lnTo>
                    <a:lnTo>
                      <a:pt x="21133" y="10316"/>
                    </a:lnTo>
                    <a:lnTo>
                      <a:pt x="21091" y="10316"/>
                    </a:lnTo>
                    <a:lnTo>
                      <a:pt x="21007" y="10420"/>
                    </a:lnTo>
                    <a:lnTo>
                      <a:pt x="20924" y="10441"/>
                    </a:lnTo>
                    <a:lnTo>
                      <a:pt x="20882" y="10400"/>
                    </a:lnTo>
                    <a:lnTo>
                      <a:pt x="20798" y="10400"/>
                    </a:lnTo>
                    <a:lnTo>
                      <a:pt x="20735" y="10483"/>
                    </a:lnTo>
                    <a:lnTo>
                      <a:pt x="20735" y="10504"/>
                    </a:lnTo>
                    <a:lnTo>
                      <a:pt x="20589" y="10525"/>
                    </a:lnTo>
                    <a:lnTo>
                      <a:pt x="20505" y="10588"/>
                    </a:lnTo>
                    <a:lnTo>
                      <a:pt x="20505" y="10692"/>
                    </a:lnTo>
                    <a:lnTo>
                      <a:pt x="20526" y="10797"/>
                    </a:lnTo>
                    <a:lnTo>
                      <a:pt x="20422" y="11069"/>
                    </a:lnTo>
                    <a:lnTo>
                      <a:pt x="20380" y="11278"/>
                    </a:lnTo>
                    <a:lnTo>
                      <a:pt x="20380" y="11362"/>
                    </a:lnTo>
                    <a:lnTo>
                      <a:pt x="20484" y="11446"/>
                    </a:lnTo>
                    <a:lnTo>
                      <a:pt x="20463" y="11488"/>
                    </a:lnTo>
                    <a:lnTo>
                      <a:pt x="20359" y="11529"/>
                    </a:lnTo>
                    <a:lnTo>
                      <a:pt x="20359" y="11592"/>
                    </a:lnTo>
                    <a:lnTo>
                      <a:pt x="20422" y="11697"/>
                    </a:lnTo>
                    <a:lnTo>
                      <a:pt x="20422" y="11801"/>
                    </a:lnTo>
                    <a:lnTo>
                      <a:pt x="20380" y="11864"/>
                    </a:lnTo>
                    <a:lnTo>
                      <a:pt x="20359" y="11801"/>
                    </a:lnTo>
                    <a:lnTo>
                      <a:pt x="20275" y="11864"/>
                    </a:lnTo>
                    <a:lnTo>
                      <a:pt x="20212" y="11843"/>
                    </a:lnTo>
                    <a:lnTo>
                      <a:pt x="20254" y="11760"/>
                    </a:lnTo>
                    <a:lnTo>
                      <a:pt x="20296" y="11739"/>
                    </a:lnTo>
                    <a:lnTo>
                      <a:pt x="20296" y="11634"/>
                    </a:lnTo>
                    <a:lnTo>
                      <a:pt x="20212" y="11634"/>
                    </a:lnTo>
                    <a:lnTo>
                      <a:pt x="20087" y="11864"/>
                    </a:lnTo>
                    <a:lnTo>
                      <a:pt x="20066" y="12115"/>
                    </a:lnTo>
                    <a:lnTo>
                      <a:pt x="20108" y="12408"/>
                    </a:lnTo>
                    <a:lnTo>
                      <a:pt x="20108" y="12785"/>
                    </a:lnTo>
                    <a:lnTo>
                      <a:pt x="20087" y="12408"/>
                    </a:lnTo>
                    <a:lnTo>
                      <a:pt x="20045" y="12220"/>
                    </a:lnTo>
                    <a:lnTo>
                      <a:pt x="19982" y="12178"/>
                    </a:lnTo>
                    <a:lnTo>
                      <a:pt x="20045" y="12073"/>
                    </a:lnTo>
                    <a:lnTo>
                      <a:pt x="20045" y="11990"/>
                    </a:lnTo>
                    <a:lnTo>
                      <a:pt x="19898" y="11906"/>
                    </a:lnTo>
                    <a:lnTo>
                      <a:pt x="19961" y="11780"/>
                    </a:lnTo>
                    <a:lnTo>
                      <a:pt x="19961" y="11571"/>
                    </a:lnTo>
                    <a:lnTo>
                      <a:pt x="19877" y="11446"/>
                    </a:lnTo>
                    <a:lnTo>
                      <a:pt x="19877" y="11236"/>
                    </a:lnTo>
                    <a:lnTo>
                      <a:pt x="19961" y="11111"/>
                    </a:lnTo>
                    <a:lnTo>
                      <a:pt x="20045" y="10923"/>
                    </a:lnTo>
                    <a:lnTo>
                      <a:pt x="20045" y="10755"/>
                    </a:lnTo>
                    <a:lnTo>
                      <a:pt x="20003" y="10755"/>
                    </a:lnTo>
                    <a:lnTo>
                      <a:pt x="19961" y="10839"/>
                    </a:lnTo>
                    <a:lnTo>
                      <a:pt x="19940" y="10964"/>
                    </a:lnTo>
                    <a:lnTo>
                      <a:pt x="19857" y="11048"/>
                    </a:lnTo>
                    <a:lnTo>
                      <a:pt x="19836" y="11027"/>
                    </a:lnTo>
                    <a:lnTo>
                      <a:pt x="19794" y="10902"/>
                    </a:lnTo>
                    <a:lnTo>
                      <a:pt x="19877" y="10713"/>
                    </a:lnTo>
                    <a:lnTo>
                      <a:pt x="19898" y="10609"/>
                    </a:lnTo>
                    <a:lnTo>
                      <a:pt x="19836" y="10546"/>
                    </a:lnTo>
                    <a:lnTo>
                      <a:pt x="19752" y="10630"/>
                    </a:lnTo>
                    <a:lnTo>
                      <a:pt x="19731" y="10609"/>
                    </a:lnTo>
                    <a:lnTo>
                      <a:pt x="19689" y="10546"/>
                    </a:lnTo>
                    <a:lnTo>
                      <a:pt x="19731" y="10483"/>
                    </a:lnTo>
                    <a:lnTo>
                      <a:pt x="19731" y="10337"/>
                    </a:lnTo>
                    <a:lnTo>
                      <a:pt x="19668" y="10337"/>
                    </a:lnTo>
                    <a:lnTo>
                      <a:pt x="19668" y="10295"/>
                    </a:lnTo>
                    <a:lnTo>
                      <a:pt x="19689" y="10232"/>
                    </a:lnTo>
                    <a:lnTo>
                      <a:pt x="19689" y="10127"/>
                    </a:lnTo>
                    <a:lnTo>
                      <a:pt x="19585" y="10169"/>
                    </a:lnTo>
                    <a:lnTo>
                      <a:pt x="19271" y="10274"/>
                    </a:lnTo>
                    <a:lnTo>
                      <a:pt x="19103" y="10379"/>
                    </a:lnTo>
                    <a:lnTo>
                      <a:pt x="19041" y="10337"/>
                    </a:lnTo>
                    <a:lnTo>
                      <a:pt x="19041" y="10295"/>
                    </a:lnTo>
                    <a:lnTo>
                      <a:pt x="18999" y="10295"/>
                    </a:lnTo>
                    <a:lnTo>
                      <a:pt x="18915" y="10379"/>
                    </a:lnTo>
                    <a:lnTo>
                      <a:pt x="18831" y="10379"/>
                    </a:lnTo>
                    <a:lnTo>
                      <a:pt x="18789" y="10295"/>
                    </a:lnTo>
                    <a:lnTo>
                      <a:pt x="18622" y="10420"/>
                    </a:lnTo>
                    <a:lnTo>
                      <a:pt x="18622" y="10337"/>
                    </a:lnTo>
                    <a:lnTo>
                      <a:pt x="18517" y="10295"/>
                    </a:lnTo>
                    <a:lnTo>
                      <a:pt x="18476" y="10295"/>
                    </a:lnTo>
                    <a:lnTo>
                      <a:pt x="18476" y="10337"/>
                    </a:lnTo>
                    <a:lnTo>
                      <a:pt x="18308" y="10337"/>
                    </a:lnTo>
                    <a:lnTo>
                      <a:pt x="18078" y="10232"/>
                    </a:lnTo>
                    <a:lnTo>
                      <a:pt x="17890" y="10232"/>
                    </a:lnTo>
                    <a:lnTo>
                      <a:pt x="17701" y="10127"/>
                    </a:lnTo>
                    <a:lnTo>
                      <a:pt x="17555" y="10127"/>
                    </a:lnTo>
                    <a:lnTo>
                      <a:pt x="17555" y="10023"/>
                    </a:lnTo>
                    <a:lnTo>
                      <a:pt x="17429" y="9918"/>
                    </a:lnTo>
                    <a:lnTo>
                      <a:pt x="17346" y="9981"/>
                    </a:lnTo>
                    <a:lnTo>
                      <a:pt x="17241" y="9897"/>
                    </a:lnTo>
                    <a:lnTo>
                      <a:pt x="17220" y="9772"/>
                    </a:lnTo>
                    <a:lnTo>
                      <a:pt x="17116" y="9709"/>
                    </a:lnTo>
                    <a:lnTo>
                      <a:pt x="17053" y="9667"/>
                    </a:lnTo>
                    <a:lnTo>
                      <a:pt x="17157" y="9646"/>
                    </a:lnTo>
                    <a:lnTo>
                      <a:pt x="17283" y="9646"/>
                    </a:lnTo>
                    <a:lnTo>
                      <a:pt x="17283" y="9500"/>
                    </a:lnTo>
                    <a:lnTo>
                      <a:pt x="17388" y="9437"/>
                    </a:lnTo>
                    <a:lnTo>
                      <a:pt x="17367" y="9353"/>
                    </a:lnTo>
                    <a:lnTo>
                      <a:pt x="17471" y="9353"/>
                    </a:lnTo>
                    <a:lnTo>
                      <a:pt x="17639" y="9395"/>
                    </a:lnTo>
                    <a:lnTo>
                      <a:pt x="17681" y="9374"/>
                    </a:lnTo>
                    <a:lnTo>
                      <a:pt x="17681" y="9332"/>
                    </a:lnTo>
                    <a:lnTo>
                      <a:pt x="17806" y="9332"/>
                    </a:lnTo>
                    <a:lnTo>
                      <a:pt x="18078" y="9395"/>
                    </a:lnTo>
                    <a:lnTo>
                      <a:pt x="18183" y="9291"/>
                    </a:lnTo>
                    <a:lnTo>
                      <a:pt x="18183" y="9165"/>
                    </a:lnTo>
                    <a:lnTo>
                      <a:pt x="18225" y="9060"/>
                    </a:lnTo>
                    <a:lnTo>
                      <a:pt x="18183" y="8935"/>
                    </a:lnTo>
                    <a:lnTo>
                      <a:pt x="18183" y="8809"/>
                    </a:lnTo>
                    <a:lnTo>
                      <a:pt x="18120" y="8705"/>
                    </a:lnTo>
                    <a:lnTo>
                      <a:pt x="18078" y="8537"/>
                    </a:lnTo>
                    <a:lnTo>
                      <a:pt x="17994" y="8516"/>
                    </a:lnTo>
                    <a:lnTo>
                      <a:pt x="17973" y="8433"/>
                    </a:lnTo>
                    <a:lnTo>
                      <a:pt x="17806" y="8286"/>
                    </a:lnTo>
                    <a:lnTo>
                      <a:pt x="17764" y="8286"/>
                    </a:lnTo>
                    <a:lnTo>
                      <a:pt x="17743" y="8349"/>
                    </a:lnTo>
                    <a:lnTo>
                      <a:pt x="17681" y="8349"/>
                    </a:lnTo>
                    <a:lnTo>
                      <a:pt x="17660" y="8286"/>
                    </a:lnTo>
                    <a:lnTo>
                      <a:pt x="17492" y="8203"/>
                    </a:lnTo>
                    <a:lnTo>
                      <a:pt x="17492" y="8244"/>
                    </a:lnTo>
                    <a:lnTo>
                      <a:pt x="17597" y="8328"/>
                    </a:lnTo>
                    <a:lnTo>
                      <a:pt x="17576" y="8391"/>
                    </a:lnTo>
                    <a:lnTo>
                      <a:pt x="17639" y="8454"/>
                    </a:lnTo>
                    <a:lnTo>
                      <a:pt x="17576" y="8558"/>
                    </a:lnTo>
                    <a:lnTo>
                      <a:pt x="17492" y="8454"/>
                    </a:lnTo>
                    <a:lnTo>
                      <a:pt x="17492" y="8349"/>
                    </a:lnTo>
                    <a:lnTo>
                      <a:pt x="17388" y="8349"/>
                    </a:lnTo>
                    <a:lnTo>
                      <a:pt x="17220" y="8244"/>
                    </a:lnTo>
                    <a:lnTo>
                      <a:pt x="17178" y="8182"/>
                    </a:lnTo>
                    <a:lnTo>
                      <a:pt x="17137" y="8223"/>
                    </a:lnTo>
                    <a:lnTo>
                      <a:pt x="17053" y="8182"/>
                    </a:lnTo>
                    <a:lnTo>
                      <a:pt x="17011" y="8077"/>
                    </a:lnTo>
                    <a:lnTo>
                      <a:pt x="16906" y="7993"/>
                    </a:lnTo>
                    <a:lnTo>
                      <a:pt x="16739" y="7993"/>
                    </a:lnTo>
                    <a:lnTo>
                      <a:pt x="16551" y="7805"/>
                    </a:lnTo>
                    <a:lnTo>
                      <a:pt x="16404" y="7721"/>
                    </a:lnTo>
                    <a:lnTo>
                      <a:pt x="16383" y="7617"/>
                    </a:lnTo>
                    <a:lnTo>
                      <a:pt x="15902" y="7345"/>
                    </a:lnTo>
                    <a:lnTo>
                      <a:pt x="15776" y="7135"/>
                    </a:lnTo>
                    <a:lnTo>
                      <a:pt x="15776" y="6968"/>
                    </a:lnTo>
                    <a:lnTo>
                      <a:pt x="15672" y="6717"/>
                    </a:lnTo>
                    <a:lnTo>
                      <a:pt x="15672" y="6612"/>
                    </a:lnTo>
                    <a:lnTo>
                      <a:pt x="15567" y="6612"/>
                    </a:lnTo>
                    <a:lnTo>
                      <a:pt x="15442" y="6508"/>
                    </a:lnTo>
                    <a:lnTo>
                      <a:pt x="15337" y="6508"/>
                    </a:lnTo>
                    <a:lnTo>
                      <a:pt x="15253" y="6424"/>
                    </a:lnTo>
                    <a:lnTo>
                      <a:pt x="15149" y="6403"/>
                    </a:lnTo>
                    <a:lnTo>
                      <a:pt x="15065" y="6319"/>
                    </a:lnTo>
                    <a:lnTo>
                      <a:pt x="14940" y="6361"/>
                    </a:lnTo>
                    <a:lnTo>
                      <a:pt x="14793" y="6487"/>
                    </a:lnTo>
                    <a:lnTo>
                      <a:pt x="14688" y="6696"/>
                    </a:lnTo>
                    <a:lnTo>
                      <a:pt x="14584" y="6738"/>
                    </a:lnTo>
                    <a:lnTo>
                      <a:pt x="14479" y="6801"/>
                    </a:lnTo>
                    <a:lnTo>
                      <a:pt x="14375" y="6801"/>
                    </a:lnTo>
                    <a:lnTo>
                      <a:pt x="14312" y="6738"/>
                    </a:lnTo>
                    <a:lnTo>
                      <a:pt x="14144" y="6696"/>
                    </a:lnTo>
                    <a:lnTo>
                      <a:pt x="14061" y="6633"/>
                    </a:lnTo>
                    <a:lnTo>
                      <a:pt x="14144" y="6529"/>
                    </a:lnTo>
                    <a:lnTo>
                      <a:pt x="14207" y="6466"/>
                    </a:lnTo>
                    <a:lnTo>
                      <a:pt x="14270" y="6466"/>
                    </a:lnTo>
                    <a:lnTo>
                      <a:pt x="14375" y="6361"/>
                    </a:lnTo>
                    <a:lnTo>
                      <a:pt x="14458" y="6319"/>
                    </a:lnTo>
                    <a:lnTo>
                      <a:pt x="14479" y="6257"/>
                    </a:lnTo>
                    <a:lnTo>
                      <a:pt x="14458" y="6215"/>
                    </a:lnTo>
                    <a:lnTo>
                      <a:pt x="14375" y="6236"/>
                    </a:lnTo>
                    <a:lnTo>
                      <a:pt x="14333" y="6194"/>
                    </a:lnTo>
                    <a:lnTo>
                      <a:pt x="14354" y="6110"/>
                    </a:lnTo>
                    <a:lnTo>
                      <a:pt x="14458" y="6006"/>
                    </a:lnTo>
                    <a:lnTo>
                      <a:pt x="14437" y="5943"/>
                    </a:lnTo>
                    <a:lnTo>
                      <a:pt x="14542" y="5838"/>
                    </a:lnTo>
                    <a:lnTo>
                      <a:pt x="14542" y="5754"/>
                    </a:lnTo>
                    <a:lnTo>
                      <a:pt x="14521" y="5629"/>
                    </a:lnTo>
                    <a:lnTo>
                      <a:pt x="14375" y="5650"/>
                    </a:lnTo>
                    <a:lnTo>
                      <a:pt x="14375" y="5734"/>
                    </a:lnTo>
                    <a:lnTo>
                      <a:pt x="14165" y="5880"/>
                    </a:lnTo>
                    <a:lnTo>
                      <a:pt x="14061" y="5838"/>
                    </a:lnTo>
                    <a:lnTo>
                      <a:pt x="14165" y="6047"/>
                    </a:lnTo>
                    <a:lnTo>
                      <a:pt x="14103" y="6131"/>
                    </a:lnTo>
                    <a:lnTo>
                      <a:pt x="14061" y="6026"/>
                    </a:lnTo>
                    <a:lnTo>
                      <a:pt x="13914" y="6026"/>
                    </a:lnTo>
                    <a:lnTo>
                      <a:pt x="13810" y="6131"/>
                    </a:lnTo>
                    <a:lnTo>
                      <a:pt x="13893" y="6152"/>
                    </a:lnTo>
                    <a:lnTo>
                      <a:pt x="13851" y="6298"/>
                    </a:lnTo>
                    <a:lnTo>
                      <a:pt x="13747" y="6236"/>
                    </a:lnTo>
                    <a:lnTo>
                      <a:pt x="13642" y="6319"/>
                    </a:lnTo>
                    <a:lnTo>
                      <a:pt x="13684" y="6403"/>
                    </a:lnTo>
                    <a:lnTo>
                      <a:pt x="13789" y="6403"/>
                    </a:lnTo>
                    <a:lnTo>
                      <a:pt x="13831" y="6466"/>
                    </a:lnTo>
                    <a:lnTo>
                      <a:pt x="13642" y="6570"/>
                    </a:lnTo>
                    <a:lnTo>
                      <a:pt x="13579" y="6424"/>
                    </a:lnTo>
                    <a:lnTo>
                      <a:pt x="13433" y="6361"/>
                    </a:lnTo>
                    <a:lnTo>
                      <a:pt x="13391" y="6236"/>
                    </a:lnTo>
                    <a:lnTo>
                      <a:pt x="13391" y="5713"/>
                    </a:lnTo>
                    <a:lnTo>
                      <a:pt x="13496" y="5503"/>
                    </a:lnTo>
                    <a:lnTo>
                      <a:pt x="13475" y="5148"/>
                    </a:lnTo>
                    <a:lnTo>
                      <a:pt x="13538" y="5001"/>
                    </a:lnTo>
                    <a:lnTo>
                      <a:pt x="13517" y="4562"/>
                    </a:lnTo>
                    <a:lnTo>
                      <a:pt x="13517" y="4625"/>
                    </a:lnTo>
                    <a:lnTo>
                      <a:pt x="13370" y="4687"/>
                    </a:lnTo>
                    <a:lnTo>
                      <a:pt x="13266" y="4855"/>
                    </a:lnTo>
                    <a:lnTo>
                      <a:pt x="13349" y="4938"/>
                    </a:lnTo>
                    <a:lnTo>
                      <a:pt x="13287" y="5001"/>
                    </a:lnTo>
                    <a:lnTo>
                      <a:pt x="13349" y="5148"/>
                    </a:lnTo>
                    <a:lnTo>
                      <a:pt x="13307" y="5315"/>
                    </a:lnTo>
                    <a:lnTo>
                      <a:pt x="13245" y="5294"/>
                    </a:lnTo>
                    <a:lnTo>
                      <a:pt x="13161" y="5210"/>
                    </a:lnTo>
                    <a:lnTo>
                      <a:pt x="13119" y="5294"/>
                    </a:lnTo>
                    <a:lnTo>
                      <a:pt x="13119" y="5378"/>
                    </a:lnTo>
                    <a:lnTo>
                      <a:pt x="13056" y="5315"/>
                    </a:lnTo>
                    <a:lnTo>
                      <a:pt x="12952" y="5399"/>
                    </a:lnTo>
                    <a:lnTo>
                      <a:pt x="12952" y="5482"/>
                    </a:lnTo>
                    <a:lnTo>
                      <a:pt x="12889" y="5482"/>
                    </a:lnTo>
                    <a:lnTo>
                      <a:pt x="12638" y="5608"/>
                    </a:lnTo>
                    <a:lnTo>
                      <a:pt x="12491" y="5775"/>
                    </a:lnTo>
                    <a:lnTo>
                      <a:pt x="12429" y="5692"/>
                    </a:lnTo>
                    <a:lnTo>
                      <a:pt x="12429" y="5587"/>
                    </a:lnTo>
                    <a:lnTo>
                      <a:pt x="12575" y="5524"/>
                    </a:lnTo>
                    <a:lnTo>
                      <a:pt x="12596" y="5420"/>
                    </a:lnTo>
                    <a:lnTo>
                      <a:pt x="12491" y="5420"/>
                    </a:lnTo>
                    <a:lnTo>
                      <a:pt x="12387" y="5482"/>
                    </a:lnTo>
                    <a:lnTo>
                      <a:pt x="12178" y="5482"/>
                    </a:lnTo>
                    <a:lnTo>
                      <a:pt x="12052" y="5566"/>
                    </a:lnTo>
                    <a:lnTo>
                      <a:pt x="11780" y="5566"/>
                    </a:lnTo>
                    <a:lnTo>
                      <a:pt x="11424" y="5817"/>
                    </a:lnTo>
                    <a:lnTo>
                      <a:pt x="11257" y="5880"/>
                    </a:lnTo>
                    <a:lnTo>
                      <a:pt x="11111" y="6089"/>
                    </a:lnTo>
                    <a:lnTo>
                      <a:pt x="11090" y="5985"/>
                    </a:lnTo>
                    <a:lnTo>
                      <a:pt x="11215" y="5796"/>
                    </a:lnTo>
                    <a:lnTo>
                      <a:pt x="11173" y="5713"/>
                    </a:lnTo>
                    <a:lnTo>
                      <a:pt x="10985" y="5817"/>
                    </a:lnTo>
                    <a:lnTo>
                      <a:pt x="10964" y="5775"/>
                    </a:lnTo>
                    <a:lnTo>
                      <a:pt x="10880" y="5796"/>
                    </a:lnTo>
                    <a:lnTo>
                      <a:pt x="10797" y="5838"/>
                    </a:lnTo>
                    <a:lnTo>
                      <a:pt x="10734" y="5775"/>
                    </a:lnTo>
                    <a:lnTo>
                      <a:pt x="10629" y="5796"/>
                    </a:lnTo>
                    <a:lnTo>
                      <a:pt x="10587" y="5880"/>
                    </a:lnTo>
                    <a:lnTo>
                      <a:pt x="10315" y="6047"/>
                    </a:lnTo>
                    <a:lnTo>
                      <a:pt x="10211" y="6047"/>
                    </a:lnTo>
                    <a:lnTo>
                      <a:pt x="10022" y="6110"/>
                    </a:lnTo>
                    <a:lnTo>
                      <a:pt x="9897" y="6257"/>
                    </a:lnTo>
                    <a:lnTo>
                      <a:pt x="9939" y="6361"/>
                    </a:lnTo>
                    <a:lnTo>
                      <a:pt x="9834" y="6340"/>
                    </a:lnTo>
                    <a:lnTo>
                      <a:pt x="9792" y="6403"/>
                    </a:lnTo>
                    <a:lnTo>
                      <a:pt x="9688" y="6361"/>
                    </a:lnTo>
                    <a:lnTo>
                      <a:pt x="9657" y="6408"/>
                    </a:lnTo>
                    <a:lnTo>
                      <a:pt x="9657" y="6408"/>
                    </a:lnTo>
                    <a:lnTo>
                      <a:pt x="9583" y="6319"/>
                    </a:lnTo>
                    <a:lnTo>
                      <a:pt x="9625" y="6215"/>
                    </a:lnTo>
                    <a:lnTo>
                      <a:pt x="9709" y="6215"/>
                    </a:lnTo>
                    <a:lnTo>
                      <a:pt x="9792" y="6110"/>
                    </a:lnTo>
                    <a:lnTo>
                      <a:pt x="9897" y="6026"/>
                    </a:lnTo>
                    <a:lnTo>
                      <a:pt x="9939" y="6068"/>
                    </a:lnTo>
                    <a:lnTo>
                      <a:pt x="10022" y="6026"/>
                    </a:lnTo>
                    <a:lnTo>
                      <a:pt x="10043" y="5943"/>
                    </a:lnTo>
                    <a:lnTo>
                      <a:pt x="10169" y="5838"/>
                    </a:lnTo>
                    <a:lnTo>
                      <a:pt x="10211" y="5901"/>
                    </a:lnTo>
                    <a:lnTo>
                      <a:pt x="10462" y="5796"/>
                    </a:lnTo>
                    <a:lnTo>
                      <a:pt x="10546" y="5650"/>
                    </a:lnTo>
                    <a:lnTo>
                      <a:pt x="10671" y="5608"/>
                    </a:lnTo>
                    <a:lnTo>
                      <a:pt x="10880" y="5629"/>
                    </a:lnTo>
                    <a:lnTo>
                      <a:pt x="10901" y="5587"/>
                    </a:lnTo>
                    <a:lnTo>
                      <a:pt x="11090" y="5587"/>
                    </a:lnTo>
                    <a:lnTo>
                      <a:pt x="11278" y="5503"/>
                    </a:lnTo>
                    <a:lnTo>
                      <a:pt x="11320" y="5587"/>
                    </a:lnTo>
                    <a:lnTo>
                      <a:pt x="11383" y="5587"/>
                    </a:lnTo>
                    <a:lnTo>
                      <a:pt x="11445" y="5524"/>
                    </a:lnTo>
                    <a:lnTo>
                      <a:pt x="11529" y="5524"/>
                    </a:lnTo>
                    <a:lnTo>
                      <a:pt x="11675" y="5503"/>
                    </a:lnTo>
                    <a:lnTo>
                      <a:pt x="11738" y="5399"/>
                    </a:lnTo>
                    <a:lnTo>
                      <a:pt x="11989" y="5315"/>
                    </a:lnTo>
                    <a:lnTo>
                      <a:pt x="12240" y="5231"/>
                    </a:lnTo>
                    <a:lnTo>
                      <a:pt x="12261" y="5127"/>
                    </a:lnTo>
                    <a:lnTo>
                      <a:pt x="12324" y="5127"/>
                    </a:lnTo>
                    <a:lnTo>
                      <a:pt x="12366" y="5085"/>
                    </a:lnTo>
                    <a:lnTo>
                      <a:pt x="12324" y="5022"/>
                    </a:lnTo>
                    <a:lnTo>
                      <a:pt x="12324" y="4918"/>
                    </a:lnTo>
                    <a:lnTo>
                      <a:pt x="12240" y="4876"/>
                    </a:lnTo>
                    <a:lnTo>
                      <a:pt x="12219" y="4918"/>
                    </a:lnTo>
                    <a:lnTo>
                      <a:pt x="12219" y="5001"/>
                    </a:lnTo>
                    <a:lnTo>
                      <a:pt x="12115" y="5022"/>
                    </a:lnTo>
                    <a:lnTo>
                      <a:pt x="12073" y="4980"/>
                    </a:lnTo>
                    <a:lnTo>
                      <a:pt x="12031" y="4980"/>
                    </a:lnTo>
                    <a:lnTo>
                      <a:pt x="12010" y="4938"/>
                    </a:lnTo>
                    <a:lnTo>
                      <a:pt x="11885" y="4938"/>
                    </a:lnTo>
                    <a:lnTo>
                      <a:pt x="11696" y="5001"/>
                    </a:lnTo>
                    <a:lnTo>
                      <a:pt x="11634" y="5106"/>
                    </a:lnTo>
                    <a:lnTo>
                      <a:pt x="11571" y="5169"/>
                    </a:lnTo>
                    <a:lnTo>
                      <a:pt x="11508" y="5085"/>
                    </a:lnTo>
                    <a:lnTo>
                      <a:pt x="11466" y="5085"/>
                    </a:lnTo>
                    <a:lnTo>
                      <a:pt x="11362" y="5169"/>
                    </a:lnTo>
                    <a:lnTo>
                      <a:pt x="11090" y="5252"/>
                    </a:lnTo>
                    <a:lnTo>
                      <a:pt x="10755" y="5273"/>
                    </a:lnTo>
                    <a:lnTo>
                      <a:pt x="10692" y="5210"/>
                    </a:lnTo>
                    <a:lnTo>
                      <a:pt x="10629" y="5210"/>
                    </a:lnTo>
                    <a:lnTo>
                      <a:pt x="10650" y="5273"/>
                    </a:lnTo>
                    <a:lnTo>
                      <a:pt x="10587" y="5315"/>
                    </a:lnTo>
                    <a:lnTo>
                      <a:pt x="10483" y="5294"/>
                    </a:lnTo>
                    <a:lnTo>
                      <a:pt x="10420" y="5294"/>
                    </a:lnTo>
                    <a:lnTo>
                      <a:pt x="10357" y="5420"/>
                    </a:lnTo>
                    <a:lnTo>
                      <a:pt x="10211" y="5587"/>
                    </a:lnTo>
                    <a:lnTo>
                      <a:pt x="10148" y="5524"/>
                    </a:lnTo>
                    <a:lnTo>
                      <a:pt x="10043" y="5524"/>
                    </a:lnTo>
                    <a:lnTo>
                      <a:pt x="10022" y="5503"/>
                    </a:lnTo>
                    <a:lnTo>
                      <a:pt x="9897" y="5503"/>
                    </a:lnTo>
                    <a:lnTo>
                      <a:pt x="9813" y="5566"/>
                    </a:lnTo>
                    <a:lnTo>
                      <a:pt x="9730" y="5566"/>
                    </a:lnTo>
                    <a:lnTo>
                      <a:pt x="9688" y="5629"/>
                    </a:lnTo>
                    <a:lnTo>
                      <a:pt x="9583" y="5671"/>
                    </a:lnTo>
                    <a:lnTo>
                      <a:pt x="9478" y="5734"/>
                    </a:lnTo>
                    <a:lnTo>
                      <a:pt x="9311" y="5817"/>
                    </a:lnTo>
                    <a:lnTo>
                      <a:pt x="9123" y="5880"/>
                    </a:lnTo>
                    <a:lnTo>
                      <a:pt x="9081" y="5985"/>
                    </a:lnTo>
                    <a:lnTo>
                      <a:pt x="9081" y="6152"/>
                    </a:lnTo>
                    <a:lnTo>
                      <a:pt x="9102" y="6466"/>
                    </a:lnTo>
                    <a:lnTo>
                      <a:pt x="9081" y="6633"/>
                    </a:lnTo>
                    <a:lnTo>
                      <a:pt x="9018" y="6612"/>
                    </a:lnTo>
                    <a:lnTo>
                      <a:pt x="8955" y="6654"/>
                    </a:lnTo>
                    <a:lnTo>
                      <a:pt x="8704" y="6863"/>
                    </a:lnTo>
                    <a:lnTo>
                      <a:pt x="8788" y="6759"/>
                    </a:lnTo>
                    <a:lnTo>
                      <a:pt x="8893" y="6633"/>
                    </a:lnTo>
                    <a:lnTo>
                      <a:pt x="8914" y="6550"/>
                    </a:lnTo>
                    <a:lnTo>
                      <a:pt x="8872" y="6529"/>
                    </a:lnTo>
                    <a:lnTo>
                      <a:pt x="8872" y="6445"/>
                    </a:lnTo>
                    <a:lnTo>
                      <a:pt x="8746" y="6257"/>
                    </a:lnTo>
                    <a:lnTo>
                      <a:pt x="8662" y="6257"/>
                    </a:lnTo>
                    <a:lnTo>
                      <a:pt x="8600" y="6173"/>
                    </a:lnTo>
                    <a:lnTo>
                      <a:pt x="8537" y="6152"/>
                    </a:lnTo>
                    <a:lnTo>
                      <a:pt x="8537" y="6006"/>
                    </a:lnTo>
                    <a:lnTo>
                      <a:pt x="8390" y="5817"/>
                    </a:lnTo>
                    <a:lnTo>
                      <a:pt x="8370" y="5817"/>
                    </a:lnTo>
                    <a:lnTo>
                      <a:pt x="8286" y="5796"/>
                    </a:lnTo>
                    <a:lnTo>
                      <a:pt x="8265" y="5692"/>
                    </a:lnTo>
                    <a:lnTo>
                      <a:pt x="8181" y="5629"/>
                    </a:lnTo>
                    <a:lnTo>
                      <a:pt x="8139" y="5671"/>
                    </a:lnTo>
                    <a:lnTo>
                      <a:pt x="8035" y="5587"/>
                    </a:lnTo>
                    <a:lnTo>
                      <a:pt x="7846" y="5378"/>
                    </a:lnTo>
                    <a:lnTo>
                      <a:pt x="7805" y="5190"/>
                    </a:lnTo>
                    <a:lnTo>
                      <a:pt x="7805" y="5001"/>
                    </a:lnTo>
                    <a:lnTo>
                      <a:pt x="7763" y="4980"/>
                    </a:lnTo>
                    <a:lnTo>
                      <a:pt x="7721" y="5043"/>
                    </a:lnTo>
                    <a:lnTo>
                      <a:pt x="7658" y="5001"/>
                    </a:lnTo>
                    <a:lnTo>
                      <a:pt x="7616" y="4876"/>
                    </a:lnTo>
                    <a:lnTo>
                      <a:pt x="7658" y="4750"/>
                    </a:lnTo>
                    <a:lnTo>
                      <a:pt x="7637" y="4729"/>
                    </a:lnTo>
                    <a:lnTo>
                      <a:pt x="7658" y="4646"/>
                    </a:lnTo>
                    <a:lnTo>
                      <a:pt x="7533" y="4520"/>
                    </a:lnTo>
                    <a:lnTo>
                      <a:pt x="7533" y="4415"/>
                    </a:lnTo>
                    <a:lnTo>
                      <a:pt x="7428" y="4332"/>
                    </a:lnTo>
                    <a:lnTo>
                      <a:pt x="7386" y="4332"/>
                    </a:lnTo>
                    <a:lnTo>
                      <a:pt x="7323" y="4248"/>
                    </a:lnTo>
                    <a:lnTo>
                      <a:pt x="7219" y="4164"/>
                    </a:lnTo>
                    <a:lnTo>
                      <a:pt x="7114" y="4164"/>
                    </a:lnTo>
                    <a:lnTo>
                      <a:pt x="6800" y="3934"/>
                    </a:lnTo>
                    <a:lnTo>
                      <a:pt x="6717" y="3934"/>
                    </a:lnTo>
                    <a:lnTo>
                      <a:pt x="6696" y="3850"/>
                    </a:lnTo>
                    <a:lnTo>
                      <a:pt x="0" y="16091"/>
                    </a:lnTo>
                    <a:lnTo>
                      <a:pt x="377" y="16091"/>
                    </a:lnTo>
                    <a:lnTo>
                      <a:pt x="502" y="16153"/>
                    </a:lnTo>
                    <a:lnTo>
                      <a:pt x="711" y="16007"/>
                    </a:lnTo>
                    <a:lnTo>
                      <a:pt x="1004" y="16049"/>
                    </a:lnTo>
                    <a:lnTo>
                      <a:pt x="858" y="16300"/>
                    </a:lnTo>
                    <a:lnTo>
                      <a:pt x="921" y="16446"/>
                    </a:lnTo>
                    <a:lnTo>
                      <a:pt x="1025" y="16718"/>
                    </a:lnTo>
                    <a:lnTo>
                      <a:pt x="1172" y="17388"/>
                    </a:lnTo>
                    <a:lnTo>
                      <a:pt x="1235" y="17534"/>
                    </a:lnTo>
                    <a:lnTo>
                      <a:pt x="1130" y="17702"/>
                    </a:lnTo>
                    <a:lnTo>
                      <a:pt x="1130" y="17765"/>
                    </a:lnTo>
                    <a:lnTo>
                      <a:pt x="1172" y="17765"/>
                    </a:lnTo>
                    <a:lnTo>
                      <a:pt x="1381" y="17744"/>
                    </a:lnTo>
                    <a:lnTo>
                      <a:pt x="1569" y="17723"/>
                    </a:lnTo>
                    <a:lnTo>
                      <a:pt x="1695" y="17639"/>
                    </a:lnTo>
                    <a:lnTo>
                      <a:pt x="1862" y="17409"/>
                    </a:lnTo>
                    <a:lnTo>
                      <a:pt x="1988" y="17283"/>
                    </a:lnTo>
                    <a:lnTo>
                      <a:pt x="2197" y="17200"/>
                    </a:lnTo>
                    <a:lnTo>
                      <a:pt x="2260" y="17179"/>
                    </a:lnTo>
                    <a:lnTo>
                      <a:pt x="2469" y="17116"/>
                    </a:lnTo>
                    <a:lnTo>
                      <a:pt x="2636" y="17116"/>
                    </a:lnTo>
                    <a:lnTo>
                      <a:pt x="2783" y="17221"/>
                    </a:lnTo>
                    <a:lnTo>
                      <a:pt x="2783" y="17325"/>
                    </a:lnTo>
                    <a:lnTo>
                      <a:pt x="2804" y="17409"/>
                    </a:lnTo>
                    <a:lnTo>
                      <a:pt x="2720" y="17555"/>
                    </a:lnTo>
                    <a:lnTo>
                      <a:pt x="2699" y="17639"/>
                    </a:lnTo>
                    <a:lnTo>
                      <a:pt x="2825" y="17974"/>
                    </a:lnTo>
                    <a:lnTo>
                      <a:pt x="2804" y="18078"/>
                    </a:lnTo>
                    <a:lnTo>
                      <a:pt x="2846" y="18288"/>
                    </a:lnTo>
                    <a:lnTo>
                      <a:pt x="2992" y="18455"/>
                    </a:lnTo>
                    <a:lnTo>
                      <a:pt x="3013" y="18664"/>
                    </a:lnTo>
                    <a:lnTo>
                      <a:pt x="3055" y="18748"/>
                    </a:lnTo>
                    <a:lnTo>
                      <a:pt x="3097" y="18853"/>
                    </a:lnTo>
                    <a:lnTo>
                      <a:pt x="3034" y="18957"/>
                    </a:lnTo>
                    <a:lnTo>
                      <a:pt x="3034" y="19062"/>
                    </a:lnTo>
                    <a:lnTo>
                      <a:pt x="3055" y="19146"/>
                    </a:lnTo>
                    <a:lnTo>
                      <a:pt x="3013" y="19501"/>
                    </a:lnTo>
                    <a:lnTo>
                      <a:pt x="3013" y="19920"/>
                    </a:lnTo>
                    <a:lnTo>
                      <a:pt x="3034" y="20338"/>
                    </a:lnTo>
                    <a:lnTo>
                      <a:pt x="2929" y="20380"/>
                    </a:lnTo>
                    <a:lnTo>
                      <a:pt x="2929" y="20464"/>
                    </a:lnTo>
                    <a:lnTo>
                      <a:pt x="2971" y="20464"/>
                    </a:lnTo>
                    <a:lnTo>
                      <a:pt x="3055" y="20527"/>
                    </a:lnTo>
                    <a:lnTo>
                      <a:pt x="3076" y="20568"/>
                    </a:lnTo>
                    <a:lnTo>
                      <a:pt x="3034" y="20589"/>
                    </a:lnTo>
                    <a:lnTo>
                      <a:pt x="2971" y="20652"/>
                    </a:lnTo>
                    <a:lnTo>
                      <a:pt x="3013" y="20736"/>
                    </a:lnTo>
                    <a:lnTo>
                      <a:pt x="3055" y="20778"/>
                    </a:lnTo>
                    <a:lnTo>
                      <a:pt x="3076" y="20861"/>
                    </a:lnTo>
                    <a:lnTo>
                      <a:pt x="3055" y="20903"/>
                    </a:lnTo>
                    <a:lnTo>
                      <a:pt x="3055" y="20966"/>
                    </a:lnTo>
                    <a:lnTo>
                      <a:pt x="3160" y="20966"/>
                    </a:lnTo>
                    <a:lnTo>
                      <a:pt x="3243" y="20987"/>
                    </a:lnTo>
                    <a:lnTo>
                      <a:pt x="3348" y="21154"/>
                    </a:lnTo>
                    <a:lnTo>
                      <a:pt x="3369" y="21217"/>
                    </a:lnTo>
                    <a:lnTo>
                      <a:pt x="3452" y="21280"/>
                    </a:lnTo>
                    <a:lnTo>
                      <a:pt x="3578" y="21363"/>
                    </a:lnTo>
                    <a:lnTo>
                      <a:pt x="3641" y="21468"/>
                    </a:lnTo>
                    <a:lnTo>
                      <a:pt x="3641" y="21573"/>
                    </a:lnTo>
                    <a:lnTo>
                      <a:pt x="3683" y="21594"/>
                    </a:lnTo>
                    <a:lnTo>
                      <a:pt x="3704" y="21635"/>
                    </a:lnTo>
                    <a:lnTo>
                      <a:pt x="3683" y="21698"/>
                    </a:lnTo>
                    <a:lnTo>
                      <a:pt x="3683" y="21740"/>
                    </a:lnTo>
                    <a:lnTo>
                      <a:pt x="3641" y="21782"/>
                    </a:lnTo>
                    <a:lnTo>
                      <a:pt x="3641" y="21845"/>
                    </a:lnTo>
                    <a:lnTo>
                      <a:pt x="3641" y="21887"/>
                    </a:lnTo>
                    <a:lnTo>
                      <a:pt x="3662" y="21907"/>
                    </a:lnTo>
                    <a:lnTo>
                      <a:pt x="3599" y="22033"/>
                    </a:lnTo>
                    <a:lnTo>
                      <a:pt x="3452" y="22326"/>
                    </a:lnTo>
                    <a:lnTo>
                      <a:pt x="3432" y="22514"/>
                    </a:lnTo>
                    <a:lnTo>
                      <a:pt x="3285" y="22661"/>
                    </a:lnTo>
                    <a:lnTo>
                      <a:pt x="3285" y="22744"/>
                    </a:lnTo>
                    <a:lnTo>
                      <a:pt x="3327" y="22744"/>
                    </a:lnTo>
                    <a:lnTo>
                      <a:pt x="3494" y="22535"/>
                    </a:lnTo>
                    <a:lnTo>
                      <a:pt x="3536" y="22410"/>
                    </a:lnTo>
                    <a:lnTo>
                      <a:pt x="3662" y="22305"/>
                    </a:lnTo>
                    <a:lnTo>
                      <a:pt x="3683" y="22347"/>
                    </a:lnTo>
                    <a:lnTo>
                      <a:pt x="3766" y="22368"/>
                    </a:lnTo>
                    <a:lnTo>
                      <a:pt x="3766" y="22431"/>
                    </a:lnTo>
                    <a:lnTo>
                      <a:pt x="3599" y="22514"/>
                    </a:lnTo>
                    <a:lnTo>
                      <a:pt x="3557" y="22619"/>
                    </a:lnTo>
                    <a:lnTo>
                      <a:pt x="3390" y="22786"/>
                    </a:lnTo>
                    <a:lnTo>
                      <a:pt x="3390" y="22828"/>
                    </a:lnTo>
                    <a:lnTo>
                      <a:pt x="3473" y="22828"/>
                    </a:lnTo>
                    <a:lnTo>
                      <a:pt x="3432" y="22870"/>
                    </a:lnTo>
                    <a:lnTo>
                      <a:pt x="3285" y="22849"/>
                    </a:lnTo>
                    <a:lnTo>
                      <a:pt x="3222" y="22870"/>
                    </a:lnTo>
                    <a:lnTo>
                      <a:pt x="3160" y="23037"/>
                    </a:lnTo>
                    <a:lnTo>
                      <a:pt x="3055" y="23142"/>
                    </a:lnTo>
                    <a:lnTo>
                      <a:pt x="3076" y="23268"/>
                    </a:lnTo>
                    <a:lnTo>
                      <a:pt x="3034" y="23247"/>
                    </a:lnTo>
                    <a:lnTo>
                      <a:pt x="2971" y="23184"/>
                    </a:lnTo>
                    <a:lnTo>
                      <a:pt x="2908" y="23247"/>
                    </a:lnTo>
                    <a:lnTo>
                      <a:pt x="2908" y="23393"/>
                    </a:lnTo>
                    <a:lnTo>
                      <a:pt x="3013" y="23393"/>
                    </a:lnTo>
                    <a:lnTo>
                      <a:pt x="3034" y="23477"/>
                    </a:lnTo>
                    <a:lnTo>
                      <a:pt x="2971" y="23665"/>
                    </a:lnTo>
                    <a:lnTo>
                      <a:pt x="2950" y="23937"/>
                    </a:lnTo>
                    <a:lnTo>
                      <a:pt x="3013" y="24125"/>
                    </a:lnTo>
                    <a:lnTo>
                      <a:pt x="3076" y="24293"/>
                    </a:lnTo>
                    <a:lnTo>
                      <a:pt x="3160" y="24314"/>
                    </a:lnTo>
                    <a:lnTo>
                      <a:pt x="3180" y="24230"/>
                    </a:lnTo>
                    <a:lnTo>
                      <a:pt x="3264" y="24146"/>
                    </a:lnTo>
                    <a:lnTo>
                      <a:pt x="3452" y="24104"/>
                    </a:lnTo>
                    <a:lnTo>
                      <a:pt x="3557" y="24021"/>
                    </a:lnTo>
                    <a:lnTo>
                      <a:pt x="3662" y="23895"/>
                    </a:lnTo>
                    <a:lnTo>
                      <a:pt x="3704" y="23895"/>
                    </a:lnTo>
                    <a:lnTo>
                      <a:pt x="3704" y="24021"/>
                    </a:lnTo>
                    <a:lnTo>
                      <a:pt x="3662" y="24125"/>
                    </a:lnTo>
                    <a:lnTo>
                      <a:pt x="3599" y="24146"/>
                    </a:lnTo>
                    <a:lnTo>
                      <a:pt x="3536" y="24251"/>
                    </a:lnTo>
                    <a:lnTo>
                      <a:pt x="3536" y="24314"/>
                    </a:lnTo>
                    <a:lnTo>
                      <a:pt x="3641" y="24397"/>
                    </a:lnTo>
                    <a:lnTo>
                      <a:pt x="3704" y="24460"/>
                    </a:lnTo>
                    <a:lnTo>
                      <a:pt x="3808" y="24460"/>
                    </a:lnTo>
                    <a:lnTo>
                      <a:pt x="3892" y="24502"/>
                    </a:lnTo>
                    <a:lnTo>
                      <a:pt x="3955" y="24544"/>
                    </a:lnTo>
                    <a:lnTo>
                      <a:pt x="3808" y="24502"/>
                    </a:lnTo>
                    <a:lnTo>
                      <a:pt x="3683" y="24502"/>
                    </a:lnTo>
                    <a:lnTo>
                      <a:pt x="3578" y="24439"/>
                    </a:lnTo>
                    <a:lnTo>
                      <a:pt x="3432" y="24439"/>
                    </a:lnTo>
                    <a:lnTo>
                      <a:pt x="3369" y="24523"/>
                    </a:lnTo>
                    <a:lnTo>
                      <a:pt x="3369" y="24607"/>
                    </a:lnTo>
                    <a:lnTo>
                      <a:pt x="3432" y="24669"/>
                    </a:lnTo>
                    <a:lnTo>
                      <a:pt x="3452" y="24920"/>
                    </a:lnTo>
                    <a:lnTo>
                      <a:pt x="3494" y="24983"/>
                    </a:lnTo>
                    <a:lnTo>
                      <a:pt x="3557" y="24983"/>
                    </a:lnTo>
                    <a:lnTo>
                      <a:pt x="3641" y="24941"/>
                    </a:lnTo>
                    <a:lnTo>
                      <a:pt x="3683" y="24983"/>
                    </a:lnTo>
                    <a:lnTo>
                      <a:pt x="3641" y="25046"/>
                    </a:lnTo>
                    <a:lnTo>
                      <a:pt x="3599" y="25088"/>
                    </a:lnTo>
                    <a:lnTo>
                      <a:pt x="3683" y="25151"/>
                    </a:lnTo>
                    <a:lnTo>
                      <a:pt x="3683" y="25192"/>
                    </a:lnTo>
                    <a:lnTo>
                      <a:pt x="3662" y="25255"/>
                    </a:lnTo>
                    <a:lnTo>
                      <a:pt x="3557" y="25234"/>
                    </a:lnTo>
                    <a:lnTo>
                      <a:pt x="3411" y="25276"/>
                    </a:lnTo>
                    <a:lnTo>
                      <a:pt x="3264" y="25381"/>
                    </a:lnTo>
                    <a:lnTo>
                      <a:pt x="3243" y="25423"/>
                    </a:lnTo>
                    <a:lnTo>
                      <a:pt x="3306" y="25485"/>
                    </a:lnTo>
                    <a:lnTo>
                      <a:pt x="3452" y="25423"/>
                    </a:lnTo>
                    <a:lnTo>
                      <a:pt x="3536" y="25465"/>
                    </a:lnTo>
                    <a:lnTo>
                      <a:pt x="3452" y="25485"/>
                    </a:lnTo>
                    <a:lnTo>
                      <a:pt x="3432" y="25548"/>
                    </a:lnTo>
                    <a:lnTo>
                      <a:pt x="3515" y="25632"/>
                    </a:lnTo>
                    <a:lnTo>
                      <a:pt x="3662" y="25590"/>
                    </a:lnTo>
                    <a:lnTo>
                      <a:pt x="3829" y="25465"/>
                    </a:lnTo>
                    <a:lnTo>
                      <a:pt x="3934" y="25297"/>
                    </a:lnTo>
                    <a:lnTo>
                      <a:pt x="4038" y="25297"/>
                    </a:lnTo>
                    <a:lnTo>
                      <a:pt x="4143" y="25213"/>
                    </a:lnTo>
                    <a:lnTo>
                      <a:pt x="4164" y="25109"/>
                    </a:lnTo>
                    <a:lnTo>
                      <a:pt x="4185" y="25088"/>
                    </a:lnTo>
                    <a:lnTo>
                      <a:pt x="4206" y="25172"/>
                    </a:lnTo>
                    <a:lnTo>
                      <a:pt x="4143" y="25339"/>
                    </a:lnTo>
                    <a:lnTo>
                      <a:pt x="4038" y="25402"/>
                    </a:lnTo>
                    <a:lnTo>
                      <a:pt x="3913" y="25465"/>
                    </a:lnTo>
                    <a:lnTo>
                      <a:pt x="3892" y="25548"/>
                    </a:lnTo>
                    <a:lnTo>
                      <a:pt x="3955" y="25611"/>
                    </a:lnTo>
                    <a:lnTo>
                      <a:pt x="4038" y="25590"/>
                    </a:lnTo>
                    <a:lnTo>
                      <a:pt x="4164" y="25590"/>
                    </a:lnTo>
                    <a:lnTo>
                      <a:pt x="4268" y="25611"/>
                    </a:lnTo>
                    <a:lnTo>
                      <a:pt x="4122" y="25611"/>
                    </a:lnTo>
                    <a:lnTo>
                      <a:pt x="4017" y="25674"/>
                    </a:lnTo>
                    <a:lnTo>
                      <a:pt x="4017" y="25820"/>
                    </a:lnTo>
                    <a:lnTo>
                      <a:pt x="4059" y="25967"/>
                    </a:lnTo>
                    <a:lnTo>
                      <a:pt x="4017" y="25988"/>
                    </a:lnTo>
                    <a:lnTo>
                      <a:pt x="3976" y="25904"/>
                    </a:lnTo>
                    <a:lnTo>
                      <a:pt x="3976" y="25757"/>
                    </a:lnTo>
                    <a:lnTo>
                      <a:pt x="3913" y="25674"/>
                    </a:lnTo>
                    <a:lnTo>
                      <a:pt x="3850" y="25716"/>
                    </a:lnTo>
                    <a:lnTo>
                      <a:pt x="3578" y="25904"/>
                    </a:lnTo>
                    <a:lnTo>
                      <a:pt x="3536" y="25988"/>
                    </a:lnTo>
                    <a:lnTo>
                      <a:pt x="3369" y="26071"/>
                    </a:lnTo>
                    <a:lnTo>
                      <a:pt x="3327" y="26134"/>
                    </a:lnTo>
                    <a:lnTo>
                      <a:pt x="3348" y="26218"/>
                    </a:lnTo>
                    <a:lnTo>
                      <a:pt x="3348" y="26301"/>
                    </a:lnTo>
                    <a:lnTo>
                      <a:pt x="3369" y="26322"/>
                    </a:lnTo>
                    <a:lnTo>
                      <a:pt x="3452" y="26281"/>
                    </a:lnTo>
                    <a:lnTo>
                      <a:pt x="3557" y="26218"/>
                    </a:lnTo>
                    <a:lnTo>
                      <a:pt x="3599" y="26113"/>
                    </a:lnTo>
                    <a:lnTo>
                      <a:pt x="3662" y="26134"/>
                    </a:lnTo>
                    <a:lnTo>
                      <a:pt x="3704" y="26197"/>
                    </a:lnTo>
                    <a:lnTo>
                      <a:pt x="3892" y="26218"/>
                    </a:lnTo>
                    <a:lnTo>
                      <a:pt x="3871" y="26239"/>
                    </a:lnTo>
                    <a:lnTo>
                      <a:pt x="3766" y="26218"/>
                    </a:lnTo>
                    <a:lnTo>
                      <a:pt x="3599" y="26218"/>
                    </a:lnTo>
                    <a:lnTo>
                      <a:pt x="3536" y="26281"/>
                    </a:lnTo>
                    <a:lnTo>
                      <a:pt x="3536" y="26322"/>
                    </a:lnTo>
                    <a:lnTo>
                      <a:pt x="3557" y="26385"/>
                    </a:lnTo>
                    <a:lnTo>
                      <a:pt x="3473" y="26406"/>
                    </a:lnTo>
                    <a:lnTo>
                      <a:pt x="3432" y="26385"/>
                    </a:lnTo>
                    <a:lnTo>
                      <a:pt x="3264" y="26427"/>
                    </a:lnTo>
                    <a:lnTo>
                      <a:pt x="3264" y="26490"/>
                    </a:lnTo>
                    <a:lnTo>
                      <a:pt x="3390" y="26490"/>
                    </a:lnTo>
                    <a:lnTo>
                      <a:pt x="3473" y="26532"/>
                    </a:lnTo>
                    <a:lnTo>
                      <a:pt x="3578" y="26532"/>
                    </a:lnTo>
                    <a:lnTo>
                      <a:pt x="3515" y="26594"/>
                    </a:lnTo>
                    <a:lnTo>
                      <a:pt x="3390" y="26594"/>
                    </a:lnTo>
                    <a:lnTo>
                      <a:pt x="3327" y="26532"/>
                    </a:lnTo>
                    <a:lnTo>
                      <a:pt x="3222" y="26553"/>
                    </a:lnTo>
                    <a:lnTo>
                      <a:pt x="3180" y="26657"/>
                    </a:lnTo>
                    <a:lnTo>
                      <a:pt x="3243" y="26720"/>
                    </a:lnTo>
                    <a:lnTo>
                      <a:pt x="3327" y="26720"/>
                    </a:lnTo>
                    <a:lnTo>
                      <a:pt x="3452" y="26699"/>
                    </a:lnTo>
                    <a:lnTo>
                      <a:pt x="3536" y="26741"/>
                    </a:lnTo>
                    <a:lnTo>
                      <a:pt x="3683" y="26741"/>
                    </a:lnTo>
                    <a:lnTo>
                      <a:pt x="3662" y="26804"/>
                    </a:lnTo>
                    <a:lnTo>
                      <a:pt x="3557" y="26825"/>
                    </a:lnTo>
                    <a:lnTo>
                      <a:pt x="3452" y="26804"/>
                    </a:lnTo>
                    <a:lnTo>
                      <a:pt x="3432" y="26825"/>
                    </a:lnTo>
                    <a:lnTo>
                      <a:pt x="3452" y="26845"/>
                    </a:lnTo>
                    <a:lnTo>
                      <a:pt x="3662" y="26845"/>
                    </a:lnTo>
                    <a:lnTo>
                      <a:pt x="3662" y="26908"/>
                    </a:lnTo>
                    <a:lnTo>
                      <a:pt x="3536" y="26929"/>
                    </a:lnTo>
                    <a:lnTo>
                      <a:pt x="3390" y="26908"/>
                    </a:lnTo>
                    <a:lnTo>
                      <a:pt x="3327" y="26845"/>
                    </a:lnTo>
                    <a:lnTo>
                      <a:pt x="3264" y="26908"/>
                    </a:lnTo>
                    <a:lnTo>
                      <a:pt x="3327" y="27013"/>
                    </a:lnTo>
                    <a:lnTo>
                      <a:pt x="3452" y="27076"/>
                    </a:lnTo>
                    <a:lnTo>
                      <a:pt x="3473" y="27013"/>
                    </a:lnTo>
                    <a:lnTo>
                      <a:pt x="3557" y="27013"/>
                    </a:lnTo>
                    <a:lnTo>
                      <a:pt x="3641" y="27055"/>
                    </a:lnTo>
                    <a:lnTo>
                      <a:pt x="3787" y="27034"/>
                    </a:lnTo>
                    <a:lnTo>
                      <a:pt x="3850" y="27076"/>
                    </a:lnTo>
                    <a:lnTo>
                      <a:pt x="3766" y="27117"/>
                    </a:lnTo>
                    <a:lnTo>
                      <a:pt x="3766" y="27159"/>
                    </a:lnTo>
                    <a:lnTo>
                      <a:pt x="3871" y="27159"/>
                    </a:lnTo>
                    <a:lnTo>
                      <a:pt x="3892" y="27243"/>
                    </a:lnTo>
                    <a:lnTo>
                      <a:pt x="4026" y="27276"/>
                    </a:lnTo>
                    <a:lnTo>
                      <a:pt x="3976" y="27285"/>
                    </a:lnTo>
                    <a:lnTo>
                      <a:pt x="3871" y="27285"/>
                    </a:lnTo>
                    <a:lnTo>
                      <a:pt x="3787" y="27369"/>
                    </a:lnTo>
                    <a:lnTo>
                      <a:pt x="3787" y="27431"/>
                    </a:lnTo>
                    <a:lnTo>
                      <a:pt x="3871" y="27473"/>
                    </a:lnTo>
                    <a:lnTo>
                      <a:pt x="3913" y="27431"/>
                    </a:lnTo>
                    <a:lnTo>
                      <a:pt x="3976" y="27389"/>
                    </a:lnTo>
                    <a:lnTo>
                      <a:pt x="3996" y="27452"/>
                    </a:lnTo>
                    <a:lnTo>
                      <a:pt x="4017" y="27452"/>
                    </a:lnTo>
                    <a:lnTo>
                      <a:pt x="4080" y="27369"/>
                    </a:lnTo>
                    <a:lnTo>
                      <a:pt x="4185" y="27306"/>
                    </a:lnTo>
                    <a:lnTo>
                      <a:pt x="4185" y="27369"/>
                    </a:lnTo>
                    <a:lnTo>
                      <a:pt x="4164" y="27410"/>
                    </a:lnTo>
                    <a:lnTo>
                      <a:pt x="4164" y="27473"/>
                    </a:lnTo>
                    <a:lnTo>
                      <a:pt x="4206" y="27494"/>
                    </a:lnTo>
                    <a:lnTo>
                      <a:pt x="4289" y="27557"/>
                    </a:lnTo>
                    <a:lnTo>
                      <a:pt x="4373" y="27557"/>
                    </a:lnTo>
                    <a:lnTo>
                      <a:pt x="4499" y="27369"/>
                    </a:lnTo>
                    <a:lnTo>
                      <a:pt x="4520" y="27159"/>
                    </a:lnTo>
                    <a:lnTo>
                      <a:pt x="4582" y="27055"/>
                    </a:lnTo>
                    <a:lnTo>
                      <a:pt x="4645" y="27034"/>
                    </a:lnTo>
                    <a:lnTo>
                      <a:pt x="4645" y="27097"/>
                    </a:lnTo>
                    <a:lnTo>
                      <a:pt x="4603" y="27159"/>
                    </a:lnTo>
                    <a:lnTo>
                      <a:pt x="4603" y="27306"/>
                    </a:lnTo>
                    <a:lnTo>
                      <a:pt x="4499" y="27473"/>
                    </a:lnTo>
                    <a:lnTo>
                      <a:pt x="4415" y="27557"/>
                    </a:lnTo>
                    <a:lnTo>
                      <a:pt x="4436" y="27599"/>
                    </a:lnTo>
                    <a:lnTo>
                      <a:pt x="4582" y="27599"/>
                    </a:lnTo>
                    <a:lnTo>
                      <a:pt x="4687" y="27578"/>
                    </a:lnTo>
                    <a:lnTo>
                      <a:pt x="4708" y="27599"/>
                    </a:lnTo>
                    <a:lnTo>
                      <a:pt x="4624" y="27682"/>
                    </a:lnTo>
                    <a:lnTo>
                      <a:pt x="4582" y="27808"/>
                    </a:lnTo>
                    <a:lnTo>
                      <a:pt x="4415" y="27913"/>
                    </a:lnTo>
                    <a:lnTo>
                      <a:pt x="4415" y="27975"/>
                    </a:lnTo>
                    <a:lnTo>
                      <a:pt x="4499" y="28122"/>
                    </a:lnTo>
                    <a:lnTo>
                      <a:pt x="4624" y="28185"/>
                    </a:lnTo>
                    <a:lnTo>
                      <a:pt x="4708" y="28122"/>
                    </a:lnTo>
                    <a:lnTo>
                      <a:pt x="4792" y="28122"/>
                    </a:lnTo>
                    <a:lnTo>
                      <a:pt x="4812" y="28226"/>
                    </a:lnTo>
                    <a:lnTo>
                      <a:pt x="4875" y="28331"/>
                    </a:lnTo>
                    <a:lnTo>
                      <a:pt x="4875" y="28415"/>
                    </a:lnTo>
                    <a:lnTo>
                      <a:pt x="4812" y="28415"/>
                    </a:lnTo>
                    <a:lnTo>
                      <a:pt x="4771" y="28310"/>
                    </a:lnTo>
                    <a:lnTo>
                      <a:pt x="4708" y="28310"/>
                    </a:lnTo>
                    <a:lnTo>
                      <a:pt x="4708" y="28415"/>
                    </a:lnTo>
                    <a:lnTo>
                      <a:pt x="4812" y="28561"/>
                    </a:lnTo>
                    <a:lnTo>
                      <a:pt x="4938" y="28498"/>
                    </a:lnTo>
                    <a:lnTo>
                      <a:pt x="5085" y="28436"/>
                    </a:lnTo>
                    <a:lnTo>
                      <a:pt x="5147" y="28352"/>
                    </a:lnTo>
                    <a:lnTo>
                      <a:pt x="5147" y="28352"/>
                    </a:lnTo>
                    <a:lnTo>
                      <a:pt x="5126" y="28519"/>
                    </a:lnTo>
                    <a:lnTo>
                      <a:pt x="5022" y="28750"/>
                    </a:lnTo>
                    <a:lnTo>
                      <a:pt x="5043" y="28938"/>
                    </a:lnTo>
                    <a:lnTo>
                      <a:pt x="5126" y="28959"/>
                    </a:lnTo>
                    <a:lnTo>
                      <a:pt x="20087" y="30444"/>
                    </a:lnTo>
                    <a:lnTo>
                      <a:pt x="20212" y="30507"/>
                    </a:lnTo>
                    <a:lnTo>
                      <a:pt x="20359" y="30507"/>
                    </a:lnTo>
                    <a:lnTo>
                      <a:pt x="20484" y="30612"/>
                    </a:lnTo>
                    <a:lnTo>
                      <a:pt x="20484" y="30674"/>
                    </a:lnTo>
                    <a:lnTo>
                      <a:pt x="20568" y="30737"/>
                    </a:lnTo>
                    <a:lnTo>
                      <a:pt x="20589" y="30779"/>
                    </a:lnTo>
                    <a:lnTo>
                      <a:pt x="20694" y="30821"/>
                    </a:lnTo>
                    <a:lnTo>
                      <a:pt x="20714" y="30842"/>
                    </a:lnTo>
                    <a:lnTo>
                      <a:pt x="20840" y="30884"/>
                    </a:lnTo>
                    <a:lnTo>
                      <a:pt x="20903" y="30946"/>
                    </a:lnTo>
                    <a:lnTo>
                      <a:pt x="20945" y="30946"/>
                    </a:lnTo>
                    <a:lnTo>
                      <a:pt x="21049" y="30926"/>
                    </a:lnTo>
                    <a:lnTo>
                      <a:pt x="21133" y="30946"/>
                    </a:lnTo>
                    <a:lnTo>
                      <a:pt x="21238" y="30946"/>
                    </a:lnTo>
                    <a:lnTo>
                      <a:pt x="21363" y="31051"/>
                    </a:lnTo>
                    <a:lnTo>
                      <a:pt x="21447" y="31051"/>
                    </a:lnTo>
                    <a:lnTo>
                      <a:pt x="21510" y="31198"/>
                    </a:lnTo>
                    <a:lnTo>
                      <a:pt x="21719" y="31239"/>
                    </a:lnTo>
                    <a:lnTo>
                      <a:pt x="21823" y="31260"/>
                    </a:lnTo>
                    <a:lnTo>
                      <a:pt x="21886" y="31344"/>
                    </a:lnTo>
                    <a:lnTo>
                      <a:pt x="21970" y="31407"/>
                    </a:lnTo>
                    <a:lnTo>
                      <a:pt x="22158" y="31407"/>
                    </a:lnTo>
                    <a:lnTo>
                      <a:pt x="22263" y="31344"/>
                    </a:lnTo>
                    <a:lnTo>
                      <a:pt x="22305" y="31407"/>
                    </a:lnTo>
                    <a:lnTo>
                      <a:pt x="22367" y="31511"/>
                    </a:lnTo>
                    <a:lnTo>
                      <a:pt x="22618" y="31532"/>
                    </a:lnTo>
                    <a:lnTo>
                      <a:pt x="22681" y="31574"/>
                    </a:lnTo>
                    <a:lnTo>
                      <a:pt x="22807" y="31616"/>
                    </a:lnTo>
                    <a:lnTo>
                      <a:pt x="22890" y="31658"/>
                    </a:lnTo>
                    <a:lnTo>
                      <a:pt x="25192" y="32725"/>
                    </a:lnTo>
                    <a:lnTo>
                      <a:pt x="25339" y="32913"/>
                    </a:lnTo>
                    <a:lnTo>
                      <a:pt x="25694" y="33206"/>
                    </a:lnTo>
                    <a:lnTo>
                      <a:pt x="26050" y="34985"/>
                    </a:lnTo>
                    <a:lnTo>
                      <a:pt x="26008" y="35738"/>
                    </a:lnTo>
                    <a:lnTo>
                      <a:pt x="25945" y="35864"/>
                    </a:lnTo>
                    <a:lnTo>
                      <a:pt x="25903" y="36010"/>
                    </a:lnTo>
                    <a:lnTo>
                      <a:pt x="25820" y="36136"/>
                    </a:lnTo>
                    <a:lnTo>
                      <a:pt x="25611" y="36240"/>
                    </a:lnTo>
                    <a:lnTo>
                      <a:pt x="25506" y="36366"/>
                    </a:lnTo>
                    <a:lnTo>
                      <a:pt x="25611" y="36554"/>
                    </a:lnTo>
                    <a:lnTo>
                      <a:pt x="27598" y="36031"/>
                    </a:lnTo>
                    <a:lnTo>
                      <a:pt x="27849" y="35947"/>
                    </a:lnTo>
                    <a:lnTo>
                      <a:pt x="27912" y="35654"/>
                    </a:lnTo>
                    <a:lnTo>
                      <a:pt x="28979" y="35340"/>
                    </a:lnTo>
                    <a:lnTo>
                      <a:pt x="29461" y="34985"/>
                    </a:lnTo>
                    <a:lnTo>
                      <a:pt x="29565" y="34901"/>
                    </a:lnTo>
                    <a:lnTo>
                      <a:pt x="29712" y="34880"/>
                    </a:lnTo>
                    <a:lnTo>
                      <a:pt x="29984" y="34650"/>
                    </a:lnTo>
                    <a:lnTo>
                      <a:pt x="30088" y="34545"/>
                    </a:lnTo>
                    <a:lnTo>
                      <a:pt x="30214" y="34483"/>
                    </a:lnTo>
                    <a:lnTo>
                      <a:pt x="30318" y="34378"/>
                    </a:lnTo>
                    <a:lnTo>
                      <a:pt x="30528" y="34357"/>
                    </a:lnTo>
                    <a:lnTo>
                      <a:pt x="32202" y="34378"/>
                    </a:lnTo>
                    <a:lnTo>
                      <a:pt x="32327" y="34252"/>
                    </a:lnTo>
                    <a:lnTo>
                      <a:pt x="32390" y="34252"/>
                    </a:lnTo>
                    <a:lnTo>
                      <a:pt x="32432" y="34190"/>
                    </a:lnTo>
                    <a:lnTo>
                      <a:pt x="32515" y="34190"/>
                    </a:lnTo>
                    <a:lnTo>
                      <a:pt x="32620" y="34231"/>
                    </a:lnTo>
                    <a:lnTo>
                      <a:pt x="32704" y="34169"/>
                    </a:lnTo>
                    <a:lnTo>
                      <a:pt x="32725" y="34085"/>
                    </a:lnTo>
                    <a:lnTo>
                      <a:pt x="32913" y="33876"/>
                    </a:lnTo>
                    <a:lnTo>
                      <a:pt x="32976" y="33855"/>
                    </a:lnTo>
                    <a:lnTo>
                      <a:pt x="33143" y="33667"/>
                    </a:lnTo>
                    <a:lnTo>
                      <a:pt x="33185" y="33541"/>
                    </a:lnTo>
                    <a:lnTo>
                      <a:pt x="33227" y="33415"/>
                    </a:lnTo>
                    <a:lnTo>
                      <a:pt x="33373" y="33332"/>
                    </a:lnTo>
                    <a:lnTo>
                      <a:pt x="33373" y="33227"/>
                    </a:lnTo>
                    <a:lnTo>
                      <a:pt x="33478" y="33102"/>
                    </a:lnTo>
                    <a:lnTo>
                      <a:pt x="33687" y="32871"/>
                    </a:lnTo>
                    <a:lnTo>
                      <a:pt x="33750" y="32767"/>
                    </a:lnTo>
                    <a:lnTo>
                      <a:pt x="33854" y="32662"/>
                    </a:lnTo>
                    <a:lnTo>
                      <a:pt x="33875" y="32662"/>
                    </a:lnTo>
                    <a:lnTo>
                      <a:pt x="33959" y="32704"/>
                    </a:lnTo>
                    <a:lnTo>
                      <a:pt x="34022" y="32788"/>
                    </a:lnTo>
                    <a:lnTo>
                      <a:pt x="34168" y="32767"/>
                    </a:lnTo>
                    <a:lnTo>
                      <a:pt x="34315" y="32809"/>
                    </a:lnTo>
                    <a:lnTo>
                      <a:pt x="34378" y="32767"/>
                    </a:lnTo>
                    <a:lnTo>
                      <a:pt x="34608" y="32976"/>
                    </a:lnTo>
                    <a:lnTo>
                      <a:pt x="34608" y="33143"/>
                    </a:lnTo>
                    <a:lnTo>
                      <a:pt x="34482" y="33876"/>
                    </a:lnTo>
                    <a:lnTo>
                      <a:pt x="34440" y="33959"/>
                    </a:lnTo>
                    <a:lnTo>
                      <a:pt x="34503" y="33959"/>
                    </a:lnTo>
                    <a:lnTo>
                      <a:pt x="34524" y="34043"/>
                    </a:lnTo>
                    <a:lnTo>
                      <a:pt x="34587" y="34085"/>
                    </a:lnTo>
                    <a:lnTo>
                      <a:pt x="34587" y="34190"/>
                    </a:lnTo>
                    <a:lnTo>
                      <a:pt x="34587" y="34252"/>
                    </a:lnTo>
                    <a:lnTo>
                      <a:pt x="34587" y="34294"/>
                    </a:lnTo>
                    <a:lnTo>
                      <a:pt x="34545" y="34357"/>
                    </a:lnTo>
                    <a:lnTo>
                      <a:pt x="34587" y="34378"/>
                    </a:lnTo>
                    <a:lnTo>
                      <a:pt x="34733" y="34399"/>
                    </a:lnTo>
                    <a:lnTo>
                      <a:pt x="34859" y="34378"/>
                    </a:lnTo>
                    <a:lnTo>
                      <a:pt x="34901" y="34462"/>
                    </a:lnTo>
                    <a:lnTo>
                      <a:pt x="34963" y="34483"/>
                    </a:lnTo>
                    <a:lnTo>
                      <a:pt x="35026" y="34399"/>
                    </a:lnTo>
                    <a:lnTo>
                      <a:pt x="35110" y="34462"/>
                    </a:lnTo>
                    <a:lnTo>
                      <a:pt x="35235" y="34441"/>
                    </a:lnTo>
                    <a:lnTo>
                      <a:pt x="35277" y="34336"/>
                    </a:lnTo>
                    <a:lnTo>
                      <a:pt x="35382" y="34231"/>
                    </a:lnTo>
                    <a:lnTo>
                      <a:pt x="35382" y="34231"/>
                    </a:lnTo>
                    <a:lnTo>
                      <a:pt x="35319" y="34336"/>
                    </a:lnTo>
                    <a:lnTo>
                      <a:pt x="35340" y="34336"/>
                    </a:lnTo>
                    <a:lnTo>
                      <a:pt x="35319" y="34378"/>
                    </a:lnTo>
                    <a:lnTo>
                      <a:pt x="35361" y="34399"/>
                    </a:lnTo>
                    <a:lnTo>
                      <a:pt x="35633" y="34336"/>
                    </a:lnTo>
                    <a:lnTo>
                      <a:pt x="35675" y="34252"/>
                    </a:lnTo>
                    <a:lnTo>
                      <a:pt x="35842" y="34252"/>
                    </a:lnTo>
                    <a:lnTo>
                      <a:pt x="35968" y="34127"/>
                    </a:lnTo>
                    <a:lnTo>
                      <a:pt x="36072" y="34085"/>
                    </a:lnTo>
                    <a:lnTo>
                      <a:pt x="36198" y="33918"/>
                    </a:lnTo>
                    <a:lnTo>
                      <a:pt x="36198" y="33980"/>
                    </a:lnTo>
                    <a:lnTo>
                      <a:pt x="36282" y="33939"/>
                    </a:lnTo>
                    <a:lnTo>
                      <a:pt x="36282" y="33980"/>
                    </a:lnTo>
                    <a:lnTo>
                      <a:pt x="36156" y="34127"/>
                    </a:lnTo>
                    <a:lnTo>
                      <a:pt x="36051" y="34148"/>
                    </a:lnTo>
                    <a:lnTo>
                      <a:pt x="35947" y="34294"/>
                    </a:lnTo>
                    <a:lnTo>
                      <a:pt x="36072" y="34336"/>
                    </a:lnTo>
                    <a:lnTo>
                      <a:pt x="36156" y="34231"/>
                    </a:lnTo>
                    <a:lnTo>
                      <a:pt x="36261" y="34231"/>
                    </a:lnTo>
                    <a:lnTo>
                      <a:pt x="36323" y="34273"/>
                    </a:lnTo>
                    <a:lnTo>
                      <a:pt x="36575" y="34294"/>
                    </a:lnTo>
                    <a:lnTo>
                      <a:pt x="36742" y="34294"/>
                    </a:lnTo>
                    <a:lnTo>
                      <a:pt x="36616" y="34357"/>
                    </a:lnTo>
                    <a:lnTo>
                      <a:pt x="36470" y="34378"/>
                    </a:lnTo>
                    <a:lnTo>
                      <a:pt x="36365" y="34399"/>
                    </a:lnTo>
                    <a:lnTo>
                      <a:pt x="36323" y="34483"/>
                    </a:lnTo>
                    <a:lnTo>
                      <a:pt x="36323" y="34545"/>
                    </a:lnTo>
                    <a:lnTo>
                      <a:pt x="36261" y="34483"/>
                    </a:lnTo>
                    <a:lnTo>
                      <a:pt x="36219" y="34378"/>
                    </a:lnTo>
                    <a:lnTo>
                      <a:pt x="36156" y="34357"/>
                    </a:lnTo>
                    <a:lnTo>
                      <a:pt x="35968" y="34399"/>
                    </a:lnTo>
                    <a:lnTo>
                      <a:pt x="35779" y="34545"/>
                    </a:lnTo>
                    <a:lnTo>
                      <a:pt x="35549" y="34587"/>
                    </a:lnTo>
                    <a:lnTo>
                      <a:pt x="35340" y="34713"/>
                    </a:lnTo>
                    <a:lnTo>
                      <a:pt x="35319" y="34817"/>
                    </a:lnTo>
                    <a:lnTo>
                      <a:pt x="35173" y="34922"/>
                    </a:lnTo>
                    <a:lnTo>
                      <a:pt x="35110" y="35110"/>
                    </a:lnTo>
                    <a:lnTo>
                      <a:pt x="35110" y="35236"/>
                    </a:lnTo>
                    <a:lnTo>
                      <a:pt x="35131" y="35340"/>
                    </a:lnTo>
                    <a:lnTo>
                      <a:pt x="35152" y="35445"/>
                    </a:lnTo>
                    <a:lnTo>
                      <a:pt x="35215" y="35424"/>
                    </a:lnTo>
                    <a:lnTo>
                      <a:pt x="35256" y="35445"/>
                    </a:lnTo>
                    <a:lnTo>
                      <a:pt x="35256" y="35592"/>
                    </a:lnTo>
                    <a:lnTo>
                      <a:pt x="35361" y="35654"/>
                    </a:lnTo>
                    <a:lnTo>
                      <a:pt x="35403" y="35612"/>
                    </a:lnTo>
                    <a:lnTo>
                      <a:pt x="35466" y="35654"/>
                    </a:lnTo>
                    <a:lnTo>
                      <a:pt x="35507" y="35612"/>
                    </a:lnTo>
                    <a:lnTo>
                      <a:pt x="35507" y="35508"/>
                    </a:lnTo>
                    <a:lnTo>
                      <a:pt x="35570" y="35487"/>
                    </a:lnTo>
                    <a:lnTo>
                      <a:pt x="35654" y="35487"/>
                    </a:lnTo>
                    <a:lnTo>
                      <a:pt x="35779" y="35382"/>
                    </a:lnTo>
                    <a:lnTo>
                      <a:pt x="35884" y="35340"/>
                    </a:lnTo>
                    <a:lnTo>
                      <a:pt x="36031" y="35131"/>
                    </a:lnTo>
                    <a:lnTo>
                      <a:pt x="36219" y="35006"/>
                    </a:lnTo>
                    <a:lnTo>
                      <a:pt x="36177" y="34964"/>
                    </a:lnTo>
                    <a:lnTo>
                      <a:pt x="36240" y="34817"/>
                    </a:lnTo>
                    <a:lnTo>
                      <a:pt x="36323" y="34817"/>
                    </a:lnTo>
                    <a:lnTo>
                      <a:pt x="36386" y="34755"/>
                    </a:lnTo>
                    <a:lnTo>
                      <a:pt x="36428" y="34755"/>
                    </a:lnTo>
                    <a:lnTo>
                      <a:pt x="36491" y="34880"/>
                    </a:lnTo>
                    <a:lnTo>
                      <a:pt x="36637" y="34901"/>
                    </a:lnTo>
                    <a:lnTo>
                      <a:pt x="36637" y="34859"/>
                    </a:lnTo>
                    <a:lnTo>
                      <a:pt x="36721" y="34859"/>
                    </a:lnTo>
                    <a:lnTo>
                      <a:pt x="36909" y="34755"/>
                    </a:lnTo>
                    <a:lnTo>
                      <a:pt x="37077" y="34692"/>
                    </a:lnTo>
                    <a:lnTo>
                      <a:pt x="37286" y="34650"/>
                    </a:lnTo>
                    <a:lnTo>
                      <a:pt x="37391" y="34650"/>
                    </a:lnTo>
                    <a:lnTo>
                      <a:pt x="37663" y="34483"/>
                    </a:lnTo>
                    <a:lnTo>
                      <a:pt x="37809" y="34441"/>
                    </a:lnTo>
                    <a:lnTo>
                      <a:pt x="37914" y="34441"/>
                    </a:lnTo>
                    <a:lnTo>
                      <a:pt x="37997" y="34462"/>
                    </a:lnTo>
                    <a:lnTo>
                      <a:pt x="38081" y="34399"/>
                    </a:lnTo>
                    <a:lnTo>
                      <a:pt x="38018" y="34357"/>
                    </a:lnTo>
                    <a:lnTo>
                      <a:pt x="37935" y="34357"/>
                    </a:lnTo>
                    <a:lnTo>
                      <a:pt x="37830" y="34294"/>
                    </a:lnTo>
                    <a:lnTo>
                      <a:pt x="37872" y="34294"/>
                    </a:lnTo>
                    <a:lnTo>
                      <a:pt x="37956" y="34273"/>
                    </a:lnTo>
                    <a:lnTo>
                      <a:pt x="37956" y="34231"/>
                    </a:lnTo>
                    <a:lnTo>
                      <a:pt x="37663" y="34169"/>
                    </a:lnTo>
                    <a:lnTo>
                      <a:pt x="37537" y="34148"/>
                    </a:lnTo>
                    <a:lnTo>
                      <a:pt x="37558" y="34085"/>
                    </a:lnTo>
                    <a:lnTo>
                      <a:pt x="37537" y="33980"/>
                    </a:lnTo>
                    <a:lnTo>
                      <a:pt x="37370" y="34085"/>
                    </a:lnTo>
                    <a:lnTo>
                      <a:pt x="37349" y="34148"/>
                    </a:lnTo>
                    <a:lnTo>
                      <a:pt x="37160" y="34106"/>
                    </a:lnTo>
                    <a:lnTo>
                      <a:pt x="37139" y="34064"/>
                    </a:lnTo>
                    <a:lnTo>
                      <a:pt x="36993" y="34022"/>
                    </a:lnTo>
                    <a:lnTo>
                      <a:pt x="36930" y="34043"/>
                    </a:lnTo>
                    <a:lnTo>
                      <a:pt x="36826" y="33980"/>
                    </a:lnTo>
                    <a:lnTo>
                      <a:pt x="36637" y="33980"/>
                    </a:lnTo>
                    <a:lnTo>
                      <a:pt x="36491" y="33876"/>
                    </a:lnTo>
                    <a:lnTo>
                      <a:pt x="36616" y="33834"/>
                    </a:lnTo>
                    <a:lnTo>
                      <a:pt x="36637" y="33750"/>
                    </a:lnTo>
                    <a:lnTo>
                      <a:pt x="36491" y="33750"/>
                    </a:lnTo>
                    <a:lnTo>
                      <a:pt x="36428" y="33708"/>
                    </a:lnTo>
                    <a:lnTo>
                      <a:pt x="36323" y="33708"/>
                    </a:lnTo>
                    <a:lnTo>
                      <a:pt x="36282" y="33541"/>
                    </a:lnTo>
                    <a:lnTo>
                      <a:pt x="36219" y="33499"/>
                    </a:lnTo>
                    <a:lnTo>
                      <a:pt x="36219" y="33332"/>
                    </a:lnTo>
                    <a:lnTo>
                      <a:pt x="36261" y="33227"/>
                    </a:lnTo>
                    <a:lnTo>
                      <a:pt x="36177" y="33143"/>
                    </a:lnTo>
                    <a:lnTo>
                      <a:pt x="36261" y="33039"/>
                    </a:lnTo>
                    <a:lnTo>
                      <a:pt x="36261" y="32997"/>
                    </a:lnTo>
                    <a:lnTo>
                      <a:pt x="36051" y="32997"/>
                    </a:lnTo>
                    <a:lnTo>
                      <a:pt x="36114" y="32913"/>
                    </a:lnTo>
                    <a:lnTo>
                      <a:pt x="36198" y="32913"/>
                    </a:lnTo>
                    <a:lnTo>
                      <a:pt x="36365" y="32620"/>
                    </a:lnTo>
                    <a:lnTo>
                      <a:pt x="36470" y="32558"/>
                    </a:lnTo>
                    <a:lnTo>
                      <a:pt x="36428" y="32474"/>
                    </a:lnTo>
                    <a:lnTo>
                      <a:pt x="36365" y="32474"/>
                    </a:lnTo>
                    <a:lnTo>
                      <a:pt x="36323" y="32411"/>
                    </a:lnTo>
                    <a:lnTo>
                      <a:pt x="36219" y="32411"/>
                    </a:lnTo>
                    <a:lnTo>
                      <a:pt x="36114" y="32495"/>
                    </a:lnTo>
                    <a:lnTo>
                      <a:pt x="35989" y="32558"/>
                    </a:lnTo>
                    <a:lnTo>
                      <a:pt x="35947" y="32474"/>
                    </a:lnTo>
                    <a:lnTo>
                      <a:pt x="35905" y="32369"/>
                    </a:lnTo>
                    <a:lnTo>
                      <a:pt x="35675" y="32307"/>
                    </a:lnTo>
                    <a:lnTo>
                      <a:pt x="35528" y="32286"/>
                    </a:lnTo>
                    <a:lnTo>
                      <a:pt x="35361" y="32307"/>
                    </a:lnTo>
                    <a:lnTo>
                      <a:pt x="35528" y="32244"/>
                    </a:lnTo>
                    <a:lnTo>
                      <a:pt x="35654" y="32265"/>
                    </a:lnTo>
                    <a:lnTo>
                      <a:pt x="35779" y="32244"/>
                    </a:lnTo>
                    <a:lnTo>
                      <a:pt x="35863" y="32181"/>
                    </a:lnTo>
                    <a:lnTo>
                      <a:pt x="35989" y="32244"/>
                    </a:lnTo>
                    <a:lnTo>
                      <a:pt x="36093" y="32307"/>
                    </a:lnTo>
                    <a:lnTo>
                      <a:pt x="36219" y="32307"/>
                    </a:lnTo>
                    <a:lnTo>
                      <a:pt x="36386" y="32202"/>
                    </a:lnTo>
                    <a:lnTo>
                      <a:pt x="36470" y="32202"/>
                    </a:lnTo>
                    <a:lnTo>
                      <a:pt x="36575" y="32097"/>
                    </a:lnTo>
                    <a:lnTo>
                      <a:pt x="36700" y="32076"/>
                    </a:lnTo>
                    <a:lnTo>
                      <a:pt x="36784" y="31867"/>
                    </a:lnTo>
                    <a:lnTo>
                      <a:pt x="36721" y="31825"/>
                    </a:lnTo>
                    <a:lnTo>
                      <a:pt x="36805" y="31783"/>
                    </a:lnTo>
                    <a:lnTo>
                      <a:pt x="36742" y="31721"/>
                    </a:lnTo>
                    <a:lnTo>
                      <a:pt x="36616" y="31658"/>
                    </a:lnTo>
                    <a:lnTo>
                      <a:pt x="36533" y="31658"/>
                    </a:lnTo>
                    <a:lnTo>
                      <a:pt x="36575" y="31637"/>
                    </a:lnTo>
                    <a:lnTo>
                      <a:pt x="36575" y="31616"/>
                    </a:lnTo>
                    <a:lnTo>
                      <a:pt x="36742" y="31637"/>
                    </a:lnTo>
                    <a:lnTo>
                      <a:pt x="36742" y="31574"/>
                    </a:lnTo>
                    <a:lnTo>
                      <a:pt x="36512" y="31449"/>
                    </a:lnTo>
                    <a:lnTo>
                      <a:pt x="36303" y="31365"/>
                    </a:lnTo>
                    <a:lnTo>
                      <a:pt x="35905" y="31365"/>
                    </a:lnTo>
                    <a:lnTo>
                      <a:pt x="35800" y="31428"/>
                    </a:lnTo>
                    <a:lnTo>
                      <a:pt x="35675" y="31428"/>
                    </a:lnTo>
                    <a:lnTo>
                      <a:pt x="35319" y="31553"/>
                    </a:lnTo>
                    <a:lnTo>
                      <a:pt x="35026" y="31616"/>
                    </a:lnTo>
                    <a:lnTo>
                      <a:pt x="34859" y="31679"/>
                    </a:lnTo>
                    <a:lnTo>
                      <a:pt x="34712" y="31721"/>
                    </a:lnTo>
                    <a:lnTo>
                      <a:pt x="34440" y="31867"/>
                    </a:lnTo>
                    <a:lnTo>
                      <a:pt x="34064" y="32139"/>
                    </a:lnTo>
                    <a:lnTo>
                      <a:pt x="33771" y="32390"/>
                    </a:lnTo>
                    <a:lnTo>
                      <a:pt x="33666" y="32453"/>
                    </a:lnTo>
                    <a:lnTo>
                      <a:pt x="33541" y="32579"/>
                    </a:lnTo>
                    <a:lnTo>
                      <a:pt x="33373" y="32767"/>
                    </a:lnTo>
                    <a:lnTo>
                      <a:pt x="33185" y="32892"/>
                    </a:lnTo>
                    <a:lnTo>
                      <a:pt x="32934" y="33018"/>
                    </a:lnTo>
                    <a:lnTo>
                      <a:pt x="32641" y="33143"/>
                    </a:lnTo>
                    <a:lnTo>
                      <a:pt x="32515" y="33143"/>
                    </a:lnTo>
                    <a:lnTo>
                      <a:pt x="32704" y="33102"/>
                    </a:lnTo>
                    <a:lnTo>
                      <a:pt x="33018" y="32976"/>
                    </a:lnTo>
                    <a:lnTo>
                      <a:pt x="33038" y="32892"/>
                    </a:lnTo>
                    <a:lnTo>
                      <a:pt x="33290" y="32725"/>
                    </a:lnTo>
                    <a:lnTo>
                      <a:pt x="33373" y="32599"/>
                    </a:lnTo>
                    <a:lnTo>
                      <a:pt x="33436" y="32453"/>
                    </a:lnTo>
                    <a:lnTo>
                      <a:pt x="33541" y="32411"/>
                    </a:lnTo>
                    <a:lnTo>
                      <a:pt x="33666" y="32286"/>
                    </a:lnTo>
                    <a:lnTo>
                      <a:pt x="33813" y="32202"/>
                    </a:lnTo>
                    <a:lnTo>
                      <a:pt x="33875" y="31993"/>
                    </a:lnTo>
                    <a:lnTo>
                      <a:pt x="34106" y="31888"/>
                    </a:lnTo>
                    <a:lnTo>
                      <a:pt x="34231" y="31679"/>
                    </a:lnTo>
                    <a:lnTo>
                      <a:pt x="34294" y="31658"/>
                    </a:lnTo>
                    <a:lnTo>
                      <a:pt x="34315" y="31595"/>
                    </a:lnTo>
                    <a:lnTo>
                      <a:pt x="34440" y="31532"/>
                    </a:lnTo>
                    <a:lnTo>
                      <a:pt x="34545" y="31491"/>
                    </a:lnTo>
                    <a:lnTo>
                      <a:pt x="34608" y="31386"/>
                    </a:lnTo>
                    <a:lnTo>
                      <a:pt x="34712" y="31344"/>
                    </a:lnTo>
                    <a:lnTo>
                      <a:pt x="34754" y="31386"/>
                    </a:lnTo>
                    <a:lnTo>
                      <a:pt x="34838" y="31365"/>
                    </a:lnTo>
                    <a:lnTo>
                      <a:pt x="34922" y="31239"/>
                    </a:lnTo>
                    <a:lnTo>
                      <a:pt x="35131" y="31239"/>
                    </a:lnTo>
                    <a:lnTo>
                      <a:pt x="35235" y="31177"/>
                    </a:lnTo>
                    <a:lnTo>
                      <a:pt x="35424" y="31177"/>
                    </a:lnTo>
                    <a:lnTo>
                      <a:pt x="35487" y="31072"/>
                    </a:lnTo>
                    <a:lnTo>
                      <a:pt x="35528" y="30946"/>
                    </a:lnTo>
                    <a:lnTo>
                      <a:pt x="35570" y="30905"/>
                    </a:lnTo>
                    <a:lnTo>
                      <a:pt x="35570" y="30821"/>
                    </a:lnTo>
                    <a:lnTo>
                      <a:pt x="35696" y="30758"/>
                    </a:lnTo>
                    <a:lnTo>
                      <a:pt x="35905" y="30591"/>
                    </a:lnTo>
                    <a:lnTo>
                      <a:pt x="36010" y="30549"/>
                    </a:lnTo>
                    <a:lnTo>
                      <a:pt x="36072" y="30507"/>
                    </a:lnTo>
                    <a:lnTo>
                      <a:pt x="36010" y="30444"/>
                    </a:lnTo>
                    <a:lnTo>
                      <a:pt x="36072" y="30382"/>
                    </a:lnTo>
                    <a:lnTo>
                      <a:pt x="36156" y="30319"/>
                    </a:lnTo>
                    <a:lnTo>
                      <a:pt x="36261" y="30423"/>
                    </a:lnTo>
                    <a:lnTo>
                      <a:pt x="36386" y="30486"/>
                    </a:lnTo>
                    <a:lnTo>
                      <a:pt x="36616" y="30444"/>
                    </a:lnTo>
                    <a:lnTo>
                      <a:pt x="36805" y="30528"/>
                    </a:lnTo>
                    <a:lnTo>
                      <a:pt x="36888" y="30528"/>
                    </a:lnTo>
                    <a:lnTo>
                      <a:pt x="36951" y="30549"/>
                    </a:lnTo>
                    <a:lnTo>
                      <a:pt x="37098" y="30486"/>
                    </a:lnTo>
                    <a:lnTo>
                      <a:pt x="37160" y="30549"/>
                    </a:lnTo>
                    <a:lnTo>
                      <a:pt x="37265" y="30549"/>
                    </a:lnTo>
                    <a:lnTo>
                      <a:pt x="37349" y="30507"/>
                    </a:lnTo>
                    <a:lnTo>
                      <a:pt x="37474" y="30591"/>
                    </a:lnTo>
                    <a:lnTo>
                      <a:pt x="37663" y="30612"/>
                    </a:lnTo>
                    <a:lnTo>
                      <a:pt x="37746" y="30570"/>
                    </a:lnTo>
                    <a:lnTo>
                      <a:pt x="37788" y="30570"/>
                    </a:lnTo>
                    <a:lnTo>
                      <a:pt x="37893" y="30633"/>
                    </a:lnTo>
                    <a:lnTo>
                      <a:pt x="38039" y="30674"/>
                    </a:lnTo>
                    <a:lnTo>
                      <a:pt x="38081" y="30633"/>
                    </a:lnTo>
                    <a:lnTo>
                      <a:pt x="38248" y="30716"/>
                    </a:lnTo>
                    <a:lnTo>
                      <a:pt x="38311" y="30716"/>
                    </a:lnTo>
                    <a:lnTo>
                      <a:pt x="38416" y="30674"/>
                    </a:lnTo>
                    <a:lnTo>
                      <a:pt x="38500" y="30695"/>
                    </a:lnTo>
                    <a:lnTo>
                      <a:pt x="38479" y="30737"/>
                    </a:lnTo>
                    <a:lnTo>
                      <a:pt x="38583" y="30779"/>
                    </a:lnTo>
                    <a:lnTo>
                      <a:pt x="38834" y="30695"/>
                    </a:lnTo>
                    <a:lnTo>
                      <a:pt x="38897" y="30695"/>
                    </a:lnTo>
                    <a:lnTo>
                      <a:pt x="39023" y="30633"/>
                    </a:lnTo>
                    <a:lnTo>
                      <a:pt x="39085" y="30674"/>
                    </a:lnTo>
                    <a:lnTo>
                      <a:pt x="39253" y="30674"/>
                    </a:lnTo>
                    <a:lnTo>
                      <a:pt x="39336" y="30716"/>
                    </a:lnTo>
                    <a:lnTo>
                      <a:pt x="39441" y="30674"/>
                    </a:lnTo>
                    <a:lnTo>
                      <a:pt x="39462" y="30591"/>
                    </a:lnTo>
                    <a:lnTo>
                      <a:pt x="39608" y="30591"/>
                    </a:lnTo>
                    <a:lnTo>
                      <a:pt x="39671" y="30528"/>
                    </a:lnTo>
                    <a:lnTo>
                      <a:pt x="39734" y="30570"/>
                    </a:lnTo>
                    <a:lnTo>
                      <a:pt x="39818" y="30465"/>
                    </a:lnTo>
                    <a:lnTo>
                      <a:pt x="39922" y="30402"/>
                    </a:lnTo>
                    <a:lnTo>
                      <a:pt x="39943" y="30361"/>
                    </a:lnTo>
                    <a:lnTo>
                      <a:pt x="40048" y="30382"/>
                    </a:lnTo>
                    <a:lnTo>
                      <a:pt x="40132" y="30214"/>
                    </a:lnTo>
                    <a:lnTo>
                      <a:pt x="40132" y="30110"/>
                    </a:lnTo>
                    <a:lnTo>
                      <a:pt x="40194" y="30110"/>
                    </a:lnTo>
                    <a:lnTo>
                      <a:pt x="40278" y="30047"/>
                    </a:lnTo>
                    <a:lnTo>
                      <a:pt x="40299" y="29963"/>
                    </a:lnTo>
                    <a:lnTo>
                      <a:pt x="40257" y="29942"/>
                    </a:lnTo>
                    <a:lnTo>
                      <a:pt x="40278" y="29879"/>
                    </a:lnTo>
                    <a:lnTo>
                      <a:pt x="40383" y="29879"/>
                    </a:lnTo>
                    <a:lnTo>
                      <a:pt x="40487" y="29858"/>
                    </a:lnTo>
                    <a:lnTo>
                      <a:pt x="40487" y="29775"/>
                    </a:lnTo>
                    <a:lnTo>
                      <a:pt x="40508" y="29754"/>
                    </a:lnTo>
                    <a:lnTo>
                      <a:pt x="40571" y="29838"/>
                    </a:lnTo>
                    <a:lnTo>
                      <a:pt x="40696" y="29858"/>
                    </a:lnTo>
                    <a:lnTo>
                      <a:pt x="40801" y="29775"/>
                    </a:lnTo>
                    <a:lnTo>
                      <a:pt x="40822" y="29838"/>
                    </a:lnTo>
                    <a:lnTo>
                      <a:pt x="40906" y="29838"/>
                    </a:lnTo>
                    <a:lnTo>
                      <a:pt x="40989" y="29775"/>
                    </a:lnTo>
                    <a:lnTo>
                      <a:pt x="41031" y="29838"/>
                    </a:lnTo>
                    <a:lnTo>
                      <a:pt x="41136" y="29796"/>
                    </a:lnTo>
                    <a:lnTo>
                      <a:pt x="41178" y="29754"/>
                    </a:lnTo>
                    <a:lnTo>
                      <a:pt x="41241" y="29754"/>
                    </a:lnTo>
                    <a:lnTo>
                      <a:pt x="41324" y="29649"/>
                    </a:lnTo>
                    <a:lnTo>
                      <a:pt x="41387" y="29649"/>
                    </a:lnTo>
                    <a:lnTo>
                      <a:pt x="41492" y="29545"/>
                    </a:lnTo>
                    <a:lnTo>
                      <a:pt x="41617" y="29545"/>
                    </a:lnTo>
                    <a:lnTo>
                      <a:pt x="41764" y="29440"/>
                    </a:lnTo>
                    <a:lnTo>
                      <a:pt x="41826" y="29356"/>
                    </a:lnTo>
                    <a:lnTo>
                      <a:pt x="41910" y="29356"/>
                    </a:lnTo>
                    <a:lnTo>
                      <a:pt x="41931" y="29252"/>
                    </a:lnTo>
                    <a:lnTo>
                      <a:pt x="41973" y="29147"/>
                    </a:lnTo>
                    <a:lnTo>
                      <a:pt x="41910" y="29126"/>
                    </a:lnTo>
                    <a:lnTo>
                      <a:pt x="41805" y="29147"/>
                    </a:lnTo>
                    <a:lnTo>
                      <a:pt x="41722" y="29105"/>
                    </a:lnTo>
                    <a:lnTo>
                      <a:pt x="41764" y="29105"/>
                    </a:lnTo>
                    <a:lnTo>
                      <a:pt x="41868" y="29126"/>
                    </a:lnTo>
                    <a:lnTo>
                      <a:pt x="41952" y="29105"/>
                    </a:lnTo>
                    <a:lnTo>
                      <a:pt x="41868" y="29001"/>
                    </a:lnTo>
                    <a:lnTo>
                      <a:pt x="41764" y="29001"/>
                    </a:lnTo>
                    <a:lnTo>
                      <a:pt x="41617" y="28917"/>
                    </a:lnTo>
                    <a:lnTo>
                      <a:pt x="41554" y="28812"/>
                    </a:lnTo>
                    <a:lnTo>
                      <a:pt x="41554" y="28812"/>
                    </a:lnTo>
                    <a:lnTo>
                      <a:pt x="41701" y="28896"/>
                    </a:lnTo>
                    <a:lnTo>
                      <a:pt x="41805" y="28833"/>
                    </a:lnTo>
                    <a:lnTo>
                      <a:pt x="41826" y="28729"/>
                    </a:lnTo>
                    <a:lnTo>
                      <a:pt x="41910" y="28708"/>
                    </a:lnTo>
                    <a:lnTo>
                      <a:pt x="41952" y="28603"/>
                    </a:lnTo>
                    <a:lnTo>
                      <a:pt x="41764" y="28540"/>
                    </a:lnTo>
                    <a:lnTo>
                      <a:pt x="41847" y="28478"/>
                    </a:lnTo>
                    <a:lnTo>
                      <a:pt x="41931" y="28498"/>
                    </a:lnTo>
                    <a:lnTo>
                      <a:pt x="42015" y="28415"/>
                    </a:lnTo>
                    <a:lnTo>
                      <a:pt x="41973" y="28331"/>
                    </a:lnTo>
                    <a:lnTo>
                      <a:pt x="41826" y="28268"/>
                    </a:lnTo>
                    <a:lnTo>
                      <a:pt x="41805" y="28164"/>
                    </a:lnTo>
                    <a:lnTo>
                      <a:pt x="41847" y="28122"/>
                    </a:lnTo>
                    <a:lnTo>
                      <a:pt x="41952" y="28185"/>
                    </a:lnTo>
                    <a:lnTo>
                      <a:pt x="41931" y="28101"/>
                    </a:lnTo>
                    <a:lnTo>
                      <a:pt x="41764" y="28017"/>
                    </a:lnTo>
                    <a:lnTo>
                      <a:pt x="41617" y="28017"/>
                    </a:lnTo>
                    <a:lnTo>
                      <a:pt x="41638" y="27954"/>
                    </a:lnTo>
                    <a:lnTo>
                      <a:pt x="41701" y="27913"/>
                    </a:lnTo>
                    <a:lnTo>
                      <a:pt x="41659" y="27871"/>
                    </a:lnTo>
                    <a:lnTo>
                      <a:pt x="41533" y="27871"/>
                    </a:lnTo>
                    <a:lnTo>
                      <a:pt x="41387" y="27954"/>
                    </a:lnTo>
                    <a:lnTo>
                      <a:pt x="41345" y="28059"/>
                    </a:lnTo>
                    <a:lnTo>
                      <a:pt x="41303" y="28101"/>
                    </a:lnTo>
                    <a:lnTo>
                      <a:pt x="41241" y="27996"/>
                    </a:lnTo>
                    <a:lnTo>
                      <a:pt x="41094" y="27996"/>
                    </a:lnTo>
                    <a:lnTo>
                      <a:pt x="41157" y="27913"/>
                    </a:lnTo>
                    <a:lnTo>
                      <a:pt x="41220" y="27913"/>
                    </a:lnTo>
                    <a:lnTo>
                      <a:pt x="41345" y="27808"/>
                    </a:lnTo>
                    <a:lnTo>
                      <a:pt x="41387" y="27703"/>
                    </a:lnTo>
                    <a:lnTo>
                      <a:pt x="41303" y="27536"/>
                    </a:lnTo>
                    <a:lnTo>
                      <a:pt x="41115" y="27473"/>
                    </a:lnTo>
                    <a:lnTo>
                      <a:pt x="40885" y="27494"/>
                    </a:lnTo>
                    <a:lnTo>
                      <a:pt x="40801" y="27536"/>
                    </a:lnTo>
                    <a:lnTo>
                      <a:pt x="40822" y="27557"/>
                    </a:lnTo>
                    <a:lnTo>
                      <a:pt x="40969" y="27557"/>
                    </a:lnTo>
                    <a:lnTo>
                      <a:pt x="41010" y="27578"/>
                    </a:lnTo>
                    <a:lnTo>
                      <a:pt x="40885" y="27578"/>
                    </a:lnTo>
                    <a:lnTo>
                      <a:pt x="40717" y="27557"/>
                    </a:lnTo>
                    <a:lnTo>
                      <a:pt x="40550" y="27641"/>
                    </a:lnTo>
                    <a:lnTo>
                      <a:pt x="40404" y="27661"/>
                    </a:lnTo>
                    <a:lnTo>
                      <a:pt x="40299" y="27787"/>
                    </a:lnTo>
                    <a:lnTo>
                      <a:pt x="40257" y="27892"/>
                    </a:lnTo>
                    <a:lnTo>
                      <a:pt x="40173" y="27892"/>
                    </a:lnTo>
                    <a:lnTo>
                      <a:pt x="40048" y="27996"/>
                    </a:lnTo>
                    <a:lnTo>
                      <a:pt x="39860" y="27996"/>
                    </a:lnTo>
                    <a:lnTo>
                      <a:pt x="39755" y="28205"/>
                    </a:lnTo>
                    <a:lnTo>
                      <a:pt x="39671" y="28205"/>
                    </a:lnTo>
                    <a:lnTo>
                      <a:pt x="39629" y="28268"/>
                    </a:lnTo>
                    <a:lnTo>
                      <a:pt x="39567" y="28268"/>
                    </a:lnTo>
                    <a:lnTo>
                      <a:pt x="39525" y="28185"/>
                    </a:lnTo>
                    <a:lnTo>
                      <a:pt x="39608" y="28101"/>
                    </a:lnTo>
                    <a:lnTo>
                      <a:pt x="39671" y="28122"/>
                    </a:lnTo>
                    <a:lnTo>
                      <a:pt x="39713" y="28059"/>
                    </a:lnTo>
                    <a:lnTo>
                      <a:pt x="39462" y="27871"/>
                    </a:lnTo>
                    <a:lnTo>
                      <a:pt x="39441" y="27808"/>
                    </a:lnTo>
                    <a:lnTo>
                      <a:pt x="39357" y="27787"/>
                    </a:lnTo>
                    <a:lnTo>
                      <a:pt x="39399" y="27745"/>
                    </a:lnTo>
                    <a:lnTo>
                      <a:pt x="39399" y="27641"/>
                    </a:lnTo>
                    <a:lnTo>
                      <a:pt x="39525" y="27850"/>
                    </a:lnTo>
                    <a:lnTo>
                      <a:pt x="39734" y="27975"/>
                    </a:lnTo>
                    <a:lnTo>
                      <a:pt x="39776" y="27913"/>
                    </a:lnTo>
                    <a:lnTo>
                      <a:pt x="39818" y="27808"/>
                    </a:lnTo>
                    <a:lnTo>
                      <a:pt x="39943" y="27808"/>
                    </a:lnTo>
                    <a:lnTo>
                      <a:pt x="40027" y="27745"/>
                    </a:lnTo>
                    <a:lnTo>
                      <a:pt x="40194" y="27641"/>
                    </a:lnTo>
                    <a:lnTo>
                      <a:pt x="40404" y="27578"/>
                    </a:lnTo>
                    <a:lnTo>
                      <a:pt x="40613" y="27557"/>
                    </a:lnTo>
                    <a:lnTo>
                      <a:pt x="40592" y="27494"/>
                    </a:lnTo>
                    <a:lnTo>
                      <a:pt x="40508" y="27473"/>
                    </a:lnTo>
                    <a:lnTo>
                      <a:pt x="40613" y="27473"/>
                    </a:lnTo>
                    <a:lnTo>
                      <a:pt x="40717" y="27369"/>
                    </a:lnTo>
                    <a:lnTo>
                      <a:pt x="40906" y="27285"/>
                    </a:lnTo>
                    <a:lnTo>
                      <a:pt x="40969" y="27348"/>
                    </a:lnTo>
                    <a:lnTo>
                      <a:pt x="41199" y="27285"/>
                    </a:lnTo>
                    <a:lnTo>
                      <a:pt x="41199" y="27243"/>
                    </a:lnTo>
                    <a:lnTo>
                      <a:pt x="41387" y="27222"/>
                    </a:lnTo>
                    <a:lnTo>
                      <a:pt x="41282" y="27117"/>
                    </a:lnTo>
                    <a:lnTo>
                      <a:pt x="41010" y="27034"/>
                    </a:lnTo>
                    <a:lnTo>
                      <a:pt x="41073" y="26971"/>
                    </a:lnTo>
                    <a:lnTo>
                      <a:pt x="41136" y="26971"/>
                    </a:lnTo>
                    <a:lnTo>
                      <a:pt x="41199" y="26866"/>
                    </a:lnTo>
                    <a:lnTo>
                      <a:pt x="41115" y="26845"/>
                    </a:lnTo>
                    <a:lnTo>
                      <a:pt x="40969" y="26908"/>
                    </a:lnTo>
                    <a:lnTo>
                      <a:pt x="40885" y="27013"/>
                    </a:lnTo>
                    <a:lnTo>
                      <a:pt x="40759" y="26929"/>
                    </a:lnTo>
                    <a:lnTo>
                      <a:pt x="40613" y="26950"/>
                    </a:lnTo>
                    <a:lnTo>
                      <a:pt x="40592" y="26866"/>
                    </a:lnTo>
                    <a:lnTo>
                      <a:pt x="40676" y="26845"/>
                    </a:lnTo>
                    <a:lnTo>
                      <a:pt x="40676" y="26657"/>
                    </a:lnTo>
                    <a:lnTo>
                      <a:pt x="40696" y="26615"/>
                    </a:lnTo>
                    <a:lnTo>
                      <a:pt x="40550" y="26720"/>
                    </a:lnTo>
                    <a:lnTo>
                      <a:pt x="40550" y="26657"/>
                    </a:lnTo>
                    <a:lnTo>
                      <a:pt x="40592" y="26615"/>
                    </a:lnTo>
                    <a:lnTo>
                      <a:pt x="40550" y="26594"/>
                    </a:lnTo>
                    <a:lnTo>
                      <a:pt x="40341" y="26762"/>
                    </a:lnTo>
                    <a:lnTo>
                      <a:pt x="40257" y="26845"/>
                    </a:lnTo>
                    <a:lnTo>
                      <a:pt x="40194" y="26845"/>
                    </a:lnTo>
                    <a:lnTo>
                      <a:pt x="40278" y="26762"/>
                    </a:lnTo>
                    <a:lnTo>
                      <a:pt x="40445" y="26636"/>
                    </a:lnTo>
                    <a:lnTo>
                      <a:pt x="40383" y="26594"/>
                    </a:lnTo>
                    <a:lnTo>
                      <a:pt x="40236" y="26657"/>
                    </a:lnTo>
                    <a:lnTo>
                      <a:pt x="40194" y="26636"/>
                    </a:lnTo>
                    <a:lnTo>
                      <a:pt x="40257" y="26594"/>
                    </a:lnTo>
                    <a:lnTo>
                      <a:pt x="40341" y="26532"/>
                    </a:lnTo>
                    <a:lnTo>
                      <a:pt x="40341" y="26490"/>
                    </a:lnTo>
                    <a:lnTo>
                      <a:pt x="40194" y="26511"/>
                    </a:lnTo>
                    <a:lnTo>
                      <a:pt x="40090" y="26615"/>
                    </a:lnTo>
                    <a:lnTo>
                      <a:pt x="39985" y="26741"/>
                    </a:lnTo>
                    <a:lnTo>
                      <a:pt x="39943" y="26720"/>
                    </a:lnTo>
                    <a:lnTo>
                      <a:pt x="39985" y="26615"/>
                    </a:lnTo>
                    <a:lnTo>
                      <a:pt x="40090" y="26532"/>
                    </a:lnTo>
                    <a:lnTo>
                      <a:pt x="40090" y="26490"/>
                    </a:lnTo>
                    <a:lnTo>
                      <a:pt x="40027" y="26490"/>
                    </a:lnTo>
                    <a:lnTo>
                      <a:pt x="39818" y="26699"/>
                    </a:lnTo>
                    <a:lnTo>
                      <a:pt x="39713" y="26720"/>
                    </a:lnTo>
                    <a:lnTo>
                      <a:pt x="39608" y="26636"/>
                    </a:lnTo>
                    <a:lnTo>
                      <a:pt x="39734" y="26657"/>
                    </a:lnTo>
                    <a:lnTo>
                      <a:pt x="39839" y="26594"/>
                    </a:lnTo>
                    <a:lnTo>
                      <a:pt x="40027" y="26343"/>
                    </a:lnTo>
                    <a:lnTo>
                      <a:pt x="40152" y="26281"/>
                    </a:lnTo>
                    <a:lnTo>
                      <a:pt x="40069" y="26197"/>
                    </a:lnTo>
                    <a:lnTo>
                      <a:pt x="40090" y="26092"/>
                    </a:lnTo>
                    <a:lnTo>
                      <a:pt x="40069" y="26071"/>
                    </a:lnTo>
                    <a:lnTo>
                      <a:pt x="39964" y="26218"/>
                    </a:lnTo>
                    <a:lnTo>
                      <a:pt x="39922" y="26218"/>
                    </a:lnTo>
                    <a:lnTo>
                      <a:pt x="39922" y="26176"/>
                    </a:lnTo>
                    <a:lnTo>
                      <a:pt x="39964" y="26092"/>
                    </a:lnTo>
                    <a:lnTo>
                      <a:pt x="39964" y="25925"/>
                    </a:lnTo>
                    <a:lnTo>
                      <a:pt x="39880" y="25904"/>
                    </a:lnTo>
                    <a:lnTo>
                      <a:pt x="39860" y="25883"/>
                    </a:lnTo>
                    <a:lnTo>
                      <a:pt x="39755" y="25967"/>
                    </a:lnTo>
                    <a:lnTo>
                      <a:pt x="39734" y="25904"/>
                    </a:lnTo>
                    <a:lnTo>
                      <a:pt x="39755" y="25820"/>
                    </a:lnTo>
                    <a:lnTo>
                      <a:pt x="39734" y="25799"/>
                    </a:lnTo>
                    <a:lnTo>
                      <a:pt x="39650" y="25799"/>
                    </a:lnTo>
                    <a:lnTo>
                      <a:pt x="39713" y="25757"/>
                    </a:lnTo>
                    <a:lnTo>
                      <a:pt x="39650" y="25695"/>
                    </a:lnTo>
                    <a:lnTo>
                      <a:pt x="39650" y="25611"/>
                    </a:lnTo>
                    <a:lnTo>
                      <a:pt x="39608" y="25611"/>
                    </a:lnTo>
                    <a:lnTo>
                      <a:pt x="39441" y="25653"/>
                    </a:lnTo>
                    <a:lnTo>
                      <a:pt x="39441" y="25695"/>
                    </a:lnTo>
                    <a:lnTo>
                      <a:pt x="39357" y="25716"/>
                    </a:lnTo>
                    <a:lnTo>
                      <a:pt x="39148" y="25674"/>
                    </a:lnTo>
                    <a:lnTo>
                      <a:pt x="39316" y="25674"/>
                    </a:lnTo>
                    <a:lnTo>
                      <a:pt x="39357" y="25590"/>
                    </a:lnTo>
                    <a:lnTo>
                      <a:pt x="39504" y="25569"/>
                    </a:lnTo>
                    <a:lnTo>
                      <a:pt x="39525" y="25506"/>
                    </a:lnTo>
                    <a:lnTo>
                      <a:pt x="39462" y="25444"/>
                    </a:lnTo>
                    <a:lnTo>
                      <a:pt x="39357" y="25339"/>
                    </a:lnTo>
                    <a:lnTo>
                      <a:pt x="39357" y="25234"/>
                    </a:lnTo>
                    <a:lnTo>
                      <a:pt x="39211" y="25151"/>
                    </a:lnTo>
                    <a:lnTo>
                      <a:pt x="39357" y="25151"/>
                    </a:lnTo>
                    <a:lnTo>
                      <a:pt x="39525" y="25234"/>
                    </a:lnTo>
                    <a:lnTo>
                      <a:pt x="39650" y="25234"/>
                    </a:lnTo>
                    <a:lnTo>
                      <a:pt x="39650" y="25151"/>
                    </a:lnTo>
                    <a:lnTo>
                      <a:pt x="39546" y="25088"/>
                    </a:lnTo>
                    <a:lnTo>
                      <a:pt x="39567" y="25046"/>
                    </a:lnTo>
                    <a:lnTo>
                      <a:pt x="39650" y="25067"/>
                    </a:lnTo>
                    <a:lnTo>
                      <a:pt x="39776" y="24962"/>
                    </a:lnTo>
                    <a:lnTo>
                      <a:pt x="39860" y="24920"/>
                    </a:lnTo>
                    <a:lnTo>
                      <a:pt x="39880" y="24816"/>
                    </a:lnTo>
                    <a:lnTo>
                      <a:pt x="39776" y="24711"/>
                    </a:lnTo>
                    <a:lnTo>
                      <a:pt x="39713" y="24732"/>
                    </a:lnTo>
                    <a:lnTo>
                      <a:pt x="39608" y="24711"/>
                    </a:lnTo>
                    <a:lnTo>
                      <a:pt x="39671" y="24648"/>
                    </a:lnTo>
                    <a:lnTo>
                      <a:pt x="39713" y="24565"/>
                    </a:lnTo>
                    <a:lnTo>
                      <a:pt x="39650" y="24523"/>
                    </a:lnTo>
                    <a:lnTo>
                      <a:pt x="39525" y="24523"/>
                    </a:lnTo>
                    <a:lnTo>
                      <a:pt x="39462" y="24502"/>
                    </a:lnTo>
                    <a:lnTo>
                      <a:pt x="39399" y="24523"/>
                    </a:lnTo>
                    <a:lnTo>
                      <a:pt x="39316" y="24439"/>
                    </a:lnTo>
                    <a:lnTo>
                      <a:pt x="39420" y="24439"/>
                    </a:lnTo>
                    <a:lnTo>
                      <a:pt x="39462" y="24397"/>
                    </a:lnTo>
                    <a:lnTo>
                      <a:pt x="39546" y="24418"/>
                    </a:lnTo>
                    <a:lnTo>
                      <a:pt x="39650" y="24314"/>
                    </a:lnTo>
                    <a:lnTo>
                      <a:pt x="39608" y="24125"/>
                    </a:lnTo>
                    <a:lnTo>
                      <a:pt x="39504" y="24021"/>
                    </a:lnTo>
                    <a:lnTo>
                      <a:pt x="39441" y="24104"/>
                    </a:lnTo>
                    <a:lnTo>
                      <a:pt x="39336" y="24084"/>
                    </a:lnTo>
                    <a:lnTo>
                      <a:pt x="39253" y="24146"/>
                    </a:lnTo>
                    <a:lnTo>
                      <a:pt x="39295" y="24042"/>
                    </a:lnTo>
                    <a:lnTo>
                      <a:pt x="39420" y="23979"/>
                    </a:lnTo>
                    <a:lnTo>
                      <a:pt x="39504" y="23979"/>
                    </a:lnTo>
                    <a:lnTo>
                      <a:pt x="39504" y="23874"/>
                    </a:lnTo>
                    <a:lnTo>
                      <a:pt x="39399" y="23832"/>
                    </a:lnTo>
                    <a:lnTo>
                      <a:pt x="39316" y="23874"/>
                    </a:lnTo>
                    <a:lnTo>
                      <a:pt x="39190" y="23874"/>
                    </a:lnTo>
                    <a:lnTo>
                      <a:pt x="39002" y="23937"/>
                    </a:lnTo>
                    <a:lnTo>
                      <a:pt x="39002" y="23937"/>
                    </a:lnTo>
                    <a:lnTo>
                      <a:pt x="39148" y="23728"/>
                    </a:lnTo>
                    <a:lnTo>
                      <a:pt x="39253" y="23728"/>
                    </a:lnTo>
                    <a:lnTo>
                      <a:pt x="39357" y="23686"/>
                    </a:lnTo>
                    <a:lnTo>
                      <a:pt x="39357" y="23623"/>
                    </a:lnTo>
                    <a:lnTo>
                      <a:pt x="39441" y="23560"/>
                    </a:lnTo>
                    <a:lnTo>
                      <a:pt x="39420" y="23519"/>
                    </a:lnTo>
                    <a:lnTo>
                      <a:pt x="39295" y="23581"/>
                    </a:lnTo>
                    <a:lnTo>
                      <a:pt x="39106" y="23581"/>
                    </a:lnTo>
                    <a:lnTo>
                      <a:pt x="38939" y="23665"/>
                    </a:lnTo>
                    <a:lnTo>
                      <a:pt x="38939" y="23665"/>
                    </a:lnTo>
                    <a:lnTo>
                      <a:pt x="39002" y="23581"/>
                    </a:lnTo>
                    <a:lnTo>
                      <a:pt x="38981" y="23498"/>
                    </a:lnTo>
                    <a:lnTo>
                      <a:pt x="39023" y="23414"/>
                    </a:lnTo>
                    <a:lnTo>
                      <a:pt x="39106" y="23477"/>
                    </a:lnTo>
                    <a:lnTo>
                      <a:pt x="39295" y="23477"/>
                    </a:lnTo>
                    <a:lnTo>
                      <a:pt x="39399" y="23351"/>
                    </a:lnTo>
                    <a:lnTo>
                      <a:pt x="39399" y="23205"/>
                    </a:lnTo>
                    <a:lnTo>
                      <a:pt x="39295" y="23268"/>
                    </a:lnTo>
                    <a:lnTo>
                      <a:pt x="39211" y="23247"/>
                    </a:lnTo>
                    <a:lnTo>
                      <a:pt x="39316" y="23142"/>
                    </a:lnTo>
                    <a:lnTo>
                      <a:pt x="39336" y="23037"/>
                    </a:lnTo>
                    <a:lnTo>
                      <a:pt x="39253" y="22996"/>
                    </a:lnTo>
                    <a:lnTo>
                      <a:pt x="39002" y="23079"/>
                    </a:lnTo>
                    <a:lnTo>
                      <a:pt x="38918" y="23037"/>
                    </a:lnTo>
                    <a:lnTo>
                      <a:pt x="38981" y="22954"/>
                    </a:lnTo>
                    <a:lnTo>
                      <a:pt x="39106" y="22975"/>
                    </a:lnTo>
                    <a:lnTo>
                      <a:pt x="39211" y="22954"/>
                    </a:lnTo>
                    <a:lnTo>
                      <a:pt x="39295" y="22828"/>
                    </a:lnTo>
                    <a:lnTo>
                      <a:pt x="39211" y="22765"/>
                    </a:lnTo>
                    <a:lnTo>
                      <a:pt x="39211" y="22682"/>
                    </a:lnTo>
                    <a:lnTo>
                      <a:pt x="39127" y="22765"/>
                    </a:lnTo>
                    <a:lnTo>
                      <a:pt x="39085" y="22765"/>
                    </a:lnTo>
                    <a:lnTo>
                      <a:pt x="39044" y="22682"/>
                    </a:lnTo>
                    <a:lnTo>
                      <a:pt x="38981" y="22619"/>
                    </a:lnTo>
                    <a:lnTo>
                      <a:pt x="39044" y="22577"/>
                    </a:lnTo>
                    <a:lnTo>
                      <a:pt x="39106" y="22640"/>
                    </a:lnTo>
                    <a:lnTo>
                      <a:pt x="39148" y="22577"/>
                    </a:lnTo>
                    <a:lnTo>
                      <a:pt x="39148" y="22452"/>
                    </a:lnTo>
                    <a:lnTo>
                      <a:pt x="39044" y="22347"/>
                    </a:lnTo>
                    <a:lnTo>
                      <a:pt x="39023" y="22242"/>
                    </a:lnTo>
                    <a:lnTo>
                      <a:pt x="39106" y="22200"/>
                    </a:lnTo>
                    <a:lnTo>
                      <a:pt x="39106" y="22096"/>
                    </a:lnTo>
                    <a:lnTo>
                      <a:pt x="39023" y="22096"/>
                    </a:lnTo>
                    <a:lnTo>
                      <a:pt x="39044" y="22033"/>
                    </a:lnTo>
                    <a:lnTo>
                      <a:pt x="39085" y="21928"/>
                    </a:lnTo>
                    <a:lnTo>
                      <a:pt x="39002" y="21928"/>
                    </a:lnTo>
                    <a:lnTo>
                      <a:pt x="38918" y="21907"/>
                    </a:lnTo>
                    <a:lnTo>
                      <a:pt x="38918" y="21887"/>
                    </a:lnTo>
                    <a:lnTo>
                      <a:pt x="38981" y="21887"/>
                    </a:lnTo>
                    <a:lnTo>
                      <a:pt x="39044" y="21803"/>
                    </a:lnTo>
                    <a:lnTo>
                      <a:pt x="38981" y="21740"/>
                    </a:lnTo>
                    <a:lnTo>
                      <a:pt x="38981" y="21677"/>
                    </a:lnTo>
                    <a:lnTo>
                      <a:pt x="39044" y="21615"/>
                    </a:lnTo>
                    <a:lnTo>
                      <a:pt x="39023" y="21573"/>
                    </a:lnTo>
                    <a:lnTo>
                      <a:pt x="38918" y="21615"/>
                    </a:lnTo>
                    <a:lnTo>
                      <a:pt x="38918" y="21615"/>
                    </a:lnTo>
                    <a:lnTo>
                      <a:pt x="39023" y="21531"/>
                    </a:lnTo>
                    <a:lnTo>
                      <a:pt x="38981" y="21489"/>
                    </a:lnTo>
                    <a:lnTo>
                      <a:pt x="38876" y="21510"/>
                    </a:lnTo>
                    <a:lnTo>
                      <a:pt x="38772" y="21635"/>
                    </a:lnTo>
                    <a:lnTo>
                      <a:pt x="38792" y="21719"/>
                    </a:lnTo>
                    <a:lnTo>
                      <a:pt x="38730" y="21824"/>
                    </a:lnTo>
                    <a:lnTo>
                      <a:pt x="38604" y="21949"/>
                    </a:lnTo>
                    <a:lnTo>
                      <a:pt x="38604" y="22033"/>
                    </a:lnTo>
                    <a:lnTo>
                      <a:pt x="38520" y="22096"/>
                    </a:lnTo>
                    <a:lnTo>
                      <a:pt x="38520" y="22200"/>
                    </a:lnTo>
                    <a:lnTo>
                      <a:pt x="38458" y="22117"/>
                    </a:lnTo>
                    <a:lnTo>
                      <a:pt x="38395" y="22138"/>
                    </a:lnTo>
                    <a:lnTo>
                      <a:pt x="38311" y="22326"/>
                    </a:lnTo>
                    <a:lnTo>
                      <a:pt x="38311" y="22410"/>
                    </a:lnTo>
                    <a:lnTo>
                      <a:pt x="38416" y="22410"/>
                    </a:lnTo>
                    <a:lnTo>
                      <a:pt x="38479" y="22472"/>
                    </a:lnTo>
                    <a:lnTo>
                      <a:pt x="38479" y="22556"/>
                    </a:lnTo>
                    <a:lnTo>
                      <a:pt x="38374" y="22452"/>
                    </a:lnTo>
                    <a:lnTo>
                      <a:pt x="38311" y="22452"/>
                    </a:lnTo>
                    <a:lnTo>
                      <a:pt x="38290" y="22535"/>
                    </a:lnTo>
                    <a:lnTo>
                      <a:pt x="38207" y="22640"/>
                    </a:lnTo>
                    <a:lnTo>
                      <a:pt x="38144" y="22682"/>
                    </a:lnTo>
                    <a:lnTo>
                      <a:pt x="38102" y="22849"/>
                    </a:lnTo>
                    <a:lnTo>
                      <a:pt x="37997" y="22870"/>
                    </a:lnTo>
                    <a:lnTo>
                      <a:pt x="37935" y="22975"/>
                    </a:lnTo>
                    <a:lnTo>
                      <a:pt x="37935" y="23037"/>
                    </a:lnTo>
                    <a:lnTo>
                      <a:pt x="37872" y="23037"/>
                    </a:lnTo>
                    <a:lnTo>
                      <a:pt x="37872" y="23205"/>
                    </a:lnTo>
                    <a:lnTo>
                      <a:pt x="37788" y="23393"/>
                    </a:lnTo>
                    <a:lnTo>
                      <a:pt x="37788" y="23393"/>
                    </a:lnTo>
                    <a:lnTo>
                      <a:pt x="37830" y="23268"/>
                    </a:lnTo>
                    <a:lnTo>
                      <a:pt x="37788" y="23100"/>
                    </a:lnTo>
                    <a:lnTo>
                      <a:pt x="37725" y="23037"/>
                    </a:lnTo>
                    <a:lnTo>
                      <a:pt x="37558" y="23142"/>
                    </a:lnTo>
                    <a:lnTo>
                      <a:pt x="37474" y="23247"/>
                    </a:lnTo>
                    <a:lnTo>
                      <a:pt x="37453" y="23351"/>
                    </a:lnTo>
                    <a:lnTo>
                      <a:pt x="37349" y="23372"/>
                    </a:lnTo>
                    <a:lnTo>
                      <a:pt x="37307" y="23414"/>
                    </a:lnTo>
                    <a:lnTo>
                      <a:pt x="37265" y="23372"/>
                    </a:lnTo>
                    <a:lnTo>
                      <a:pt x="37202" y="23372"/>
                    </a:lnTo>
                    <a:lnTo>
                      <a:pt x="37098" y="23456"/>
                    </a:lnTo>
                    <a:lnTo>
                      <a:pt x="36993" y="23456"/>
                    </a:lnTo>
                    <a:lnTo>
                      <a:pt x="36847" y="23560"/>
                    </a:lnTo>
                    <a:lnTo>
                      <a:pt x="36826" y="23686"/>
                    </a:lnTo>
                    <a:lnTo>
                      <a:pt x="36700" y="23832"/>
                    </a:lnTo>
                    <a:lnTo>
                      <a:pt x="36742" y="23728"/>
                    </a:lnTo>
                    <a:lnTo>
                      <a:pt x="36742" y="23623"/>
                    </a:lnTo>
                    <a:lnTo>
                      <a:pt x="36784" y="23581"/>
                    </a:lnTo>
                    <a:lnTo>
                      <a:pt x="36784" y="23351"/>
                    </a:lnTo>
                    <a:lnTo>
                      <a:pt x="36805" y="23247"/>
                    </a:lnTo>
                    <a:lnTo>
                      <a:pt x="36784" y="23247"/>
                    </a:lnTo>
                    <a:lnTo>
                      <a:pt x="36365" y="23456"/>
                    </a:lnTo>
                    <a:lnTo>
                      <a:pt x="36198" y="23770"/>
                    </a:lnTo>
                    <a:lnTo>
                      <a:pt x="36072" y="23812"/>
                    </a:lnTo>
                    <a:lnTo>
                      <a:pt x="36156" y="23707"/>
                    </a:lnTo>
                    <a:lnTo>
                      <a:pt x="36177" y="23581"/>
                    </a:lnTo>
                    <a:lnTo>
                      <a:pt x="36303" y="23393"/>
                    </a:lnTo>
                    <a:lnTo>
                      <a:pt x="36303" y="23268"/>
                    </a:lnTo>
                    <a:lnTo>
                      <a:pt x="36323" y="23142"/>
                    </a:lnTo>
                    <a:lnTo>
                      <a:pt x="36282" y="23037"/>
                    </a:lnTo>
                    <a:lnTo>
                      <a:pt x="36177" y="22933"/>
                    </a:lnTo>
                    <a:lnTo>
                      <a:pt x="36072" y="22933"/>
                    </a:lnTo>
                    <a:lnTo>
                      <a:pt x="36093" y="23058"/>
                    </a:lnTo>
                    <a:lnTo>
                      <a:pt x="36072" y="23058"/>
                    </a:lnTo>
                    <a:lnTo>
                      <a:pt x="35968" y="22975"/>
                    </a:lnTo>
                    <a:lnTo>
                      <a:pt x="35842" y="22765"/>
                    </a:lnTo>
                    <a:lnTo>
                      <a:pt x="36051" y="22870"/>
                    </a:lnTo>
                    <a:lnTo>
                      <a:pt x="36093" y="22849"/>
                    </a:lnTo>
                    <a:lnTo>
                      <a:pt x="35989" y="22807"/>
                    </a:lnTo>
                    <a:lnTo>
                      <a:pt x="35863" y="22598"/>
                    </a:lnTo>
                    <a:lnTo>
                      <a:pt x="35842" y="22577"/>
                    </a:lnTo>
                    <a:lnTo>
                      <a:pt x="35968" y="22431"/>
                    </a:lnTo>
                    <a:lnTo>
                      <a:pt x="35989" y="22347"/>
                    </a:lnTo>
                    <a:lnTo>
                      <a:pt x="36093" y="22179"/>
                    </a:lnTo>
                    <a:lnTo>
                      <a:pt x="36093" y="21970"/>
                    </a:lnTo>
                    <a:lnTo>
                      <a:pt x="35947" y="21845"/>
                    </a:lnTo>
                    <a:lnTo>
                      <a:pt x="35738" y="21803"/>
                    </a:lnTo>
                    <a:lnTo>
                      <a:pt x="35466" y="21656"/>
                    </a:lnTo>
                    <a:lnTo>
                      <a:pt x="35466" y="21656"/>
                    </a:lnTo>
                    <a:lnTo>
                      <a:pt x="35759" y="21761"/>
                    </a:lnTo>
                    <a:lnTo>
                      <a:pt x="36010" y="21803"/>
                    </a:lnTo>
                    <a:lnTo>
                      <a:pt x="36051" y="21615"/>
                    </a:lnTo>
                    <a:lnTo>
                      <a:pt x="36093" y="21531"/>
                    </a:lnTo>
                    <a:lnTo>
                      <a:pt x="36114" y="21698"/>
                    </a:lnTo>
                    <a:lnTo>
                      <a:pt x="36177" y="21594"/>
                    </a:lnTo>
                    <a:lnTo>
                      <a:pt x="36093" y="21363"/>
                    </a:lnTo>
                    <a:lnTo>
                      <a:pt x="36198" y="21196"/>
                    </a:lnTo>
                    <a:lnTo>
                      <a:pt x="36365" y="21175"/>
                    </a:lnTo>
                    <a:lnTo>
                      <a:pt x="36386" y="20987"/>
                    </a:lnTo>
                    <a:lnTo>
                      <a:pt x="36386" y="20778"/>
                    </a:lnTo>
                    <a:lnTo>
                      <a:pt x="36303" y="20778"/>
                    </a:lnTo>
                    <a:lnTo>
                      <a:pt x="36282" y="20966"/>
                    </a:lnTo>
                    <a:lnTo>
                      <a:pt x="36156" y="21071"/>
                    </a:lnTo>
                    <a:lnTo>
                      <a:pt x="36093" y="20987"/>
                    </a:lnTo>
                    <a:lnTo>
                      <a:pt x="36114" y="20778"/>
                    </a:lnTo>
                    <a:lnTo>
                      <a:pt x="35968" y="20715"/>
                    </a:lnTo>
                    <a:lnTo>
                      <a:pt x="35842" y="20778"/>
                    </a:lnTo>
                    <a:lnTo>
                      <a:pt x="35779" y="20715"/>
                    </a:lnTo>
                    <a:lnTo>
                      <a:pt x="35696" y="20757"/>
                    </a:lnTo>
                    <a:lnTo>
                      <a:pt x="35528" y="20589"/>
                    </a:lnTo>
                    <a:lnTo>
                      <a:pt x="35424" y="20652"/>
                    </a:lnTo>
                    <a:lnTo>
                      <a:pt x="35424" y="20547"/>
                    </a:lnTo>
                    <a:lnTo>
                      <a:pt x="35319" y="20652"/>
                    </a:lnTo>
                    <a:lnTo>
                      <a:pt x="35319" y="20547"/>
                    </a:lnTo>
                    <a:lnTo>
                      <a:pt x="35173" y="20401"/>
                    </a:lnTo>
                    <a:lnTo>
                      <a:pt x="35277" y="20401"/>
                    </a:lnTo>
                    <a:lnTo>
                      <a:pt x="35340" y="20296"/>
                    </a:lnTo>
                    <a:lnTo>
                      <a:pt x="35445" y="20380"/>
                    </a:lnTo>
                    <a:lnTo>
                      <a:pt x="35466" y="20296"/>
                    </a:lnTo>
                    <a:lnTo>
                      <a:pt x="35361" y="20171"/>
                    </a:lnTo>
                    <a:lnTo>
                      <a:pt x="35277" y="20255"/>
                    </a:lnTo>
                    <a:lnTo>
                      <a:pt x="35173" y="20171"/>
                    </a:lnTo>
                    <a:lnTo>
                      <a:pt x="35277" y="20150"/>
                    </a:lnTo>
                    <a:lnTo>
                      <a:pt x="35235" y="20024"/>
                    </a:lnTo>
                    <a:lnTo>
                      <a:pt x="35110" y="19920"/>
                    </a:lnTo>
                    <a:lnTo>
                      <a:pt x="35026" y="19962"/>
                    </a:lnTo>
                    <a:lnTo>
                      <a:pt x="35026" y="19878"/>
                    </a:lnTo>
                    <a:lnTo>
                      <a:pt x="35110" y="19773"/>
                    </a:lnTo>
                    <a:lnTo>
                      <a:pt x="35110" y="19606"/>
                    </a:lnTo>
                    <a:lnTo>
                      <a:pt x="35005" y="19606"/>
                    </a:lnTo>
                    <a:lnTo>
                      <a:pt x="34859" y="19501"/>
                    </a:lnTo>
                    <a:lnTo>
                      <a:pt x="34859" y="19397"/>
                    </a:lnTo>
                    <a:lnTo>
                      <a:pt x="34650" y="19229"/>
                    </a:lnTo>
                    <a:lnTo>
                      <a:pt x="34503" y="19313"/>
                    </a:lnTo>
                    <a:lnTo>
                      <a:pt x="34398" y="19313"/>
                    </a:lnTo>
                    <a:lnTo>
                      <a:pt x="34336" y="19397"/>
                    </a:lnTo>
                    <a:lnTo>
                      <a:pt x="34210" y="19334"/>
                    </a:lnTo>
                    <a:lnTo>
                      <a:pt x="34210" y="19480"/>
                    </a:lnTo>
                    <a:lnTo>
                      <a:pt x="34126" y="19376"/>
                    </a:lnTo>
                    <a:lnTo>
                      <a:pt x="34043" y="19376"/>
                    </a:lnTo>
                    <a:lnTo>
                      <a:pt x="34001" y="19292"/>
                    </a:lnTo>
                    <a:lnTo>
                      <a:pt x="33896" y="19292"/>
                    </a:lnTo>
                    <a:lnTo>
                      <a:pt x="33729" y="19397"/>
                    </a:lnTo>
                    <a:lnTo>
                      <a:pt x="33562" y="19397"/>
                    </a:lnTo>
                    <a:lnTo>
                      <a:pt x="33708" y="19334"/>
                    </a:lnTo>
                    <a:lnTo>
                      <a:pt x="33729" y="19229"/>
                    </a:lnTo>
                    <a:lnTo>
                      <a:pt x="33603" y="19229"/>
                    </a:lnTo>
                    <a:lnTo>
                      <a:pt x="33352" y="19104"/>
                    </a:lnTo>
                    <a:lnTo>
                      <a:pt x="33164" y="18999"/>
                    </a:lnTo>
                    <a:lnTo>
                      <a:pt x="32976" y="18999"/>
                    </a:lnTo>
                    <a:lnTo>
                      <a:pt x="32913" y="18957"/>
                    </a:lnTo>
                    <a:lnTo>
                      <a:pt x="32829" y="18978"/>
                    </a:lnTo>
                    <a:lnTo>
                      <a:pt x="32746" y="18978"/>
                    </a:lnTo>
                    <a:lnTo>
                      <a:pt x="32662" y="19062"/>
                    </a:lnTo>
                    <a:lnTo>
                      <a:pt x="32662" y="19125"/>
                    </a:lnTo>
                    <a:lnTo>
                      <a:pt x="32578" y="19125"/>
                    </a:lnTo>
                    <a:lnTo>
                      <a:pt x="32536" y="19104"/>
                    </a:lnTo>
                    <a:lnTo>
                      <a:pt x="32453" y="19166"/>
                    </a:lnTo>
                    <a:lnTo>
                      <a:pt x="32453" y="19313"/>
                    </a:lnTo>
                    <a:lnTo>
                      <a:pt x="32369" y="19480"/>
                    </a:lnTo>
                    <a:lnTo>
                      <a:pt x="32369" y="19690"/>
                    </a:lnTo>
                    <a:lnTo>
                      <a:pt x="32453" y="19794"/>
                    </a:lnTo>
                    <a:lnTo>
                      <a:pt x="32515" y="19794"/>
                    </a:lnTo>
                    <a:lnTo>
                      <a:pt x="32515" y="19836"/>
                    </a:lnTo>
                    <a:lnTo>
                      <a:pt x="32557" y="19857"/>
                    </a:lnTo>
                    <a:lnTo>
                      <a:pt x="32557" y="20003"/>
                    </a:lnTo>
                    <a:lnTo>
                      <a:pt x="32515" y="20045"/>
                    </a:lnTo>
                    <a:lnTo>
                      <a:pt x="32432" y="20045"/>
                    </a:lnTo>
                    <a:lnTo>
                      <a:pt x="32411" y="20171"/>
                    </a:lnTo>
                    <a:lnTo>
                      <a:pt x="32243" y="20380"/>
                    </a:lnTo>
                    <a:lnTo>
                      <a:pt x="32013" y="20568"/>
                    </a:lnTo>
                    <a:lnTo>
                      <a:pt x="32013" y="20652"/>
                    </a:lnTo>
                    <a:lnTo>
                      <a:pt x="32055" y="20673"/>
                    </a:lnTo>
                    <a:lnTo>
                      <a:pt x="32243" y="20652"/>
                    </a:lnTo>
                    <a:lnTo>
                      <a:pt x="32327" y="20652"/>
                    </a:lnTo>
                    <a:lnTo>
                      <a:pt x="32243" y="20694"/>
                    </a:lnTo>
                    <a:lnTo>
                      <a:pt x="32202" y="20861"/>
                    </a:lnTo>
                    <a:lnTo>
                      <a:pt x="32202" y="20903"/>
                    </a:lnTo>
                    <a:lnTo>
                      <a:pt x="32327" y="20945"/>
                    </a:lnTo>
                    <a:lnTo>
                      <a:pt x="32222" y="20966"/>
                    </a:lnTo>
                    <a:lnTo>
                      <a:pt x="32139" y="21050"/>
                    </a:lnTo>
                    <a:lnTo>
                      <a:pt x="32160" y="21112"/>
                    </a:lnTo>
                    <a:lnTo>
                      <a:pt x="32222" y="21175"/>
                    </a:lnTo>
                    <a:lnTo>
                      <a:pt x="32118" y="21301"/>
                    </a:lnTo>
                    <a:lnTo>
                      <a:pt x="32118" y="21363"/>
                    </a:lnTo>
                    <a:lnTo>
                      <a:pt x="32264" y="21363"/>
                    </a:lnTo>
                    <a:lnTo>
                      <a:pt x="32306" y="21426"/>
                    </a:lnTo>
                    <a:lnTo>
                      <a:pt x="32160" y="21635"/>
                    </a:lnTo>
                    <a:lnTo>
                      <a:pt x="32034" y="21698"/>
                    </a:lnTo>
                    <a:lnTo>
                      <a:pt x="32034" y="21824"/>
                    </a:lnTo>
                    <a:lnTo>
                      <a:pt x="32097" y="21887"/>
                    </a:lnTo>
                    <a:lnTo>
                      <a:pt x="32013" y="21845"/>
                    </a:lnTo>
                    <a:lnTo>
                      <a:pt x="31930" y="21719"/>
                    </a:lnTo>
                    <a:lnTo>
                      <a:pt x="31888" y="21719"/>
                    </a:lnTo>
                    <a:lnTo>
                      <a:pt x="31741" y="21887"/>
                    </a:lnTo>
                    <a:lnTo>
                      <a:pt x="31741" y="21928"/>
                    </a:lnTo>
                    <a:lnTo>
                      <a:pt x="31804" y="21949"/>
                    </a:lnTo>
                    <a:lnTo>
                      <a:pt x="31804" y="22033"/>
                    </a:lnTo>
                    <a:lnTo>
                      <a:pt x="31720" y="22117"/>
                    </a:lnTo>
                    <a:lnTo>
                      <a:pt x="31616" y="22117"/>
                    </a:lnTo>
                    <a:lnTo>
                      <a:pt x="31302" y="22431"/>
                    </a:lnTo>
                    <a:lnTo>
                      <a:pt x="31197" y="22472"/>
                    </a:lnTo>
                    <a:lnTo>
                      <a:pt x="31113" y="22724"/>
                    </a:lnTo>
                    <a:lnTo>
                      <a:pt x="31155" y="22786"/>
                    </a:lnTo>
                    <a:lnTo>
                      <a:pt x="31260" y="22828"/>
                    </a:lnTo>
                    <a:lnTo>
                      <a:pt x="31281" y="22954"/>
                    </a:lnTo>
                    <a:lnTo>
                      <a:pt x="31406" y="23037"/>
                    </a:lnTo>
                    <a:lnTo>
                      <a:pt x="31595" y="23288"/>
                    </a:lnTo>
                    <a:lnTo>
                      <a:pt x="31616" y="23602"/>
                    </a:lnTo>
                    <a:lnTo>
                      <a:pt x="31595" y="23937"/>
                    </a:lnTo>
                    <a:lnTo>
                      <a:pt x="31678" y="24125"/>
                    </a:lnTo>
                    <a:lnTo>
                      <a:pt x="31637" y="24251"/>
                    </a:lnTo>
                    <a:lnTo>
                      <a:pt x="31637" y="24460"/>
                    </a:lnTo>
                    <a:lnTo>
                      <a:pt x="31595" y="24523"/>
                    </a:lnTo>
                    <a:lnTo>
                      <a:pt x="31490" y="24816"/>
                    </a:lnTo>
                    <a:lnTo>
                      <a:pt x="31427" y="24962"/>
                    </a:lnTo>
                    <a:lnTo>
                      <a:pt x="31490" y="24962"/>
                    </a:lnTo>
                    <a:lnTo>
                      <a:pt x="31511" y="24858"/>
                    </a:lnTo>
                    <a:lnTo>
                      <a:pt x="31595" y="24816"/>
                    </a:lnTo>
                    <a:lnTo>
                      <a:pt x="31595" y="24962"/>
                    </a:lnTo>
                    <a:lnTo>
                      <a:pt x="31699" y="25088"/>
                    </a:lnTo>
                    <a:lnTo>
                      <a:pt x="31616" y="25192"/>
                    </a:lnTo>
                    <a:lnTo>
                      <a:pt x="31511" y="25192"/>
                    </a:lnTo>
                    <a:lnTo>
                      <a:pt x="31469" y="25151"/>
                    </a:lnTo>
                    <a:lnTo>
                      <a:pt x="31385" y="25151"/>
                    </a:lnTo>
                    <a:lnTo>
                      <a:pt x="31218" y="25402"/>
                    </a:lnTo>
                    <a:lnTo>
                      <a:pt x="31093" y="25465"/>
                    </a:lnTo>
                    <a:lnTo>
                      <a:pt x="31072" y="25569"/>
                    </a:lnTo>
                    <a:lnTo>
                      <a:pt x="30800" y="25674"/>
                    </a:lnTo>
                    <a:lnTo>
                      <a:pt x="30737" y="25757"/>
                    </a:lnTo>
                    <a:lnTo>
                      <a:pt x="30737" y="25799"/>
                    </a:lnTo>
                    <a:lnTo>
                      <a:pt x="30360" y="25925"/>
                    </a:lnTo>
                    <a:lnTo>
                      <a:pt x="30130" y="26029"/>
                    </a:lnTo>
                    <a:lnTo>
                      <a:pt x="30067" y="26092"/>
                    </a:lnTo>
                    <a:lnTo>
                      <a:pt x="29942" y="26092"/>
                    </a:lnTo>
                    <a:lnTo>
                      <a:pt x="29837" y="26176"/>
                    </a:lnTo>
                    <a:lnTo>
                      <a:pt x="29607" y="26197"/>
                    </a:lnTo>
                    <a:lnTo>
                      <a:pt x="29440" y="26281"/>
                    </a:lnTo>
                    <a:lnTo>
                      <a:pt x="29481" y="26322"/>
                    </a:lnTo>
                    <a:lnTo>
                      <a:pt x="29481" y="26427"/>
                    </a:lnTo>
                    <a:lnTo>
                      <a:pt x="29523" y="26511"/>
                    </a:lnTo>
                    <a:lnTo>
                      <a:pt x="29523" y="26615"/>
                    </a:lnTo>
                    <a:lnTo>
                      <a:pt x="29586" y="26699"/>
                    </a:lnTo>
                    <a:lnTo>
                      <a:pt x="29523" y="26720"/>
                    </a:lnTo>
                    <a:lnTo>
                      <a:pt x="29544" y="26804"/>
                    </a:lnTo>
                    <a:lnTo>
                      <a:pt x="29607" y="26825"/>
                    </a:lnTo>
                    <a:lnTo>
                      <a:pt x="29523" y="26866"/>
                    </a:lnTo>
                    <a:lnTo>
                      <a:pt x="29586" y="26971"/>
                    </a:lnTo>
                    <a:lnTo>
                      <a:pt x="29523" y="27013"/>
                    </a:lnTo>
                    <a:lnTo>
                      <a:pt x="29544" y="27117"/>
                    </a:lnTo>
                    <a:lnTo>
                      <a:pt x="29502" y="27159"/>
                    </a:lnTo>
                    <a:lnTo>
                      <a:pt x="29481" y="27348"/>
                    </a:lnTo>
                    <a:lnTo>
                      <a:pt x="29502" y="27452"/>
                    </a:lnTo>
                    <a:lnTo>
                      <a:pt x="29419" y="27745"/>
                    </a:lnTo>
                    <a:lnTo>
                      <a:pt x="29440" y="27808"/>
                    </a:lnTo>
                    <a:lnTo>
                      <a:pt x="29502" y="27850"/>
                    </a:lnTo>
                    <a:lnTo>
                      <a:pt x="29502" y="27913"/>
                    </a:lnTo>
                    <a:lnTo>
                      <a:pt x="29544" y="27975"/>
                    </a:lnTo>
                    <a:lnTo>
                      <a:pt x="29440" y="28101"/>
                    </a:lnTo>
                    <a:lnTo>
                      <a:pt x="29440" y="28226"/>
                    </a:lnTo>
                    <a:lnTo>
                      <a:pt x="29523" y="28268"/>
                    </a:lnTo>
                    <a:lnTo>
                      <a:pt x="29544" y="28436"/>
                    </a:lnTo>
                    <a:lnTo>
                      <a:pt x="29607" y="28498"/>
                    </a:lnTo>
                    <a:lnTo>
                      <a:pt x="29481" y="28624"/>
                    </a:lnTo>
                    <a:lnTo>
                      <a:pt x="29419" y="28791"/>
                    </a:lnTo>
                    <a:lnTo>
                      <a:pt x="29377" y="28812"/>
                    </a:lnTo>
                    <a:lnTo>
                      <a:pt x="29314" y="28791"/>
                    </a:lnTo>
                    <a:lnTo>
                      <a:pt x="29314" y="28896"/>
                    </a:lnTo>
                    <a:lnTo>
                      <a:pt x="29377" y="28959"/>
                    </a:lnTo>
                    <a:lnTo>
                      <a:pt x="29314" y="29042"/>
                    </a:lnTo>
                    <a:lnTo>
                      <a:pt x="29293" y="29231"/>
                    </a:lnTo>
                    <a:lnTo>
                      <a:pt x="29314" y="29356"/>
                    </a:lnTo>
                    <a:lnTo>
                      <a:pt x="29419" y="29482"/>
                    </a:lnTo>
                    <a:lnTo>
                      <a:pt x="29523" y="29545"/>
                    </a:lnTo>
                    <a:lnTo>
                      <a:pt x="29335" y="29524"/>
                    </a:lnTo>
                    <a:lnTo>
                      <a:pt x="29209" y="29419"/>
                    </a:lnTo>
                    <a:lnTo>
                      <a:pt x="29230" y="29252"/>
                    </a:lnTo>
                    <a:lnTo>
                      <a:pt x="29189" y="29042"/>
                    </a:lnTo>
                    <a:lnTo>
                      <a:pt x="29105" y="29022"/>
                    </a:lnTo>
                    <a:lnTo>
                      <a:pt x="29084" y="28959"/>
                    </a:lnTo>
                    <a:lnTo>
                      <a:pt x="29105" y="28854"/>
                    </a:lnTo>
                    <a:lnTo>
                      <a:pt x="29063" y="28854"/>
                    </a:lnTo>
                    <a:lnTo>
                      <a:pt x="28875" y="29105"/>
                    </a:lnTo>
                    <a:lnTo>
                      <a:pt x="28875" y="29210"/>
                    </a:lnTo>
                    <a:lnTo>
                      <a:pt x="28854" y="29314"/>
                    </a:lnTo>
                    <a:lnTo>
                      <a:pt x="28749" y="29314"/>
                    </a:lnTo>
                    <a:lnTo>
                      <a:pt x="28644" y="29210"/>
                    </a:lnTo>
                    <a:lnTo>
                      <a:pt x="28477" y="29147"/>
                    </a:lnTo>
                    <a:lnTo>
                      <a:pt x="28352" y="29252"/>
                    </a:lnTo>
                    <a:lnTo>
                      <a:pt x="28184" y="29335"/>
                    </a:lnTo>
                    <a:lnTo>
                      <a:pt x="28184" y="29335"/>
                    </a:lnTo>
                    <a:lnTo>
                      <a:pt x="28393" y="29147"/>
                    </a:lnTo>
                    <a:lnTo>
                      <a:pt x="28456" y="29001"/>
                    </a:lnTo>
                    <a:lnTo>
                      <a:pt x="28435" y="28917"/>
                    </a:lnTo>
                    <a:lnTo>
                      <a:pt x="28393" y="28729"/>
                    </a:lnTo>
                    <a:lnTo>
                      <a:pt x="28331" y="28624"/>
                    </a:lnTo>
                    <a:lnTo>
                      <a:pt x="28289" y="28540"/>
                    </a:lnTo>
                    <a:lnTo>
                      <a:pt x="28268" y="28540"/>
                    </a:lnTo>
                    <a:lnTo>
                      <a:pt x="28142" y="28478"/>
                    </a:lnTo>
                    <a:lnTo>
                      <a:pt x="28038" y="28415"/>
                    </a:lnTo>
                    <a:lnTo>
                      <a:pt x="28038" y="28331"/>
                    </a:lnTo>
                    <a:lnTo>
                      <a:pt x="28017" y="28289"/>
                    </a:lnTo>
                    <a:lnTo>
                      <a:pt x="28038" y="28185"/>
                    </a:lnTo>
                    <a:lnTo>
                      <a:pt x="27954" y="28080"/>
                    </a:lnTo>
                    <a:lnTo>
                      <a:pt x="27870" y="28017"/>
                    </a:lnTo>
                    <a:lnTo>
                      <a:pt x="27870" y="27892"/>
                    </a:lnTo>
                    <a:lnTo>
                      <a:pt x="27766" y="27808"/>
                    </a:lnTo>
                    <a:lnTo>
                      <a:pt x="27724" y="27703"/>
                    </a:lnTo>
                    <a:lnTo>
                      <a:pt x="27766" y="27473"/>
                    </a:lnTo>
                    <a:lnTo>
                      <a:pt x="27870" y="27369"/>
                    </a:lnTo>
                    <a:lnTo>
                      <a:pt x="27933" y="27222"/>
                    </a:lnTo>
                    <a:lnTo>
                      <a:pt x="27933" y="27117"/>
                    </a:lnTo>
                    <a:lnTo>
                      <a:pt x="28080" y="26866"/>
                    </a:lnTo>
                    <a:lnTo>
                      <a:pt x="28080" y="26615"/>
                    </a:lnTo>
                    <a:lnTo>
                      <a:pt x="28059" y="26594"/>
                    </a:lnTo>
                    <a:lnTo>
                      <a:pt x="28038" y="26448"/>
                    </a:lnTo>
                    <a:lnTo>
                      <a:pt x="28121" y="26301"/>
                    </a:lnTo>
                    <a:lnTo>
                      <a:pt x="28184" y="26197"/>
                    </a:lnTo>
                    <a:lnTo>
                      <a:pt x="28184" y="26092"/>
                    </a:lnTo>
                    <a:lnTo>
                      <a:pt x="28352" y="25799"/>
                    </a:lnTo>
                    <a:lnTo>
                      <a:pt x="28331" y="25611"/>
                    </a:lnTo>
                    <a:lnTo>
                      <a:pt x="28268" y="25611"/>
                    </a:lnTo>
                    <a:lnTo>
                      <a:pt x="28247" y="25653"/>
                    </a:lnTo>
                    <a:lnTo>
                      <a:pt x="28247" y="25590"/>
                    </a:lnTo>
                    <a:lnTo>
                      <a:pt x="28163" y="25590"/>
                    </a:lnTo>
                    <a:lnTo>
                      <a:pt x="28038" y="25653"/>
                    </a:lnTo>
                    <a:lnTo>
                      <a:pt x="27849" y="25611"/>
                    </a:lnTo>
                    <a:lnTo>
                      <a:pt x="27661" y="25569"/>
                    </a:lnTo>
                    <a:lnTo>
                      <a:pt x="27619" y="25569"/>
                    </a:lnTo>
                    <a:lnTo>
                      <a:pt x="27556" y="25506"/>
                    </a:lnTo>
                    <a:lnTo>
                      <a:pt x="27326" y="25506"/>
                    </a:lnTo>
                    <a:lnTo>
                      <a:pt x="27201" y="25548"/>
                    </a:lnTo>
                    <a:lnTo>
                      <a:pt x="27138" y="25506"/>
                    </a:lnTo>
                    <a:lnTo>
                      <a:pt x="26971" y="25506"/>
                    </a:lnTo>
                    <a:lnTo>
                      <a:pt x="26929" y="25485"/>
                    </a:lnTo>
                    <a:lnTo>
                      <a:pt x="26971" y="25444"/>
                    </a:lnTo>
                    <a:lnTo>
                      <a:pt x="26803" y="25297"/>
                    </a:lnTo>
                    <a:lnTo>
                      <a:pt x="26782" y="25234"/>
                    </a:lnTo>
                    <a:lnTo>
                      <a:pt x="26594" y="25046"/>
                    </a:lnTo>
                    <a:lnTo>
                      <a:pt x="26510" y="25025"/>
                    </a:lnTo>
                    <a:lnTo>
                      <a:pt x="26343" y="24879"/>
                    </a:lnTo>
                    <a:lnTo>
                      <a:pt x="26259" y="24858"/>
                    </a:lnTo>
                    <a:lnTo>
                      <a:pt x="26029" y="24711"/>
                    </a:lnTo>
                    <a:lnTo>
                      <a:pt x="25966" y="24648"/>
                    </a:lnTo>
                    <a:lnTo>
                      <a:pt x="25903" y="24753"/>
                    </a:lnTo>
                    <a:lnTo>
                      <a:pt x="25903" y="24711"/>
                    </a:lnTo>
                    <a:lnTo>
                      <a:pt x="25820" y="24523"/>
                    </a:lnTo>
                    <a:lnTo>
                      <a:pt x="25736" y="24439"/>
                    </a:lnTo>
                    <a:lnTo>
                      <a:pt x="25736" y="24335"/>
                    </a:lnTo>
                    <a:lnTo>
                      <a:pt x="25631" y="24293"/>
                    </a:lnTo>
                    <a:lnTo>
                      <a:pt x="25527" y="24104"/>
                    </a:lnTo>
                    <a:lnTo>
                      <a:pt x="25443" y="24084"/>
                    </a:lnTo>
                    <a:lnTo>
                      <a:pt x="25255" y="23895"/>
                    </a:lnTo>
                    <a:lnTo>
                      <a:pt x="25150" y="23874"/>
                    </a:lnTo>
                    <a:lnTo>
                      <a:pt x="25087" y="23812"/>
                    </a:lnTo>
                    <a:lnTo>
                      <a:pt x="24815" y="23728"/>
                    </a:lnTo>
                    <a:lnTo>
                      <a:pt x="24627" y="23581"/>
                    </a:lnTo>
                    <a:lnTo>
                      <a:pt x="24376" y="23393"/>
                    </a:lnTo>
                    <a:lnTo>
                      <a:pt x="24167" y="23414"/>
                    </a:lnTo>
                    <a:lnTo>
                      <a:pt x="23748" y="23560"/>
                    </a:lnTo>
                    <a:lnTo>
                      <a:pt x="23330" y="23686"/>
                    </a:lnTo>
                    <a:lnTo>
                      <a:pt x="23142" y="23686"/>
                    </a:lnTo>
                    <a:lnTo>
                      <a:pt x="23016" y="23623"/>
                    </a:lnTo>
                    <a:lnTo>
                      <a:pt x="23016" y="23623"/>
                    </a:lnTo>
                    <a:lnTo>
                      <a:pt x="23142" y="23665"/>
                    </a:lnTo>
                    <a:lnTo>
                      <a:pt x="23330" y="23602"/>
                    </a:lnTo>
                    <a:lnTo>
                      <a:pt x="23665" y="23268"/>
                    </a:lnTo>
                    <a:lnTo>
                      <a:pt x="23727" y="23163"/>
                    </a:lnTo>
                    <a:lnTo>
                      <a:pt x="23665" y="22933"/>
                    </a:lnTo>
                    <a:lnTo>
                      <a:pt x="23581" y="22828"/>
                    </a:lnTo>
                    <a:lnTo>
                      <a:pt x="23665" y="22577"/>
                    </a:lnTo>
                    <a:lnTo>
                      <a:pt x="23665" y="22347"/>
                    </a:lnTo>
                    <a:lnTo>
                      <a:pt x="23581" y="22200"/>
                    </a:lnTo>
                    <a:lnTo>
                      <a:pt x="23581" y="22054"/>
                    </a:lnTo>
                    <a:lnTo>
                      <a:pt x="23644" y="21928"/>
                    </a:lnTo>
                    <a:lnTo>
                      <a:pt x="23644" y="21824"/>
                    </a:lnTo>
                    <a:lnTo>
                      <a:pt x="23539" y="21782"/>
                    </a:lnTo>
                    <a:lnTo>
                      <a:pt x="23204" y="21782"/>
                    </a:lnTo>
                    <a:lnTo>
                      <a:pt x="23037" y="22054"/>
                    </a:lnTo>
                    <a:lnTo>
                      <a:pt x="22828" y="22305"/>
                    </a:lnTo>
                    <a:lnTo>
                      <a:pt x="22577" y="22326"/>
                    </a:lnTo>
                    <a:lnTo>
                      <a:pt x="22409" y="22452"/>
                    </a:lnTo>
                    <a:lnTo>
                      <a:pt x="22472" y="22347"/>
                    </a:lnTo>
                    <a:lnTo>
                      <a:pt x="22786" y="22263"/>
                    </a:lnTo>
                    <a:lnTo>
                      <a:pt x="22932" y="22117"/>
                    </a:lnTo>
                    <a:lnTo>
                      <a:pt x="23037" y="21845"/>
                    </a:lnTo>
                    <a:lnTo>
                      <a:pt x="22995" y="21824"/>
                    </a:lnTo>
                    <a:lnTo>
                      <a:pt x="22995" y="21677"/>
                    </a:lnTo>
                    <a:lnTo>
                      <a:pt x="22932" y="21594"/>
                    </a:lnTo>
                    <a:lnTo>
                      <a:pt x="22953" y="21489"/>
                    </a:lnTo>
                    <a:lnTo>
                      <a:pt x="22932" y="21405"/>
                    </a:lnTo>
                    <a:lnTo>
                      <a:pt x="22807" y="21384"/>
                    </a:lnTo>
                    <a:lnTo>
                      <a:pt x="22849" y="21322"/>
                    </a:lnTo>
                    <a:lnTo>
                      <a:pt x="22953" y="21301"/>
                    </a:lnTo>
                    <a:lnTo>
                      <a:pt x="22995" y="21196"/>
                    </a:lnTo>
                    <a:lnTo>
                      <a:pt x="23100" y="21008"/>
                    </a:lnTo>
                    <a:lnTo>
                      <a:pt x="23100" y="20861"/>
                    </a:lnTo>
                    <a:lnTo>
                      <a:pt x="23037" y="20799"/>
                    </a:lnTo>
                    <a:lnTo>
                      <a:pt x="23121" y="20568"/>
                    </a:lnTo>
                    <a:lnTo>
                      <a:pt x="23204" y="20527"/>
                    </a:lnTo>
                    <a:lnTo>
                      <a:pt x="23246" y="20359"/>
                    </a:lnTo>
                    <a:lnTo>
                      <a:pt x="23330" y="20255"/>
                    </a:lnTo>
                    <a:lnTo>
                      <a:pt x="23372" y="20045"/>
                    </a:lnTo>
                    <a:lnTo>
                      <a:pt x="23476" y="19941"/>
                    </a:lnTo>
                    <a:lnTo>
                      <a:pt x="23435" y="19815"/>
                    </a:lnTo>
                    <a:lnTo>
                      <a:pt x="23435" y="19731"/>
                    </a:lnTo>
                    <a:lnTo>
                      <a:pt x="23560" y="19815"/>
                    </a:lnTo>
                    <a:lnTo>
                      <a:pt x="23665" y="19711"/>
                    </a:lnTo>
                    <a:lnTo>
                      <a:pt x="23665" y="19606"/>
                    </a:lnTo>
                    <a:lnTo>
                      <a:pt x="23790" y="19585"/>
                    </a:lnTo>
                    <a:lnTo>
                      <a:pt x="23958" y="19397"/>
                    </a:lnTo>
                    <a:lnTo>
                      <a:pt x="24062" y="19334"/>
                    </a:lnTo>
                    <a:lnTo>
                      <a:pt x="24041" y="19229"/>
                    </a:lnTo>
                    <a:lnTo>
                      <a:pt x="24125" y="19166"/>
                    </a:lnTo>
                    <a:lnTo>
                      <a:pt x="24188" y="19166"/>
                    </a:lnTo>
                    <a:lnTo>
                      <a:pt x="24230" y="19083"/>
                    </a:lnTo>
                    <a:lnTo>
                      <a:pt x="24167" y="18999"/>
                    </a:lnTo>
                    <a:lnTo>
                      <a:pt x="24292" y="18915"/>
                    </a:lnTo>
                    <a:lnTo>
                      <a:pt x="24376" y="18769"/>
                    </a:lnTo>
                    <a:lnTo>
                      <a:pt x="24481" y="18769"/>
                    </a:lnTo>
                    <a:lnTo>
                      <a:pt x="24481" y="18706"/>
                    </a:lnTo>
                    <a:lnTo>
                      <a:pt x="24543" y="18664"/>
                    </a:lnTo>
                    <a:lnTo>
                      <a:pt x="24397" y="18560"/>
                    </a:lnTo>
                    <a:lnTo>
                      <a:pt x="24460" y="18539"/>
                    </a:lnTo>
                    <a:lnTo>
                      <a:pt x="24460" y="18455"/>
                    </a:lnTo>
                    <a:lnTo>
                      <a:pt x="24543" y="18476"/>
                    </a:lnTo>
                    <a:lnTo>
                      <a:pt x="24669" y="18581"/>
                    </a:lnTo>
                    <a:lnTo>
                      <a:pt x="24690" y="18643"/>
                    </a:lnTo>
                    <a:lnTo>
                      <a:pt x="24753" y="18602"/>
                    </a:lnTo>
                    <a:lnTo>
                      <a:pt x="24711" y="18539"/>
                    </a:lnTo>
                    <a:lnTo>
                      <a:pt x="24606" y="18476"/>
                    </a:lnTo>
                    <a:lnTo>
                      <a:pt x="24795" y="18392"/>
                    </a:lnTo>
                    <a:lnTo>
                      <a:pt x="24836" y="18330"/>
                    </a:lnTo>
                    <a:lnTo>
                      <a:pt x="24983" y="18330"/>
                    </a:lnTo>
                    <a:lnTo>
                      <a:pt x="25004" y="18350"/>
                    </a:lnTo>
                    <a:lnTo>
                      <a:pt x="25025" y="18267"/>
                    </a:lnTo>
                    <a:lnTo>
                      <a:pt x="25004" y="18225"/>
                    </a:lnTo>
                    <a:lnTo>
                      <a:pt x="25087" y="18225"/>
                    </a:lnTo>
                    <a:lnTo>
                      <a:pt x="25108" y="18350"/>
                    </a:lnTo>
                    <a:lnTo>
                      <a:pt x="25192" y="18246"/>
                    </a:lnTo>
                    <a:lnTo>
                      <a:pt x="25192" y="18225"/>
                    </a:lnTo>
                    <a:lnTo>
                      <a:pt x="25108" y="18162"/>
                    </a:lnTo>
                    <a:lnTo>
                      <a:pt x="25108" y="18058"/>
                    </a:lnTo>
                    <a:lnTo>
                      <a:pt x="25150" y="18120"/>
                    </a:lnTo>
                    <a:lnTo>
                      <a:pt x="25359" y="18162"/>
                    </a:lnTo>
                    <a:lnTo>
                      <a:pt x="25339" y="18078"/>
                    </a:lnTo>
                    <a:lnTo>
                      <a:pt x="25234" y="18037"/>
                    </a:lnTo>
                    <a:lnTo>
                      <a:pt x="25213" y="17953"/>
                    </a:lnTo>
                    <a:lnTo>
                      <a:pt x="25255" y="17932"/>
                    </a:lnTo>
                    <a:lnTo>
                      <a:pt x="25297" y="17848"/>
                    </a:lnTo>
                    <a:lnTo>
                      <a:pt x="25318" y="18016"/>
                    </a:lnTo>
                    <a:lnTo>
                      <a:pt x="25422" y="17974"/>
                    </a:lnTo>
                    <a:lnTo>
                      <a:pt x="25506" y="18016"/>
                    </a:lnTo>
                    <a:lnTo>
                      <a:pt x="25590" y="17953"/>
                    </a:lnTo>
                    <a:lnTo>
                      <a:pt x="25464" y="17744"/>
                    </a:lnTo>
                    <a:lnTo>
                      <a:pt x="25401" y="17514"/>
                    </a:lnTo>
                    <a:lnTo>
                      <a:pt x="25297" y="17388"/>
                    </a:lnTo>
                    <a:lnTo>
                      <a:pt x="25297" y="17283"/>
                    </a:lnTo>
                    <a:lnTo>
                      <a:pt x="25255" y="17200"/>
                    </a:lnTo>
                    <a:lnTo>
                      <a:pt x="25297" y="17137"/>
                    </a:lnTo>
                    <a:lnTo>
                      <a:pt x="25359" y="17221"/>
                    </a:lnTo>
                    <a:lnTo>
                      <a:pt x="25422" y="17409"/>
                    </a:lnTo>
                    <a:lnTo>
                      <a:pt x="25569" y="17597"/>
                    </a:lnTo>
                    <a:lnTo>
                      <a:pt x="25841" y="17639"/>
                    </a:lnTo>
                    <a:lnTo>
                      <a:pt x="25945" y="17723"/>
                    </a:lnTo>
                    <a:lnTo>
                      <a:pt x="26071" y="17723"/>
                    </a:lnTo>
                    <a:lnTo>
                      <a:pt x="26155" y="17660"/>
                    </a:lnTo>
                    <a:lnTo>
                      <a:pt x="26259" y="17660"/>
                    </a:lnTo>
                    <a:lnTo>
                      <a:pt x="26406" y="17514"/>
                    </a:lnTo>
                    <a:lnTo>
                      <a:pt x="26448" y="17242"/>
                    </a:lnTo>
                    <a:lnTo>
                      <a:pt x="26238" y="16990"/>
                    </a:lnTo>
                    <a:lnTo>
                      <a:pt x="26196" y="16823"/>
                    </a:lnTo>
                    <a:lnTo>
                      <a:pt x="26134" y="16739"/>
                    </a:lnTo>
                    <a:lnTo>
                      <a:pt x="26071" y="16739"/>
                    </a:lnTo>
                    <a:lnTo>
                      <a:pt x="25945" y="16886"/>
                    </a:lnTo>
                    <a:lnTo>
                      <a:pt x="25715" y="16907"/>
                    </a:lnTo>
                    <a:lnTo>
                      <a:pt x="25652" y="16928"/>
                    </a:lnTo>
                    <a:lnTo>
                      <a:pt x="25652" y="16907"/>
                    </a:lnTo>
                    <a:lnTo>
                      <a:pt x="25631" y="16823"/>
                    </a:lnTo>
                    <a:lnTo>
                      <a:pt x="25715" y="16865"/>
                    </a:lnTo>
                    <a:lnTo>
                      <a:pt x="25841" y="16823"/>
                    </a:lnTo>
                    <a:lnTo>
                      <a:pt x="25966" y="16718"/>
                    </a:lnTo>
                    <a:lnTo>
                      <a:pt x="25945" y="16677"/>
                    </a:lnTo>
                    <a:lnTo>
                      <a:pt x="25736" y="16551"/>
                    </a:lnTo>
                    <a:lnTo>
                      <a:pt x="25506" y="16300"/>
                    </a:lnTo>
                    <a:lnTo>
                      <a:pt x="25443" y="16300"/>
                    </a:lnTo>
                    <a:lnTo>
                      <a:pt x="25422" y="16363"/>
                    </a:lnTo>
                    <a:lnTo>
                      <a:pt x="25464" y="16446"/>
                    </a:lnTo>
                    <a:lnTo>
                      <a:pt x="25443" y="16488"/>
                    </a:lnTo>
                    <a:lnTo>
                      <a:pt x="25339" y="16405"/>
                    </a:lnTo>
                    <a:lnTo>
                      <a:pt x="25297" y="16258"/>
                    </a:lnTo>
                    <a:lnTo>
                      <a:pt x="25401" y="16279"/>
                    </a:lnTo>
                    <a:lnTo>
                      <a:pt x="25401" y="16091"/>
                    </a:lnTo>
                    <a:lnTo>
                      <a:pt x="25443" y="16195"/>
                    </a:lnTo>
                    <a:lnTo>
                      <a:pt x="25611" y="16342"/>
                    </a:lnTo>
                    <a:lnTo>
                      <a:pt x="25694" y="16363"/>
                    </a:lnTo>
                    <a:lnTo>
                      <a:pt x="25757" y="16551"/>
                    </a:lnTo>
                    <a:lnTo>
                      <a:pt x="25966" y="16677"/>
                    </a:lnTo>
                    <a:lnTo>
                      <a:pt x="26217" y="16760"/>
                    </a:lnTo>
                    <a:lnTo>
                      <a:pt x="26322" y="16907"/>
                    </a:lnTo>
                    <a:lnTo>
                      <a:pt x="26427" y="16970"/>
                    </a:lnTo>
                    <a:lnTo>
                      <a:pt x="26448" y="17032"/>
                    </a:lnTo>
                    <a:lnTo>
                      <a:pt x="26573" y="17095"/>
                    </a:lnTo>
                    <a:lnTo>
                      <a:pt x="26636" y="17137"/>
                    </a:lnTo>
                    <a:lnTo>
                      <a:pt x="26636" y="17011"/>
                    </a:lnTo>
                    <a:lnTo>
                      <a:pt x="26740" y="16970"/>
                    </a:lnTo>
                    <a:lnTo>
                      <a:pt x="26657" y="16907"/>
                    </a:lnTo>
                    <a:lnTo>
                      <a:pt x="26678" y="16802"/>
                    </a:lnTo>
                    <a:lnTo>
                      <a:pt x="26761" y="16928"/>
                    </a:lnTo>
                    <a:lnTo>
                      <a:pt x="26782" y="17011"/>
                    </a:lnTo>
                    <a:lnTo>
                      <a:pt x="26866" y="17032"/>
                    </a:lnTo>
                    <a:lnTo>
                      <a:pt x="26992" y="16865"/>
                    </a:lnTo>
                    <a:lnTo>
                      <a:pt x="26992" y="16656"/>
                    </a:lnTo>
                    <a:lnTo>
                      <a:pt x="26950" y="16572"/>
                    </a:lnTo>
                    <a:lnTo>
                      <a:pt x="26992" y="16405"/>
                    </a:lnTo>
                    <a:lnTo>
                      <a:pt x="27054" y="16593"/>
                    </a:lnTo>
                    <a:lnTo>
                      <a:pt x="27054" y="16698"/>
                    </a:lnTo>
                    <a:lnTo>
                      <a:pt x="27117" y="16467"/>
                    </a:lnTo>
                    <a:lnTo>
                      <a:pt x="27222" y="16405"/>
                    </a:lnTo>
                    <a:lnTo>
                      <a:pt x="27264" y="16467"/>
                    </a:lnTo>
                    <a:lnTo>
                      <a:pt x="27284" y="16488"/>
                    </a:lnTo>
                    <a:lnTo>
                      <a:pt x="27201" y="16593"/>
                    </a:lnTo>
                    <a:lnTo>
                      <a:pt x="27264" y="16614"/>
                    </a:lnTo>
                    <a:lnTo>
                      <a:pt x="27284" y="16698"/>
                    </a:lnTo>
                    <a:lnTo>
                      <a:pt x="27368" y="16614"/>
                    </a:lnTo>
                    <a:lnTo>
                      <a:pt x="27431" y="16656"/>
                    </a:lnTo>
                    <a:lnTo>
                      <a:pt x="27577" y="16802"/>
                    </a:lnTo>
                    <a:lnTo>
                      <a:pt x="27598" y="16760"/>
                    </a:lnTo>
                    <a:lnTo>
                      <a:pt x="27682" y="16760"/>
                    </a:lnTo>
                    <a:lnTo>
                      <a:pt x="27724" y="16802"/>
                    </a:lnTo>
                    <a:lnTo>
                      <a:pt x="27828" y="16781"/>
                    </a:lnTo>
                    <a:lnTo>
                      <a:pt x="27933" y="16593"/>
                    </a:lnTo>
                    <a:lnTo>
                      <a:pt x="28100" y="16509"/>
                    </a:lnTo>
                    <a:lnTo>
                      <a:pt x="28456" y="16153"/>
                    </a:lnTo>
                    <a:lnTo>
                      <a:pt x="28477" y="16070"/>
                    </a:lnTo>
                    <a:lnTo>
                      <a:pt x="28540" y="16049"/>
                    </a:lnTo>
                    <a:lnTo>
                      <a:pt x="28561" y="16091"/>
                    </a:lnTo>
                    <a:lnTo>
                      <a:pt x="28728" y="15881"/>
                    </a:lnTo>
                    <a:lnTo>
                      <a:pt x="28833" y="15840"/>
                    </a:lnTo>
                    <a:lnTo>
                      <a:pt x="28958" y="15735"/>
                    </a:lnTo>
                    <a:lnTo>
                      <a:pt x="29000" y="15672"/>
                    </a:lnTo>
                    <a:lnTo>
                      <a:pt x="28979" y="15547"/>
                    </a:lnTo>
                    <a:lnTo>
                      <a:pt x="28561" y="15442"/>
                    </a:lnTo>
                    <a:lnTo>
                      <a:pt x="28331" y="15400"/>
                    </a:lnTo>
                    <a:lnTo>
                      <a:pt x="28121" y="15317"/>
                    </a:lnTo>
                    <a:lnTo>
                      <a:pt x="28038" y="15128"/>
                    </a:lnTo>
                    <a:lnTo>
                      <a:pt x="27912" y="14898"/>
                    </a:lnTo>
                    <a:lnTo>
                      <a:pt x="27849" y="14898"/>
                    </a:lnTo>
                    <a:lnTo>
                      <a:pt x="27828" y="14710"/>
                    </a:lnTo>
                    <a:lnTo>
                      <a:pt x="27808" y="14689"/>
                    </a:lnTo>
                    <a:lnTo>
                      <a:pt x="27828" y="14626"/>
                    </a:lnTo>
                    <a:lnTo>
                      <a:pt x="27870" y="14626"/>
                    </a:lnTo>
                    <a:lnTo>
                      <a:pt x="27912" y="14563"/>
                    </a:lnTo>
                    <a:lnTo>
                      <a:pt x="27828" y="14501"/>
                    </a:lnTo>
                    <a:lnTo>
                      <a:pt x="27598" y="14501"/>
                    </a:lnTo>
                    <a:lnTo>
                      <a:pt x="27326" y="14417"/>
                    </a:lnTo>
                    <a:lnTo>
                      <a:pt x="27243" y="14417"/>
                    </a:lnTo>
                    <a:lnTo>
                      <a:pt x="27201" y="14480"/>
                    </a:lnTo>
                    <a:lnTo>
                      <a:pt x="27117" y="14396"/>
                    </a:lnTo>
                    <a:lnTo>
                      <a:pt x="27117" y="14312"/>
                    </a:lnTo>
                    <a:lnTo>
                      <a:pt x="27222" y="14354"/>
                    </a:lnTo>
                    <a:lnTo>
                      <a:pt x="27494" y="14375"/>
                    </a:lnTo>
                    <a:lnTo>
                      <a:pt x="27640" y="14480"/>
                    </a:lnTo>
                    <a:lnTo>
                      <a:pt x="27870" y="14480"/>
                    </a:lnTo>
                    <a:lnTo>
                      <a:pt x="28017" y="14584"/>
                    </a:lnTo>
                    <a:lnTo>
                      <a:pt x="28142" y="14814"/>
                    </a:lnTo>
                    <a:lnTo>
                      <a:pt x="28247" y="14835"/>
                    </a:lnTo>
                    <a:lnTo>
                      <a:pt x="28289" y="14898"/>
                    </a:lnTo>
                    <a:lnTo>
                      <a:pt x="28247" y="14919"/>
                    </a:lnTo>
                    <a:lnTo>
                      <a:pt x="28184" y="14919"/>
                    </a:lnTo>
                    <a:lnTo>
                      <a:pt x="28184" y="14982"/>
                    </a:lnTo>
                    <a:lnTo>
                      <a:pt x="28372" y="15045"/>
                    </a:lnTo>
                    <a:lnTo>
                      <a:pt x="28435" y="15191"/>
                    </a:lnTo>
                    <a:lnTo>
                      <a:pt x="28498" y="15296"/>
                    </a:lnTo>
                    <a:lnTo>
                      <a:pt x="28875" y="15358"/>
                    </a:lnTo>
                    <a:lnTo>
                      <a:pt x="28979" y="15317"/>
                    </a:lnTo>
                    <a:lnTo>
                      <a:pt x="29021" y="15191"/>
                    </a:lnTo>
                    <a:lnTo>
                      <a:pt x="29105" y="15128"/>
                    </a:lnTo>
                    <a:lnTo>
                      <a:pt x="29189" y="15149"/>
                    </a:lnTo>
                    <a:lnTo>
                      <a:pt x="29314" y="15003"/>
                    </a:lnTo>
                    <a:lnTo>
                      <a:pt x="29335" y="14982"/>
                    </a:lnTo>
                    <a:lnTo>
                      <a:pt x="29502" y="15128"/>
                    </a:lnTo>
                    <a:lnTo>
                      <a:pt x="29481" y="15149"/>
                    </a:lnTo>
                    <a:lnTo>
                      <a:pt x="29377" y="15317"/>
                    </a:lnTo>
                    <a:lnTo>
                      <a:pt x="29377" y="15400"/>
                    </a:lnTo>
                    <a:lnTo>
                      <a:pt x="29293" y="15505"/>
                    </a:lnTo>
                    <a:lnTo>
                      <a:pt x="29293" y="15568"/>
                    </a:lnTo>
                    <a:lnTo>
                      <a:pt x="29189" y="15756"/>
                    </a:lnTo>
                    <a:lnTo>
                      <a:pt x="29230" y="15840"/>
                    </a:lnTo>
                    <a:lnTo>
                      <a:pt x="29189" y="15861"/>
                    </a:lnTo>
                    <a:lnTo>
                      <a:pt x="29168" y="15965"/>
                    </a:lnTo>
                    <a:lnTo>
                      <a:pt x="29168" y="16070"/>
                    </a:lnTo>
                    <a:lnTo>
                      <a:pt x="29000" y="16195"/>
                    </a:lnTo>
                    <a:lnTo>
                      <a:pt x="28958" y="16300"/>
                    </a:lnTo>
                    <a:lnTo>
                      <a:pt x="28958" y="16467"/>
                    </a:lnTo>
                    <a:lnTo>
                      <a:pt x="28916" y="16509"/>
                    </a:lnTo>
                    <a:lnTo>
                      <a:pt x="28916" y="16677"/>
                    </a:lnTo>
                    <a:lnTo>
                      <a:pt x="28854" y="16760"/>
                    </a:lnTo>
                    <a:lnTo>
                      <a:pt x="28707" y="16760"/>
                    </a:lnTo>
                    <a:lnTo>
                      <a:pt x="28540" y="16823"/>
                    </a:lnTo>
                    <a:lnTo>
                      <a:pt x="28540" y="16928"/>
                    </a:lnTo>
                    <a:lnTo>
                      <a:pt x="28477" y="17116"/>
                    </a:lnTo>
                    <a:lnTo>
                      <a:pt x="28498" y="17242"/>
                    </a:lnTo>
                    <a:lnTo>
                      <a:pt x="28561" y="17242"/>
                    </a:lnTo>
                    <a:lnTo>
                      <a:pt x="28582" y="17137"/>
                    </a:lnTo>
                    <a:lnTo>
                      <a:pt x="28644" y="17116"/>
                    </a:lnTo>
                    <a:lnTo>
                      <a:pt x="28686" y="17137"/>
                    </a:lnTo>
                    <a:lnTo>
                      <a:pt x="28770" y="17200"/>
                    </a:lnTo>
                    <a:lnTo>
                      <a:pt x="28854" y="17200"/>
                    </a:lnTo>
                    <a:lnTo>
                      <a:pt x="28896" y="17179"/>
                    </a:lnTo>
                    <a:lnTo>
                      <a:pt x="28958" y="17179"/>
                    </a:lnTo>
                    <a:lnTo>
                      <a:pt x="29000" y="17221"/>
                    </a:lnTo>
                    <a:lnTo>
                      <a:pt x="29021" y="17304"/>
                    </a:lnTo>
                    <a:lnTo>
                      <a:pt x="28958" y="17409"/>
                    </a:lnTo>
                    <a:lnTo>
                      <a:pt x="28979" y="17514"/>
                    </a:lnTo>
                    <a:lnTo>
                      <a:pt x="28896" y="17597"/>
                    </a:lnTo>
                    <a:lnTo>
                      <a:pt x="28896" y="17744"/>
                    </a:lnTo>
                    <a:lnTo>
                      <a:pt x="28916" y="17806"/>
                    </a:lnTo>
                    <a:lnTo>
                      <a:pt x="28979" y="17765"/>
                    </a:lnTo>
                    <a:lnTo>
                      <a:pt x="29021" y="17806"/>
                    </a:lnTo>
                    <a:lnTo>
                      <a:pt x="29105" y="17806"/>
                    </a:lnTo>
                    <a:lnTo>
                      <a:pt x="29168" y="17744"/>
                    </a:lnTo>
                    <a:lnTo>
                      <a:pt x="29272" y="17744"/>
                    </a:lnTo>
                    <a:lnTo>
                      <a:pt x="29293" y="17702"/>
                    </a:lnTo>
                    <a:lnTo>
                      <a:pt x="29377" y="17639"/>
                    </a:lnTo>
                    <a:lnTo>
                      <a:pt x="29440" y="17639"/>
                    </a:lnTo>
                    <a:lnTo>
                      <a:pt x="29544" y="17555"/>
                    </a:lnTo>
                    <a:lnTo>
                      <a:pt x="29586" y="17430"/>
                    </a:lnTo>
                    <a:lnTo>
                      <a:pt x="29649" y="17346"/>
                    </a:lnTo>
                    <a:lnTo>
                      <a:pt x="29712" y="17283"/>
                    </a:lnTo>
                    <a:lnTo>
                      <a:pt x="29753" y="17283"/>
                    </a:lnTo>
                    <a:lnTo>
                      <a:pt x="29816" y="17325"/>
                    </a:lnTo>
                    <a:lnTo>
                      <a:pt x="29900" y="17283"/>
                    </a:lnTo>
                    <a:lnTo>
                      <a:pt x="29942" y="17242"/>
                    </a:lnTo>
                    <a:lnTo>
                      <a:pt x="30025" y="17242"/>
                    </a:lnTo>
                    <a:lnTo>
                      <a:pt x="30067" y="17095"/>
                    </a:lnTo>
                    <a:lnTo>
                      <a:pt x="30067" y="16970"/>
                    </a:lnTo>
                    <a:lnTo>
                      <a:pt x="30172" y="16886"/>
                    </a:lnTo>
                    <a:lnTo>
                      <a:pt x="30214" y="16802"/>
                    </a:lnTo>
                    <a:lnTo>
                      <a:pt x="30277" y="16802"/>
                    </a:lnTo>
                    <a:lnTo>
                      <a:pt x="30339" y="16865"/>
                    </a:lnTo>
                    <a:lnTo>
                      <a:pt x="30381" y="16802"/>
                    </a:lnTo>
                    <a:lnTo>
                      <a:pt x="30444" y="16781"/>
                    </a:lnTo>
                    <a:lnTo>
                      <a:pt x="30486" y="16802"/>
                    </a:lnTo>
                    <a:lnTo>
                      <a:pt x="30528" y="16907"/>
                    </a:lnTo>
                    <a:lnTo>
                      <a:pt x="30444" y="16970"/>
                    </a:lnTo>
                    <a:lnTo>
                      <a:pt x="30381" y="17011"/>
                    </a:lnTo>
                    <a:lnTo>
                      <a:pt x="30465" y="17074"/>
                    </a:lnTo>
                    <a:lnTo>
                      <a:pt x="30632" y="17074"/>
                    </a:lnTo>
                    <a:lnTo>
                      <a:pt x="30695" y="17095"/>
                    </a:lnTo>
                    <a:lnTo>
                      <a:pt x="30737" y="17179"/>
                    </a:lnTo>
                    <a:lnTo>
                      <a:pt x="30653" y="17283"/>
                    </a:lnTo>
                    <a:lnTo>
                      <a:pt x="30569" y="17304"/>
                    </a:lnTo>
                    <a:lnTo>
                      <a:pt x="30569" y="17430"/>
                    </a:lnTo>
                    <a:lnTo>
                      <a:pt x="30653" y="17451"/>
                    </a:lnTo>
                    <a:lnTo>
                      <a:pt x="30695" y="17430"/>
                    </a:lnTo>
                    <a:lnTo>
                      <a:pt x="30779" y="17430"/>
                    </a:lnTo>
                    <a:lnTo>
                      <a:pt x="30800" y="17451"/>
                    </a:lnTo>
                    <a:lnTo>
                      <a:pt x="30883" y="17430"/>
                    </a:lnTo>
                    <a:lnTo>
                      <a:pt x="30904" y="17514"/>
                    </a:lnTo>
                    <a:lnTo>
                      <a:pt x="31009" y="17514"/>
                    </a:lnTo>
                    <a:lnTo>
                      <a:pt x="31072" y="17555"/>
                    </a:lnTo>
                    <a:lnTo>
                      <a:pt x="31113" y="17555"/>
                    </a:lnTo>
                    <a:lnTo>
                      <a:pt x="31260" y="17639"/>
                    </a:lnTo>
                    <a:lnTo>
                      <a:pt x="31302" y="17618"/>
                    </a:lnTo>
                    <a:lnTo>
                      <a:pt x="31365" y="17493"/>
                    </a:lnTo>
                    <a:lnTo>
                      <a:pt x="31406" y="17451"/>
                    </a:lnTo>
                    <a:lnTo>
                      <a:pt x="31490" y="17346"/>
                    </a:lnTo>
                    <a:lnTo>
                      <a:pt x="31595" y="17346"/>
                    </a:lnTo>
                    <a:lnTo>
                      <a:pt x="31616" y="17304"/>
                    </a:lnTo>
                    <a:lnTo>
                      <a:pt x="31532" y="17283"/>
                    </a:lnTo>
                    <a:lnTo>
                      <a:pt x="31490" y="17200"/>
                    </a:lnTo>
                    <a:lnTo>
                      <a:pt x="31574" y="17179"/>
                    </a:lnTo>
                    <a:lnTo>
                      <a:pt x="31595" y="17095"/>
                    </a:lnTo>
                    <a:lnTo>
                      <a:pt x="31511" y="17053"/>
                    </a:lnTo>
                    <a:lnTo>
                      <a:pt x="31469" y="16990"/>
                    </a:lnTo>
                    <a:lnTo>
                      <a:pt x="31406" y="17011"/>
                    </a:lnTo>
                    <a:lnTo>
                      <a:pt x="31406" y="17095"/>
                    </a:lnTo>
                    <a:lnTo>
                      <a:pt x="31365" y="17116"/>
                    </a:lnTo>
                    <a:lnTo>
                      <a:pt x="31302" y="17095"/>
                    </a:lnTo>
                    <a:lnTo>
                      <a:pt x="31197" y="17032"/>
                    </a:lnTo>
                    <a:lnTo>
                      <a:pt x="31197" y="16970"/>
                    </a:lnTo>
                    <a:lnTo>
                      <a:pt x="31155" y="16990"/>
                    </a:lnTo>
                    <a:lnTo>
                      <a:pt x="31072" y="17074"/>
                    </a:lnTo>
                    <a:lnTo>
                      <a:pt x="30883" y="17074"/>
                    </a:lnTo>
                    <a:lnTo>
                      <a:pt x="30800" y="17011"/>
                    </a:lnTo>
                    <a:lnTo>
                      <a:pt x="30904" y="16970"/>
                    </a:lnTo>
                    <a:lnTo>
                      <a:pt x="30988" y="16970"/>
                    </a:lnTo>
                    <a:lnTo>
                      <a:pt x="31072" y="16907"/>
                    </a:lnTo>
                    <a:lnTo>
                      <a:pt x="31072" y="16823"/>
                    </a:lnTo>
                    <a:lnTo>
                      <a:pt x="31051" y="16802"/>
                    </a:lnTo>
                    <a:lnTo>
                      <a:pt x="31051" y="16677"/>
                    </a:lnTo>
                    <a:lnTo>
                      <a:pt x="31072" y="16593"/>
                    </a:lnTo>
                    <a:lnTo>
                      <a:pt x="31072" y="16551"/>
                    </a:lnTo>
                    <a:lnTo>
                      <a:pt x="31009" y="16488"/>
                    </a:lnTo>
                    <a:lnTo>
                      <a:pt x="31009" y="16405"/>
                    </a:lnTo>
                    <a:lnTo>
                      <a:pt x="30862" y="16258"/>
                    </a:lnTo>
                    <a:lnTo>
                      <a:pt x="30737" y="16195"/>
                    </a:lnTo>
                    <a:lnTo>
                      <a:pt x="30737" y="16153"/>
                    </a:lnTo>
                    <a:lnTo>
                      <a:pt x="30695" y="16028"/>
                    </a:lnTo>
                    <a:lnTo>
                      <a:pt x="30632" y="16028"/>
                    </a:lnTo>
                    <a:lnTo>
                      <a:pt x="30590" y="15944"/>
                    </a:lnTo>
                    <a:lnTo>
                      <a:pt x="30632" y="15819"/>
                    </a:lnTo>
                    <a:lnTo>
                      <a:pt x="30590" y="15735"/>
                    </a:lnTo>
                    <a:lnTo>
                      <a:pt x="30465" y="15735"/>
                    </a:lnTo>
                    <a:lnTo>
                      <a:pt x="30277" y="15651"/>
                    </a:lnTo>
                    <a:lnTo>
                      <a:pt x="30235" y="15547"/>
                    </a:lnTo>
                    <a:lnTo>
                      <a:pt x="30277" y="15505"/>
                    </a:lnTo>
                    <a:lnTo>
                      <a:pt x="30277" y="15442"/>
                    </a:lnTo>
                    <a:lnTo>
                      <a:pt x="30214" y="15358"/>
                    </a:lnTo>
                    <a:lnTo>
                      <a:pt x="30172" y="15296"/>
                    </a:lnTo>
                    <a:lnTo>
                      <a:pt x="30151" y="15296"/>
                    </a:lnTo>
                    <a:lnTo>
                      <a:pt x="30046" y="15421"/>
                    </a:lnTo>
                    <a:lnTo>
                      <a:pt x="30025" y="15526"/>
                    </a:lnTo>
                    <a:lnTo>
                      <a:pt x="29963" y="15568"/>
                    </a:lnTo>
                    <a:lnTo>
                      <a:pt x="29921" y="15526"/>
                    </a:lnTo>
                    <a:lnTo>
                      <a:pt x="29921" y="15400"/>
                    </a:lnTo>
                    <a:lnTo>
                      <a:pt x="29858" y="15296"/>
                    </a:lnTo>
                    <a:lnTo>
                      <a:pt x="29900" y="15212"/>
                    </a:lnTo>
                    <a:lnTo>
                      <a:pt x="30025" y="15212"/>
                    </a:lnTo>
                    <a:lnTo>
                      <a:pt x="30005" y="15128"/>
                    </a:lnTo>
                    <a:lnTo>
                      <a:pt x="30025" y="15024"/>
                    </a:lnTo>
                    <a:lnTo>
                      <a:pt x="30005" y="14919"/>
                    </a:lnTo>
                    <a:lnTo>
                      <a:pt x="29900" y="14940"/>
                    </a:lnTo>
                    <a:lnTo>
                      <a:pt x="29900" y="14877"/>
                    </a:lnTo>
                    <a:lnTo>
                      <a:pt x="29963" y="14773"/>
                    </a:lnTo>
                    <a:lnTo>
                      <a:pt x="29921" y="14731"/>
                    </a:lnTo>
                    <a:lnTo>
                      <a:pt x="29712" y="14814"/>
                    </a:lnTo>
                    <a:cubicBezTo>
                      <a:pt x="29691" y="14773"/>
                      <a:pt x="29628" y="14731"/>
                      <a:pt x="29607" y="14689"/>
                    </a:cubicBezTo>
                    <a:lnTo>
                      <a:pt x="29712" y="14605"/>
                    </a:lnTo>
                    <a:lnTo>
                      <a:pt x="29795" y="14584"/>
                    </a:lnTo>
                    <a:lnTo>
                      <a:pt x="29858" y="14417"/>
                    </a:lnTo>
                    <a:lnTo>
                      <a:pt x="29816" y="14312"/>
                    </a:lnTo>
                    <a:lnTo>
                      <a:pt x="29691" y="14291"/>
                    </a:lnTo>
                    <a:lnTo>
                      <a:pt x="29628" y="14208"/>
                    </a:lnTo>
                    <a:lnTo>
                      <a:pt x="29628" y="14103"/>
                    </a:lnTo>
                    <a:lnTo>
                      <a:pt x="29691" y="14082"/>
                    </a:lnTo>
                    <a:lnTo>
                      <a:pt x="29649" y="13998"/>
                    </a:lnTo>
                    <a:lnTo>
                      <a:pt x="29691" y="13915"/>
                    </a:lnTo>
                    <a:lnTo>
                      <a:pt x="29816" y="13998"/>
                    </a:lnTo>
                    <a:lnTo>
                      <a:pt x="29921" y="13977"/>
                    </a:lnTo>
                    <a:lnTo>
                      <a:pt x="30025" y="14061"/>
                    </a:lnTo>
                    <a:lnTo>
                      <a:pt x="30151" y="14061"/>
                    </a:lnTo>
                    <a:lnTo>
                      <a:pt x="30318" y="13977"/>
                    </a:lnTo>
                    <a:lnTo>
                      <a:pt x="30318" y="14019"/>
                    </a:lnTo>
                    <a:lnTo>
                      <a:pt x="30360" y="14061"/>
                    </a:lnTo>
                    <a:lnTo>
                      <a:pt x="30339" y="14082"/>
                    </a:lnTo>
                    <a:lnTo>
                      <a:pt x="30277" y="14249"/>
                    </a:lnTo>
                    <a:lnTo>
                      <a:pt x="30277" y="14312"/>
                    </a:lnTo>
                    <a:lnTo>
                      <a:pt x="30360" y="14291"/>
                    </a:lnTo>
                    <a:lnTo>
                      <a:pt x="30381" y="14354"/>
                    </a:lnTo>
                    <a:lnTo>
                      <a:pt x="30465" y="14375"/>
                    </a:lnTo>
                    <a:lnTo>
                      <a:pt x="30590" y="14459"/>
                    </a:lnTo>
                    <a:lnTo>
                      <a:pt x="30632" y="14354"/>
                    </a:lnTo>
                    <a:lnTo>
                      <a:pt x="30528" y="14249"/>
                    </a:lnTo>
                    <a:lnTo>
                      <a:pt x="30590" y="14145"/>
                    </a:lnTo>
                    <a:lnTo>
                      <a:pt x="30632" y="14208"/>
                    </a:lnTo>
                    <a:lnTo>
                      <a:pt x="30695" y="14249"/>
                    </a:lnTo>
                    <a:lnTo>
                      <a:pt x="30737" y="14354"/>
                    </a:lnTo>
                    <a:lnTo>
                      <a:pt x="30904" y="14501"/>
                    </a:lnTo>
                    <a:lnTo>
                      <a:pt x="30967" y="14501"/>
                    </a:lnTo>
                    <a:lnTo>
                      <a:pt x="30967" y="14417"/>
                    </a:lnTo>
                    <a:lnTo>
                      <a:pt x="30946" y="14375"/>
                    </a:lnTo>
                    <a:lnTo>
                      <a:pt x="30988" y="14291"/>
                    </a:lnTo>
                    <a:lnTo>
                      <a:pt x="30967" y="14145"/>
                    </a:lnTo>
                    <a:lnTo>
                      <a:pt x="30904" y="14103"/>
                    </a:lnTo>
                    <a:lnTo>
                      <a:pt x="30946" y="13957"/>
                    </a:lnTo>
                    <a:lnTo>
                      <a:pt x="30862" y="13768"/>
                    </a:lnTo>
                    <a:lnTo>
                      <a:pt x="30758" y="13726"/>
                    </a:lnTo>
                    <a:lnTo>
                      <a:pt x="30758" y="13622"/>
                    </a:lnTo>
                    <a:lnTo>
                      <a:pt x="30695" y="13580"/>
                    </a:lnTo>
                    <a:lnTo>
                      <a:pt x="30549" y="13685"/>
                    </a:lnTo>
                    <a:lnTo>
                      <a:pt x="30486" y="13685"/>
                    </a:lnTo>
                    <a:lnTo>
                      <a:pt x="30590" y="13538"/>
                    </a:lnTo>
                    <a:lnTo>
                      <a:pt x="30695" y="13538"/>
                    </a:lnTo>
                    <a:lnTo>
                      <a:pt x="30737" y="13559"/>
                    </a:lnTo>
                    <a:lnTo>
                      <a:pt x="30841" y="13517"/>
                    </a:lnTo>
                    <a:lnTo>
                      <a:pt x="30925" y="13622"/>
                    </a:lnTo>
                    <a:lnTo>
                      <a:pt x="30967" y="13643"/>
                    </a:lnTo>
                    <a:lnTo>
                      <a:pt x="30967" y="13873"/>
                    </a:lnTo>
                    <a:lnTo>
                      <a:pt x="31009" y="13873"/>
                    </a:lnTo>
                    <a:lnTo>
                      <a:pt x="31155" y="13768"/>
                    </a:lnTo>
                    <a:lnTo>
                      <a:pt x="31051" y="13936"/>
                    </a:lnTo>
                    <a:lnTo>
                      <a:pt x="31051" y="13998"/>
                    </a:lnTo>
                    <a:lnTo>
                      <a:pt x="30967" y="14040"/>
                    </a:lnTo>
                    <a:lnTo>
                      <a:pt x="30967" y="14082"/>
                    </a:lnTo>
                    <a:lnTo>
                      <a:pt x="31051" y="14166"/>
                    </a:lnTo>
                    <a:lnTo>
                      <a:pt x="31072" y="14291"/>
                    </a:lnTo>
                    <a:lnTo>
                      <a:pt x="31009" y="14375"/>
                    </a:lnTo>
                    <a:lnTo>
                      <a:pt x="31072" y="14417"/>
                    </a:lnTo>
                    <a:lnTo>
                      <a:pt x="31365" y="14354"/>
                    </a:lnTo>
                    <a:lnTo>
                      <a:pt x="31406" y="14249"/>
                    </a:lnTo>
                    <a:lnTo>
                      <a:pt x="31511" y="14249"/>
                    </a:lnTo>
                    <a:lnTo>
                      <a:pt x="31574" y="14270"/>
                    </a:lnTo>
                    <a:lnTo>
                      <a:pt x="31720" y="14082"/>
                    </a:lnTo>
                    <a:lnTo>
                      <a:pt x="31804" y="14082"/>
                    </a:lnTo>
                    <a:lnTo>
                      <a:pt x="31846" y="13998"/>
                    </a:lnTo>
                    <a:lnTo>
                      <a:pt x="31950" y="13936"/>
                    </a:lnTo>
                    <a:lnTo>
                      <a:pt x="31992" y="13789"/>
                    </a:lnTo>
                    <a:lnTo>
                      <a:pt x="32055" y="13747"/>
                    </a:lnTo>
                    <a:lnTo>
                      <a:pt x="32243" y="13747"/>
                    </a:lnTo>
                    <a:lnTo>
                      <a:pt x="32348" y="13789"/>
                    </a:lnTo>
                    <a:lnTo>
                      <a:pt x="32411" y="13726"/>
                    </a:lnTo>
                    <a:lnTo>
                      <a:pt x="32369" y="13622"/>
                    </a:lnTo>
                    <a:lnTo>
                      <a:pt x="32536" y="13475"/>
                    </a:lnTo>
                    <a:lnTo>
                      <a:pt x="32557" y="13413"/>
                    </a:lnTo>
                    <a:lnTo>
                      <a:pt x="32620" y="13371"/>
                    </a:lnTo>
                    <a:lnTo>
                      <a:pt x="32641" y="13245"/>
                    </a:lnTo>
                    <a:lnTo>
                      <a:pt x="32515" y="13015"/>
                    </a:lnTo>
                    <a:lnTo>
                      <a:pt x="32536" y="12931"/>
                    </a:lnTo>
                    <a:lnTo>
                      <a:pt x="32411" y="12827"/>
                    </a:lnTo>
                    <a:lnTo>
                      <a:pt x="32369" y="12701"/>
                    </a:lnTo>
                    <a:lnTo>
                      <a:pt x="32432" y="12596"/>
                    </a:lnTo>
                    <a:lnTo>
                      <a:pt x="32557" y="12534"/>
                    </a:lnTo>
                    <a:lnTo>
                      <a:pt x="32578" y="12471"/>
                    </a:lnTo>
                    <a:lnTo>
                      <a:pt x="32557" y="12471"/>
                    </a:lnTo>
                    <a:lnTo>
                      <a:pt x="32474" y="12534"/>
                    </a:lnTo>
                    <a:lnTo>
                      <a:pt x="32453" y="12534"/>
                    </a:lnTo>
                    <a:lnTo>
                      <a:pt x="32453" y="12471"/>
                    </a:lnTo>
                    <a:lnTo>
                      <a:pt x="32536" y="12366"/>
                    </a:lnTo>
                    <a:lnTo>
                      <a:pt x="32432" y="12366"/>
                    </a:lnTo>
                    <a:lnTo>
                      <a:pt x="32515" y="12283"/>
                    </a:lnTo>
                    <a:lnTo>
                      <a:pt x="32536" y="12199"/>
                    </a:lnTo>
                    <a:lnTo>
                      <a:pt x="32453" y="12157"/>
                    </a:lnTo>
                    <a:lnTo>
                      <a:pt x="32348" y="12115"/>
                    </a:lnTo>
                    <a:lnTo>
                      <a:pt x="32411" y="12094"/>
                    </a:lnTo>
                    <a:lnTo>
                      <a:pt x="32411" y="11990"/>
                    </a:lnTo>
                    <a:lnTo>
                      <a:pt x="32474" y="11990"/>
                    </a:lnTo>
                    <a:lnTo>
                      <a:pt x="32515" y="12052"/>
                    </a:lnTo>
                    <a:lnTo>
                      <a:pt x="32620" y="12052"/>
                    </a:lnTo>
                    <a:lnTo>
                      <a:pt x="32683" y="12157"/>
                    </a:lnTo>
                    <a:lnTo>
                      <a:pt x="32766" y="12178"/>
                    </a:lnTo>
                    <a:lnTo>
                      <a:pt x="32829" y="12094"/>
                    </a:lnTo>
                    <a:lnTo>
                      <a:pt x="32892" y="12115"/>
                    </a:lnTo>
                    <a:lnTo>
                      <a:pt x="33059" y="12073"/>
                    </a:lnTo>
                    <a:lnTo>
                      <a:pt x="33185" y="11990"/>
                    </a:lnTo>
                    <a:lnTo>
                      <a:pt x="33143" y="11948"/>
                    </a:lnTo>
                    <a:lnTo>
                      <a:pt x="33206" y="11843"/>
                    </a:lnTo>
                    <a:lnTo>
                      <a:pt x="33185" y="11801"/>
                    </a:lnTo>
                    <a:lnTo>
                      <a:pt x="33143" y="11801"/>
                    </a:lnTo>
                    <a:lnTo>
                      <a:pt x="33143" y="11739"/>
                    </a:lnTo>
                    <a:lnTo>
                      <a:pt x="33080" y="11697"/>
                    </a:lnTo>
                    <a:lnTo>
                      <a:pt x="32934" y="11697"/>
                    </a:lnTo>
                    <a:lnTo>
                      <a:pt x="32997" y="11655"/>
                    </a:lnTo>
                    <a:lnTo>
                      <a:pt x="33101" y="11634"/>
                    </a:lnTo>
                    <a:lnTo>
                      <a:pt x="33290" y="11488"/>
                    </a:lnTo>
                    <a:lnTo>
                      <a:pt x="33373" y="11383"/>
                    </a:lnTo>
                    <a:lnTo>
                      <a:pt x="33352" y="11341"/>
                    </a:lnTo>
                    <a:lnTo>
                      <a:pt x="33290" y="11320"/>
                    </a:lnTo>
                    <a:lnTo>
                      <a:pt x="33269" y="11236"/>
                    </a:lnTo>
                    <a:lnTo>
                      <a:pt x="33080" y="11174"/>
                    </a:lnTo>
                    <a:lnTo>
                      <a:pt x="32976" y="11216"/>
                    </a:lnTo>
                    <a:lnTo>
                      <a:pt x="32934" y="11174"/>
                    </a:lnTo>
                    <a:lnTo>
                      <a:pt x="33038" y="11153"/>
                    </a:lnTo>
                    <a:lnTo>
                      <a:pt x="33038" y="11027"/>
                    </a:lnTo>
                    <a:lnTo>
                      <a:pt x="32808" y="10860"/>
                    </a:lnTo>
                    <a:lnTo>
                      <a:pt x="32808" y="10818"/>
                    </a:lnTo>
                    <a:lnTo>
                      <a:pt x="32871" y="10818"/>
                    </a:lnTo>
                    <a:lnTo>
                      <a:pt x="32955" y="10902"/>
                    </a:lnTo>
                    <a:lnTo>
                      <a:pt x="33038" y="10860"/>
                    </a:lnTo>
                    <a:lnTo>
                      <a:pt x="32955" y="10797"/>
                    </a:lnTo>
                    <a:lnTo>
                      <a:pt x="33018" y="10755"/>
                    </a:lnTo>
                    <a:lnTo>
                      <a:pt x="33018" y="10713"/>
                    </a:lnTo>
                    <a:lnTo>
                      <a:pt x="32871" y="10651"/>
                    </a:lnTo>
                    <a:lnTo>
                      <a:pt x="32766" y="10588"/>
                    </a:lnTo>
                    <a:lnTo>
                      <a:pt x="32662" y="10651"/>
                    </a:lnTo>
                    <a:lnTo>
                      <a:pt x="32515" y="10588"/>
                    </a:lnTo>
                    <a:cubicBezTo>
                      <a:pt x="32536" y="10546"/>
                      <a:pt x="32536" y="10525"/>
                      <a:pt x="32536" y="10504"/>
                    </a:cubicBezTo>
                    <a:lnTo>
                      <a:pt x="32599" y="10504"/>
                    </a:lnTo>
                    <a:lnTo>
                      <a:pt x="32620" y="10483"/>
                    </a:lnTo>
                    <a:lnTo>
                      <a:pt x="32599" y="10420"/>
                    </a:lnTo>
                    <a:lnTo>
                      <a:pt x="32536" y="10420"/>
                    </a:lnTo>
                    <a:cubicBezTo>
                      <a:pt x="32536" y="10400"/>
                      <a:pt x="32536" y="10339"/>
                      <a:pt x="32517" y="10317"/>
                    </a:cubicBezTo>
                    <a:lnTo>
                      <a:pt x="32517" y="10317"/>
                    </a:lnTo>
                    <a:cubicBezTo>
                      <a:pt x="32518" y="10308"/>
                      <a:pt x="32523" y="10287"/>
                      <a:pt x="32536" y="10274"/>
                    </a:cubicBezTo>
                    <a:cubicBezTo>
                      <a:pt x="32536" y="10274"/>
                      <a:pt x="32536" y="10232"/>
                      <a:pt x="32557" y="10232"/>
                    </a:cubicBezTo>
                    <a:lnTo>
                      <a:pt x="32641" y="10316"/>
                    </a:lnTo>
                    <a:lnTo>
                      <a:pt x="32746" y="10274"/>
                    </a:lnTo>
                    <a:lnTo>
                      <a:pt x="32934" y="10232"/>
                    </a:lnTo>
                    <a:lnTo>
                      <a:pt x="32976" y="10337"/>
                    </a:lnTo>
                    <a:lnTo>
                      <a:pt x="33080" y="10379"/>
                    </a:lnTo>
                    <a:lnTo>
                      <a:pt x="33143" y="10441"/>
                    </a:lnTo>
                    <a:lnTo>
                      <a:pt x="33185" y="10420"/>
                    </a:lnTo>
                    <a:lnTo>
                      <a:pt x="33352" y="10525"/>
                    </a:lnTo>
                    <a:lnTo>
                      <a:pt x="33394" y="10483"/>
                    </a:lnTo>
                    <a:lnTo>
                      <a:pt x="33457" y="10504"/>
                    </a:lnTo>
                    <a:lnTo>
                      <a:pt x="33499" y="10420"/>
                    </a:lnTo>
                    <a:lnTo>
                      <a:pt x="33478" y="10337"/>
                    </a:lnTo>
                    <a:lnTo>
                      <a:pt x="33394" y="10295"/>
                    </a:lnTo>
                    <a:lnTo>
                      <a:pt x="33310" y="10190"/>
                    </a:lnTo>
                    <a:lnTo>
                      <a:pt x="33269" y="10107"/>
                    </a:lnTo>
                    <a:lnTo>
                      <a:pt x="33059" y="9918"/>
                    </a:lnTo>
                    <a:lnTo>
                      <a:pt x="33038" y="9855"/>
                    </a:lnTo>
                    <a:lnTo>
                      <a:pt x="33038" y="9855"/>
                    </a:lnTo>
                    <a:lnTo>
                      <a:pt x="33101" y="9897"/>
                    </a:lnTo>
                    <a:lnTo>
                      <a:pt x="33143" y="9960"/>
                    </a:lnTo>
                    <a:lnTo>
                      <a:pt x="33206" y="9981"/>
                    </a:lnTo>
                    <a:lnTo>
                      <a:pt x="33310" y="10107"/>
                    </a:lnTo>
                    <a:lnTo>
                      <a:pt x="33394" y="10127"/>
                    </a:lnTo>
                    <a:lnTo>
                      <a:pt x="33415" y="10190"/>
                    </a:lnTo>
                    <a:lnTo>
                      <a:pt x="33499" y="10295"/>
                    </a:lnTo>
                    <a:lnTo>
                      <a:pt x="33603" y="10400"/>
                    </a:lnTo>
                    <a:lnTo>
                      <a:pt x="33624" y="10462"/>
                    </a:lnTo>
                    <a:lnTo>
                      <a:pt x="33687" y="10504"/>
                    </a:lnTo>
                    <a:lnTo>
                      <a:pt x="33792" y="10609"/>
                    </a:lnTo>
                    <a:lnTo>
                      <a:pt x="33834" y="10713"/>
                    </a:lnTo>
                    <a:lnTo>
                      <a:pt x="33938" y="10713"/>
                    </a:lnTo>
                    <a:lnTo>
                      <a:pt x="33980" y="10672"/>
                    </a:lnTo>
                    <a:lnTo>
                      <a:pt x="33917" y="10546"/>
                    </a:lnTo>
                    <a:lnTo>
                      <a:pt x="33834" y="10337"/>
                    </a:lnTo>
                    <a:lnTo>
                      <a:pt x="34001" y="10358"/>
                    </a:lnTo>
                    <a:lnTo>
                      <a:pt x="34189" y="10462"/>
                    </a:lnTo>
                    <a:lnTo>
                      <a:pt x="34357" y="10462"/>
                    </a:lnTo>
                    <a:lnTo>
                      <a:pt x="34357" y="10567"/>
                    </a:lnTo>
                    <a:lnTo>
                      <a:pt x="34336" y="10630"/>
                    </a:lnTo>
                    <a:lnTo>
                      <a:pt x="34440" y="10713"/>
                    </a:lnTo>
                    <a:lnTo>
                      <a:pt x="34545" y="10713"/>
                    </a:lnTo>
                    <a:lnTo>
                      <a:pt x="34566" y="10734"/>
                    </a:lnTo>
                    <a:lnTo>
                      <a:pt x="34838" y="10734"/>
                    </a:lnTo>
                    <a:lnTo>
                      <a:pt x="34922" y="10672"/>
                    </a:lnTo>
                    <a:lnTo>
                      <a:pt x="34984" y="10546"/>
                    </a:lnTo>
                    <a:lnTo>
                      <a:pt x="34984" y="10441"/>
                    </a:lnTo>
                    <a:lnTo>
                      <a:pt x="35026" y="10337"/>
                    </a:lnTo>
                    <a:lnTo>
                      <a:pt x="34963" y="10295"/>
                    </a:lnTo>
                    <a:lnTo>
                      <a:pt x="34880" y="10086"/>
                    </a:lnTo>
                    <a:lnTo>
                      <a:pt x="34838" y="10086"/>
                    </a:lnTo>
                    <a:lnTo>
                      <a:pt x="34754" y="9939"/>
                    </a:lnTo>
                    <a:lnTo>
                      <a:pt x="34775" y="9814"/>
                    </a:lnTo>
                    <a:lnTo>
                      <a:pt x="34838" y="9793"/>
                    </a:lnTo>
                    <a:lnTo>
                      <a:pt x="34838" y="9709"/>
                    </a:lnTo>
                    <a:lnTo>
                      <a:pt x="34859" y="9688"/>
                    </a:lnTo>
                    <a:lnTo>
                      <a:pt x="34922" y="9730"/>
                    </a:lnTo>
                    <a:lnTo>
                      <a:pt x="34943" y="9835"/>
                    </a:lnTo>
                    <a:lnTo>
                      <a:pt x="34984" y="9730"/>
                    </a:lnTo>
                    <a:lnTo>
                      <a:pt x="34984" y="9583"/>
                    </a:lnTo>
                    <a:lnTo>
                      <a:pt x="35047" y="9542"/>
                    </a:lnTo>
                    <a:lnTo>
                      <a:pt x="35089" y="9500"/>
                    </a:lnTo>
                    <a:lnTo>
                      <a:pt x="35089" y="9604"/>
                    </a:lnTo>
                    <a:lnTo>
                      <a:pt x="35131" y="9667"/>
                    </a:lnTo>
                    <a:lnTo>
                      <a:pt x="35089" y="9709"/>
                    </a:lnTo>
                    <a:lnTo>
                      <a:pt x="34984" y="9772"/>
                    </a:lnTo>
                    <a:lnTo>
                      <a:pt x="34963" y="9897"/>
                    </a:lnTo>
                    <a:lnTo>
                      <a:pt x="35026" y="9918"/>
                    </a:lnTo>
                    <a:lnTo>
                      <a:pt x="35068" y="10002"/>
                    </a:lnTo>
                    <a:lnTo>
                      <a:pt x="35068" y="10086"/>
                    </a:lnTo>
                    <a:lnTo>
                      <a:pt x="35194" y="10232"/>
                    </a:lnTo>
                    <a:lnTo>
                      <a:pt x="35256" y="10274"/>
                    </a:lnTo>
                    <a:lnTo>
                      <a:pt x="35256" y="10190"/>
                    </a:lnTo>
                    <a:lnTo>
                      <a:pt x="35298" y="10169"/>
                    </a:lnTo>
                    <a:lnTo>
                      <a:pt x="35361" y="10211"/>
                    </a:lnTo>
                    <a:lnTo>
                      <a:pt x="35466" y="10169"/>
                    </a:lnTo>
                    <a:lnTo>
                      <a:pt x="35487" y="10211"/>
                    </a:lnTo>
                    <a:lnTo>
                      <a:pt x="35466" y="10253"/>
                    </a:lnTo>
                    <a:lnTo>
                      <a:pt x="35466" y="10358"/>
                    </a:lnTo>
                    <a:lnTo>
                      <a:pt x="35403" y="10525"/>
                    </a:lnTo>
                    <a:lnTo>
                      <a:pt x="35403" y="10567"/>
                    </a:lnTo>
                    <a:lnTo>
                      <a:pt x="35298" y="10734"/>
                    </a:lnTo>
                    <a:lnTo>
                      <a:pt x="35235" y="10923"/>
                    </a:lnTo>
                    <a:lnTo>
                      <a:pt x="35235" y="10964"/>
                    </a:lnTo>
                    <a:lnTo>
                      <a:pt x="35256" y="10964"/>
                    </a:lnTo>
                    <a:lnTo>
                      <a:pt x="35298" y="10860"/>
                    </a:lnTo>
                    <a:lnTo>
                      <a:pt x="35403" y="10902"/>
                    </a:lnTo>
                    <a:lnTo>
                      <a:pt x="35403" y="10923"/>
                    </a:lnTo>
                    <a:lnTo>
                      <a:pt x="35487" y="10923"/>
                    </a:lnTo>
                    <a:lnTo>
                      <a:pt x="35549" y="11006"/>
                    </a:lnTo>
                    <a:lnTo>
                      <a:pt x="35696" y="11027"/>
                    </a:lnTo>
                    <a:lnTo>
                      <a:pt x="35591" y="11069"/>
                    </a:lnTo>
                    <a:lnTo>
                      <a:pt x="35570" y="11132"/>
                    </a:lnTo>
                    <a:lnTo>
                      <a:pt x="35507" y="11153"/>
                    </a:lnTo>
                    <a:lnTo>
                      <a:pt x="35466" y="11111"/>
                    </a:lnTo>
                    <a:lnTo>
                      <a:pt x="35382" y="11132"/>
                    </a:lnTo>
                    <a:lnTo>
                      <a:pt x="35403" y="11216"/>
                    </a:lnTo>
                    <a:lnTo>
                      <a:pt x="35466" y="11236"/>
                    </a:lnTo>
                    <a:lnTo>
                      <a:pt x="35487" y="11257"/>
                    </a:lnTo>
                    <a:lnTo>
                      <a:pt x="35591" y="11257"/>
                    </a:lnTo>
                    <a:lnTo>
                      <a:pt x="35591" y="11341"/>
                    </a:lnTo>
                    <a:lnTo>
                      <a:pt x="35612" y="11383"/>
                    </a:lnTo>
                    <a:lnTo>
                      <a:pt x="35612" y="11467"/>
                    </a:lnTo>
                    <a:lnTo>
                      <a:pt x="35675" y="11550"/>
                    </a:lnTo>
                    <a:lnTo>
                      <a:pt x="35779" y="11571"/>
                    </a:lnTo>
                    <a:lnTo>
                      <a:pt x="35821" y="11655"/>
                    </a:lnTo>
                    <a:lnTo>
                      <a:pt x="35863" y="11739"/>
                    </a:lnTo>
                    <a:lnTo>
                      <a:pt x="35821" y="11843"/>
                    </a:lnTo>
                    <a:lnTo>
                      <a:pt x="35759" y="11906"/>
                    </a:lnTo>
                    <a:lnTo>
                      <a:pt x="35675" y="11906"/>
                    </a:lnTo>
                    <a:lnTo>
                      <a:pt x="35612" y="11948"/>
                    </a:lnTo>
                    <a:lnTo>
                      <a:pt x="35570" y="11906"/>
                    </a:lnTo>
                    <a:lnTo>
                      <a:pt x="35487" y="11885"/>
                    </a:lnTo>
                    <a:lnTo>
                      <a:pt x="35445" y="11906"/>
                    </a:lnTo>
                    <a:lnTo>
                      <a:pt x="35361" y="12011"/>
                    </a:lnTo>
                    <a:lnTo>
                      <a:pt x="35403" y="12052"/>
                    </a:lnTo>
                    <a:lnTo>
                      <a:pt x="35403" y="12094"/>
                    </a:lnTo>
                    <a:lnTo>
                      <a:pt x="35361" y="12178"/>
                    </a:lnTo>
                    <a:lnTo>
                      <a:pt x="35382" y="12220"/>
                    </a:lnTo>
                    <a:lnTo>
                      <a:pt x="35445" y="12220"/>
                    </a:lnTo>
                    <a:lnTo>
                      <a:pt x="35466" y="12199"/>
                    </a:lnTo>
                    <a:lnTo>
                      <a:pt x="35549" y="12178"/>
                    </a:lnTo>
                    <a:lnTo>
                      <a:pt x="35654" y="12178"/>
                    </a:lnTo>
                    <a:lnTo>
                      <a:pt x="35717" y="12115"/>
                    </a:lnTo>
                    <a:lnTo>
                      <a:pt x="35800" y="12115"/>
                    </a:lnTo>
                    <a:lnTo>
                      <a:pt x="35863" y="12011"/>
                    </a:lnTo>
                    <a:lnTo>
                      <a:pt x="35905" y="11990"/>
                    </a:lnTo>
                    <a:lnTo>
                      <a:pt x="35926" y="12115"/>
                    </a:lnTo>
                    <a:lnTo>
                      <a:pt x="35989" y="12157"/>
                    </a:lnTo>
                    <a:lnTo>
                      <a:pt x="36072" y="12094"/>
                    </a:lnTo>
                    <a:lnTo>
                      <a:pt x="36135" y="11969"/>
                    </a:lnTo>
                    <a:lnTo>
                      <a:pt x="36240" y="11885"/>
                    </a:lnTo>
                    <a:lnTo>
                      <a:pt x="36303" y="11948"/>
                    </a:lnTo>
                    <a:lnTo>
                      <a:pt x="36303" y="11990"/>
                    </a:lnTo>
                    <a:lnTo>
                      <a:pt x="36219" y="12011"/>
                    </a:lnTo>
                    <a:lnTo>
                      <a:pt x="36177" y="12073"/>
                    </a:lnTo>
                    <a:lnTo>
                      <a:pt x="36219" y="12094"/>
                    </a:lnTo>
                    <a:lnTo>
                      <a:pt x="36219" y="12157"/>
                    </a:lnTo>
                    <a:lnTo>
                      <a:pt x="36093" y="12199"/>
                    </a:lnTo>
                    <a:lnTo>
                      <a:pt x="36072" y="12220"/>
                    </a:lnTo>
                    <a:lnTo>
                      <a:pt x="36219" y="12199"/>
                    </a:lnTo>
                    <a:lnTo>
                      <a:pt x="36240" y="12283"/>
                    </a:lnTo>
                    <a:lnTo>
                      <a:pt x="36135" y="12366"/>
                    </a:lnTo>
                    <a:lnTo>
                      <a:pt x="36177" y="12492"/>
                    </a:lnTo>
                    <a:lnTo>
                      <a:pt x="36219" y="12513"/>
                    </a:lnTo>
                    <a:lnTo>
                      <a:pt x="36282" y="12617"/>
                    </a:lnTo>
                    <a:lnTo>
                      <a:pt x="36407" y="12596"/>
                    </a:lnTo>
                    <a:lnTo>
                      <a:pt x="36428" y="12534"/>
                    </a:lnTo>
                    <a:lnTo>
                      <a:pt x="36407" y="12471"/>
                    </a:lnTo>
                    <a:lnTo>
                      <a:pt x="36407" y="12387"/>
                    </a:lnTo>
                    <a:lnTo>
                      <a:pt x="36449" y="12366"/>
                    </a:lnTo>
                    <a:lnTo>
                      <a:pt x="36595" y="12471"/>
                    </a:lnTo>
                    <a:lnTo>
                      <a:pt x="36595" y="12534"/>
                    </a:lnTo>
                    <a:lnTo>
                      <a:pt x="36533" y="12638"/>
                    </a:lnTo>
                    <a:lnTo>
                      <a:pt x="36616" y="12701"/>
                    </a:lnTo>
                    <a:lnTo>
                      <a:pt x="36637" y="12743"/>
                    </a:lnTo>
                    <a:lnTo>
                      <a:pt x="36491" y="12827"/>
                    </a:lnTo>
                    <a:lnTo>
                      <a:pt x="36449" y="12889"/>
                    </a:lnTo>
                    <a:lnTo>
                      <a:pt x="36533" y="12952"/>
                    </a:lnTo>
                    <a:lnTo>
                      <a:pt x="36763" y="12952"/>
                    </a:lnTo>
                    <a:lnTo>
                      <a:pt x="36826" y="12994"/>
                    </a:lnTo>
                    <a:lnTo>
                      <a:pt x="36826" y="13099"/>
                    </a:lnTo>
                    <a:lnTo>
                      <a:pt x="36826" y="13161"/>
                    </a:lnTo>
                    <a:lnTo>
                      <a:pt x="36867" y="13140"/>
                    </a:lnTo>
                    <a:lnTo>
                      <a:pt x="36867" y="13057"/>
                    </a:lnTo>
                    <a:lnTo>
                      <a:pt x="36930" y="12994"/>
                    </a:lnTo>
                    <a:lnTo>
                      <a:pt x="36972" y="12994"/>
                    </a:lnTo>
                    <a:lnTo>
                      <a:pt x="36972" y="13057"/>
                    </a:lnTo>
                    <a:lnTo>
                      <a:pt x="36930" y="13161"/>
                    </a:lnTo>
                    <a:lnTo>
                      <a:pt x="36930" y="13245"/>
                    </a:lnTo>
                    <a:lnTo>
                      <a:pt x="36847" y="13266"/>
                    </a:lnTo>
                    <a:lnTo>
                      <a:pt x="36805" y="13433"/>
                    </a:lnTo>
                    <a:lnTo>
                      <a:pt x="36805" y="13475"/>
                    </a:lnTo>
                    <a:lnTo>
                      <a:pt x="36867" y="13517"/>
                    </a:lnTo>
                    <a:lnTo>
                      <a:pt x="36867" y="13622"/>
                    </a:lnTo>
                    <a:lnTo>
                      <a:pt x="36826" y="13726"/>
                    </a:lnTo>
                    <a:lnTo>
                      <a:pt x="36826" y="13831"/>
                    </a:lnTo>
                    <a:lnTo>
                      <a:pt x="36847" y="13852"/>
                    </a:lnTo>
                    <a:lnTo>
                      <a:pt x="36847" y="13873"/>
                    </a:lnTo>
                    <a:lnTo>
                      <a:pt x="36826" y="14082"/>
                    </a:lnTo>
                    <a:lnTo>
                      <a:pt x="36763" y="14166"/>
                    </a:lnTo>
                    <a:lnTo>
                      <a:pt x="36826" y="14270"/>
                    </a:lnTo>
                    <a:lnTo>
                      <a:pt x="36805" y="14354"/>
                    </a:lnTo>
                    <a:lnTo>
                      <a:pt x="36637" y="14396"/>
                    </a:lnTo>
                    <a:lnTo>
                      <a:pt x="36491" y="14375"/>
                    </a:lnTo>
                    <a:lnTo>
                      <a:pt x="36428" y="14396"/>
                    </a:lnTo>
                    <a:lnTo>
                      <a:pt x="36407" y="14480"/>
                    </a:lnTo>
                    <a:lnTo>
                      <a:pt x="36198" y="14626"/>
                    </a:lnTo>
                    <a:lnTo>
                      <a:pt x="36198" y="14710"/>
                    </a:lnTo>
                    <a:lnTo>
                      <a:pt x="36344" y="14793"/>
                    </a:lnTo>
                    <a:lnTo>
                      <a:pt x="36303" y="14793"/>
                    </a:lnTo>
                    <a:lnTo>
                      <a:pt x="36219" y="14814"/>
                    </a:lnTo>
                    <a:lnTo>
                      <a:pt x="36303" y="14814"/>
                    </a:lnTo>
                    <a:lnTo>
                      <a:pt x="36177" y="14982"/>
                    </a:lnTo>
                    <a:lnTo>
                      <a:pt x="36093" y="15024"/>
                    </a:lnTo>
                    <a:lnTo>
                      <a:pt x="35884" y="15149"/>
                    </a:lnTo>
                    <a:lnTo>
                      <a:pt x="35738" y="15296"/>
                    </a:lnTo>
                    <a:lnTo>
                      <a:pt x="35675" y="15296"/>
                    </a:lnTo>
                    <a:lnTo>
                      <a:pt x="35633" y="15337"/>
                    </a:lnTo>
                    <a:lnTo>
                      <a:pt x="35591" y="15463"/>
                    </a:lnTo>
                    <a:lnTo>
                      <a:pt x="35675" y="15568"/>
                    </a:lnTo>
                    <a:lnTo>
                      <a:pt x="35696" y="15672"/>
                    </a:lnTo>
                    <a:lnTo>
                      <a:pt x="35800" y="15840"/>
                    </a:lnTo>
                    <a:lnTo>
                      <a:pt x="35842" y="16133"/>
                    </a:lnTo>
                    <a:lnTo>
                      <a:pt x="35779" y="16174"/>
                    </a:lnTo>
                    <a:lnTo>
                      <a:pt x="35738" y="16153"/>
                    </a:lnTo>
                    <a:lnTo>
                      <a:pt x="35675" y="16195"/>
                    </a:lnTo>
                    <a:lnTo>
                      <a:pt x="35654" y="16300"/>
                    </a:lnTo>
                    <a:lnTo>
                      <a:pt x="35633" y="16195"/>
                    </a:lnTo>
                    <a:lnTo>
                      <a:pt x="35633" y="16049"/>
                    </a:lnTo>
                    <a:lnTo>
                      <a:pt x="35570" y="15986"/>
                    </a:lnTo>
                    <a:lnTo>
                      <a:pt x="35466" y="16049"/>
                    </a:lnTo>
                    <a:lnTo>
                      <a:pt x="35424" y="16153"/>
                    </a:lnTo>
                    <a:lnTo>
                      <a:pt x="35319" y="16216"/>
                    </a:lnTo>
                    <a:lnTo>
                      <a:pt x="35235" y="16174"/>
                    </a:lnTo>
                    <a:lnTo>
                      <a:pt x="35256" y="16112"/>
                    </a:lnTo>
                    <a:lnTo>
                      <a:pt x="35256" y="16070"/>
                    </a:lnTo>
                    <a:lnTo>
                      <a:pt x="35047" y="16070"/>
                    </a:lnTo>
                    <a:lnTo>
                      <a:pt x="35005" y="16174"/>
                    </a:lnTo>
                    <a:lnTo>
                      <a:pt x="34922" y="16258"/>
                    </a:lnTo>
                    <a:lnTo>
                      <a:pt x="34796" y="16216"/>
                    </a:lnTo>
                    <a:lnTo>
                      <a:pt x="34712" y="16216"/>
                    </a:lnTo>
                    <a:lnTo>
                      <a:pt x="34650" y="16174"/>
                    </a:lnTo>
                    <a:lnTo>
                      <a:pt x="34587" y="16174"/>
                    </a:lnTo>
                    <a:lnTo>
                      <a:pt x="34503" y="16258"/>
                    </a:lnTo>
                    <a:lnTo>
                      <a:pt x="34357" y="16195"/>
                    </a:lnTo>
                    <a:lnTo>
                      <a:pt x="34315" y="16174"/>
                    </a:lnTo>
                    <a:lnTo>
                      <a:pt x="34231" y="16070"/>
                    </a:lnTo>
                    <a:lnTo>
                      <a:pt x="34106" y="15986"/>
                    </a:lnTo>
                    <a:lnTo>
                      <a:pt x="33980" y="15965"/>
                    </a:lnTo>
                    <a:lnTo>
                      <a:pt x="33834" y="15777"/>
                    </a:lnTo>
                    <a:lnTo>
                      <a:pt x="33813" y="15840"/>
                    </a:lnTo>
                    <a:lnTo>
                      <a:pt x="33813" y="15902"/>
                    </a:lnTo>
                    <a:lnTo>
                      <a:pt x="33792" y="15965"/>
                    </a:lnTo>
                    <a:lnTo>
                      <a:pt x="33750" y="15944"/>
                    </a:lnTo>
                    <a:lnTo>
                      <a:pt x="33708" y="15965"/>
                    </a:lnTo>
                    <a:lnTo>
                      <a:pt x="33708" y="16049"/>
                    </a:lnTo>
                    <a:lnTo>
                      <a:pt x="33771" y="16112"/>
                    </a:lnTo>
                    <a:lnTo>
                      <a:pt x="33750" y="16195"/>
                    </a:lnTo>
                    <a:lnTo>
                      <a:pt x="33687" y="16195"/>
                    </a:lnTo>
                    <a:lnTo>
                      <a:pt x="33582" y="16216"/>
                    </a:lnTo>
                    <a:lnTo>
                      <a:pt x="33499" y="16300"/>
                    </a:lnTo>
                    <a:lnTo>
                      <a:pt x="33373" y="16300"/>
                    </a:lnTo>
                    <a:lnTo>
                      <a:pt x="33290" y="16384"/>
                    </a:lnTo>
                    <a:lnTo>
                      <a:pt x="33290" y="16488"/>
                    </a:lnTo>
                    <a:lnTo>
                      <a:pt x="33206" y="16530"/>
                    </a:lnTo>
                    <a:lnTo>
                      <a:pt x="33164" y="16677"/>
                    </a:lnTo>
                    <a:lnTo>
                      <a:pt x="33248" y="16886"/>
                    </a:lnTo>
                    <a:lnTo>
                      <a:pt x="33352" y="16990"/>
                    </a:lnTo>
                    <a:lnTo>
                      <a:pt x="33394" y="16949"/>
                    </a:lnTo>
                    <a:lnTo>
                      <a:pt x="33499" y="17095"/>
                    </a:lnTo>
                    <a:lnTo>
                      <a:pt x="33478" y="17158"/>
                    </a:lnTo>
                    <a:lnTo>
                      <a:pt x="33666" y="17158"/>
                    </a:lnTo>
                    <a:lnTo>
                      <a:pt x="33771" y="17200"/>
                    </a:lnTo>
                    <a:lnTo>
                      <a:pt x="33813" y="17137"/>
                    </a:lnTo>
                    <a:lnTo>
                      <a:pt x="33917" y="17137"/>
                    </a:lnTo>
                    <a:lnTo>
                      <a:pt x="33980" y="17095"/>
                    </a:lnTo>
                    <a:lnTo>
                      <a:pt x="34106" y="17095"/>
                    </a:lnTo>
                    <a:lnTo>
                      <a:pt x="34189" y="17053"/>
                    </a:lnTo>
                    <a:lnTo>
                      <a:pt x="34273" y="17095"/>
                    </a:lnTo>
                    <a:lnTo>
                      <a:pt x="34315" y="17032"/>
                    </a:lnTo>
                    <a:lnTo>
                      <a:pt x="34315" y="16928"/>
                    </a:lnTo>
                    <a:lnTo>
                      <a:pt x="34336" y="16865"/>
                    </a:lnTo>
                    <a:lnTo>
                      <a:pt x="34398" y="16865"/>
                    </a:lnTo>
                    <a:lnTo>
                      <a:pt x="34503" y="17032"/>
                    </a:lnTo>
                    <a:lnTo>
                      <a:pt x="34587" y="17032"/>
                    </a:lnTo>
                    <a:lnTo>
                      <a:pt x="34650" y="17116"/>
                    </a:lnTo>
                    <a:lnTo>
                      <a:pt x="34796" y="17137"/>
                    </a:lnTo>
                    <a:lnTo>
                      <a:pt x="34817" y="17074"/>
                    </a:lnTo>
                    <a:lnTo>
                      <a:pt x="34901" y="16970"/>
                    </a:lnTo>
                    <a:lnTo>
                      <a:pt x="34943" y="16970"/>
                    </a:lnTo>
                    <a:lnTo>
                      <a:pt x="35026" y="16886"/>
                    </a:lnTo>
                    <a:lnTo>
                      <a:pt x="35131" y="16865"/>
                    </a:lnTo>
                    <a:lnTo>
                      <a:pt x="35110" y="16928"/>
                    </a:lnTo>
                    <a:lnTo>
                      <a:pt x="35110" y="17032"/>
                    </a:lnTo>
                    <a:lnTo>
                      <a:pt x="35026" y="17137"/>
                    </a:lnTo>
                    <a:lnTo>
                      <a:pt x="35026" y="17262"/>
                    </a:lnTo>
                    <a:lnTo>
                      <a:pt x="35131" y="17221"/>
                    </a:lnTo>
                    <a:lnTo>
                      <a:pt x="35173" y="17032"/>
                    </a:lnTo>
                    <a:lnTo>
                      <a:pt x="35215" y="17074"/>
                    </a:lnTo>
                    <a:lnTo>
                      <a:pt x="35256" y="17032"/>
                    </a:lnTo>
                    <a:lnTo>
                      <a:pt x="35340" y="17074"/>
                    </a:lnTo>
                    <a:lnTo>
                      <a:pt x="35256" y="17200"/>
                    </a:lnTo>
                    <a:lnTo>
                      <a:pt x="35277" y="17283"/>
                    </a:lnTo>
                    <a:lnTo>
                      <a:pt x="35277" y="17179"/>
                    </a:lnTo>
                    <a:lnTo>
                      <a:pt x="35466" y="17011"/>
                    </a:lnTo>
                    <a:lnTo>
                      <a:pt x="35487" y="17074"/>
                    </a:lnTo>
                    <a:lnTo>
                      <a:pt x="35361" y="17179"/>
                    </a:lnTo>
                    <a:lnTo>
                      <a:pt x="35361" y="17242"/>
                    </a:lnTo>
                    <a:lnTo>
                      <a:pt x="35445" y="17304"/>
                    </a:lnTo>
                    <a:lnTo>
                      <a:pt x="35487" y="17451"/>
                    </a:lnTo>
                    <a:lnTo>
                      <a:pt x="35487" y="17555"/>
                    </a:lnTo>
                    <a:lnTo>
                      <a:pt x="35507" y="17660"/>
                    </a:lnTo>
                    <a:lnTo>
                      <a:pt x="35612" y="17639"/>
                    </a:lnTo>
                    <a:lnTo>
                      <a:pt x="35612" y="17765"/>
                    </a:lnTo>
                    <a:lnTo>
                      <a:pt x="35675" y="17827"/>
                    </a:lnTo>
                    <a:lnTo>
                      <a:pt x="35759" y="17681"/>
                    </a:lnTo>
                    <a:lnTo>
                      <a:pt x="35717" y="17869"/>
                    </a:lnTo>
                    <a:lnTo>
                      <a:pt x="35654" y="17953"/>
                    </a:lnTo>
                    <a:lnTo>
                      <a:pt x="35759" y="18058"/>
                    </a:lnTo>
                    <a:lnTo>
                      <a:pt x="35759" y="17974"/>
                    </a:lnTo>
                    <a:lnTo>
                      <a:pt x="35800" y="17869"/>
                    </a:lnTo>
                    <a:lnTo>
                      <a:pt x="35863" y="17848"/>
                    </a:lnTo>
                    <a:lnTo>
                      <a:pt x="35863" y="17848"/>
                    </a:lnTo>
                    <a:lnTo>
                      <a:pt x="35821" y="17890"/>
                    </a:lnTo>
                    <a:lnTo>
                      <a:pt x="35863" y="18037"/>
                    </a:lnTo>
                    <a:lnTo>
                      <a:pt x="35926" y="18162"/>
                    </a:lnTo>
                    <a:lnTo>
                      <a:pt x="36093" y="18141"/>
                    </a:lnTo>
                    <a:lnTo>
                      <a:pt x="36031" y="18183"/>
                    </a:lnTo>
                    <a:lnTo>
                      <a:pt x="35821" y="18309"/>
                    </a:lnTo>
                    <a:lnTo>
                      <a:pt x="35675" y="18309"/>
                    </a:lnTo>
                    <a:lnTo>
                      <a:pt x="35654" y="18371"/>
                    </a:lnTo>
                    <a:lnTo>
                      <a:pt x="35759" y="18413"/>
                    </a:lnTo>
                    <a:lnTo>
                      <a:pt x="35759" y="18560"/>
                    </a:lnTo>
                    <a:lnTo>
                      <a:pt x="35821" y="18664"/>
                    </a:lnTo>
                    <a:lnTo>
                      <a:pt x="35905" y="18727"/>
                    </a:lnTo>
                    <a:lnTo>
                      <a:pt x="35989" y="18727"/>
                    </a:lnTo>
                    <a:lnTo>
                      <a:pt x="35989" y="18790"/>
                    </a:lnTo>
                    <a:lnTo>
                      <a:pt x="36093" y="18874"/>
                    </a:lnTo>
                    <a:lnTo>
                      <a:pt x="36156" y="18915"/>
                    </a:lnTo>
                    <a:lnTo>
                      <a:pt x="36219" y="18915"/>
                    </a:lnTo>
                    <a:lnTo>
                      <a:pt x="36407" y="19041"/>
                    </a:lnTo>
                    <a:lnTo>
                      <a:pt x="36512" y="19041"/>
                    </a:lnTo>
                    <a:lnTo>
                      <a:pt x="36512" y="19104"/>
                    </a:lnTo>
                    <a:lnTo>
                      <a:pt x="36575" y="19125"/>
                    </a:lnTo>
                    <a:lnTo>
                      <a:pt x="36595" y="19083"/>
                    </a:lnTo>
                    <a:lnTo>
                      <a:pt x="36616" y="19041"/>
                    </a:lnTo>
                    <a:lnTo>
                      <a:pt x="36721" y="19104"/>
                    </a:lnTo>
                    <a:lnTo>
                      <a:pt x="36679" y="19125"/>
                    </a:lnTo>
                    <a:lnTo>
                      <a:pt x="36616" y="19187"/>
                    </a:lnTo>
                    <a:lnTo>
                      <a:pt x="36679" y="19292"/>
                    </a:lnTo>
                    <a:lnTo>
                      <a:pt x="36742" y="19334"/>
                    </a:lnTo>
                    <a:lnTo>
                      <a:pt x="36805" y="19334"/>
                    </a:lnTo>
                    <a:lnTo>
                      <a:pt x="36805" y="19418"/>
                    </a:lnTo>
                    <a:lnTo>
                      <a:pt x="36930" y="19543"/>
                    </a:lnTo>
                    <a:lnTo>
                      <a:pt x="37014" y="19543"/>
                    </a:lnTo>
                    <a:lnTo>
                      <a:pt x="37056" y="19606"/>
                    </a:lnTo>
                    <a:lnTo>
                      <a:pt x="37098" y="19648"/>
                    </a:lnTo>
                    <a:lnTo>
                      <a:pt x="37265" y="19731"/>
                    </a:lnTo>
                    <a:lnTo>
                      <a:pt x="37328" y="19711"/>
                    </a:lnTo>
                    <a:lnTo>
                      <a:pt x="37370" y="19731"/>
                    </a:lnTo>
                    <a:lnTo>
                      <a:pt x="37453" y="19731"/>
                    </a:lnTo>
                    <a:lnTo>
                      <a:pt x="37537" y="19773"/>
                    </a:lnTo>
                    <a:lnTo>
                      <a:pt x="37558" y="19857"/>
                    </a:lnTo>
                    <a:lnTo>
                      <a:pt x="37725" y="19983"/>
                    </a:lnTo>
                    <a:lnTo>
                      <a:pt x="37788" y="19983"/>
                    </a:lnTo>
                    <a:lnTo>
                      <a:pt x="37872" y="20045"/>
                    </a:lnTo>
                    <a:lnTo>
                      <a:pt x="38060" y="20087"/>
                    </a:lnTo>
                    <a:lnTo>
                      <a:pt x="38165" y="20150"/>
                    </a:lnTo>
                    <a:lnTo>
                      <a:pt x="38269" y="20150"/>
                    </a:lnTo>
                    <a:lnTo>
                      <a:pt x="38290" y="20129"/>
                    </a:lnTo>
                    <a:lnTo>
                      <a:pt x="38290" y="20066"/>
                    </a:lnTo>
                    <a:lnTo>
                      <a:pt x="38207" y="19983"/>
                    </a:lnTo>
                    <a:lnTo>
                      <a:pt x="38165" y="19920"/>
                    </a:lnTo>
                    <a:lnTo>
                      <a:pt x="38207" y="19857"/>
                    </a:lnTo>
                    <a:lnTo>
                      <a:pt x="38290" y="19878"/>
                    </a:lnTo>
                    <a:lnTo>
                      <a:pt x="38311" y="19815"/>
                    </a:lnTo>
                    <a:lnTo>
                      <a:pt x="38290" y="19752"/>
                    </a:lnTo>
                    <a:lnTo>
                      <a:pt x="38248" y="19773"/>
                    </a:lnTo>
                    <a:lnTo>
                      <a:pt x="38207" y="19731"/>
                    </a:lnTo>
                    <a:lnTo>
                      <a:pt x="38248" y="19606"/>
                    </a:lnTo>
                    <a:lnTo>
                      <a:pt x="38207" y="19564"/>
                    </a:lnTo>
                    <a:lnTo>
                      <a:pt x="38102" y="19669"/>
                    </a:lnTo>
                    <a:lnTo>
                      <a:pt x="38102" y="19627"/>
                    </a:lnTo>
                    <a:lnTo>
                      <a:pt x="38081" y="19543"/>
                    </a:lnTo>
                    <a:lnTo>
                      <a:pt x="38018" y="19543"/>
                    </a:lnTo>
                    <a:lnTo>
                      <a:pt x="38123" y="19439"/>
                    </a:lnTo>
                    <a:lnTo>
                      <a:pt x="38102" y="19313"/>
                    </a:lnTo>
                    <a:lnTo>
                      <a:pt x="38060" y="19292"/>
                    </a:lnTo>
                    <a:lnTo>
                      <a:pt x="37956" y="19292"/>
                    </a:lnTo>
                    <a:lnTo>
                      <a:pt x="37976" y="19187"/>
                    </a:lnTo>
                    <a:lnTo>
                      <a:pt x="37935" y="19083"/>
                    </a:lnTo>
                    <a:lnTo>
                      <a:pt x="37893" y="18999"/>
                    </a:lnTo>
                    <a:lnTo>
                      <a:pt x="37788" y="18999"/>
                    </a:lnTo>
                    <a:lnTo>
                      <a:pt x="37851" y="18915"/>
                    </a:lnTo>
                    <a:lnTo>
                      <a:pt x="37767" y="18894"/>
                    </a:lnTo>
                    <a:lnTo>
                      <a:pt x="37725" y="18894"/>
                    </a:lnTo>
                    <a:lnTo>
                      <a:pt x="37746" y="18832"/>
                    </a:lnTo>
                    <a:lnTo>
                      <a:pt x="37663" y="18727"/>
                    </a:lnTo>
                    <a:lnTo>
                      <a:pt x="37663" y="18748"/>
                    </a:lnTo>
                    <a:lnTo>
                      <a:pt x="37621" y="18748"/>
                    </a:lnTo>
                    <a:lnTo>
                      <a:pt x="37621" y="18602"/>
                    </a:lnTo>
                    <a:lnTo>
                      <a:pt x="37621" y="18539"/>
                    </a:lnTo>
                    <a:lnTo>
                      <a:pt x="37621" y="18476"/>
                    </a:lnTo>
                    <a:lnTo>
                      <a:pt x="37453" y="18350"/>
                    </a:lnTo>
                    <a:lnTo>
                      <a:pt x="37432" y="18225"/>
                    </a:lnTo>
                    <a:lnTo>
                      <a:pt x="37432" y="18120"/>
                    </a:lnTo>
                    <a:lnTo>
                      <a:pt x="37516" y="18162"/>
                    </a:lnTo>
                    <a:lnTo>
                      <a:pt x="37558" y="18078"/>
                    </a:lnTo>
                    <a:lnTo>
                      <a:pt x="37663" y="18120"/>
                    </a:lnTo>
                    <a:lnTo>
                      <a:pt x="37663" y="18225"/>
                    </a:lnTo>
                    <a:lnTo>
                      <a:pt x="37746" y="18371"/>
                    </a:lnTo>
                    <a:lnTo>
                      <a:pt x="37872" y="18434"/>
                    </a:lnTo>
                    <a:lnTo>
                      <a:pt x="37935" y="18476"/>
                    </a:lnTo>
                    <a:lnTo>
                      <a:pt x="37935" y="18560"/>
                    </a:lnTo>
                    <a:lnTo>
                      <a:pt x="37976" y="18602"/>
                    </a:lnTo>
                    <a:lnTo>
                      <a:pt x="37976" y="18539"/>
                    </a:lnTo>
                    <a:lnTo>
                      <a:pt x="37935" y="18392"/>
                    </a:lnTo>
                    <a:lnTo>
                      <a:pt x="37935" y="18350"/>
                    </a:lnTo>
                    <a:lnTo>
                      <a:pt x="37976" y="18309"/>
                    </a:lnTo>
                    <a:lnTo>
                      <a:pt x="38018" y="18392"/>
                    </a:lnTo>
                    <a:lnTo>
                      <a:pt x="38018" y="18455"/>
                    </a:lnTo>
                    <a:lnTo>
                      <a:pt x="38081" y="18497"/>
                    </a:lnTo>
                    <a:lnTo>
                      <a:pt x="38123" y="18685"/>
                    </a:lnTo>
                    <a:lnTo>
                      <a:pt x="38207" y="18706"/>
                    </a:lnTo>
                    <a:lnTo>
                      <a:pt x="38207" y="18769"/>
                    </a:lnTo>
                    <a:lnTo>
                      <a:pt x="38290" y="18832"/>
                    </a:lnTo>
                    <a:lnTo>
                      <a:pt x="38374" y="19020"/>
                    </a:lnTo>
                    <a:lnTo>
                      <a:pt x="38416" y="18936"/>
                    </a:lnTo>
                    <a:lnTo>
                      <a:pt x="38395" y="18832"/>
                    </a:lnTo>
                    <a:lnTo>
                      <a:pt x="38395" y="18664"/>
                    </a:lnTo>
                    <a:lnTo>
                      <a:pt x="38416" y="18560"/>
                    </a:lnTo>
                    <a:lnTo>
                      <a:pt x="38416" y="18643"/>
                    </a:lnTo>
                    <a:lnTo>
                      <a:pt x="38479" y="18811"/>
                    </a:lnTo>
                    <a:lnTo>
                      <a:pt x="38479" y="18915"/>
                    </a:lnTo>
                    <a:lnTo>
                      <a:pt x="38479" y="18999"/>
                    </a:lnTo>
                    <a:lnTo>
                      <a:pt x="38520" y="19020"/>
                    </a:lnTo>
                    <a:lnTo>
                      <a:pt x="38604" y="19083"/>
                    </a:lnTo>
                    <a:lnTo>
                      <a:pt x="38625" y="18999"/>
                    </a:lnTo>
                    <a:lnTo>
                      <a:pt x="38583" y="18957"/>
                    </a:lnTo>
                    <a:lnTo>
                      <a:pt x="38583" y="18894"/>
                    </a:lnTo>
                    <a:lnTo>
                      <a:pt x="38667" y="18915"/>
                    </a:lnTo>
                    <a:lnTo>
                      <a:pt x="38688" y="19020"/>
                    </a:lnTo>
                    <a:lnTo>
                      <a:pt x="38688" y="19104"/>
                    </a:lnTo>
                    <a:lnTo>
                      <a:pt x="38709" y="19125"/>
                    </a:lnTo>
                    <a:lnTo>
                      <a:pt x="38709" y="19062"/>
                    </a:lnTo>
                    <a:lnTo>
                      <a:pt x="38772" y="19020"/>
                    </a:lnTo>
                    <a:lnTo>
                      <a:pt x="38772" y="19187"/>
                    </a:lnTo>
                    <a:lnTo>
                      <a:pt x="38813" y="19271"/>
                    </a:lnTo>
                    <a:lnTo>
                      <a:pt x="38897" y="19271"/>
                    </a:lnTo>
                    <a:lnTo>
                      <a:pt x="38939" y="19208"/>
                    </a:lnTo>
                    <a:lnTo>
                      <a:pt x="38939" y="19313"/>
                    </a:lnTo>
                    <a:lnTo>
                      <a:pt x="38918" y="19376"/>
                    </a:lnTo>
                    <a:lnTo>
                      <a:pt x="38981" y="19543"/>
                    </a:lnTo>
                    <a:lnTo>
                      <a:pt x="39023" y="19627"/>
                    </a:lnTo>
                    <a:lnTo>
                      <a:pt x="39127" y="19627"/>
                    </a:lnTo>
                    <a:lnTo>
                      <a:pt x="39127" y="19543"/>
                    </a:lnTo>
                    <a:lnTo>
                      <a:pt x="39106" y="19522"/>
                    </a:lnTo>
                    <a:lnTo>
                      <a:pt x="39106" y="19397"/>
                    </a:lnTo>
                    <a:lnTo>
                      <a:pt x="39044" y="19187"/>
                    </a:lnTo>
                    <a:lnTo>
                      <a:pt x="39127" y="19187"/>
                    </a:lnTo>
                    <a:lnTo>
                      <a:pt x="39169" y="19271"/>
                    </a:lnTo>
                    <a:lnTo>
                      <a:pt x="39274" y="19292"/>
                    </a:lnTo>
                    <a:lnTo>
                      <a:pt x="39316" y="19271"/>
                    </a:lnTo>
                    <a:lnTo>
                      <a:pt x="39253" y="19166"/>
                    </a:lnTo>
                    <a:lnTo>
                      <a:pt x="39295" y="19083"/>
                    </a:lnTo>
                    <a:lnTo>
                      <a:pt x="39295" y="18894"/>
                    </a:lnTo>
                    <a:lnTo>
                      <a:pt x="39211" y="18706"/>
                    </a:lnTo>
                    <a:lnTo>
                      <a:pt x="39232" y="18560"/>
                    </a:lnTo>
                    <a:lnTo>
                      <a:pt x="39232" y="18392"/>
                    </a:lnTo>
                    <a:lnTo>
                      <a:pt x="39253" y="18560"/>
                    </a:lnTo>
                    <a:lnTo>
                      <a:pt x="39232" y="18664"/>
                    </a:lnTo>
                    <a:lnTo>
                      <a:pt x="39253" y="18790"/>
                    </a:lnTo>
                    <a:lnTo>
                      <a:pt x="39420" y="18957"/>
                    </a:lnTo>
                    <a:lnTo>
                      <a:pt x="39441" y="18894"/>
                    </a:lnTo>
                    <a:lnTo>
                      <a:pt x="39420" y="18769"/>
                    </a:lnTo>
                    <a:lnTo>
                      <a:pt x="39462" y="18664"/>
                    </a:lnTo>
                    <a:lnTo>
                      <a:pt x="39462" y="18497"/>
                    </a:lnTo>
                    <a:lnTo>
                      <a:pt x="39546" y="18455"/>
                    </a:lnTo>
                    <a:lnTo>
                      <a:pt x="39525" y="18434"/>
                    </a:lnTo>
                    <a:lnTo>
                      <a:pt x="39399" y="18246"/>
                    </a:lnTo>
                    <a:lnTo>
                      <a:pt x="39357" y="18120"/>
                    </a:lnTo>
                    <a:lnTo>
                      <a:pt x="39316" y="18078"/>
                    </a:lnTo>
                    <a:lnTo>
                      <a:pt x="39336" y="18016"/>
                    </a:lnTo>
                    <a:lnTo>
                      <a:pt x="39253" y="17869"/>
                    </a:lnTo>
                    <a:lnTo>
                      <a:pt x="39190" y="17786"/>
                    </a:lnTo>
                    <a:lnTo>
                      <a:pt x="39316" y="17765"/>
                    </a:lnTo>
                    <a:lnTo>
                      <a:pt x="39336" y="17723"/>
                    </a:lnTo>
                    <a:lnTo>
                      <a:pt x="39420" y="17639"/>
                    </a:lnTo>
                    <a:lnTo>
                      <a:pt x="39357" y="17576"/>
                    </a:lnTo>
                    <a:lnTo>
                      <a:pt x="39295" y="17618"/>
                    </a:lnTo>
                    <a:lnTo>
                      <a:pt x="39148" y="17639"/>
                    </a:lnTo>
                    <a:lnTo>
                      <a:pt x="39106" y="17597"/>
                    </a:lnTo>
                    <a:lnTo>
                      <a:pt x="39127" y="17555"/>
                    </a:lnTo>
                    <a:lnTo>
                      <a:pt x="39148" y="17514"/>
                    </a:lnTo>
                    <a:lnTo>
                      <a:pt x="39232" y="17430"/>
                    </a:lnTo>
                    <a:lnTo>
                      <a:pt x="39253" y="17325"/>
                    </a:lnTo>
                    <a:lnTo>
                      <a:pt x="39211" y="17242"/>
                    </a:lnTo>
                    <a:lnTo>
                      <a:pt x="39148" y="17242"/>
                    </a:lnTo>
                    <a:lnTo>
                      <a:pt x="39148" y="17304"/>
                    </a:lnTo>
                    <a:lnTo>
                      <a:pt x="39106" y="17388"/>
                    </a:lnTo>
                    <a:lnTo>
                      <a:pt x="39106" y="17304"/>
                    </a:lnTo>
                    <a:lnTo>
                      <a:pt x="39085" y="17325"/>
                    </a:lnTo>
                    <a:lnTo>
                      <a:pt x="38939" y="17346"/>
                    </a:lnTo>
                    <a:lnTo>
                      <a:pt x="38918" y="17304"/>
                    </a:lnTo>
                    <a:lnTo>
                      <a:pt x="39002" y="17242"/>
                    </a:lnTo>
                    <a:lnTo>
                      <a:pt x="39023" y="17200"/>
                    </a:lnTo>
                    <a:lnTo>
                      <a:pt x="38981" y="17137"/>
                    </a:lnTo>
                    <a:lnTo>
                      <a:pt x="38939" y="17032"/>
                    </a:lnTo>
                    <a:lnTo>
                      <a:pt x="38876" y="16990"/>
                    </a:lnTo>
                    <a:lnTo>
                      <a:pt x="38813" y="17011"/>
                    </a:lnTo>
                    <a:lnTo>
                      <a:pt x="38813" y="17116"/>
                    </a:lnTo>
                    <a:lnTo>
                      <a:pt x="38792" y="17179"/>
                    </a:lnTo>
                    <a:lnTo>
                      <a:pt x="38772" y="17137"/>
                    </a:lnTo>
                    <a:lnTo>
                      <a:pt x="38772" y="17011"/>
                    </a:lnTo>
                    <a:lnTo>
                      <a:pt x="38730" y="16928"/>
                    </a:lnTo>
                    <a:lnTo>
                      <a:pt x="38688" y="16928"/>
                    </a:lnTo>
                    <a:lnTo>
                      <a:pt x="38709" y="16865"/>
                    </a:lnTo>
                    <a:lnTo>
                      <a:pt x="38667" y="16865"/>
                    </a:lnTo>
                    <a:lnTo>
                      <a:pt x="38667" y="16823"/>
                    </a:lnTo>
                    <a:lnTo>
                      <a:pt x="38688" y="16823"/>
                    </a:lnTo>
                    <a:lnTo>
                      <a:pt x="38667" y="16760"/>
                    </a:lnTo>
                    <a:lnTo>
                      <a:pt x="38604" y="16718"/>
                    </a:lnTo>
                    <a:lnTo>
                      <a:pt x="38625" y="16677"/>
                    </a:lnTo>
                    <a:lnTo>
                      <a:pt x="38730" y="16677"/>
                    </a:lnTo>
                    <a:lnTo>
                      <a:pt x="38792" y="16656"/>
                    </a:lnTo>
                    <a:lnTo>
                      <a:pt x="38730" y="16593"/>
                    </a:lnTo>
                    <a:lnTo>
                      <a:pt x="38625" y="16593"/>
                    </a:lnTo>
                    <a:lnTo>
                      <a:pt x="38583" y="16572"/>
                    </a:lnTo>
                    <a:lnTo>
                      <a:pt x="38625" y="16488"/>
                    </a:lnTo>
                    <a:lnTo>
                      <a:pt x="38730" y="16446"/>
                    </a:lnTo>
                    <a:lnTo>
                      <a:pt x="38730" y="16405"/>
                    </a:lnTo>
                    <a:lnTo>
                      <a:pt x="38688" y="16363"/>
                    </a:lnTo>
                    <a:lnTo>
                      <a:pt x="38520" y="16363"/>
                    </a:lnTo>
                    <a:lnTo>
                      <a:pt x="38500" y="16405"/>
                    </a:lnTo>
                    <a:lnTo>
                      <a:pt x="38458" y="16488"/>
                    </a:lnTo>
                    <a:lnTo>
                      <a:pt x="38248" y="16530"/>
                    </a:lnTo>
                    <a:lnTo>
                      <a:pt x="38353" y="16467"/>
                    </a:lnTo>
                    <a:lnTo>
                      <a:pt x="38500" y="16321"/>
                    </a:lnTo>
                    <a:lnTo>
                      <a:pt x="38562" y="16216"/>
                    </a:lnTo>
                    <a:lnTo>
                      <a:pt x="38562" y="16174"/>
                    </a:lnTo>
                    <a:lnTo>
                      <a:pt x="38458" y="16174"/>
                    </a:lnTo>
                    <a:lnTo>
                      <a:pt x="38395" y="16153"/>
                    </a:lnTo>
                    <a:lnTo>
                      <a:pt x="38458" y="16091"/>
                    </a:lnTo>
                    <a:lnTo>
                      <a:pt x="38416" y="16049"/>
                    </a:lnTo>
                    <a:lnTo>
                      <a:pt x="38374" y="16070"/>
                    </a:lnTo>
                    <a:lnTo>
                      <a:pt x="38374" y="15986"/>
                    </a:lnTo>
                    <a:lnTo>
                      <a:pt x="38416" y="15923"/>
                    </a:lnTo>
                    <a:lnTo>
                      <a:pt x="38416" y="15819"/>
                    </a:lnTo>
                    <a:lnTo>
                      <a:pt x="38290" y="15777"/>
                    </a:lnTo>
                    <a:lnTo>
                      <a:pt x="38207" y="15756"/>
                    </a:lnTo>
                    <a:lnTo>
                      <a:pt x="38081" y="15756"/>
                    </a:lnTo>
                    <a:lnTo>
                      <a:pt x="38039" y="15693"/>
                    </a:lnTo>
                    <a:lnTo>
                      <a:pt x="38165" y="15693"/>
                    </a:lnTo>
                    <a:lnTo>
                      <a:pt x="38269" y="15672"/>
                    </a:lnTo>
                    <a:lnTo>
                      <a:pt x="38311" y="15630"/>
                    </a:lnTo>
                    <a:lnTo>
                      <a:pt x="38374" y="15693"/>
                    </a:lnTo>
                    <a:lnTo>
                      <a:pt x="38395" y="15756"/>
                    </a:lnTo>
                    <a:lnTo>
                      <a:pt x="38500" y="15756"/>
                    </a:lnTo>
                    <a:lnTo>
                      <a:pt x="38604" y="15798"/>
                    </a:lnTo>
                    <a:lnTo>
                      <a:pt x="38625" y="15881"/>
                    </a:lnTo>
                    <a:lnTo>
                      <a:pt x="38604" y="15965"/>
                    </a:lnTo>
                    <a:lnTo>
                      <a:pt x="38625" y="16049"/>
                    </a:lnTo>
                    <a:lnTo>
                      <a:pt x="38730" y="16174"/>
                    </a:lnTo>
                    <a:lnTo>
                      <a:pt x="38772" y="16174"/>
                    </a:lnTo>
                    <a:lnTo>
                      <a:pt x="38792" y="16070"/>
                    </a:lnTo>
                    <a:lnTo>
                      <a:pt x="38834" y="16133"/>
                    </a:lnTo>
                    <a:lnTo>
                      <a:pt x="38981" y="16153"/>
                    </a:lnTo>
                    <a:lnTo>
                      <a:pt x="39023" y="16133"/>
                    </a:lnTo>
                    <a:lnTo>
                      <a:pt x="39023" y="16070"/>
                    </a:lnTo>
                    <a:lnTo>
                      <a:pt x="38981" y="16049"/>
                    </a:lnTo>
                    <a:lnTo>
                      <a:pt x="38981" y="15965"/>
                    </a:lnTo>
                    <a:lnTo>
                      <a:pt x="38939" y="15861"/>
                    </a:lnTo>
                    <a:lnTo>
                      <a:pt x="38876" y="15777"/>
                    </a:lnTo>
                    <a:lnTo>
                      <a:pt x="38792" y="15756"/>
                    </a:lnTo>
                    <a:lnTo>
                      <a:pt x="38813" y="15672"/>
                    </a:lnTo>
                    <a:lnTo>
                      <a:pt x="38813" y="15589"/>
                    </a:lnTo>
                    <a:lnTo>
                      <a:pt x="38772" y="15547"/>
                    </a:lnTo>
                    <a:lnTo>
                      <a:pt x="38792" y="15526"/>
                    </a:lnTo>
                    <a:lnTo>
                      <a:pt x="38834" y="15547"/>
                    </a:lnTo>
                    <a:lnTo>
                      <a:pt x="38876" y="15651"/>
                    </a:lnTo>
                    <a:lnTo>
                      <a:pt x="38918" y="15693"/>
                    </a:lnTo>
                    <a:lnTo>
                      <a:pt x="39002" y="15672"/>
                    </a:lnTo>
                    <a:lnTo>
                      <a:pt x="38981" y="15651"/>
                    </a:lnTo>
                    <a:lnTo>
                      <a:pt x="39002" y="15630"/>
                    </a:lnTo>
                    <a:lnTo>
                      <a:pt x="39085" y="15651"/>
                    </a:lnTo>
                    <a:lnTo>
                      <a:pt x="39044" y="15547"/>
                    </a:lnTo>
                    <a:lnTo>
                      <a:pt x="39002" y="15442"/>
                    </a:lnTo>
                    <a:lnTo>
                      <a:pt x="38897" y="15379"/>
                    </a:lnTo>
                    <a:lnTo>
                      <a:pt x="39002" y="15379"/>
                    </a:lnTo>
                    <a:lnTo>
                      <a:pt x="39044" y="15442"/>
                    </a:lnTo>
                    <a:lnTo>
                      <a:pt x="39106" y="15484"/>
                    </a:lnTo>
                    <a:lnTo>
                      <a:pt x="39190" y="15463"/>
                    </a:lnTo>
                    <a:lnTo>
                      <a:pt x="39148" y="15421"/>
                    </a:lnTo>
                    <a:lnTo>
                      <a:pt x="39148" y="15337"/>
                    </a:lnTo>
                    <a:lnTo>
                      <a:pt x="39190" y="15337"/>
                    </a:lnTo>
                    <a:lnTo>
                      <a:pt x="39232" y="15379"/>
                    </a:lnTo>
                    <a:lnTo>
                      <a:pt x="39295" y="15421"/>
                    </a:lnTo>
                    <a:lnTo>
                      <a:pt x="39295" y="15463"/>
                    </a:lnTo>
                    <a:lnTo>
                      <a:pt x="39232" y="15484"/>
                    </a:lnTo>
                    <a:lnTo>
                      <a:pt x="39232" y="15589"/>
                    </a:lnTo>
                    <a:lnTo>
                      <a:pt x="39232" y="15630"/>
                    </a:lnTo>
                    <a:lnTo>
                      <a:pt x="39295" y="15630"/>
                    </a:lnTo>
                    <a:lnTo>
                      <a:pt x="39336" y="15651"/>
                    </a:lnTo>
                    <a:lnTo>
                      <a:pt x="39336" y="15693"/>
                    </a:lnTo>
                    <a:lnTo>
                      <a:pt x="39295" y="15735"/>
                    </a:lnTo>
                    <a:lnTo>
                      <a:pt x="39253" y="15777"/>
                    </a:lnTo>
                    <a:lnTo>
                      <a:pt x="39316" y="15798"/>
                    </a:lnTo>
                    <a:lnTo>
                      <a:pt x="39357" y="15777"/>
                    </a:lnTo>
                    <a:lnTo>
                      <a:pt x="39399" y="15798"/>
                    </a:lnTo>
                    <a:lnTo>
                      <a:pt x="39357" y="15881"/>
                    </a:lnTo>
                    <a:lnTo>
                      <a:pt x="39399" y="15944"/>
                    </a:lnTo>
                    <a:lnTo>
                      <a:pt x="39441" y="15965"/>
                    </a:lnTo>
                    <a:lnTo>
                      <a:pt x="39525" y="15944"/>
                    </a:lnTo>
                    <a:lnTo>
                      <a:pt x="39734" y="15798"/>
                    </a:lnTo>
                    <a:lnTo>
                      <a:pt x="39818" y="15672"/>
                    </a:lnTo>
                    <a:lnTo>
                      <a:pt x="39818" y="15756"/>
                    </a:lnTo>
                    <a:lnTo>
                      <a:pt x="39755" y="15798"/>
                    </a:lnTo>
                    <a:lnTo>
                      <a:pt x="39734" y="15861"/>
                    </a:lnTo>
                    <a:lnTo>
                      <a:pt x="39629" y="15902"/>
                    </a:lnTo>
                    <a:lnTo>
                      <a:pt x="39462" y="16070"/>
                    </a:lnTo>
                    <a:lnTo>
                      <a:pt x="39462" y="16112"/>
                    </a:lnTo>
                    <a:lnTo>
                      <a:pt x="39546" y="16153"/>
                    </a:lnTo>
                    <a:lnTo>
                      <a:pt x="39650" y="16112"/>
                    </a:lnTo>
                    <a:lnTo>
                      <a:pt x="39818" y="16007"/>
                    </a:lnTo>
                    <a:lnTo>
                      <a:pt x="39880" y="16007"/>
                    </a:lnTo>
                    <a:lnTo>
                      <a:pt x="40027" y="15965"/>
                    </a:lnTo>
                    <a:lnTo>
                      <a:pt x="40069" y="15881"/>
                    </a:lnTo>
                    <a:lnTo>
                      <a:pt x="40132" y="15861"/>
                    </a:lnTo>
                    <a:lnTo>
                      <a:pt x="40236" y="15777"/>
                    </a:lnTo>
                    <a:lnTo>
                      <a:pt x="40278" y="15777"/>
                    </a:lnTo>
                    <a:lnTo>
                      <a:pt x="40278" y="15840"/>
                    </a:lnTo>
                    <a:lnTo>
                      <a:pt x="40236" y="15861"/>
                    </a:lnTo>
                    <a:lnTo>
                      <a:pt x="40152" y="15965"/>
                    </a:lnTo>
                    <a:lnTo>
                      <a:pt x="40090" y="16070"/>
                    </a:lnTo>
                    <a:lnTo>
                      <a:pt x="40027" y="16112"/>
                    </a:lnTo>
                    <a:lnTo>
                      <a:pt x="39943" y="16195"/>
                    </a:lnTo>
                    <a:lnTo>
                      <a:pt x="39839" y="16216"/>
                    </a:lnTo>
                    <a:lnTo>
                      <a:pt x="39776" y="16258"/>
                    </a:lnTo>
                    <a:lnTo>
                      <a:pt x="39713" y="16384"/>
                    </a:lnTo>
                    <a:lnTo>
                      <a:pt x="39713" y="16426"/>
                    </a:lnTo>
                    <a:lnTo>
                      <a:pt x="39734" y="16467"/>
                    </a:lnTo>
                    <a:lnTo>
                      <a:pt x="39776" y="16426"/>
                    </a:lnTo>
                    <a:lnTo>
                      <a:pt x="39860" y="16426"/>
                    </a:lnTo>
                    <a:lnTo>
                      <a:pt x="39943" y="16467"/>
                    </a:lnTo>
                    <a:lnTo>
                      <a:pt x="39860" y="16488"/>
                    </a:lnTo>
                    <a:lnTo>
                      <a:pt x="39776" y="16509"/>
                    </a:lnTo>
                    <a:lnTo>
                      <a:pt x="39734" y="16551"/>
                    </a:lnTo>
                    <a:lnTo>
                      <a:pt x="39734" y="16593"/>
                    </a:lnTo>
                    <a:lnTo>
                      <a:pt x="39776" y="16614"/>
                    </a:lnTo>
                    <a:lnTo>
                      <a:pt x="39860" y="16593"/>
                    </a:lnTo>
                    <a:lnTo>
                      <a:pt x="39922" y="16572"/>
                    </a:lnTo>
                    <a:lnTo>
                      <a:pt x="39839" y="16677"/>
                    </a:lnTo>
                    <a:lnTo>
                      <a:pt x="39755" y="16698"/>
                    </a:lnTo>
                    <a:lnTo>
                      <a:pt x="39734" y="16739"/>
                    </a:lnTo>
                    <a:lnTo>
                      <a:pt x="39755" y="16781"/>
                    </a:lnTo>
                    <a:lnTo>
                      <a:pt x="39839" y="16802"/>
                    </a:lnTo>
                    <a:lnTo>
                      <a:pt x="39922" y="16781"/>
                    </a:lnTo>
                    <a:lnTo>
                      <a:pt x="39985" y="16781"/>
                    </a:lnTo>
                    <a:lnTo>
                      <a:pt x="40027" y="16802"/>
                    </a:lnTo>
                    <a:lnTo>
                      <a:pt x="39964" y="16823"/>
                    </a:lnTo>
                    <a:lnTo>
                      <a:pt x="39964" y="16865"/>
                    </a:lnTo>
                    <a:lnTo>
                      <a:pt x="39860" y="16907"/>
                    </a:lnTo>
                    <a:lnTo>
                      <a:pt x="39839" y="16970"/>
                    </a:lnTo>
                    <a:lnTo>
                      <a:pt x="39860" y="17032"/>
                    </a:lnTo>
                    <a:lnTo>
                      <a:pt x="39922" y="17116"/>
                    </a:lnTo>
                    <a:lnTo>
                      <a:pt x="39922" y="17200"/>
                    </a:lnTo>
                    <a:lnTo>
                      <a:pt x="39943" y="17221"/>
                    </a:lnTo>
                    <a:lnTo>
                      <a:pt x="39985" y="17137"/>
                    </a:lnTo>
                    <a:lnTo>
                      <a:pt x="40048" y="17032"/>
                    </a:lnTo>
                    <a:lnTo>
                      <a:pt x="40090" y="16990"/>
                    </a:lnTo>
                    <a:lnTo>
                      <a:pt x="40132" y="16990"/>
                    </a:lnTo>
                    <a:lnTo>
                      <a:pt x="40090" y="17032"/>
                    </a:lnTo>
                    <a:lnTo>
                      <a:pt x="40090" y="17095"/>
                    </a:lnTo>
                    <a:lnTo>
                      <a:pt x="40048" y="17116"/>
                    </a:lnTo>
                    <a:lnTo>
                      <a:pt x="40048" y="17137"/>
                    </a:lnTo>
                    <a:lnTo>
                      <a:pt x="40090" y="17200"/>
                    </a:lnTo>
                    <a:lnTo>
                      <a:pt x="40069" y="17242"/>
                    </a:lnTo>
                    <a:lnTo>
                      <a:pt x="40132" y="17304"/>
                    </a:lnTo>
                    <a:lnTo>
                      <a:pt x="40152" y="17304"/>
                    </a:lnTo>
                    <a:lnTo>
                      <a:pt x="40173" y="17242"/>
                    </a:lnTo>
                    <a:lnTo>
                      <a:pt x="40257" y="17221"/>
                    </a:lnTo>
                    <a:lnTo>
                      <a:pt x="40278" y="17221"/>
                    </a:lnTo>
                    <a:lnTo>
                      <a:pt x="40278" y="17283"/>
                    </a:lnTo>
                    <a:lnTo>
                      <a:pt x="40236" y="17325"/>
                    </a:lnTo>
                    <a:lnTo>
                      <a:pt x="40236" y="17346"/>
                    </a:lnTo>
                    <a:lnTo>
                      <a:pt x="40278" y="17388"/>
                    </a:lnTo>
                    <a:lnTo>
                      <a:pt x="40278" y="17430"/>
                    </a:lnTo>
                    <a:lnTo>
                      <a:pt x="40299" y="17451"/>
                    </a:lnTo>
                    <a:lnTo>
                      <a:pt x="40299" y="17514"/>
                    </a:lnTo>
                    <a:lnTo>
                      <a:pt x="40362" y="17534"/>
                    </a:lnTo>
                    <a:lnTo>
                      <a:pt x="40383" y="17493"/>
                    </a:lnTo>
                    <a:lnTo>
                      <a:pt x="40487" y="17451"/>
                    </a:lnTo>
                    <a:lnTo>
                      <a:pt x="40508" y="17388"/>
                    </a:lnTo>
                    <a:lnTo>
                      <a:pt x="40508" y="17325"/>
                    </a:lnTo>
                    <a:lnTo>
                      <a:pt x="40445" y="17242"/>
                    </a:lnTo>
                    <a:lnTo>
                      <a:pt x="40466" y="17242"/>
                    </a:lnTo>
                    <a:lnTo>
                      <a:pt x="40508" y="17283"/>
                    </a:lnTo>
                    <a:lnTo>
                      <a:pt x="40550" y="17283"/>
                    </a:lnTo>
                    <a:lnTo>
                      <a:pt x="40550" y="17221"/>
                    </a:lnTo>
                    <a:lnTo>
                      <a:pt x="40508" y="17137"/>
                    </a:lnTo>
                    <a:lnTo>
                      <a:pt x="40508" y="17095"/>
                    </a:lnTo>
                    <a:lnTo>
                      <a:pt x="40571" y="17074"/>
                    </a:lnTo>
                    <a:lnTo>
                      <a:pt x="40571" y="16990"/>
                    </a:lnTo>
                    <a:lnTo>
                      <a:pt x="40571" y="16928"/>
                    </a:lnTo>
                    <a:lnTo>
                      <a:pt x="40508" y="16928"/>
                    </a:lnTo>
                    <a:lnTo>
                      <a:pt x="40466" y="16886"/>
                    </a:lnTo>
                    <a:lnTo>
                      <a:pt x="40466" y="16865"/>
                    </a:lnTo>
                    <a:lnTo>
                      <a:pt x="40487" y="16886"/>
                    </a:lnTo>
                    <a:lnTo>
                      <a:pt x="40571" y="16907"/>
                    </a:lnTo>
                    <a:lnTo>
                      <a:pt x="40613" y="16865"/>
                    </a:lnTo>
                    <a:lnTo>
                      <a:pt x="40592" y="16802"/>
                    </a:lnTo>
                    <a:lnTo>
                      <a:pt x="40550" y="16802"/>
                    </a:lnTo>
                    <a:lnTo>
                      <a:pt x="40508" y="16781"/>
                    </a:lnTo>
                    <a:lnTo>
                      <a:pt x="40592" y="16781"/>
                    </a:lnTo>
                    <a:lnTo>
                      <a:pt x="40655" y="16718"/>
                    </a:lnTo>
                    <a:lnTo>
                      <a:pt x="40655" y="16572"/>
                    </a:lnTo>
                    <a:lnTo>
                      <a:pt x="40676" y="16509"/>
                    </a:lnTo>
                    <a:lnTo>
                      <a:pt x="40696" y="16572"/>
                    </a:lnTo>
                    <a:lnTo>
                      <a:pt x="40696" y="16656"/>
                    </a:lnTo>
                    <a:lnTo>
                      <a:pt x="40717" y="16718"/>
                    </a:lnTo>
                    <a:lnTo>
                      <a:pt x="40696" y="16802"/>
                    </a:lnTo>
                    <a:lnTo>
                      <a:pt x="40759" y="16823"/>
                    </a:lnTo>
                    <a:lnTo>
                      <a:pt x="40822" y="16802"/>
                    </a:lnTo>
                    <a:lnTo>
                      <a:pt x="40864" y="16760"/>
                    </a:lnTo>
                    <a:lnTo>
                      <a:pt x="40906" y="16718"/>
                    </a:lnTo>
                    <a:lnTo>
                      <a:pt x="40906" y="16823"/>
                    </a:lnTo>
                    <a:lnTo>
                      <a:pt x="40927" y="16865"/>
                    </a:lnTo>
                    <a:lnTo>
                      <a:pt x="40989" y="16865"/>
                    </a:lnTo>
                    <a:lnTo>
                      <a:pt x="41010" y="16823"/>
                    </a:lnTo>
                    <a:lnTo>
                      <a:pt x="41010" y="16698"/>
                    </a:lnTo>
                    <a:lnTo>
                      <a:pt x="41010" y="16593"/>
                    </a:lnTo>
                    <a:lnTo>
                      <a:pt x="40969" y="16572"/>
                    </a:lnTo>
                    <a:lnTo>
                      <a:pt x="40927" y="16551"/>
                    </a:lnTo>
                    <a:lnTo>
                      <a:pt x="41010" y="16572"/>
                    </a:lnTo>
                    <a:lnTo>
                      <a:pt x="41094" y="16614"/>
                    </a:lnTo>
                    <a:lnTo>
                      <a:pt x="41115" y="16698"/>
                    </a:lnTo>
                    <a:lnTo>
                      <a:pt x="41178" y="16698"/>
                    </a:lnTo>
                    <a:lnTo>
                      <a:pt x="41199" y="16656"/>
                    </a:lnTo>
                    <a:lnTo>
                      <a:pt x="41199" y="16509"/>
                    </a:lnTo>
                    <a:lnTo>
                      <a:pt x="41136" y="16446"/>
                    </a:lnTo>
                    <a:lnTo>
                      <a:pt x="41031" y="16363"/>
                    </a:lnTo>
                    <a:lnTo>
                      <a:pt x="41010" y="16300"/>
                    </a:lnTo>
                    <a:lnTo>
                      <a:pt x="41031" y="16300"/>
                    </a:lnTo>
                    <a:lnTo>
                      <a:pt x="41094" y="16363"/>
                    </a:lnTo>
                    <a:lnTo>
                      <a:pt x="41199" y="16446"/>
                    </a:lnTo>
                    <a:lnTo>
                      <a:pt x="41220" y="16509"/>
                    </a:lnTo>
                    <a:lnTo>
                      <a:pt x="41387" y="16509"/>
                    </a:lnTo>
                    <a:lnTo>
                      <a:pt x="41408" y="16446"/>
                    </a:lnTo>
                    <a:lnTo>
                      <a:pt x="41387" y="16384"/>
                    </a:lnTo>
                    <a:lnTo>
                      <a:pt x="41324" y="16363"/>
                    </a:lnTo>
                    <a:lnTo>
                      <a:pt x="41282" y="16300"/>
                    </a:lnTo>
                    <a:lnTo>
                      <a:pt x="41178" y="16300"/>
                    </a:lnTo>
                    <a:lnTo>
                      <a:pt x="41115" y="16258"/>
                    </a:lnTo>
                    <a:lnTo>
                      <a:pt x="41136" y="16153"/>
                    </a:lnTo>
                    <a:lnTo>
                      <a:pt x="41178" y="16195"/>
                    </a:lnTo>
                    <a:lnTo>
                      <a:pt x="41241" y="16258"/>
                    </a:lnTo>
                    <a:lnTo>
                      <a:pt x="41324" y="16258"/>
                    </a:lnTo>
                    <a:lnTo>
                      <a:pt x="41345" y="16195"/>
                    </a:lnTo>
                    <a:lnTo>
                      <a:pt x="41324" y="16133"/>
                    </a:lnTo>
                    <a:lnTo>
                      <a:pt x="41282" y="16091"/>
                    </a:lnTo>
                    <a:lnTo>
                      <a:pt x="41282" y="16049"/>
                    </a:lnTo>
                    <a:lnTo>
                      <a:pt x="41324" y="16028"/>
                    </a:lnTo>
                    <a:lnTo>
                      <a:pt x="41345" y="16049"/>
                    </a:lnTo>
                    <a:lnTo>
                      <a:pt x="41429" y="16091"/>
                    </a:lnTo>
                    <a:lnTo>
                      <a:pt x="41429" y="16153"/>
                    </a:lnTo>
                    <a:lnTo>
                      <a:pt x="41408" y="16237"/>
                    </a:lnTo>
                    <a:lnTo>
                      <a:pt x="41513" y="16258"/>
                    </a:lnTo>
                    <a:lnTo>
                      <a:pt x="41617" y="16279"/>
                    </a:lnTo>
                    <a:lnTo>
                      <a:pt x="41701" y="16258"/>
                    </a:lnTo>
                    <a:lnTo>
                      <a:pt x="41764" y="16258"/>
                    </a:lnTo>
                    <a:lnTo>
                      <a:pt x="41826" y="16174"/>
                    </a:lnTo>
                    <a:lnTo>
                      <a:pt x="41826" y="16133"/>
                    </a:lnTo>
                    <a:lnTo>
                      <a:pt x="41638" y="16133"/>
                    </a:lnTo>
                    <a:lnTo>
                      <a:pt x="41617" y="16091"/>
                    </a:lnTo>
                    <a:lnTo>
                      <a:pt x="41659" y="16049"/>
                    </a:lnTo>
                    <a:lnTo>
                      <a:pt x="41743" y="16070"/>
                    </a:lnTo>
                    <a:lnTo>
                      <a:pt x="41805" y="16049"/>
                    </a:lnTo>
                    <a:lnTo>
                      <a:pt x="41764" y="15986"/>
                    </a:lnTo>
                    <a:lnTo>
                      <a:pt x="41722" y="15965"/>
                    </a:lnTo>
                    <a:lnTo>
                      <a:pt x="41743" y="15944"/>
                    </a:lnTo>
                    <a:lnTo>
                      <a:pt x="41722" y="15881"/>
                    </a:lnTo>
                    <a:lnTo>
                      <a:pt x="41659" y="15861"/>
                    </a:lnTo>
                    <a:lnTo>
                      <a:pt x="41596" y="15881"/>
                    </a:lnTo>
                    <a:lnTo>
                      <a:pt x="41638" y="15819"/>
                    </a:lnTo>
                    <a:lnTo>
                      <a:pt x="41701" y="15756"/>
                    </a:lnTo>
                    <a:lnTo>
                      <a:pt x="41722" y="15777"/>
                    </a:lnTo>
                    <a:lnTo>
                      <a:pt x="41764" y="15819"/>
                    </a:lnTo>
                    <a:lnTo>
                      <a:pt x="41826" y="15881"/>
                    </a:lnTo>
                    <a:lnTo>
                      <a:pt x="41826" y="15965"/>
                    </a:lnTo>
                    <a:lnTo>
                      <a:pt x="41952" y="15965"/>
                    </a:lnTo>
                    <a:lnTo>
                      <a:pt x="42015" y="15944"/>
                    </a:lnTo>
                    <a:lnTo>
                      <a:pt x="42036" y="15923"/>
                    </a:lnTo>
                    <a:lnTo>
                      <a:pt x="42015" y="15840"/>
                    </a:lnTo>
                    <a:lnTo>
                      <a:pt x="41931" y="15777"/>
                    </a:lnTo>
                    <a:lnTo>
                      <a:pt x="41931" y="15714"/>
                    </a:lnTo>
                    <a:lnTo>
                      <a:pt x="41910" y="15651"/>
                    </a:lnTo>
                    <a:lnTo>
                      <a:pt x="41805" y="15651"/>
                    </a:lnTo>
                    <a:lnTo>
                      <a:pt x="41847" y="15547"/>
                    </a:lnTo>
                    <a:lnTo>
                      <a:pt x="41805" y="15463"/>
                    </a:lnTo>
                    <a:lnTo>
                      <a:pt x="41701" y="15463"/>
                    </a:lnTo>
                    <a:lnTo>
                      <a:pt x="41743" y="15400"/>
                    </a:lnTo>
                    <a:lnTo>
                      <a:pt x="41722" y="15358"/>
                    </a:lnTo>
                    <a:lnTo>
                      <a:pt x="41596" y="15442"/>
                    </a:lnTo>
                    <a:lnTo>
                      <a:pt x="41533" y="15526"/>
                    </a:lnTo>
                    <a:lnTo>
                      <a:pt x="41554" y="15651"/>
                    </a:lnTo>
                    <a:lnTo>
                      <a:pt x="41533" y="15651"/>
                    </a:lnTo>
                    <a:lnTo>
                      <a:pt x="41492" y="15609"/>
                    </a:lnTo>
                    <a:lnTo>
                      <a:pt x="41492" y="15442"/>
                    </a:lnTo>
                    <a:lnTo>
                      <a:pt x="41450" y="15421"/>
                    </a:lnTo>
                    <a:lnTo>
                      <a:pt x="41408" y="15442"/>
                    </a:lnTo>
                    <a:lnTo>
                      <a:pt x="41408" y="15526"/>
                    </a:lnTo>
                    <a:lnTo>
                      <a:pt x="41324" y="15651"/>
                    </a:lnTo>
                    <a:lnTo>
                      <a:pt x="41282" y="15714"/>
                    </a:lnTo>
                    <a:lnTo>
                      <a:pt x="41282" y="15714"/>
                    </a:lnTo>
                    <a:lnTo>
                      <a:pt x="41303" y="15630"/>
                    </a:lnTo>
                    <a:lnTo>
                      <a:pt x="41303" y="15505"/>
                    </a:lnTo>
                    <a:lnTo>
                      <a:pt x="41387" y="15358"/>
                    </a:lnTo>
                    <a:lnTo>
                      <a:pt x="41387" y="15296"/>
                    </a:lnTo>
                    <a:lnTo>
                      <a:pt x="41282" y="15317"/>
                    </a:lnTo>
                    <a:lnTo>
                      <a:pt x="41178" y="15442"/>
                    </a:lnTo>
                    <a:lnTo>
                      <a:pt x="41178" y="15505"/>
                    </a:lnTo>
                    <a:lnTo>
                      <a:pt x="41094" y="15568"/>
                    </a:lnTo>
                    <a:lnTo>
                      <a:pt x="41010" y="15568"/>
                    </a:lnTo>
                    <a:lnTo>
                      <a:pt x="41010" y="15505"/>
                    </a:lnTo>
                    <a:lnTo>
                      <a:pt x="41073" y="15400"/>
                    </a:lnTo>
                    <a:lnTo>
                      <a:pt x="41199" y="15337"/>
                    </a:lnTo>
                    <a:lnTo>
                      <a:pt x="41241" y="15233"/>
                    </a:lnTo>
                    <a:lnTo>
                      <a:pt x="41303" y="15149"/>
                    </a:lnTo>
                    <a:lnTo>
                      <a:pt x="41345" y="15149"/>
                    </a:lnTo>
                    <a:lnTo>
                      <a:pt x="41429" y="15086"/>
                    </a:lnTo>
                    <a:lnTo>
                      <a:pt x="41450" y="15024"/>
                    </a:lnTo>
                    <a:lnTo>
                      <a:pt x="41387" y="15003"/>
                    </a:lnTo>
                    <a:lnTo>
                      <a:pt x="41282" y="15086"/>
                    </a:lnTo>
                    <a:lnTo>
                      <a:pt x="41199" y="15149"/>
                    </a:lnTo>
                    <a:lnTo>
                      <a:pt x="41115" y="15191"/>
                    </a:lnTo>
                    <a:lnTo>
                      <a:pt x="41010" y="15296"/>
                    </a:lnTo>
                    <a:lnTo>
                      <a:pt x="41073" y="15191"/>
                    </a:lnTo>
                    <a:lnTo>
                      <a:pt x="41136" y="15086"/>
                    </a:lnTo>
                    <a:lnTo>
                      <a:pt x="41115" y="15086"/>
                    </a:lnTo>
                    <a:lnTo>
                      <a:pt x="41010" y="15107"/>
                    </a:lnTo>
                    <a:lnTo>
                      <a:pt x="40969" y="15149"/>
                    </a:lnTo>
                    <a:lnTo>
                      <a:pt x="40801" y="15128"/>
                    </a:lnTo>
                    <a:lnTo>
                      <a:pt x="40696" y="15128"/>
                    </a:lnTo>
                    <a:lnTo>
                      <a:pt x="40655" y="15086"/>
                    </a:lnTo>
                    <a:lnTo>
                      <a:pt x="40759" y="15086"/>
                    </a:lnTo>
                    <a:lnTo>
                      <a:pt x="40969" y="15024"/>
                    </a:lnTo>
                    <a:lnTo>
                      <a:pt x="40864" y="14982"/>
                    </a:lnTo>
                    <a:lnTo>
                      <a:pt x="40780" y="14919"/>
                    </a:lnTo>
                    <a:lnTo>
                      <a:pt x="40864" y="14919"/>
                    </a:lnTo>
                    <a:lnTo>
                      <a:pt x="40927" y="14898"/>
                    </a:lnTo>
                    <a:lnTo>
                      <a:pt x="40885" y="14793"/>
                    </a:lnTo>
                    <a:lnTo>
                      <a:pt x="40801" y="14773"/>
                    </a:lnTo>
                    <a:lnTo>
                      <a:pt x="40801" y="14731"/>
                    </a:lnTo>
                    <a:lnTo>
                      <a:pt x="40885" y="14689"/>
                    </a:lnTo>
                    <a:lnTo>
                      <a:pt x="40885" y="14605"/>
                    </a:lnTo>
                    <a:lnTo>
                      <a:pt x="40864" y="14480"/>
                    </a:lnTo>
                    <a:lnTo>
                      <a:pt x="40822" y="14417"/>
                    </a:lnTo>
                    <a:lnTo>
                      <a:pt x="40696" y="14480"/>
                    </a:lnTo>
                    <a:lnTo>
                      <a:pt x="40655" y="14521"/>
                    </a:lnTo>
                    <a:lnTo>
                      <a:pt x="40592" y="14501"/>
                    </a:lnTo>
                    <a:lnTo>
                      <a:pt x="40571" y="14521"/>
                    </a:lnTo>
                    <a:lnTo>
                      <a:pt x="40550" y="14501"/>
                    </a:lnTo>
                    <a:lnTo>
                      <a:pt x="40592" y="14417"/>
                    </a:lnTo>
                    <a:lnTo>
                      <a:pt x="40613" y="14312"/>
                    </a:lnTo>
                    <a:lnTo>
                      <a:pt x="40759" y="14291"/>
                    </a:lnTo>
                    <a:lnTo>
                      <a:pt x="40801" y="14249"/>
                    </a:lnTo>
                    <a:lnTo>
                      <a:pt x="40801" y="14103"/>
                    </a:lnTo>
                    <a:lnTo>
                      <a:pt x="40780" y="14061"/>
                    </a:lnTo>
                    <a:lnTo>
                      <a:pt x="40696" y="14145"/>
                    </a:lnTo>
                    <a:lnTo>
                      <a:pt x="40571" y="14249"/>
                    </a:lnTo>
                    <a:lnTo>
                      <a:pt x="40508" y="14312"/>
                    </a:lnTo>
                    <a:lnTo>
                      <a:pt x="40445" y="14375"/>
                    </a:lnTo>
                    <a:lnTo>
                      <a:pt x="40445" y="14480"/>
                    </a:lnTo>
                    <a:lnTo>
                      <a:pt x="40445" y="14563"/>
                    </a:lnTo>
                    <a:lnTo>
                      <a:pt x="40278" y="14291"/>
                    </a:lnTo>
                    <a:lnTo>
                      <a:pt x="40278" y="14187"/>
                    </a:lnTo>
                    <a:lnTo>
                      <a:pt x="40278" y="14082"/>
                    </a:lnTo>
                    <a:lnTo>
                      <a:pt x="40341" y="13998"/>
                    </a:lnTo>
                    <a:lnTo>
                      <a:pt x="40424" y="13873"/>
                    </a:lnTo>
                    <a:lnTo>
                      <a:pt x="40466" y="13789"/>
                    </a:lnTo>
                    <a:lnTo>
                      <a:pt x="40424" y="13768"/>
                    </a:lnTo>
                    <a:lnTo>
                      <a:pt x="40362" y="13831"/>
                    </a:lnTo>
                    <a:lnTo>
                      <a:pt x="40299" y="13894"/>
                    </a:lnTo>
                    <a:lnTo>
                      <a:pt x="40299" y="13936"/>
                    </a:lnTo>
                    <a:lnTo>
                      <a:pt x="40194" y="13977"/>
                    </a:lnTo>
                    <a:lnTo>
                      <a:pt x="40152" y="14061"/>
                    </a:lnTo>
                    <a:lnTo>
                      <a:pt x="40152" y="14103"/>
                    </a:lnTo>
                    <a:lnTo>
                      <a:pt x="40069" y="14249"/>
                    </a:lnTo>
                    <a:lnTo>
                      <a:pt x="40027" y="14270"/>
                    </a:lnTo>
                    <a:lnTo>
                      <a:pt x="40027" y="14187"/>
                    </a:lnTo>
                    <a:lnTo>
                      <a:pt x="40069" y="14082"/>
                    </a:lnTo>
                    <a:lnTo>
                      <a:pt x="40173" y="13894"/>
                    </a:lnTo>
                    <a:lnTo>
                      <a:pt x="40215" y="13852"/>
                    </a:lnTo>
                    <a:lnTo>
                      <a:pt x="40194" y="13768"/>
                    </a:lnTo>
                    <a:lnTo>
                      <a:pt x="40111" y="13768"/>
                    </a:lnTo>
                    <a:lnTo>
                      <a:pt x="40048" y="13852"/>
                    </a:lnTo>
                    <a:lnTo>
                      <a:pt x="40048" y="13936"/>
                    </a:lnTo>
                    <a:lnTo>
                      <a:pt x="40006" y="13957"/>
                    </a:lnTo>
                    <a:lnTo>
                      <a:pt x="40006" y="13873"/>
                    </a:lnTo>
                    <a:lnTo>
                      <a:pt x="40069" y="13747"/>
                    </a:lnTo>
                    <a:lnTo>
                      <a:pt x="40090" y="13685"/>
                    </a:lnTo>
                    <a:lnTo>
                      <a:pt x="40048" y="13622"/>
                    </a:lnTo>
                    <a:lnTo>
                      <a:pt x="39943" y="13580"/>
                    </a:lnTo>
                    <a:lnTo>
                      <a:pt x="39964" y="13559"/>
                    </a:lnTo>
                    <a:lnTo>
                      <a:pt x="39901" y="13517"/>
                    </a:lnTo>
                    <a:lnTo>
                      <a:pt x="39776" y="13517"/>
                    </a:lnTo>
                    <a:lnTo>
                      <a:pt x="39692" y="13538"/>
                    </a:lnTo>
                    <a:lnTo>
                      <a:pt x="39734" y="13454"/>
                    </a:lnTo>
                    <a:lnTo>
                      <a:pt x="39818" y="13433"/>
                    </a:lnTo>
                    <a:lnTo>
                      <a:pt x="39713" y="13413"/>
                    </a:lnTo>
                    <a:lnTo>
                      <a:pt x="39567" y="13413"/>
                    </a:lnTo>
                    <a:lnTo>
                      <a:pt x="39504" y="13517"/>
                    </a:lnTo>
                    <a:lnTo>
                      <a:pt x="39504" y="13433"/>
                    </a:lnTo>
                    <a:lnTo>
                      <a:pt x="39671" y="13350"/>
                    </a:lnTo>
                    <a:lnTo>
                      <a:pt x="39818" y="13329"/>
                    </a:lnTo>
                    <a:lnTo>
                      <a:pt x="39860" y="13371"/>
                    </a:lnTo>
                    <a:lnTo>
                      <a:pt x="39964" y="13392"/>
                    </a:lnTo>
                    <a:lnTo>
                      <a:pt x="39985" y="13350"/>
                    </a:lnTo>
                    <a:lnTo>
                      <a:pt x="40027" y="13266"/>
                    </a:lnTo>
                    <a:lnTo>
                      <a:pt x="39943" y="13266"/>
                    </a:lnTo>
                    <a:lnTo>
                      <a:pt x="39839" y="13245"/>
                    </a:lnTo>
                    <a:lnTo>
                      <a:pt x="39734" y="13182"/>
                    </a:lnTo>
                    <a:lnTo>
                      <a:pt x="39650" y="13182"/>
                    </a:lnTo>
                    <a:lnTo>
                      <a:pt x="39650" y="13287"/>
                    </a:lnTo>
                    <a:lnTo>
                      <a:pt x="39608" y="13287"/>
                    </a:lnTo>
                    <a:lnTo>
                      <a:pt x="39608" y="13245"/>
                    </a:lnTo>
                    <a:lnTo>
                      <a:pt x="39629" y="13182"/>
                    </a:lnTo>
                    <a:lnTo>
                      <a:pt x="39629" y="13140"/>
                    </a:lnTo>
                    <a:lnTo>
                      <a:pt x="39525" y="13140"/>
                    </a:lnTo>
                    <a:lnTo>
                      <a:pt x="39525" y="13182"/>
                    </a:lnTo>
                    <a:lnTo>
                      <a:pt x="39462" y="13224"/>
                    </a:lnTo>
                    <a:lnTo>
                      <a:pt x="39441" y="13161"/>
                    </a:lnTo>
                    <a:lnTo>
                      <a:pt x="39441" y="13078"/>
                    </a:lnTo>
                    <a:lnTo>
                      <a:pt x="39399" y="13057"/>
                    </a:lnTo>
                    <a:lnTo>
                      <a:pt x="39357" y="13078"/>
                    </a:lnTo>
                    <a:lnTo>
                      <a:pt x="39316" y="13036"/>
                    </a:lnTo>
                    <a:lnTo>
                      <a:pt x="39232" y="12994"/>
                    </a:lnTo>
                    <a:lnTo>
                      <a:pt x="39148" y="12994"/>
                    </a:lnTo>
                    <a:lnTo>
                      <a:pt x="39232" y="12910"/>
                    </a:lnTo>
                    <a:lnTo>
                      <a:pt x="39295" y="12868"/>
                    </a:lnTo>
                    <a:lnTo>
                      <a:pt x="39441" y="12973"/>
                    </a:lnTo>
                    <a:lnTo>
                      <a:pt x="39504" y="12973"/>
                    </a:lnTo>
                    <a:lnTo>
                      <a:pt x="39462" y="12931"/>
                    </a:lnTo>
                    <a:lnTo>
                      <a:pt x="39169" y="12764"/>
                    </a:lnTo>
                    <a:lnTo>
                      <a:pt x="39044" y="12743"/>
                    </a:lnTo>
                    <a:lnTo>
                      <a:pt x="39023" y="12722"/>
                    </a:lnTo>
                    <a:lnTo>
                      <a:pt x="39106" y="12722"/>
                    </a:lnTo>
                    <a:lnTo>
                      <a:pt x="39316" y="12806"/>
                    </a:lnTo>
                    <a:lnTo>
                      <a:pt x="39441" y="12806"/>
                    </a:lnTo>
                    <a:lnTo>
                      <a:pt x="39650" y="12848"/>
                    </a:lnTo>
                    <a:lnTo>
                      <a:pt x="39692" y="12848"/>
                    </a:lnTo>
                    <a:lnTo>
                      <a:pt x="39671" y="12806"/>
                    </a:lnTo>
                    <a:lnTo>
                      <a:pt x="39671" y="12722"/>
                    </a:lnTo>
                    <a:lnTo>
                      <a:pt x="39629" y="12659"/>
                    </a:lnTo>
                    <a:lnTo>
                      <a:pt x="39546" y="12638"/>
                    </a:lnTo>
                    <a:lnTo>
                      <a:pt x="39462" y="12596"/>
                    </a:lnTo>
                    <a:lnTo>
                      <a:pt x="39483" y="12555"/>
                    </a:lnTo>
                    <a:lnTo>
                      <a:pt x="39546" y="12555"/>
                    </a:lnTo>
                    <a:lnTo>
                      <a:pt x="39567" y="12617"/>
                    </a:lnTo>
                    <a:lnTo>
                      <a:pt x="39629" y="12638"/>
                    </a:lnTo>
                    <a:lnTo>
                      <a:pt x="39671" y="12617"/>
                    </a:lnTo>
                    <a:lnTo>
                      <a:pt x="39776" y="12617"/>
                    </a:lnTo>
                    <a:lnTo>
                      <a:pt x="39797" y="12596"/>
                    </a:lnTo>
                    <a:lnTo>
                      <a:pt x="39797" y="12534"/>
                    </a:lnTo>
                    <a:lnTo>
                      <a:pt x="39734" y="12513"/>
                    </a:lnTo>
                    <a:lnTo>
                      <a:pt x="39734" y="12450"/>
                    </a:lnTo>
                    <a:lnTo>
                      <a:pt x="39671" y="12387"/>
                    </a:lnTo>
                    <a:lnTo>
                      <a:pt x="39588" y="12408"/>
                    </a:lnTo>
                    <a:lnTo>
                      <a:pt x="39525" y="12450"/>
                    </a:lnTo>
                    <a:lnTo>
                      <a:pt x="39378" y="12450"/>
                    </a:lnTo>
                    <a:lnTo>
                      <a:pt x="39357" y="12513"/>
                    </a:lnTo>
                    <a:lnTo>
                      <a:pt x="39316" y="12513"/>
                    </a:lnTo>
                    <a:lnTo>
                      <a:pt x="39274" y="12429"/>
                    </a:lnTo>
                    <a:lnTo>
                      <a:pt x="39378" y="12387"/>
                    </a:lnTo>
                    <a:lnTo>
                      <a:pt x="39525" y="12387"/>
                    </a:lnTo>
                    <a:lnTo>
                      <a:pt x="39567" y="12345"/>
                    </a:lnTo>
                    <a:lnTo>
                      <a:pt x="39692" y="12345"/>
                    </a:lnTo>
                    <a:lnTo>
                      <a:pt x="39734" y="12304"/>
                    </a:lnTo>
                    <a:lnTo>
                      <a:pt x="39650" y="12283"/>
                    </a:lnTo>
                    <a:lnTo>
                      <a:pt x="39546" y="12241"/>
                    </a:lnTo>
                    <a:lnTo>
                      <a:pt x="39525" y="12199"/>
                    </a:lnTo>
                    <a:lnTo>
                      <a:pt x="39588" y="12241"/>
                    </a:lnTo>
                    <a:lnTo>
                      <a:pt x="39776" y="12241"/>
                    </a:lnTo>
                    <a:lnTo>
                      <a:pt x="39839" y="12283"/>
                    </a:lnTo>
                    <a:lnTo>
                      <a:pt x="39964" y="12429"/>
                    </a:lnTo>
                    <a:lnTo>
                      <a:pt x="40048" y="12450"/>
                    </a:lnTo>
                    <a:lnTo>
                      <a:pt x="40090" y="12429"/>
                    </a:lnTo>
                    <a:lnTo>
                      <a:pt x="40111" y="12492"/>
                    </a:lnTo>
                    <a:lnTo>
                      <a:pt x="40173" y="12513"/>
                    </a:lnTo>
                    <a:lnTo>
                      <a:pt x="40215" y="12450"/>
                    </a:lnTo>
                    <a:lnTo>
                      <a:pt x="40278" y="12450"/>
                    </a:lnTo>
                    <a:lnTo>
                      <a:pt x="40320" y="12555"/>
                    </a:lnTo>
                    <a:lnTo>
                      <a:pt x="40404" y="12555"/>
                    </a:lnTo>
                    <a:lnTo>
                      <a:pt x="40466" y="12534"/>
                    </a:lnTo>
                    <a:lnTo>
                      <a:pt x="40466" y="12408"/>
                    </a:lnTo>
                    <a:lnTo>
                      <a:pt x="40404" y="12324"/>
                    </a:lnTo>
                    <a:lnTo>
                      <a:pt x="40383" y="12241"/>
                    </a:lnTo>
                    <a:lnTo>
                      <a:pt x="40278" y="12199"/>
                    </a:lnTo>
                    <a:lnTo>
                      <a:pt x="40194" y="12136"/>
                    </a:lnTo>
                    <a:lnTo>
                      <a:pt x="40152" y="12115"/>
                    </a:lnTo>
                    <a:lnTo>
                      <a:pt x="40090" y="12136"/>
                    </a:lnTo>
                    <a:lnTo>
                      <a:pt x="40048" y="12178"/>
                    </a:lnTo>
                    <a:lnTo>
                      <a:pt x="39964" y="12115"/>
                    </a:lnTo>
                    <a:lnTo>
                      <a:pt x="39797" y="11990"/>
                    </a:lnTo>
                    <a:lnTo>
                      <a:pt x="39692" y="11969"/>
                    </a:lnTo>
                    <a:lnTo>
                      <a:pt x="39483" y="11990"/>
                    </a:lnTo>
                    <a:lnTo>
                      <a:pt x="39420" y="11969"/>
                    </a:lnTo>
                    <a:lnTo>
                      <a:pt x="39588" y="11927"/>
                    </a:lnTo>
                    <a:lnTo>
                      <a:pt x="39671" y="11864"/>
                    </a:lnTo>
                    <a:lnTo>
                      <a:pt x="39755" y="11864"/>
                    </a:lnTo>
                    <a:lnTo>
                      <a:pt x="39776" y="11885"/>
                    </a:lnTo>
                    <a:lnTo>
                      <a:pt x="39860" y="11885"/>
                    </a:lnTo>
                    <a:lnTo>
                      <a:pt x="39943" y="11822"/>
                    </a:lnTo>
                    <a:lnTo>
                      <a:pt x="40006" y="11780"/>
                    </a:lnTo>
                    <a:lnTo>
                      <a:pt x="40173" y="11780"/>
                    </a:lnTo>
                    <a:lnTo>
                      <a:pt x="40257" y="11822"/>
                    </a:lnTo>
                    <a:lnTo>
                      <a:pt x="40383" y="11822"/>
                    </a:lnTo>
                    <a:lnTo>
                      <a:pt x="40424" y="11760"/>
                    </a:lnTo>
                    <a:lnTo>
                      <a:pt x="40466" y="11676"/>
                    </a:lnTo>
                    <a:lnTo>
                      <a:pt x="40404" y="11592"/>
                    </a:lnTo>
                    <a:lnTo>
                      <a:pt x="40383" y="11467"/>
                    </a:lnTo>
                    <a:lnTo>
                      <a:pt x="40278" y="11236"/>
                    </a:lnTo>
                    <a:lnTo>
                      <a:pt x="40257" y="11090"/>
                    </a:lnTo>
                    <a:lnTo>
                      <a:pt x="40194" y="11132"/>
                    </a:lnTo>
                    <a:lnTo>
                      <a:pt x="40173" y="11090"/>
                    </a:lnTo>
                    <a:lnTo>
                      <a:pt x="40090" y="11132"/>
                    </a:lnTo>
                    <a:lnTo>
                      <a:pt x="40090" y="11174"/>
                    </a:lnTo>
                    <a:lnTo>
                      <a:pt x="40048" y="11278"/>
                    </a:lnTo>
                    <a:lnTo>
                      <a:pt x="40069" y="11299"/>
                    </a:lnTo>
                    <a:lnTo>
                      <a:pt x="40069" y="11383"/>
                    </a:lnTo>
                    <a:lnTo>
                      <a:pt x="40006" y="11404"/>
                    </a:lnTo>
                    <a:lnTo>
                      <a:pt x="39901" y="11467"/>
                    </a:lnTo>
                    <a:lnTo>
                      <a:pt x="39839" y="11550"/>
                    </a:lnTo>
                    <a:lnTo>
                      <a:pt x="39734" y="11508"/>
                    </a:lnTo>
                    <a:lnTo>
                      <a:pt x="39650" y="11488"/>
                    </a:lnTo>
                    <a:lnTo>
                      <a:pt x="39546" y="11508"/>
                    </a:lnTo>
                    <a:lnTo>
                      <a:pt x="39462" y="11613"/>
                    </a:lnTo>
                    <a:lnTo>
                      <a:pt x="39357" y="11718"/>
                    </a:lnTo>
                    <a:lnTo>
                      <a:pt x="39316" y="11697"/>
                    </a:lnTo>
                    <a:lnTo>
                      <a:pt x="39232" y="11676"/>
                    </a:lnTo>
                    <a:lnTo>
                      <a:pt x="39127" y="11697"/>
                    </a:lnTo>
                    <a:lnTo>
                      <a:pt x="39085" y="11697"/>
                    </a:lnTo>
                    <a:lnTo>
                      <a:pt x="39190" y="11592"/>
                    </a:lnTo>
                    <a:lnTo>
                      <a:pt x="39232" y="11571"/>
                    </a:lnTo>
                    <a:lnTo>
                      <a:pt x="39316" y="11613"/>
                    </a:lnTo>
                    <a:lnTo>
                      <a:pt x="39420" y="11571"/>
                    </a:lnTo>
                    <a:lnTo>
                      <a:pt x="39462" y="11467"/>
                    </a:lnTo>
                    <a:lnTo>
                      <a:pt x="39546" y="11404"/>
                    </a:lnTo>
                    <a:lnTo>
                      <a:pt x="39588" y="11404"/>
                    </a:lnTo>
                    <a:lnTo>
                      <a:pt x="39692" y="11362"/>
                    </a:lnTo>
                    <a:lnTo>
                      <a:pt x="39776" y="11299"/>
                    </a:lnTo>
                    <a:lnTo>
                      <a:pt x="39776" y="11174"/>
                    </a:lnTo>
                    <a:lnTo>
                      <a:pt x="39776" y="11132"/>
                    </a:lnTo>
                    <a:lnTo>
                      <a:pt x="39692" y="11132"/>
                    </a:lnTo>
                    <a:lnTo>
                      <a:pt x="39629" y="11153"/>
                    </a:lnTo>
                    <a:lnTo>
                      <a:pt x="39546" y="11132"/>
                    </a:lnTo>
                    <a:lnTo>
                      <a:pt x="39420" y="11132"/>
                    </a:lnTo>
                    <a:lnTo>
                      <a:pt x="39253" y="11278"/>
                    </a:lnTo>
                    <a:lnTo>
                      <a:pt x="39148" y="11383"/>
                    </a:lnTo>
                    <a:lnTo>
                      <a:pt x="38960" y="11404"/>
                    </a:lnTo>
                    <a:lnTo>
                      <a:pt x="39023" y="11362"/>
                    </a:lnTo>
                    <a:lnTo>
                      <a:pt x="39148" y="11341"/>
                    </a:lnTo>
                    <a:lnTo>
                      <a:pt x="39169" y="11257"/>
                    </a:lnTo>
                    <a:lnTo>
                      <a:pt x="39127" y="11236"/>
                    </a:lnTo>
                    <a:lnTo>
                      <a:pt x="39023" y="11236"/>
                    </a:lnTo>
                    <a:lnTo>
                      <a:pt x="39190" y="11153"/>
                    </a:lnTo>
                    <a:lnTo>
                      <a:pt x="39295" y="11153"/>
                    </a:lnTo>
                    <a:lnTo>
                      <a:pt x="39441" y="11048"/>
                    </a:lnTo>
                    <a:lnTo>
                      <a:pt x="39567" y="11048"/>
                    </a:lnTo>
                    <a:lnTo>
                      <a:pt x="39650" y="11027"/>
                    </a:lnTo>
                    <a:lnTo>
                      <a:pt x="39839" y="11027"/>
                    </a:lnTo>
                    <a:lnTo>
                      <a:pt x="39922" y="10944"/>
                    </a:lnTo>
                    <a:lnTo>
                      <a:pt x="39964" y="10881"/>
                    </a:lnTo>
                    <a:lnTo>
                      <a:pt x="39985" y="10839"/>
                    </a:lnTo>
                    <a:lnTo>
                      <a:pt x="40069" y="10818"/>
                    </a:lnTo>
                    <a:lnTo>
                      <a:pt x="40069" y="10923"/>
                    </a:lnTo>
                    <a:lnTo>
                      <a:pt x="40132" y="10944"/>
                    </a:lnTo>
                    <a:lnTo>
                      <a:pt x="40236" y="10839"/>
                    </a:lnTo>
                    <a:lnTo>
                      <a:pt x="40257" y="10734"/>
                    </a:lnTo>
                    <a:lnTo>
                      <a:pt x="40236" y="10672"/>
                    </a:lnTo>
                    <a:lnTo>
                      <a:pt x="40152" y="10630"/>
                    </a:lnTo>
                    <a:lnTo>
                      <a:pt x="40090" y="10525"/>
                    </a:lnTo>
                    <a:lnTo>
                      <a:pt x="39964" y="10400"/>
                    </a:lnTo>
                    <a:lnTo>
                      <a:pt x="39922" y="10295"/>
                    </a:lnTo>
                    <a:lnTo>
                      <a:pt x="39839" y="10295"/>
                    </a:lnTo>
                    <a:lnTo>
                      <a:pt x="39755" y="10337"/>
                    </a:lnTo>
                    <a:lnTo>
                      <a:pt x="39713" y="10400"/>
                    </a:lnTo>
                    <a:lnTo>
                      <a:pt x="39629" y="10420"/>
                    </a:lnTo>
                    <a:lnTo>
                      <a:pt x="39525" y="10504"/>
                    </a:lnTo>
                    <a:lnTo>
                      <a:pt x="39420" y="10504"/>
                    </a:lnTo>
                    <a:lnTo>
                      <a:pt x="39336" y="10567"/>
                    </a:lnTo>
                    <a:lnTo>
                      <a:pt x="39316" y="10546"/>
                    </a:lnTo>
                    <a:lnTo>
                      <a:pt x="39336" y="10441"/>
                    </a:lnTo>
                    <a:lnTo>
                      <a:pt x="39420" y="10400"/>
                    </a:lnTo>
                    <a:lnTo>
                      <a:pt x="39525" y="10400"/>
                    </a:lnTo>
                    <a:lnTo>
                      <a:pt x="39650" y="10253"/>
                    </a:lnTo>
                    <a:lnTo>
                      <a:pt x="39713" y="10190"/>
                    </a:lnTo>
                    <a:lnTo>
                      <a:pt x="39713" y="10127"/>
                    </a:lnTo>
                    <a:lnTo>
                      <a:pt x="39629" y="10148"/>
                    </a:lnTo>
                    <a:lnTo>
                      <a:pt x="39462" y="10211"/>
                    </a:lnTo>
                    <a:lnTo>
                      <a:pt x="39316" y="10316"/>
                    </a:lnTo>
                    <a:lnTo>
                      <a:pt x="39253" y="10316"/>
                    </a:lnTo>
                    <a:lnTo>
                      <a:pt x="39211" y="10358"/>
                    </a:lnTo>
                    <a:lnTo>
                      <a:pt x="39169" y="10441"/>
                    </a:lnTo>
                    <a:lnTo>
                      <a:pt x="39106" y="10630"/>
                    </a:lnTo>
                    <a:lnTo>
                      <a:pt x="38918" y="10839"/>
                    </a:lnTo>
                    <a:lnTo>
                      <a:pt x="38730" y="10944"/>
                    </a:lnTo>
                    <a:lnTo>
                      <a:pt x="38730" y="10923"/>
                    </a:lnTo>
                    <a:lnTo>
                      <a:pt x="38813" y="10839"/>
                    </a:lnTo>
                    <a:lnTo>
                      <a:pt x="38939" y="10713"/>
                    </a:lnTo>
                    <a:lnTo>
                      <a:pt x="39023" y="10567"/>
                    </a:lnTo>
                    <a:lnTo>
                      <a:pt x="39064" y="10525"/>
                    </a:lnTo>
                    <a:lnTo>
                      <a:pt x="39064" y="10462"/>
                    </a:lnTo>
                    <a:lnTo>
                      <a:pt x="39023" y="10462"/>
                    </a:lnTo>
                    <a:lnTo>
                      <a:pt x="39002" y="10441"/>
                    </a:lnTo>
                    <a:lnTo>
                      <a:pt x="38939" y="10462"/>
                    </a:lnTo>
                    <a:lnTo>
                      <a:pt x="38855" y="10609"/>
                    </a:lnTo>
                    <a:lnTo>
                      <a:pt x="38730" y="10734"/>
                    </a:lnTo>
                    <a:lnTo>
                      <a:pt x="38688" y="10734"/>
                    </a:lnTo>
                    <a:lnTo>
                      <a:pt x="38709" y="10651"/>
                    </a:lnTo>
                    <a:lnTo>
                      <a:pt x="38730" y="10567"/>
                    </a:lnTo>
                    <a:lnTo>
                      <a:pt x="38834" y="10462"/>
                    </a:lnTo>
                    <a:lnTo>
                      <a:pt x="38876" y="10400"/>
                    </a:lnTo>
                    <a:lnTo>
                      <a:pt x="38918" y="10316"/>
                    </a:lnTo>
                    <a:lnTo>
                      <a:pt x="39002" y="10316"/>
                    </a:lnTo>
                    <a:lnTo>
                      <a:pt x="39044" y="10337"/>
                    </a:lnTo>
                    <a:lnTo>
                      <a:pt x="39148" y="10337"/>
                    </a:lnTo>
                    <a:lnTo>
                      <a:pt x="39190" y="10295"/>
                    </a:lnTo>
                    <a:lnTo>
                      <a:pt x="39253" y="10211"/>
                    </a:lnTo>
                    <a:lnTo>
                      <a:pt x="39357" y="10148"/>
                    </a:lnTo>
                    <a:lnTo>
                      <a:pt x="39462" y="10023"/>
                    </a:lnTo>
                    <a:lnTo>
                      <a:pt x="39525" y="9918"/>
                    </a:lnTo>
                    <a:lnTo>
                      <a:pt x="39483" y="9814"/>
                    </a:lnTo>
                    <a:lnTo>
                      <a:pt x="39525" y="9730"/>
                    </a:lnTo>
                    <a:lnTo>
                      <a:pt x="39483" y="9709"/>
                    </a:lnTo>
                    <a:lnTo>
                      <a:pt x="39336" y="9793"/>
                    </a:lnTo>
                    <a:lnTo>
                      <a:pt x="39274" y="9876"/>
                    </a:lnTo>
                    <a:lnTo>
                      <a:pt x="39274" y="9981"/>
                    </a:lnTo>
                    <a:lnTo>
                      <a:pt x="39253" y="10107"/>
                    </a:lnTo>
                    <a:lnTo>
                      <a:pt x="39211" y="10127"/>
                    </a:lnTo>
                    <a:lnTo>
                      <a:pt x="39232" y="10086"/>
                    </a:lnTo>
                    <a:lnTo>
                      <a:pt x="39232" y="10023"/>
                    </a:lnTo>
                    <a:lnTo>
                      <a:pt x="39148" y="9981"/>
                    </a:lnTo>
                    <a:lnTo>
                      <a:pt x="39044" y="9981"/>
                    </a:lnTo>
                    <a:lnTo>
                      <a:pt x="38939" y="10044"/>
                    </a:lnTo>
                    <a:lnTo>
                      <a:pt x="38855" y="10023"/>
                    </a:lnTo>
                    <a:lnTo>
                      <a:pt x="38730" y="10044"/>
                    </a:lnTo>
                    <a:lnTo>
                      <a:pt x="38625" y="10107"/>
                    </a:lnTo>
                    <a:lnTo>
                      <a:pt x="38500" y="10107"/>
                    </a:lnTo>
                    <a:lnTo>
                      <a:pt x="38583" y="10044"/>
                    </a:lnTo>
                    <a:lnTo>
                      <a:pt x="38688" y="10002"/>
                    </a:lnTo>
                    <a:lnTo>
                      <a:pt x="38772" y="9897"/>
                    </a:lnTo>
                    <a:lnTo>
                      <a:pt x="38730" y="9814"/>
                    </a:lnTo>
                    <a:lnTo>
                      <a:pt x="38688" y="9814"/>
                    </a:lnTo>
                    <a:lnTo>
                      <a:pt x="38541" y="9835"/>
                    </a:lnTo>
                    <a:lnTo>
                      <a:pt x="38604" y="9772"/>
                    </a:lnTo>
                    <a:lnTo>
                      <a:pt x="38688" y="9772"/>
                    </a:lnTo>
                    <a:lnTo>
                      <a:pt x="38772" y="9709"/>
                    </a:lnTo>
                    <a:lnTo>
                      <a:pt x="38813" y="9604"/>
                    </a:lnTo>
                    <a:lnTo>
                      <a:pt x="38897" y="9583"/>
                    </a:lnTo>
                    <a:lnTo>
                      <a:pt x="38939" y="9521"/>
                    </a:lnTo>
                    <a:lnTo>
                      <a:pt x="39002" y="9521"/>
                    </a:lnTo>
                    <a:lnTo>
                      <a:pt x="39106" y="9604"/>
                    </a:lnTo>
                    <a:lnTo>
                      <a:pt x="39169" y="9667"/>
                    </a:lnTo>
                    <a:lnTo>
                      <a:pt x="39253" y="9667"/>
                    </a:lnTo>
                    <a:lnTo>
                      <a:pt x="39357" y="9521"/>
                    </a:lnTo>
                    <a:lnTo>
                      <a:pt x="39441" y="9458"/>
                    </a:lnTo>
                    <a:lnTo>
                      <a:pt x="39441" y="9395"/>
                    </a:lnTo>
                    <a:lnTo>
                      <a:pt x="39336" y="9270"/>
                    </a:lnTo>
                    <a:lnTo>
                      <a:pt x="39316" y="9165"/>
                    </a:lnTo>
                    <a:lnTo>
                      <a:pt x="39274" y="9060"/>
                    </a:lnTo>
                    <a:lnTo>
                      <a:pt x="39169" y="8956"/>
                    </a:lnTo>
                    <a:lnTo>
                      <a:pt x="39106" y="8893"/>
                    </a:lnTo>
                    <a:lnTo>
                      <a:pt x="39023" y="8726"/>
                    </a:lnTo>
                    <a:lnTo>
                      <a:pt x="38960" y="8747"/>
                    </a:lnTo>
                    <a:lnTo>
                      <a:pt x="38960" y="8830"/>
                    </a:lnTo>
                    <a:lnTo>
                      <a:pt x="38918" y="8893"/>
                    </a:lnTo>
                    <a:lnTo>
                      <a:pt x="38855" y="8935"/>
                    </a:lnTo>
                    <a:lnTo>
                      <a:pt x="38834" y="8977"/>
                    </a:lnTo>
                    <a:lnTo>
                      <a:pt x="38834" y="9060"/>
                    </a:lnTo>
                    <a:lnTo>
                      <a:pt x="38751" y="9102"/>
                    </a:lnTo>
                    <a:lnTo>
                      <a:pt x="38709" y="9186"/>
                    </a:lnTo>
                    <a:lnTo>
                      <a:pt x="38709" y="9291"/>
                    </a:lnTo>
                    <a:lnTo>
                      <a:pt x="38583" y="9353"/>
                    </a:lnTo>
                    <a:lnTo>
                      <a:pt x="38500" y="9458"/>
                    </a:lnTo>
                    <a:lnTo>
                      <a:pt x="38479" y="9542"/>
                    </a:lnTo>
                    <a:lnTo>
                      <a:pt x="38416" y="9604"/>
                    </a:lnTo>
                    <a:lnTo>
                      <a:pt x="38374" y="9583"/>
                    </a:lnTo>
                    <a:lnTo>
                      <a:pt x="38395" y="9458"/>
                    </a:lnTo>
                    <a:lnTo>
                      <a:pt x="38500" y="9291"/>
                    </a:lnTo>
                    <a:lnTo>
                      <a:pt x="38583" y="9270"/>
                    </a:lnTo>
                    <a:lnTo>
                      <a:pt x="38583" y="9228"/>
                    </a:lnTo>
                    <a:lnTo>
                      <a:pt x="38541" y="9186"/>
                    </a:lnTo>
                    <a:lnTo>
                      <a:pt x="38500" y="9123"/>
                    </a:lnTo>
                    <a:lnTo>
                      <a:pt x="38186" y="9332"/>
                    </a:lnTo>
                    <a:lnTo>
                      <a:pt x="38060" y="9500"/>
                    </a:lnTo>
                    <a:lnTo>
                      <a:pt x="37997" y="9583"/>
                    </a:lnTo>
                    <a:lnTo>
                      <a:pt x="37893" y="9604"/>
                    </a:lnTo>
                    <a:lnTo>
                      <a:pt x="37893" y="9583"/>
                    </a:lnTo>
                    <a:lnTo>
                      <a:pt x="37956" y="9542"/>
                    </a:lnTo>
                    <a:lnTo>
                      <a:pt x="38039" y="9374"/>
                    </a:lnTo>
                    <a:lnTo>
                      <a:pt x="38060" y="9291"/>
                    </a:lnTo>
                    <a:lnTo>
                      <a:pt x="38186" y="9165"/>
                    </a:lnTo>
                    <a:lnTo>
                      <a:pt x="38248" y="9081"/>
                    </a:lnTo>
                    <a:lnTo>
                      <a:pt x="38207" y="9019"/>
                    </a:lnTo>
                    <a:lnTo>
                      <a:pt x="38207" y="8935"/>
                    </a:lnTo>
                    <a:lnTo>
                      <a:pt x="38081" y="9019"/>
                    </a:lnTo>
                    <a:lnTo>
                      <a:pt x="37935" y="9144"/>
                    </a:lnTo>
                    <a:lnTo>
                      <a:pt x="37893" y="9249"/>
                    </a:lnTo>
                    <a:lnTo>
                      <a:pt x="37809" y="9353"/>
                    </a:lnTo>
                    <a:lnTo>
                      <a:pt x="37788" y="9332"/>
                    </a:lnTo>
                    <a:lnTo>
                      <a:pt x="37809" y="9228"/>
                    </a:lnTo>
                    <a:lnTo>
                      <a:pt x="37872" y="9123"/>
                    </a:lnTo>
                    <a:lnTo>
                      <a:pt x="37809" y="9081"/>
                    </a:lnTo>
                    <a:lnTo>
                      <a:pt x="37809" y="9039"/>
                    </a:lnTo>
                    <a:lnTo>
                      <a:pt x="37893" y="9019"/>
                    </a:lnTo>
                    <a:lnTo>
                      <a:pt x="38081" y="8872"/>
                    </a:lnTo>
                    <a:lnTo>
                      <a:pt x="38269" y="8726"/>
                    </a:lnTo>
                    <a:lnTo>
                      <a:pt x="38269" y="8642"/>
                    </a:lnTo>
                    <a:lnTo>
                      <a:pt x="38186" y="8642"/>
                    </a:lnTo>
                    <a:lnTo>
                      <a:pt x="38060" y="8726"/>
                    </a:lnTo>
                    <a:lnTo>
                      <a:pt x="38018" y="8809"/>
                    </a:lnTo>
                    <a:lnTo>
                      <a:pt x="37914" y="8851"/>
                    </a:lnTo>
                    <a:lnTo>
                      <a:pt x="37914" y="8809"/>
                    </a:lnTo>
                    <a:lnTo>
                      <a:pt x="37893" y="8747"/>
                    </a:lnTo>
                    <a:lnTo>
                      <a:pt x="37704" y="8872"/>
                    </a:lnTo>
                    <a:lnTo>
                      <a:pt x="37642" y="8977"/>
                    </a:lnTo>
                    <a:lnTo>
                      <a:pt x="37558" y="9165"/>
                    </a:lnTo>
                    <a:lnTo>
                      <a:pt x="37432" y="9249"/>
                    </a:lnTo>
                    <a:lnTo>
                      <a:pt x="37349" y="9249"/>
                    </a:lnTo>
                    <a:lnTo>
                      <a:pt x="37432" y="9165"/>
                    </a:lnTo>
                    <a:lnTo>
                      <a:pt x="37558" y="9060"/>
                    </a:lnTo>
                    <a:lnTo>
                      <a:pt x="37600" y="8956"/>
                    </a:lnTo>
                    <a:lnTo>
                      <a:pt x="37579" y="8935"/>
                    </a:lnTo>
                    <a:lnTo>
                      <a:pt x="37495" y="8935"/>
                    </a:lnTo>
                    <a:lnTo>
                      <a:pt x="37600" y="8851"/>
                    </a:lnTo>
                    <a:lnTo>
                      <a:pt x="37746" y="8830"/>
                    </a:lnTo>
                    <a:lnTo>
                      <a:pt x="37788" y="8767"/>
                    </a:lnTo>
                    <a:lnTo>
                      <a:pt x="37767" y="8726"/>
                    </a:lnTo>
                    <a:lnTo>
                      <a:pt x="37683" y="8747"/>
                    </a:lnTo>
                    <a:lnTo>
                      <a:pt x="37558" y="8767"/>
                    </a:lnTo>
                    <a:lnTo>
                      <a:pt x="37474" y="8851"/>
                    </a:lnTo>
                    <a:lnTo>
                      <a:pt x="37391" y="8830"/>
                    </a:lnTo>
                    <a:lnTo>
                      <a:pt x="37600" y="8726"/>
                    </a:lnTo>
                    <a:lnTo>
                      <a:pt x="37579" y="8663"/>
                    </a:lnTo>
                    <a:lnTo>
                      <a:pt x="37474" y="8663"/>
                    </a:lnTo>
                    <a:lnTo>
                      <a:pt x="37537" y="8600"/>
                    </a:lnTo>
                    <a:lnTo>
                      <a:pt x="37642" y="8600"/>
                    </a:lnTo>
                    <a:lnTo>
                      <a:pt x="37683" y="8642"/>
                    </a:lnTo>
                    <a:lnTo>
                      <a:pt x="37809" y="8642"/>
                    </a:lnTo>
                    <a:lnTo>
                      <a:pt x="37872" y="8537"/>
                    </a:lnTo>
                    <a:lnTo>
                      <a:pt x="37997" y="8495"/>
                    </a:lnTo>
                    <a:lnTo>
                      <a:pt x="37997" y="8412"/>
                    </a:lnTo>
                    <a:lnTo>
                      <a:pt x="38060" y="8328"/>
                    </a:lnTo>
                    <a:lnTo>
                      <a:pt x="38060" y="8286"/>
                    </a:lnTo>
                    <a:lnTo>
                      <a:pt x="37976" y="8286"/>
                    </a:lnTo>
                    <a:lnTo>
                      <a:pt x="37914" y="8223"/>
                    </a:lnTo>
                    <a:lnTo>
                      <a:pt x="37809" y="8203"/>
                    </a:lnTo>
                    <a:lnTo>
                      <a:pt x="37683" y="8307"/>
                    </a:lnTo>
                    <a:lnTo>
                      <a:pt x="37537" y="8349"/>
                    </a:lnTo>
                    <a:lnTo>
                      <a:pt x="37453" y="8495"/>
                    </a:lnTo>
                    <a:lnTo>
                      <a:pt x="37244" y="8705"/>
                    </a:lnTo>
                    <a:lnTo>
                      <a:pt x="37181" y="8705"/>
                    </a:lnTo>
                    <a:lnTo>
                      <a:pt x="37223" y="8621"/>
                    </a:lnTo>
                    <a:lnTo>
                      <a:pt x="37265" y="8621"/>
                    </a:lnTo>
                    <a:lnTo>
                      <a:pt x="37370" y="8537"/>
                    </a:lnTo>
                    <a:lnTo>
                      <a:pt x="37495" y="8349"/>
                    </a:lnTo>
                    <a:lnTo>
                      <a:pt x="37642" y="8286"/>
                    </a:lnTo>
                    <a:lnTo>
                      <a:pt x="37704" y="8203"/>
                    </a:lnTo>
                    <a:lnTo>
                      <a:pt x="37683" y="8140"/>
                    </a:lnTo>
                    <a:lnTo>
                      <a:pt x="37495" y="8140"/>
                    </a:lnTo>
                    <a:lnTo>
                      <a:pt x="37328" y="8286"/>
                    </a:lnTo>
                    <a:lnTo>
                      <a:pt x="37495" y="8119"/>
                    </a:lnTo>
                    <a:lnTo>
                      <a:pt x="37663" y="8077"/>
                    </a:lnTo>
                    <a:lnTo>
                      <a:pt x="37767" y="8098"/>
                    </a:lnTo>
                    <a:lnTo>
                      <a:pt x="37851" y="8119"/>
                    </a:lnTo>
                    <a:lnTo>
                      <a:pt x="37956" y="8014"/>
                    </a:lnTo>
                    <a:lnTo>
                      <a:pt x="37956" y="7931"/>
                    </a:lnTo>
                    <a:lnTo>
                      <a:pt x="37914" y="7889"/>
                    </a:lnTo>
                    <a:lnTo>
                      <a:pt x="37914" y="7805"/>
                    </a:lnTo>
                    <a:lnTo>
                      <a:pt x="37914" y="7721"/>
                    </a:lnTo>
                    <a:lnTo>
                      <a:pt x="37788" y="7679"/>
                    </a:lnTo>
                    <a:lnTo>
                      <a:pt x="37746" y="7596"/>
                    </a:lnTo>
                    <a:lnTo>
                      <a:pt x="37642" y="7575"/>
                    </a:lnTo>
                    <a:lnTo>
                      <a:pt x="37600" y="7617"/>
                    </a:lnTo>
                    <a:lnTo>
                      <a:pt x="37558" y="7617"/>
                    </a:lnTo>
                    <a:lnTo>
                      <a:pt x="37558" y="7533"/>
                    </a:lnTo>
                    <a:lnTo>
                      <a:pt x="37474" y="7512"/>
                    </a:lnTo>
                    <a:lnTo>
                      <a:pt x="37391" y="7428"/>
                    </a:lnTo>
                    <a:lnTo>
                      <a:pt x="37391" y="7366"/>
                    </a:lnTo>
                    <a:lnTo>
                      <a:pt x="37244" y="7282"/>
                    </a:lnTo>
                    <a:lnTo>
                      <a:pt x="37181" y="7282"/>
                    </a:lnTo>
                    <a:lnTo>
                      <a:pt x="37139" y="7219"/>
                    </a:lnTo>
                    <a:lnTo>
                      <a:pt x="37014" y="7219"/>
                    </a:lnTo>
                    <a:lnTo>
                      <a:pt x="36826" y="7261"/>
                    </a:lnTo>
                    <a:lnTo>
                      <a:pt x="36721" y="7366"/>
                    </a:lnTo>
                    <a:lnTo>
                      <a:pt x="36595" y="7366"/>
                    </a:lnTo>
                    <a:lnTo>
                      <a:pt x="36491" y="7533"/>
                    </a:lnTo>
                    <a:lnTo>
                      <a:pt x="36512" y="7596"/>
                    </a:lnTo>
                    <a:lnTo>
                      <a:pt x="36595" y="7617"/>
                    </a:lnTo>
                    <a:lnTo>
                      <a:pt x="36805" y="7805"/>
                    </a:lnTo>
                    <a:lnTo>
                      <a:pt x="36826" y="7847"/>
                    </a:lnTo>
                    <a:lnTo>
                      <a:pt x="36909" y="7889"/>
                    </a:lnTo>
                    <a:lnTo>
                      <a:pt x="36951" y="7993"/>
                    </a:lnTo>
                    <a:lnTo>
                      <a:pt x="36909" y="7993"/>
                    </a:lnTo>
                    <a:lnTo>
                      <a:pt x="36826" y="7931"/>
                    </a:lnTo>
                    <a:lnTo>
                      <a:pt x="36700" y="7931"/>
                    </a:lnTo>
                    <a:lnTo>
                      <a:pt x="36700" y="7847"/>
                    </a:lnTo>
                    <a:lnTo>
                      <a:pt x="36512" y="7679"/>
                    </a:lnTo>
                    <a:lnTo>
                      <a:pt x="36428" y="7700"/>
                    </a:lnTo>
                    <a:lnTo>
                      <a:pt x="36386" y="7721"/>
                    </a:lnTo>
                    <a:lnTo>
                      <a:pt x="36386" y="7721"/>
                    </a:lnTo>
                    <a:lnTo>
                      <a:pt x="36407" y="7638"/>
                    </a:lnTo>
                    <a:lnTo>
                      <a:pt x="36428" y="7533"/>
                    </a:lnTo>
                    <a:lnTo>
                      <a:pt x="36303" y="7491"/>
                    </a:lnTo>
                    <a:lnTo>
                      <a:pt x="36240" y="7512"/>
                    </a:lnTo>
                    <a:lnTo>
                      <a:pt x="36240" y="7721"/>
                    </a:lnTo>
                    <a:lnTo>
                      <a:pt x="36303" y="7826"/>
                    </a:lnTo>
                    <a:lnTo>
                      <a:pt x="36323" y="7951"/>
                    </a:lnTo>
                    <a:lnTo>
                      <a:pt x="36303" y="8035"/>
                    </a:lnTo>
                    <a:lnTo>
                      <a:pt x="36303" y="7931"/>
                    </a:lnTo>
                    <a:lnTo>
                      <a:pt x="36219" y="7784"/>
                    </a:lnTo>
                    <a:lnTo>
                      <a:pt x="36135" y="7889"/>
                    </a:lnTo>
                    <a:lnTo>
                      <a:pt x="36093" y="7993"/>
                    </a:lnTo>
                    <a:lnTo>
                      <a:pt x="36135" y="8056"/>
                    </a:lnTo>
                    <a:lnTo>
                      <a:pt x="36072" y="8119"/>
                    </a:lnTo>
                    <a:lnTo>
                      <a:pt x="35968" y="8056"/>
                    </a:lnTo>
                    <a:lnTo>
                      <a:pt x="35863" y="8035"/>
                    </a:lnTo>
                    <a:lnTo>
                      <a:pt x="35905" y="7951"/>
                    </a:lnTo>
                    <a:lnTo>
                      <a:pt x="36010" y="7889"/>
                    </a:lnTo>
                    <a:lnTo>
                      <a:pt x="36135" y="7700"/>
                    </a:lnTo>
                    <a:lnTo>
                      <a:pt x="36177" y="7596"/>
                    </a:lnTo>
                    <a:lnTo>
                      <a:pt x="36093" y="7512"/>
                    </a:lnTo>
                    <a:lnTo>
                      <a:pt x="36072" y="7407"/>
                    </a:lnTo>
                    <a:lnTo>
                      <a:pt x="35926" y="7533"/>
                    </a:lnTo>
                    <a:lnTo>
                      <a:pt x="35884" y="7596"/>
                    </a:lnTo>
                    <a:lnTo>
                      <a:pt x="35863" y="7533"/>
                    </a:lnTo>
                    <a:lnTo>
                      <a:pt x="35884" y="7407"/>
                    </a:lnTo>
                    <a:lnTo>
                      <a:pt x="35779" y="7387"/>
                    </a:lnTo>
                    <a:lnTo>
                      <a:pt x="35717" y="7407"/>
                    </a:lnTo>
                    <a:lnTo>
                      <a:pt x="35696" y="7491"/>
                    </a:lnTo>
                    <a:lnTo>
                      <a:pt x="35717" y="7617"/>
                    </a:lnTo>
                    <a:lnTo>
                      <a:pt x="35717" y="7742"/>
                    </a:lnTo>
                    <a:lnTo>
                      <a:pt x="35675" y="7700"/>
                    </a:lnTo>
                    <a:lnTo>
                      <a:pt x="35675" y="7533"/>
                    </a:lnTo>
                    <a:lnTo>
                      <a:pt x="35654" y="7512"/>
                    </a:lnTo>
                    <a:lnTo>
                      <a:pt x="35591" y="7617"/>
                    </a:lnTo>
                    <a:lnTo>
                      <a:pt x="35487" y="7638"/>
                    </a:lnTo>
                    <a:lnTo>
                      <a:pt x="35487" y="7721"/>
                    </a:lnTo>
                    <a:lnTo>
                      <a:pt x="35403" y="7826"/>
                    </a:lnTo>
                    <a:lnTo>
                      <a:pt x="35340" y="7847"/>
                    </a:lnTo>
                    <a:lnTo>
                      <a:pt x="35277" y="7931"/>
                    </a:lnTo>
                    <a:lnTo>
                      <a:pt x="35173" y="7931"/>
                    </a:lnTo>
                    <a:lnTo>
                      <a:pt x="35256" y="7847"/>
                    </a:lnTo>
                    <a:lnTo>
                      <a:pt x="35256" y="7784"/>
                    </a:lnTo>
                    <a:lnTo>
                      <a:pt x="35194" y="7721"/>
                    </a:lnTo>
                    <a:lnTo>
                      <a:pt x="35152" y="7721"/>
                    </a:lnTo>
                    <a:lnTo>
                      <a:pt x="35152" y="7679"/>
                    </a:lnTo>
                    <a:lnTo>
                      <a:pt x="35235" y="7679"/>
                    </a:lnTo>
                    <a:lnTo>
                      <a:pt x="35277" y="7700"/>
                    </a:lnTo>
                    <a:lnTo>
                      <a:pt x="35298" y="7638"/>
                    </a:lnTo>
                    <a:lnTo>
                      <a:pt x="35298" y="7596"/>
                    </a:lnTo>
                    <a:lnTo>
                      <a:pt x="35298" y="7554"/>
                    </a:lnTo>
                    <a:lnTo>
                      <a:pt x="35403" y="7491"/>
                    </a:lnTo>
                    <a:lnTo>
                      <a:pt x="35570" y="7345"/>
                    </a:lnTo>
                    <a:lnTo>
                      <a:pt x="35591" y="7261"/>
                    </a:lnTo>
                    <a:lnTo>
                      <a:pt x="35675" y="7177"/>
                    </a:lnTo>
                    <a:lnTo>
                      <a:pt x="35570" y="7177"/>
                    </a:lnTo>
                    <a:lnTo>
                      <a:pt x="35403" y="7282"/>
                    </a:lnTo>
                    <a:lnTo>
                      <a:pt x="35277" y="7407"/>
                    </a:lnTo>
                    <a:lnTo>
                      <a:pt x="35194" y="7407"/>
                    </a:lnTo>
                    <a:lnTo>
                      <a:pt x="35277" y="7324"/>
                    </a:lnTo>
                    <a:lnTo>
                      <a:pt x="35361" y="7219"/>
                    </a:lnTo>
                    <a:lnTo>
                      <a:pt x="35445" y="7156"/>
                    </a:lnTo>
                    <a:lnTo>
                      <a:pt x="35549" y="7114"/>
                    </a:lnTo>
                    <a:lnTo>
                      <a:pt x="35612" y="7052"/>
                    </a:lnTo>
                    <a:lnTo>
                      <a:pt x="35696" y="7052"/>
                    </a:lnTo>
                    <a:lnTo>
                      <a:pt x="35779" y="6905"/>
                    </a:lnTo>
                    <a:lnTo>
                      <a:pt x="35779" y="6863"/>
                    </a:lnTo>
                    <a:lnTo>
                      <a:pt x="35696" y="6780"/>
                    </a:lnTo>
                    <a:lnTo>
                      <a:pt x="35696" y="6675"/>
                    </a:lnTo>
                    <a:lnTo>
                      <a:pt x="35717" y="6591"/>
                    </a:lnTo>
                    <a:lnTo>
                      <a:pt x="35884" y="6424"/>
                    </a:lnTo>
                    <a:lnTo>
                      <a:pt x="35905" y="6361"/>
                    </a:lnTo>
                    <a:lnTo>
                      <a:pt x="35863" y="6257"/>
                    </a:lnTo>
                    <a:lnTo>
                      <a:pt x="35842" y="6194"/>
                    </a:lnTo>
                    <a:lnTo>
                      <a:pt x="35800" y="6131"/>
                    </a:lnTo>
                    <a:lnTo>
                      <a:pt x="35884" y="6006"/>
                    </a:lnTo>
                    <a:lnTo>
                      <a:pt x="35968" y="5922"/>
                    </a:lnTo>
                    <a:lnTo>
                      <a:pt x="35989" y="5838"/>
                    </a:lnTo>
                    <a:lnTo>
                      <a:pt x="36010" y="5587"/>
                    </a:lnTo>
                    <a:lnTo>
                      <a:pt x="36051" y="5524"/>
                    </a:lnTo>
                    <a:lnTo>
                      <a:pt x="36010" y="5462"/>
                    </a:lnTo>
                    <a:lnTo>
                      <a:pt x="35842" y="5399"/>
                    </a:lnTo>
                    <a:lnTo>
                      <a:pt x="35654" y="5399"/>
                    </a:lnTo>
                    <a:lnTo>
                      <a:pt x="35487" y="5357"/>
                    </a:lnTo>
                    <a:lnTo>
                      <a:pt x="35361" y="5420"/>
                    </a:lnTo>
                    <a:lnTo>
                      <a:pt x="35235" y="5420"/>
                    </a:lnTo>
                    <a:lnTo>
                      <a:pt x="35068" y="5503"/>
                    </a:lnTo>
                    <a:lnTo>
                      <a:pt x="34796" y="5587"/>
                    </a:lnTo>
                    <a:lnTo>
                      <a:pt x="34754" y="5671"/>
                    </a:lnTo>
                    <a:lnTo>
                      <a:pt x="34859" y="5796"/>
                    </a:lnTo>
                    <a:lnTo>
                      <a:pt x="34859" y="5880"/>
                    </a:lnTo>
                    <a:lnTo>
                      <a:pt x="34817" y="5922"/>
                    </a:lnTo>
                    <a:lnTo>
                      <a:pt x="34754" y="5775"/>
                    </a:lnTo>
                    <a:lnTo>
                      <a:pt x="34712" y="5713"/>
                    </a:lnTo>
                    <a:lnTo>
                      <a:pt x="34650" y="5587"/>
                    </a:lnTo>
                    <a:lnTo>
                      <a:pt x="34524" y="5587"/>
                    </a:lnTo>
                    <a:lnTo>
                      <a:pt x="34440" y="5671"/>
                    </a:lnTo>
                    <a:lnTo>
                      <a:pt x="34440" y="5734"/>
                    </a:lnTo>
                    <a:lnTo>
                      <a:pt x="34398" y="5796"/>
                    </a:lnTo>
                    <a:lnTo>
                      <a:pt x="34378" y="5713"/>
                    </a:lnTo>
                    <a:lnTo>
                      <a:pt x="34398" y="5608"/>
                    </a:lnTo>
                    <a:lnTo>
                      <a:pt x="34336" y="5587"/>
                    </a:lnTo>
                    <a:lnTo>
                      <a:pt x="34189" y="5608"/>
                    </a:lnTo>
                    <a:lnTo>
                      <a:pt x="34126" y="5713"/>
                    </a:lnTo>
                    <a:lnTo>
                      <a:pt x="34126" y="5796"/>
                    </a:lnTo>
                    <a:lnTo>
                      <a:pt x="34273" y="5901"/>
                    </a:lnTo>
                    <a:lnTo>
                      <a:pt x="34378" y="6047"/>
                    </a:lnTo>
                    <a:lnTo>
                      <a:pt x="34503" y="6131"/>
                    </a:lnTo>
                    <a:lnTo>
                      <a:pt x="34440" y="6131"/>
                    </a:lnTo>
                    <a:lnTo>
                      <a:pt x="34294" y="6047"/>
                    </a:lnTo>
                    <a:lnTo>
                      <a:pt x="34106" y="5880"/>
                    </a:lnTo>
                    <a:lnTo>
                      <a:pt x="34064" y="5880"/>
                    </a:lnTo>
                    <a:lnTo>
                      <a:pt x="34022" y="5922"/>
                    </a:lnTo>
                    <a:lnTo>
                      <a:pt x="33854" y="5922"/>
                    </a:lnTo>
                    <a:lnTo>
                      <a:pt x="33813" y="5943"/>
                    </a:lnTo>
                    <a:lnTo>
                      <a:pt x="33875" y="6006"/>
                    </a:lnTo>
                    <a:lnTo>
                      <a:pt x="34001" y="6006"/>
                    </a:lnTo>
                    <a:lnTo>
                      <a:pt x="34022" y="6047"/>
                    </a:lnTo>
                    <a:lnTo>
                      <a:pt x="34064" y="6152"/>
                    </a:lnTo>
                    <a:lnTo>
                      <a:pt x="34210" y="6257"/>
                    </a:lnTo>
                    <a:lnTo>
                      <a:pt x="34231" y="6340"/>
                    </a:lnTo>
                    <a:lnTo>
                      <a:pt x="34315" y="6424"/>
                    </a:lnTo>
                    <a:lnTo>
                      <a:pt x="34210" y="6424"/>
                    </a:lnTo>
                    <a:lnTo>
                      <a:pt x="34126" y="6319"/>
                    </a:lnTo>
                    <a:lnTo>
                      <a:pt x="33980" y="6236"/>
                    </a:lnTo>
                    <a:lnTo>
                      <a:pt x="33980" y="6152"/>
                    </a:lnTo>
                    <a:lnTo>
                      <a:pt x="33875" y="6047"/>
                    </a:lnTo>
                    <a:lnTo>
                      <a:pt x="33750" y="6047"/>
                    </a:lnTo>
                    <a:lnTo>
                      <a:pt x="33666" y="6131"/>
                    </a:lnTo>
                    <a:lnTo>
                      <a:pt x="33666" y="6215"/>
                    </a:lnTo>
                    <a:lnTo>
                      <a:pt x="33582" y="6361"/>
                    </a:lnTo>
                    <a:lnTo>
                      <a:pt x="33541" y="6529"/>
                    </a:lnTo>
                    <a:lnTo>
                      <a:pt x="33603" y="6633"/>
                    </a:lnTo>
                    <a:lnTo>
                      <a:pt x="33478" y="6675"/>
                    </a:lnTo>
                    <a:lnTo>
                      <a:pt x="33478" y="6759"/>
                    </a:lnTo>
                    <a:lnTo>
                      <a:pt x="33541" y="6822"/>
                    </a:lnTo>
                    <a:lnTo>
                      <a:pt x="33562" y="6926"/>
                    </a:lnTo>
                    <a:lnTo>
                      <a:pt x="33645" y="6926"/>
                    </a:lnTo>
                    <a:lnTo>
                      <a:pt x="33813" y="6780"/>
                    </a:lnTo>
                    <a:lnTo>
                      <a:pt x="33896" y="6780"/>
                    </a:lnTo>
                    <a:lnTo>
                      <a:pt x="33917" y="6842"/>
                    </a:lnTo>
                    <a:lnTo>
                      <a:pt x="33813" y="6863"/>
                    </a:lnTo>
                    <a:lnTo>
                      <a:pt x="33771" y="6884"/>
                    </a:lnTo>
                    <a:lnTo>
                      <a:pt x="33771" y="6947"/>
                    </a:lnTo>
                    <a:lnTo>
                      <a:pt x="33687" y="6947"/>
                    </a:lnTo>
                    <a:lnTo>
                      <a:pt x="33603" y="7052"/>
                    </a:lnTo>
                    <a:lnTo>
                      <a:pt x="33603" y="7156"/>
                    </a:lnTo>
                    <a:lnTo>
                      <a:pt x="33541" y="7240"/>
                    </a:lnTo>
                    <a:lnTo>
                      <a:pt x="33478" y="7177"/>
                    </a:lnTo>
                    <a:lnTo>
                      <a:pt x="33499" y="7094"/>
                    </a:lnTo>
                    <a:lnTo>
                      <a:pt x="33436" y="6947"/>
                    </a:lnTo>
                    <a:lnTo>
                      <a:pt x="33352" y="6926"/>
                    </a:lnTo>
                    <a:lnTo>
                      <a:pt x="33290" y="7031"/>
                    </a:lnTo>
                    <a:lnTo>
                      <a:pt x="33331" y="7094"/>
                    </a:lnTo>
                    <a:lnTo>
                      <a:pt x="33269" y="7177"/>
                    </a:lnTo>
                    <a:lnTo>
                      <a:pt x="33164" y="7198"/>
                    </a:lnTo>
                    <a:lnTo>
                      <a:pt x="33122" y="7261"/>
                    </a:lnTo>
                    <a:lnTo>
                      <a:pt x="33080" y="7177"/>
                    </a:lnTo>
                    <a:lnTo>
                      <a:pt x="33038" y="7198"/>
                    </a:lnTo>
                    <a:lnTo>
                      <a:pt x="33059" y="7303"/>
                    </a:lnTo>
                    <a:lnTo>
                      <a:pt x="33122" y="7407"/>
                    </a:lnTo>
                    <a:lnTo>
                      <a:pt x="33122" y="7554"/>
                    </a:lnTo>
                    <a:lnTo>
                      <a:pt x="33143" y="7575"/>
                    </a:lnTo>
                    <a:lnTo>
                      <a:pt x="33143" y="7700"/>
                    </a:lnTo>
                    <a:lnTo>
                      <a:pt x="33227" y="7721"/>
                    </a:lnTo>
                    <a:lnTo>
                      <a:pt x="33290" y="7784"/>
                    </a:lnTo>
                    <a:lnTo>
                      <a:pt x="33269" y="7868"/>
                    </a:lnTo>
                    <a:lnTo>
                      <a:pt x="33290" y="7931"/>
                    </a:lnTo>
                    <a:lnTo>
                      <a:pt x="33290" y="8035"/>
                    </a:lnTo>
                    <a:lnTo>
                      <a:pt x="33185" y="8119"/>
                    </a:lnTo>
                    <a:lnTo>
                      <a:pt x="33143" y="8203"/>
                    </a:lnTo>
                    <a:lnTo>
                      <a:pt x="33122" y="8412"/>
                    </a:lnTo>
                    <a:lnTo>
                      <a:pt x="33059" y="8454"/>
                    </a:lnTo>
                    <a:lnTo>
                      <a:pt x="32934" y="8663"/>
                    </a:lnTo>
                    <a:lnTo>
                      <a:pt x="32934" y="8747"/>
                    </a:lnTo>
                    <a:lnTo>
                      <a:pt x="32808" y="8872"/>
                    </a:lnTo>
                    <a:lnTo>
                      <a:pt x="32829" y="8830"/>
                    </a:lnTo>
                    <a:lnTo>
                      <a:pt x="32829" y="8726"/>
                    </a:lnTo>
                    <a:lnTo>
                      <a:pt x="32871" y="8558"/>
                    </a:lnTo>
                    <a:lnTo>
                      <a:pt x="32955" y="8495"/>
                    </a:lnTo>
                    <a:lnTo>
                      <a:pt x="32934" y="8433"/>
                    </a:lnTo>
                    <a:lnTo>
                      <a:pt x="32913" y="8454"/>
                    </a:lnTo>
                    <a:lnTo>
                      <a:pt x="32829" y="8454"/>
                    </a:lnTo>
                    <a:lnTo>
                      <a:pt x="32746" y="8391"/>
                    </a:lnTo>
                    <a:lnTo>
                      <a:pt x="32704" y="8349"/>
                    </a:lnTo>
                    <a:lnTo>
                      <a:pt x="32746" y="8328"/>
                    </a:lnTo>
                    <a:lnTo>
                      <a:pt x="32829" y="8307"/>
                    </a:lnTo>
                    <a:lnTo>
                      <a:pt x="32913" y="8307"/>
                    </a:lnTo>
                    <a:lnTo>
                      <a:pt x="32913" y="8244"/>
                    </a:lnTo>
                    <a:lnTo>
                      <a:pt x="32955" y="8244"/>
                    </a:lnTo>
                    <a:lnTo>
                      <a:pt x="32976" y="8349"/>
                    </a:lnTo>
                    <a:lnTo>
                      <a:pt x="33038" y="8244"/>
                    </a:lnTo>
                    <a:lnTo>
                      <a:pt x="33038" y="8140"/>
                    </a:lnTo>
                    <a:lnTo>
                      <a:pt x="32934" y="8098"/>
                    </a:lnTo>
                    <a:lnTo>
                      <a:pt x="32913" y="8035"/>
                    </a:lnTo>
                    <a:lnTo>
                      <a:pt x="32808" y="7910"/>
                    </a:lnTo>
                    <a:lnTo>
                      <a:pt x="32808" y="7763"/>
                    </a:lnTo>
                    <a:lnTo>
                      <a:pt x="32746" y="7679"/>
                    </a:lnTo>
                    <a:lnTo>
                      <a:pt x="32725" y="7512"/>
                    </a:lnTo>
                    <a:lnTo>
                      <a:pt x="32704" y="7491"/>
                    </a:lnTo>
                    <a:lnTo>
                      <a:pt x="32704" y="7407"/>
                    </a:lnTo>
                    <a:lnTo>
                      <a:pt x="32746" y="7366"/>
                    </a:lnTo>
                    <a:lnTo>
                      <a:pt x="32829" y="7198"/>
                    </a:lnTo>
                    <a:lnTo>
                      <a:pt x="32829" y="7094"/>
                    </a:lnTo>
                    <a:lnTo>
                      <a:pt x="32934" y="6989"/>
                    </a:lnTo>
                    <a:lnTo>
                      <a:pt x="33018" y="6884"/>
                    </a:lnTo>
                    <a:lnTo>
                      <a:pt x="33122" y="6842"/>
                    </a:lnTo>
                    <a:lnTo>
                      <a:pt x="33122" y="6738"/>
                    </a:lnTo>
                    <a:lnTo>
                      <a:pt x="33059" y="6654"/>
                    </a:lnTo>
                    <a:lnTo>
                      <a:pt x="33018" y="6550"/>
                    </a:lnTo>
                    <a:lnTo>
                      <a:pt x="33038" y="6424"/>
                    </a:lnTo>
                    <a:lnTo>
                      <a:pt x="33143" y="6215"/>
                    </a:lnTo>
                    <a:lnTo>
                      <a:pt x="33227" y="6173"/>
                    </a:lnTo>
                    <a:lnTo>
                      <a:pt x="33394" y="6068"/>
                    </a:lnTo>
                    <a:lnTo>
                      <a:pt x="33603" y="5817"/>
                    </a:lnTo>
                    <a:lnTo>
                      <a:pt x="33813" y="5608"/>
                    </a:lnTo>
                    <a:lnTo>
                      <a:pt x="33959" y="5587"/>
                    </a:lnTo>
                    <a:lnTo>
                      <a:pt x="34064" y="5441"/>
                    </a:lnTo>
                    <a:lnTo>
                      <a:pt x="34106" y="5378"/>
                    </a:lnTo>
                    <a:lnTo>
                      <a:pt x="34210" y="5378"/>
                    </a:lnTo>
                    <a:lnTo>
                      <a:pt x="34398" y="5294"/>
                    </a:lnTo>
                    <a:lnTo>
                      <a:pt x="34545" y="5231"/>
                    </a:lnTo>
                    <a:lnTo>
                      <a:pt x="34587" y="5169"/>
                    </a:lnTo>
                    <a:lnTo>
                      <a:pt x="34545" y="5085"/>
                    </a:lnTo>
                    <a:lnTo>
                      <a:pt x="34315" y="4980"/>
                    </a:lnTo>
                    <a:lnTo>
                      <a:pt x="34189" y="4897"/>
                    </a:lnTo>
                    <a:lnTo>
                      <a:pt x="34001" y="4897"/>
                    </a:lnTo>
                    <a:lnTo>
                      <a:pt x="33959" y="4876"/>
                    </a:lnTo>
                    <a:lnTo>
                      <a:pt x="33875" y="4897"/>
                    </a:lnTo>
                    <a:lnTo>
                      <a:pt x="33708" y="4876"/>
                    </a:lnTo>
                    <a:lnTo>
                      <a:pt x="33645" y="4897"/>
                    </a:lnTo>
                    <a:lnTo>
                      <a:pt x="33436" y="4897"/>
                    </a:lnTo>
                    <a:lnTo>
                      <a:pt x="33122" y="5001"/>
                    </a:lnTo>
                    <a:lnTo>
                      <a:pt x="32934" y="5190"/>
                    </a:lnTo>
                    <a:lnTo>
                      <a:pt x="32725" y="5273"/>
                    </a:lnTo>
                    <a:lnTo>
                      <a:pt x="32704" y="5378"/>
                    </a:lnTo>
                    <a:lnTo>
                      <a:pt x="32725" y="5482"/>
                    </a:lnTo>
                    <a:lnTo>
                      <a:pt x="32641" y="5441"/>
                    </a:lnTo>
                    <a:lnTo>
                      <a:pt x="32557" y="5441"/>
                    </a:lnTo>
                    <a:lnTo>
                      <a:pt x="32494" y="5545"/>
                    </a:lnTo>
                    <a:lnTo>
                      <a:pt x="32348" y="5545"/>
                    </a:lnTo>
                    <a:lnTo>
                      <a:pt x="32243" y="5692"/>
                    </a:lnTo>
                    <a:lnTo>
                      <a:pt x="32243" y="5796"/>
                    </a:lnTo>
                    <a:lnTo>
                      <a:pt x="32181" y="5796"/>
                    </a:lnTo>
                    <a:lnTo>
                      <a:pt x="32034" y="6006"/>
                    </a:lnTo>
                    <a:lnTo>
                      <a:pt x="32097" y="6068"/>
                    </a:lnTo>
                    <a:lnTo>
                      <a:pt x="32034" y="6152"/>
                    </a:lnTo>
                    <a:lnTo>
                      <a:pt x="31992" y="6068"/>
                    </a:lnTo>
                    <a:lnTo>
                      <a:pt x="31930" y="6068"/>
                    </a:lnTo>
                    <a:lnTo>
                      <a:pt x="31888" y="6257"/>
                    </a:lnTo>
                    <a:lnTo>
                      <a:pt x="31762" y="6257"/>
                    </a:lnTo>
                    <a:lnTo>
                      <a:pt x="31678" y="6361"/>
                    </a:lnTo>
                    <a:lnTo>
                      <a:pt x="31616" y="6424"/>
                    </a:lnTo>
                    <a:lnTo>
                      <a:pt x="31553" y="6570"/>
                    </a:lnTo>
                    <a:lnTo>
                      <a:pt x="31448" y="6759"/>
                    </a:lnTo>
                    <a:lnTo>
                      <a:pt x="31448" y="6863"/>
                    </a:lnTo>
                    <a:lnTo>
                      <a:pt x="31490" y="6842"/>
                    </a:lnTo>
                    <a:lnTo>
                      <a:pt x="31511" y="6842"/>
                    </a:lnTo>
                    <a:lnTo>
                      <a:pt x="31490" y="6905"/>
                    </a:lnTo>
                    <a:lnTo>
                      <a:pt x="31406" y="6905"/>
                    </a:lnTo>
                    <a:lnTo>
                      <a:pt x="31260" y="6989"/>
                    </a:lnTo>
                    <a:lnTo>
                      <a:pt x="31239" y="7094"/>
                    </a:lnTo>
                    <a:lnTo>
                      <a:pt x="31155" y="7114"/>
                    </a:lnTo>
                    <a:lnTo>
                      <a:pt x="31134" y="7198"/>
                    </a:lnTo>
                    <a:lnTo>
                      <a:pt x="31134" y="7407"/>
                    </a:lnTo>
                    <a:lnTo>
                      <a:pt x="31072" y="7512"/>
                    </a:lnTo>
                    <a:lnTo>
                      <a:pt x="30988" y="7512"/>
                    </a:lnTo>
                    <a:lnTo>
                      <a:pt x="30967" y="7659"/>
                    </a:lnTo>
                    <a:lnTo>
                      <a:pt x="30967" y="7721"/>
                    </a:lnTo>
                    <a:lnTo>
                      <a:pt x="30862" y="7784"/>
                    </a:lnTo>
                    <a:lnTo>
                      <a:pt x="30821" y="7972"/>
                    </a:lnTo>
                    <a:lnTo>
                      <a:pt x="30862" y="8077"/>
                    </a:lnTo>
                    <a:lnTo>
                      <a:pt x="31072" y="8182"/>
                    </a:lnTo>
                    <a:lnTo>
                      <a:pt x="31176" y="8182"/>
                    </a:lnTo>
                    <a:lnTo>
                      <a:pt x="31302" y="8244"/>
                    </a:lnTo>
                    <a:lnTo>
                      <a:pt x="31385" y="8244"/>
                    </a:lnTo>
                    <a:lnTo>
                      <a:pt x="31511" y="8328"/>
                    </a:lnTo>
                    <a:lnTo>
                      <a:pt x="31678" y="8328"/>
                    </a:lnTo>
                    <a:lnTo>
                      <a:pt x="31699" y="8495"/>
                    </a:lnTo>
                    <a:lnTo>
                      <a:pt x="31867" y="8558"/>
                    </a:lnTo>
                    <a:lnTo>
                      <a:pt x="31888" y="8642"/>
                    </a:lnTo>
                    <a:lnTo>
                      <a:pt x="31971" y="8705"/>
                    </a:lnTo>
                    <a:lnTo>
                      <a:pt x="31804" y="8705"/>
                    </a:lnTo>
                    <a:lnTo>
                      <a:pt x="31762" y="8726"/>
                    </a:lnTo>
                    <a:lnTo>
                      <a:pt x="31574" y="8726"/>
                    </a:lnTo>
                    <a:lnTo>
                      <a:pt x="31365" y="8642"/>
                    </a:lnTo>
                    <a:lnTo>
                      <a:pt x="31344" y="8537"/>
                    </a:lnTo>
                    <a:lnTo>
                      <a:pt x="31239" y="8454"/>
                    </a:lnTo>
                    <a:lnTo>
                      <a:pt x="31051" y="8454"/>
                    </a:lnTo>
                    <a:lnTo>
                      <a:pt x="30988" y="8412"/>
                    </a:lnTo>
                    <a:lnTo>
                      <a:pt x="30883" y="8391"/>
                    </a:lnTo>
                    <a:lnTo>
                      <a:pt x="30862" y="8433"/>
                    </a:lnTo>
                    <a:lnTo>
                      <a:pt x="30925" y="8558"/>
                    </a:lnTo>
                    <a:lnTo>
                      <a:pt x="30925" y="8642"/>
                    </a:lnTo>
                    <a:lnTo>
                      <a:pt x="30841" y="8642"/>
                    </a:lnTo>
                    <a:lnTo>
                      <a:pt x="30821" y="8726"/>
                    </a:lnTo>
                    <a:lnTo>
                      <a:pt x="30862" y="8914"/>
                    </a:lnTo>
                    <a:lnTo>
                      <a:pt x="30883" y="9039"/>
                    </a:lnTo>
                    <a:lnTo>
                      <a:pt x="30862" y="9165"/>
                    </a:lnTo>
                    <a:lnTo>
                      <a:pt x="30883" y="9270"/>
                    </a:lnTo>
                    <a:lnTo>
                      <a:pt x="31030" y="9353"/>
                    </a:lnTo>
                    <a:lnTo>
                      <a:pt x="31134" y="9458"/>
                    </a:lnTo>
                    <a:lnTo>
                      <a:pt x="31134" y="9500"/>
                    </a:lnTo>
                    <a:lnTo>
                      <a:pt x="31072" y="9458"/>
                    </a:lnTo>
                    <a:lnTo>
                      <a:pt x="31051" y="9458"/>
                    </a:lnTo>
                    <a:lnTo>
                      <a:pt x="31072" y="9563"/>
                    </a:lnTo>
                    <a:lnTo>
                      <a:pt x="31155" y="9667"/>
                    </a:lnTo>
                    <a:lnTo>
                      <a:pt x="31197" y="9667"/>
                    </a:lnTo>
                    <a:lnTo>
                      <a:pt x="31197" y="9583"/>
                    </a:lnTo>
                    <a:lnTo>
                      <a:pt x="31281" y="9563"/>
                    </a:lnTo>
                    <a:lnTo>
                      <a:pt x="31385" y="9583"/>
                    </a:lnTo>
                    <a:lnTo>
                      <a:pt x="31469" y="9667"/>
                    </a:lnTo>
                    <a:lnTo>
                      <a:pt x="31553" y="9688"/>
                    </a:lnTo>
                    <a:lnTo>
                      <a:pt x="31574" y="9646"/>
                    </a:lnTo>
                    <a:lnTo>
                      <a:pt x="31553" y="9583"/>
                    </a:lnTo>
                    <a:lnTo>
                      <a:pt x="31574" y="9500"/>
                    </a:lnTo>
                    <a:lnTo>
                      <a:pt x="31616" y="9479"/>
                    </a:lnTo>
                    <a:lnTo>
                      <a:pt x="31678" y="9542"/>
                    </a:lnTo>
                    <a:lnTo>
                      <a:pt x="31657" y="9646"/>
                    </a:lnTo>
                    <a:lnTo>
                      <a:pt x="31678" y="9709"/>
                    </a:lnTo>
                    <a:lnTo>
                      <a:pt x="31720" y="9709"/>
                    </a:lnTo>
                    <a:lnTo>
                      <a:pt x="31783" y="9583"/>
                    </a:lnTo>
                    <a:lnTo>
                      <a:pt x="31909" y="9563"/>
                    </a:lnTo>
                    <a:lnTo>
                      <a:pt x="31992" y="9479"/>
                    </a:lnTo>
                    <a:lnTo>
                      <a:pt x="32013" y="9500"/>
                    </a:lnTo>
                    <a:lnTo>
                      <a:pt x="31971" y="9583"/>
                    </a:lnTo>
                    <a:lnTo>
                      <a:pt x="31783" y="9688"/>
                    </a:lnTo>
                    <a:lnTo>
                      <a:pt x="31762" y="9793"/>
                    </a:lnTo>
                    <a:lnTo>
                      <a:pt x="31867" y="9876"/>
                    </a:lnTo>
                    <a:lnTo>
                      <a:pt x="31888" y="10023"/>
                    </a:lnTo>
                    <a:lnTo>
                      <a:pt x="32013" y="10169"/>
                    </a:lnTo>
                    <a:lnTo>
                      <a:pt x="32181" y="10169"/>
                    </a:lnTo>
                    <a:lnTo>
                      <a:pt x="32222" y="10107"/>
                    </a:lnTo>
                    <a:lnTo>
                      <a:pt x="32118" y="10023"/>
                    </a:lnTo>
                    <a:lnTo>
                      <a:pt x="32181" y="10002"/>
                    </a:lnTo>
                    <a:lnTo>
                      <a:pt x="32285" y="10023"/>
                    </a:lnTo>
                    <a:lnTo>
                      <a:pt x="32348" y="10107"/>
                    </a:lnTo>
                    <a:lnTo>
                      <a:pt x="32411" y="10086"/>
                    </a:lnTo>
                    <a:lnTo>
                      <a:pt x="32494" y="10002"/>
                    </a:lnTo>
                    <a:lnTo>
                      <a:pt x="32599" y="9897"/>
                    </a:lnTo>
                    <a:lnTo>
                      <a:pt x="32662" y="9897"/>
                    </a:lnTo>
                    <a:lnTo>
                      <a:pt x="32662" y="9960"/>
                    </a:lnTo>
                    <a:lnTo>
                      <a:pt x="32599" y="9981"/>
                    </a:lnTo>
                    <a:lnTo>
                      <a:pt x="32432" y="10127"/>
                    </a:lnTo>
                    <a:lnTo>
                      <a:pt x="32432" y="10211"/>
                    </a:lnTo>
                    <a:lnTo>
                      <a:pt x="32453" y="10232"/>
                    </a:lnTo>
                    <a:cubicBezTo>
                      <a:pt x="32411" y="10295"/>
                      <a:pt x="32390" y="10379"/>
                      <a:pt x="32348" y="10441"/>
                    </a:cubicBezTo>
                    <a:lnTo>
                      <a:pt x="32306" y="10441"/>
                    </a:lnTo>
                    <a:lnTo>
                      <a:pt x="32222" y="10504"/>
                    </a:lnTo>
                    <a:lnTo>
                      <a:pt x="32139" y="10504"/>
                    </a:lnTo>
                    <a:lnTo>
                      <a:pt x="32097" y="10420"/>
                    </a:lnTo>
                    <a:lnTo>
                      <a:pt x="31992" y="10400"/>
                    </a:lnTo>
                    <a:lnTo>
                      <a:pt x="32013" y="10441"/>
                    </a:lnTo>
                    <a:lnTo>
                      <a:pt x="32097" y="10504"/>
                    </a:lnTo>
                    <a:lnTo>
                      <a:pt x="32076" y="10609"/>
                    </a:lnTo>
                    <a:lnTo>
                      <a:pt x="31971" y="10609"/>
                    </a:lnTo>
                    <a:lnTo>
                      <a:pt x="31971" y="10630"/>
                    </a:lnTo>
                    <a:lnTo>
                      <a:pt x="31992" y="10692"/>
                    </a:lnTo>
                    <a:lnTo>
                      <a:pt x="31909" y="10755"/>
                    </a:lnTo>
                    <a:lnTo>
                      <a:pt x="31909" y="10839"/>
                    </a:lnTo>
                    <a:lnTo>
                      <a:pt x="31971" y="10923"/>
                    </a:lnTo>
                    <a:lnTo>
                      <a:pt x="31888" y="10923"/>
                    </a:lnTo>
                    <a:lnTo>
                      <a:pt x="31888" y="11027"/>
                    </a:lnTo>
                    <a:lnTo>
                      <a:pt x="31804" y="11111"/>
                    </a:lnTo>
                    <a:lnTo>
                      <a:pt x="31804" y="11278"/>
                    </a:lnTo>
                    <a:lnTo>
                      <a:pt x="31867" y="11278"/>
                    </a:lnTo>
                    <a:lnTo>
                      <a:pt x="31909" y="11383"/>
                    </a:lnTo>
                    <a:lnTo>
                      <a:pt x="31950" y="11383"/>
                    </a:lnTo>
                    <a:lnTo>
                      <a:pt x="32013" y="11488"/>
                    </a:lnTo>
                    <a:lnTo>
                      <a:pt x="31950" y="11508"/>
                    </a:lnTo>
                    <a:lnTo>
                      <a:pt x="31888" y="11508"/>
                    </a:lnTo>
                    <a:lnTo>
                      <a:pt x="31825" y="11571"/>
                    </a:lnTo>
                    <a:lnTo>
                      <a:pt x="31783" y="11508"/>
                    </a:lnTo>
                    <a:lnTo>
                      <a:pt x="31637" y="11550"/>
                    </a:lnTo>
                    <a:lnTo>
                      <a:pt x="31595" y="11634"/>
                    </a:lnTo>
                    <a:lnTo>
                      <a:pt x="31699" y="11739"/>
                    </a:lnTo>
                    <a:lnTo>
                      <a:pt x="31741" y="11739"/>
                    </a:lnTo>
                    <a:lnTo>
                      <a:pt x="31741" y="11801"/>
                    </a:lnTo>
                    <a:lnTo>
                      <a:pt x="31637" y="11843"/>
                    </a:lnTo>
                    <a:lnTo>
                      <a:pt x="31595" y="11780"/>
                    </a:lnTo>
                    <a:lnTo>
                      <a:pt x="31511" y="11864"/>
                    </a:lnTo>
                    <a:lnTo>
                      <a:pt x="31427" y="11739"/>
                    </a:lnTo>
                    <a:lnTo>
                      <a:pt x="31323" y="11801"/>
                    </a:lnTo>
                    <a:lnTo>
                      <a:pt x="31218" y="12011"/>
                    </a:lnTo>
                    <a:lnTo>
                      <a:pt x="31113" y="12262"/>
                    </a:lnTo>
                    <a:lnTo>
                      <a:pt x="30988" y="12492"/>
                    </a:lnTo>
                    <a:lnTo>
                      <a:pt x="30779" y="12638"/>
                    </a:lnTo>
                    <a:lnTo>
                      <a:pt x="30737" y="12743"/>
                    </a:lnTo>
                    <a:lnTo>
                      <a:pt x="30674" y="12743"/>
                    </a:lnTo>
                    <a:lnTo>
                      <a:pt x="30569" y="12910"/>
                    </a:lnTo>
                    <a:lnTo>
                      <a:pt x="30465" y="12952"/>
                    </a:lnTo>
                    <a:lnTo>
                      <a:pt x="30444" y="13140"/>
                    </a:lnTo>
                    <a:lnTo>
                      <a:pt x="30360" y="13224"/>
                    </a:lnTo>
                    <a:lnTo>
                      <a:pt x="30339" y="13350"/>
                    </a:lnTo>
                    <a:lnTo>
                      <a:pt x="30277" y="13350"/>
                    </a:lnTo>
                    <a:lnTo>
                      <a:pt x="30235" y="13224"/>
                    </a:lnTo>
                    <a:lnTo>
                      <a:pt x="30151" y="13224"/>
                    </a:lnTo>
                    <a:lnTo>
                      <a:pt x="30067" y="13308"/>
                    </a:lnTo>
                    <a:lnTo>
                      <a:pt x="30109" y="13350"/>
                    </a:lnTo>
                    <a:lnTo>
                      <a:pt x="30130" y="13475"/>
                    </a:lnTo>
                    <a:lnTo>
                      <a:pt x="30046" y="13475"/>
                    </a:lnTo>
                    <a:lnTo>
                      <a:pt x="29963" y="13413"/>
                    </a:lnTo>
                    <a:lnTo>
                      <a:pt x="30005" y="13308"/>
                    </a:lnTo>
                    <a:lnTo>
                      <a:pt x="29921" y="13140"/>
                    </a:lnTo>
                    <a:lnTo>
                      <a:pt x="29837" y="12743"/>
                    </a:lnTo>
                    <a:lnTo>
                      <a:pt x="29837" y="12576"/>
                    </a:lnTo>
                    <a:lnTo>
                      <a:pt x="29816" y="12492"/>
                    </a:lnTo>
                    <a:lnTo>
                      <a:pt x="29858" y="12366"/>
                    </a:lnTo>
                    <a:lnTo>
                      <a:pt x="29942" y="12262"/>
                    </a:lnTo>
                    <a:lnTo>
                      <a:pt x="29921" y="12115"/>
                    </a:lnTo>
                    <a:lnTo>
                      <a:pt x="29963" y="12011"/>
                    </a:lnTo>
                    <a:lnTo>
                      <a:pt x="30046" y="11969"/>
                    </a:lnTo>
                    <a:lnTo>
                      <a:pt x="30130" y="12011"/>
                    </a:lnTo>
                    <a:lnTo>
                      <a:pt x="30214" y="11990"/>
                    </a:lnTo>
                    <a:lnTo>
                      <a:pt x="30277" y="11885"/>
                    </a:lnTo>
                    <a:lnTo>
                      <a:pt x="30256" y="11655"/>
                    </a:lnTo>
                    <a:lnTo>
                      <a:pt x="30318" y="11550"/>
                    </a:lnTo>
                    <a:lnTo>
                      <a:pt x="30318" y="11153"/>
                    </a:lnTo>
                    <a:lnTo>
                      <a:pt x="30214" y="11027"/>
                    </a:lnTo>
                    <a:lnTo>
                      <a:pt x="30172" y="10860"/>
                    </a:lnTo>
                    <a:lnTo>
                      <a:pt x="30109" y="10692"/>
                    </a:lnTo>
                    <a:lnTo>
                      <a:pt x="30067" y="10588"/>
                    </a:lnTo>
                    <a:lnTo>
                      <a:pt x="30025" y="10525"/>
                    </a:lnTo>
                    <a:lnTo>
                      <a:pt x="29963" y="10525"/>
                    </a:lnTo>
                    <a:lnTo>
                      <a:pt x="29921" y="10630"/>
                    </a:lnTo>
                    <a:lnTo>
                      <a:pt x="29795" y="10839"/>
                    </a:lnTo>
                    <a:lnTo>
                      <a:pt x="29628" y="10964"/>
                    </a:lnTo>
                    <a:lnTo>
                      <a:pt x="29607" y="11069"/>
                    </a:lnTo>
                    <a:lnTo>
                      <a:pt x="29607" y="11278"/>
                    </a:lnTo>
                    <a:lnTo>
                      <a:pt x="29544" y="11341"/>
                    </a:lnTo>
                    <a:lnTo>
                      <a:pt x="29481" y="11278"/>
                    </a:lnTo>
                    <a:lnTo>
                      <a:pt x="29398" y="11362"/>
                    </a:lnTo>
                    <a:lnTo>
                      <a:pt x="29419" y="11383"/>
                    </a:lnTo>
                    <a:lnTo>
                      <a:pt x="29398" y="11446"/>
                    </a:lnTo>
                    <a:lnTo>
                      <a:pt x="29230" y="11529"/>
                    </a:lnTo>
                    <a:lnTo>
                      <a:pt x="29189" y="11592"/>
                    </a:lnTo>
                    <a:lnTo>
                      <a:pt x="29084" y="11697"/>
                    </a:lnTo>
                    <a:lnTo>
                      <a:pt x="29000" y="11697"/>
                    </a:lnTo>
                    <a:lnTo>
                      <a:pt x="29000" y="11634"/>
                    </a:lnTo>
                    <a:lnTo>
                      <a:pt x="29084" y="11592"/>
                    </a:lnTo>
                    <a:lnTo>
                      <a:pt x="29084" y="11467"/>
                    </a:lnTo>
                    <a:lnTo>
                      <a:pt x="29042" y="11425"/>
                    </a:lnTo>
                    <a:lnTo>
                      <a:pt x="29147" y="11278"/>
                    </a:lnTo>
                    <a:lnTo>
                      <a:pt x="29168" y="11174"/>
                    </a:lnTo>
                    <a:lnTo>
                      <a:pt x="29168" y="11069"/>
                    </a:lnTo>
                    <a:lnTo>
                      <a:pt x="29251" y="11027"/>
                    </a:lnTo>
                    <a:lnTo>
                      <a:pt x="29251" y="10923"/>
                    </a:lnTo>
                    <a:lnTo>
                      <a:pt x="29209" y="10902"/>
                    </a:lnTo>
                    <a:lnTo>
                      <a:pt x="29251" y="10755"/>
                    </a:lnTo>
                    <a:lnTo>
                      <a:pt x="29147" y="10609"/>
                    </a:lnTo>
                    <a:lnTo>
                      <a:pt x="29147" y="10525"/>
                    </a:lnTo>
                    <a:lnTo>
                      <a:pt x="29084" y="10420"/>
                    </a:lnTo>
                    <a:lnTo>
                      <a:pt x="29084" y="10379"/>
                    </a:lnTo>
                    <a:lnTo>
                      <a:pt x="29147" y="10400"/>
                    </a:lnTo>
                    <a:lnTo>
                      <a:pt x="29189" y="10400"/>
                    </a:lnTo>
                    <a:lnTo>
                      <a:pt x="29209" y="10525"/>
                    </a:lnTo>
                    <a:lnTo>
                      <a:pt x="29272" y="10504"/>
                    </a:lnTo>
                    <a:lnTo>
                      <a:pt x="29377" y="10379"/>
                    </a:lnTo>
                    <a:lnTo>
                      <a:pt x="29481" y="10379"/>
                    </a:lnTo>
                    <a:lnTo>
                      <a:pt x="29565" y="10295"/>
                    </a:lnTo>
                    <a:lnTo>
                      <a:pt x="29481" y="10232"/>
                    </a:lnTo>
                    <a:lnTo>
                      <a:pt x="29377" y="10316"/>
                    </a:lnTo>
                    <a:lnTo>
                      <a:pt x="29293" y="10232"/>
                    </a:lnTo>
                    <a:lnTo>
                      <a:pt x="29189" y="10211"/>
                    </a:lnTo>
                    <a:lnTo>
                      <a:pt x="29189" y="10107"/>
                    </a:lnTo>
                    <a:lnTo>
                      <a:pt x="29230" y="10065"/>
                    </a:lnTo>
                    <a:lnTo>
                      <a:pt x="29209" y="10002"/>
                    </a:lnTo>
                    <a:lnTo>
                      <a:pt x="29126" y="10023"/>
                    </a:lnTo>
                    <a:lnTo>
                      <a:pt x="29105" y="10107"/>
                    </a:lnTo>
                    <a:lnTo>
                      <a:pt x="28958" y="10169"/>
                    </a:lnTo>
                    <a:lnTo>
                      <a:pt x="28854" y="10065"/>
                    </a:lnTo>
                    <a:lnTo>
                      <a:pt x="28854" y="9939"/>
                    </a:lnTo>
                    <a:lnTo>
                      <a:pt x="28770" y="9918"/>
                    </a:lnTo>
                    <a:lnTo>
                      <a:pt x="28665" y="9939"/>
                    </a:lnTo>
                    <a:lnTo>
                      <a:pt x="28603" y="9897"/>
                    </a:lnTo>
                    <a:lnTo>
                      <a:pt x="28644" y="9793"/>
                    </a:lnTo>
                    <a:lnTo>
                      <a:pt x="28707" y="9772"/>
                    </a:lnTo>
                    <a:lnTo>
                      <a:pt x="28749" y="9709"/>
                    </a:lnTo>
                    <a:lnTo>
                      <a:pt x="28812" y="9709"/>
                    </a:lnTo>
                    <a:lnTo>
                      <a:pt x="29126" y="9500"/>
                    </a:lnTo>
                    <a:lnTo>
                      <a:pt x="29168" y="9458"/>
                    </a:lnTo>
                    <a:lnTo>
                      <a:pt x="29042" y="9332"/>
                    </a:lnTo>
                    <a:lnTo>
                      <a:pt x="28875" y="9353"/>
                    </a:lnTo>
                    <a:lnTo>
                      <a:pt x="28875" y="9332"/>
                    </a:lnTo>
                    <a:lnTo>
                      <a:pt x="28979" y="9270"/>
                    </a:lnTo>
                    <a:lnTo>
                      <a:pt x="29042" y="9144"/>
                    </a:lnTo>
                    <a:lnTo>
                      <a:pt x="29168" y="9081"/>
                    </a:lnTo>
                    <a:lnTo>
                      <a:pt x="29147" y="9228"/>
                    </a:lnTo>
                    <a:lnTo>
                      <a:pt x="29189" y="9332"/>
                    </a:lnTo>
                    <a:lnTo>
                      <a:pt x="29293" y="9291"/>
                    </a:lnTo>
                    <a:lnTo>
                      <a:pt x="29377" y="9332"/>
                    </a:lnTo>
                    <a:lnTo>
                      <a:pt x="29461" y="9249"/>
                    </a:lnTo>
                    <a:lnTo>
                      <a:pt x="29461" y="9144"/>
                    </a:lnTo>
                    <a:lnTo>
                      <a:pt x="29377" y="9039"/>
                    </a:lnTo>
                    <a:lnTo>
                      <a:pt x="29293" y="9019"/>
                    </a:lnTo>
                    <a:lnTo>
                      <a:pt x="29293" y="8935"/>
                    </a:lnTo>
                    <a:lnTo>
                      <a:pt x="29314" y="8830"/>
                    </a:lnTo>
                    <a:lnTo>
                      <a:pt x="29293" y="8726"/>
                    </a:lnTo>
                    <a:lnTo>
                      <a:pt x="29314" y="8663"/>
                    </a:lnTo>
                    <a:lnTo>
                      <a:pt x="29314" y="8600"/>
                    </a:lnTo>
                    <a:lnTo>
                      <a:pt x="29209" y="8454"/>
                    </a:lnTo>
                    <a:lnTo>
                      <a:pt x="29272" y="8349"/>
                    </a:lnTo>
                    <a:lnTo>
                      <a:pt x="29209" y="8244"/>
                    </a:lnTo>
                    <a:lnTo>
                      <a:pt x="29272" y="8223"/>
                    </a:lnTo>
                    <a:lnTo>
                      <a:pt x="29272" y="8077"/>
                    </a:lnTo>
                    <a:lnTo>
                      <a:pt x="29356" y="7931"/>
                    </a:lnTo>
                    <a:lnTo>
                      <a:pt x="29356" y="7847"/>
                    </a:lnTo>
                    <a:lnTo>
                      <a:pt x="29419" y="7742"/>
                    </a:lnTo>
                    <a:lnTo>
                      <a:pt x="29419" y="7700"/>
                    </a:lnTo>
                    <a:lnTo>
                      <a:pt x="29356" y="7659"/>
                    </a:lnTo>
                    <a:lnTo>
                      <a:pt x="29377" y="7449"/>
                    </a:lnTo>
                    <a:lnTo>
                      <a:pt x="29356" y="7324"/>
                    </a:lnTo>
                    <a:lnTo>
                      <a:pt x="29251" y="7261"/>
                    </a:lnTo>
                    <a:lnTo>
                      <a:pt x="29272" y="7177"/>
                    </a:lnTo>
                    <a:lnTo>
                      <a:pt x="29251" y="7073"/>
                    </a:lnTo>
                    <a:lnTo>
                      <a:pt x="29293" y="7052"/>
                    </a:lnTo>
                    <a:lnTo>
                      <a:pt x="29335" y="6947"/>
                    </a:lnTo>
                    <a:lnTo>
                      <a:pt x="29272" y="6884"/>
                    </a:lnTo>
                    <a:lnTo>
                      <a:pt x="29230" y="6863"/>
                    </a:lnTo>
                    <a:cubicBezTo>
                      <a:pt x="29272" y="6842"/>
                      <a:pt x="29293" y="6801"/>
                      <a:pt x="29293" y="6759"/>
                    </a:cubicBezTo>
                    <a:cubicBezTo>
                      <a:pt x="29314" y="6696"/>
                      <a:pt x="29335" y="6654"/>
                      <a:pt x="29335" y="6591"/>
                    </a:cubicBezTo>
                    <a:lnTo>
                      <a:pt x="29377" y="6550"/>
                    </a:lnTo>
                    <a:lnTo>
                      <a:pt x="29377" y="6445"/>
                    </a:lnTo>
                    <a:lnTo>
                      <a:pt x="29440" y="6445"/>
                    </a:lnTo>
                    <a:lnTo>
                      <a:pt x="29523" y="6361"/>
                    </a:lnTo>
                    <a:lnTo>
                      <a:pt x="29586" y="6257"/>
                    </a:lnTo>
                    <a:lnTo>
                      <a:pt x="29649" y="6215"/>
                    </a:lnTo>
                    <a:lnTo>
                      <a:pt x="29753" y="6215"/>
                    </a:lnTo>
                    <a:lnTo>
                      <a:pt x="29816" y="6131"/>
                    </a:lnTo>
                    <a:lnTo>
                      <a:pt x="29900" y="6068"/>
                    </a:lnTo>
                    <a:lnTo>
                      <a:pt x="29942" y="5964"/>
                    </a:lnTo>
                    <a:lnTo>
                      <a:pt x="29942" y="5838"/>
                    </a:lnTo>
                    <a:lnTo>
                      <a:pt x="29900" y="5796"/>
                    </a:lnTo>
                    <a:lnTo>
                      <a:pt x="29963" y="5713"/>
                    </a:lnTo>
                    <a:lnTo>
                      <a:pt x="30005" y="5629"/>
                    </a:lnTo>
                    <a:lnTo>
                      <a:pt x="29795" y="5629"/>
                    </a:lnTo>
                    <a:lnTo>
                      <a:pt x="29733" y="5587"/>
                    </a:lnTo>
                    <a:lnTo>
                      <a:pt x="29753" y="5503"/>
                    </a:lnTo>
                    <a:lnTo>
                      <a:pt x="29837" y="5503"/>
                    </a:lnTo>
                    <a:lnTo>
                      <a:pt x="29921" y="5545"/>
                    </a:lnTo>
                    <a:lnTo>
                      <a:pt x="30025" y="5545"/>
                    </a:lnTo>
                    <a:lnTo>
                      <a:pt x="30130" y="5587"/>
                    </a:lnTo>
                    <a:lnTo>
                      <a:pt x="30214" y="5524"/>
                    </a:lnTo>
                    <a:lnTo>
                      <a:pt x="30297" y="5545"/>
                    </a:lnTo>
                    <a:lnTo>
                      <a:pt x="30318" y="5650"/>
                    </a:lnTo>
                    <a:lnTo>
                      <a:pt x="30465" y="5796"/>
                    </a:lnTo>
                    <a:lnTo>
                      <a:pt x="30549" y="5796"/>
                    </a:lnTo>
                    <a:lnTo>
                      <a:pt x="30569" y="5838"/>
                    </a:lnTo>
                    <a:lnTo>
                      <a:pt x="30653" y="5859"/>
                    </a:lnTo>
                    <a:lnTo>
                      <a:pt x="30779" y="5817"/>
                    </a:lnTo>
                    <a:lnTo>
                      <a:pt x="30988" y="5692"/>
                    </a:lnTo>
                    <a:lnTo>
                      <a:pt x="31134" y="5524"/>
                    </a:lnTo>
                    <a:lnTo>
                      <a:pt x="31302" y="5399"/>
                    </a:lnTo>
                    <a:lnTo>
                      <a:pt x="31365" y="5315"/>
                    </a:lnTo>
                    <a:lnTo>
                      <a:pt x="31302" y="5294"/>
                    </a:lnTo>
                    <a:lnTo>
                      <a:pt x="31344" y="5231"/>
                    </a:lnTo>
                    <a:lnTo>
                      <a:pt x="31469" y="5231"/>
                    </a:lnTo>
                    <a:lnTo>
                      <a:pt x="31595" y="5085"/>
                    </a:lnTo>
                    <a:lnTo>
                      <a:pt x="31825" y="4897"/>
                    </a:lnTo>
                    <a:lnTo>
                      <a:pt x="31825" y="4855"/>
                    </a:lnTo>
                    <a:lnTo>
                      <a:pt x="31930" y="4834"/>
                    </a:lnTo>
                    <a:lnTo>
                      <a:pt x="32013" y="4687"/>
                    </a:lnTo>
                    <a:lnTo>
                      <a:pt x="32181" y="4541"/>
                    </a:lnTo>
                    <a:lnTo>
                      <a:pt x="32222" y="4415"/>
                    </a:lnTo>
                    <a:lnTo>
                      <a:pt x="32285" y="4415"/>
                    </a:lnTo>
                    <a:lnTo>
                      <a:pt x="32327" y="4436"/>
                    </a:lnTo>
                    <a:lnTo>
                      <a:pt x="32327" y="4436"/>
                    </a:lnTo>
                    <a:lnTo>
                      <a:pt x="32306" y="4353"/>
                    </a:lnTo>
                    <a:lnTo>
                      <a:pt x="32222" y="4311"/>
                    </a:lnTo>
                    <a:lnTo>
                      <a:pt x="32222" y="4227"/>
                    </a:lnTo>
                    <a:lnTo>
                      <a:pt x="32076" y="4122"/>
                    </a:lnTo>
                    <a:lnTo>
                      <a:pt x="31804" y="4081"/>
                    </a:lnTo>
                    <a:lnTo>
                      <a:pt x="31657" y="4060"/>
                    </a:lnTo>
                    <a:lnTo>
                      <a:pt x="31574" y="4081"/>
                    </a:lnTo>
                    <a:lnTo>
                      <a:pt x="31511" y="4060"/>
                    </a:lnTo>
                    <a:lnTo>
                      <a:pt x="31511" y="3976"/>
                    </a:lnTo>
                    <a:lnTo>
                      <a:pt x="31469" y="3871"/>
                    </a:lnTo>
                    <a:lnTo>
                      <a:pt x="31406" y="3871"/>
                    </a:lnTo>
                    <a:lnTo>
                      <a:pt x="31385" y="3850"/>
                    </a:lnTo>
                    <a:lnTo>
                      <a:pt x="31281" y="3829"/>
                    </a:lnTo>
                    <a:lnTo>
                      <a:pt x="31197" y="3704"/>
                    </a:lnTo>
                    <a:lnTo>
                      <a:pt x="31051" y="3704"/>
                    </a:lnTo>
                    <a:lnTo>
                      <a:pt x="30967" y="3788"/>
                    </a:lnTo>
                    <a:lnTo>
                      <a:pt x="30946" y="3704"/>
                    </a:lnTo>
                    <a:lnTo>
                      <a:pt x="30841" y="3704"/>
                    </a:lnTo>
                    <a:lnTo>
                      <a:pt x="30779" y="3641"/>
                    </a:lnTo>
                    <a:lnTo>
                      <a:pt x="30674" y="3662"/>
                    </a:lnTo>
                    <a:lnTo>
                      <a:pt x="30507" y="3662"/>
                    </a:lnTo>
                    <a:lnTo>
                      <a:pt x="30235" y="3725"/>
                    </a:lnTo>
                    <a:lnTo>
                      <a:pt x="30130" y="3871"/>
                    </a:lnTo>
                    <a:lnTo>
                      <a:pt x="30214" y="3976"/>
                    </a:lnTo>
                    <a:lnTo>
                      <a:pt x="30130" y="4018"/>
                    </a:lnTo>
                    <a:lnTo>
                      <a:pt x="30109" y="4060"/>
                    </a:lnTo>
                    <a:lnTo>
                      <a:pt x="30193" y="4164"/>
                    </a:lnTo>
                    <a:lnTo>
                      <a:pt x="30214" y="4290"/>
                    </a:lnTo>
                    <a:lnTo>
                      <a:pt x="30088" y="4290"/>
                    </a:lnTo>
                    <a:lnTo>
                      <a:pt x="30046" y="4185"/>
                    </a:lnTo>
                    <a:lnTo>
                      <a:pt x="29984" y="4060"/>
                    </a:lnTo>
                    <a:lnTo>
                      <a:pt x="29900" y="4039"/>
                    </a:lnTo>
                    <a:lnTo>
                      <a:pt x="29816" y="4164"/>
                    </a:lnTo>
                    <a:lnTo>
                      <a:pt x="29837" y="4227"/>
                    </a:lnTo>
                    <a:lnTo>
                      <a:pt x="29837" y="4290"/>
                    </a:lnTo>
                    <a:lnTo>
                      <a:pt x="29733" y="4332"/>
                    </a:lnTo>
                    <a:lnTo>
                      <a:pt x="29712" y="4478"/>
                    </a:lnTo>
                    <a:lnTo>
                      <a:pt x="29565" y="4646"/>
                    </a:lnTo>
                    <a:lnTo>
                      <a:pt x="29523" y="4771"/>
                    </a:lnTo>
                    <a:lnTo>
                      <a:pt x="29502" y="4855"/>
                    </a:lnTo>
                    <a:lnTo>
                      <a:pt x="29565" y="4876"/>
                    </a:lnTo>
                    <a:lnTo>
                      <a:pt x="29461" y="4959"/>
                    </a:lnTo>
                    <a:lnTo>
                      <a:pt x="29461" y="5064"/>
                    </a:lnTo>
                    <a:lnTo>
                      <a:pt x="29377" y="5106"/>
                    </a:lnTo>
                    <a:lnTo>
                      <a:pt x="29272" y="5357"/>
                    </a:lnTo>
                    <a:lnTo>
                      <a:pt x="29272" y="5482"/>
                    </a:lnTo>
                    <a:lnTo>
                      <a:pt x="29209" y="5566"/>
                    </a:lnTo>
                    <a:lnTo>
                      <a:pt x="29293" y="5629"/>
                    </a:lnTo>
                    <a:lnTo>
                      <a:pt x="29293" y="5713"/>
                    </a:lnTo>
                    <a:lnTo>
                      <a:pt x="29251" y="5734"/>
                    </a:lnTo>
                    <a:lnTo>
                      <a:pt x="29251" y="5838"/>
                    </a:lnTo>
                    <a:lnTo>
                      <a:pt x="29189" y="6026"/>
                    </a:lnTo>
                    <a:lnTo>
                      <a:pt x="29063" y="6215"/>
                    </a:lnTo>
                    <a:lnTo>
                      <a:pt x="29084" y="6257"/>
                    </a:lnTo>
                    <a:lnTo>
                      <a:pt x="29189" y="6257"/>
                    </a:lnTo>
                    <a:lnTo>
                      <a:pt x="29209" y="6319"/>
                    </a:lnTo>
                    <a:cubicBezTo>
                      <a:pt x="29189" y="6319"/>
                      <a:pt x="29168" y="6340"/>
                      <a:pt x="29168" y="6340"/>
                    </a:cubicBezTo>
                    <a:lnTo>
                      <a:pt x="29105" y="6319"/>
                    </a:lnTo>
                    <a:lnTo>
                      <a:pt x="29042" y="6361"/>
                    </a:lnTo>
                    <a:lnTo>
                      <a:pt x="28958" y="6508"/>
                    </a:lnTo>
                    <a:lnTo>
                      <a:pt x="29042" y="6508"/>
                    </a:lnTo>
                    <a:cubicBezTo>
                      <a:pt x="29000" y="6529"/>
                      <a:pt x="28979" y="6550"/>
                      <a:pt x="28979" y="6612"/>
                    </a:cubicBezTo>
                    <a:lnTo>
                      <a:pt x="28875" y="6570"/>
                    </a:lnTo>
                    <a:lnTo>
                      <a:pt x="28791" y="6633"/>
                    </a:lnTo>
                    <a:lnTo>
                      <a:pt x="28791" y="6738"/>
                    </a:lnTo>
                    <a:lnTo>
                      <a:pt x="28644" y="6842"/>
                    </a:lnTo>
                    <a:lnTo>
                      <a:pt x="28582" y="6884"/>
                    </a:lnTo>
                    <a:cubicBezTo>
                      <a:pt x="28665" y="6612"/>
                      <a:pt x="28728" y="6257"/>
                      <a:pt x="28749" y="5943"/>
                    </a:cubicBezTo>
                    <a:lnTo>
                      <a:pt x="28937" y="5838"/>
                    </a:lnTo>
                    <a:lnTo>
                      <a:pt x="28937" y="5734"/>
                    </a:lnTo>
                    <a:lnTo>
                      <a:pt x="29000" y="5566"/>
                    </a:lnTo>
                    <a:lnTo>
                      <a:pt x="29000" y="5399"/>
                    </a:lnTo>
                    <a:lnTo>
                      <a:pt x="29063" y="5315"/>
                    </a:lnTo>
                    <a:lnTo>
                      <a:pt x="28979" y="5315"/>
                    </a:lnTo>
                    <a:lnTo>
                      <a:pt x="28937" y="5378"/>
                    </a:lnTo>
                    <a:lnTo>
                      <a:pt x="28791" y="5420"/>
                    </a:lnTo>
                    <a:lnTo>
                      <a:pt x="28728" y="5545"/>
                    </a:lnTo>
                    <a:lnTo>
                      <a:pt x="28686" y="5503"/>
                    </a:lnTo>
                    <a:lnTo>
                      <a:pt x="28686" y="5399"/>
                    </a:lnTo>
                    <a:lnTo>
                      <a:pt x="28770" y="5357"/>
                    </a:lnTo>
                    <a:lnTo>
                      <a:pt x="28770" y="5231"/>
                    </a:lnTo>
                    <a:lnTo>
                      <a:pt x="28749" y="5169"/>
                    </a:lnTo>
                    <a:lnTo>
                      <a:pt x="28665" y="5127"/>
                    </a:lnTo>
                    <a:lnTo>
                      <a:pt x="28749" y="5127"/>
                    </a:lnTo>
                    <a:lnTo>
                      <a:pt x="28791" y="5106"/>
                    </a:lnTo>
                    <a:lnTo>
                      <a:pt x="28770" y="4980"/>
                    </a:lnTo>
                    <a:lnTo>
                      <a:pt x="28582" y="4876"/>
                    </a:lnTo>
                    <a:lnTo>
                      <a:pt x="28540" y="4897"/>
                    </a:lnTo>
                    <a:lnTo>
                      <a:pt x="28352" y="4918"/>
                    </a:lnTo>
                    <a:lnTo>
                      <a:pt x="28331" y="4980"/>
                    </a:lnTo>
                    <a:lnTo>
                      <a:pt x="28247" y="4980"/>
                    </a:lnTo>
                    <a:lnTo>
                      <a:pt x="28247" y="4897"/>
                    </a:lnTo>
                    <a:lnTo>
                      <a:pt x="28331" y="4771"/>
                    </a:lnTo>
                    <a:lnTo>
                      <a:pt x="28414" y="4771"/>
                    </a:lnTo>
                    <a:lnTo>
                      <a:pt x="28540" y="4666"/>
                    </a:lnTo>
                    <a:lnTo>
                      <a:pt x="28749" y="4604"/>
                    </a:lnTo>
                    <a:lnTo>
                      <a:pt x="28791" y="4562"/>
                    </a:lnTo>
                    <a:lnTo>
                      <a:pt x="28937" y="4541"/>
                    </a:lnTo>
                    <a:lnTo>
                      <a:pt x="29000" y="4541"/>
                    </a:lnTo>
                    <a:lnTo>
                      <a:pt x="29063" y="4583"/>
                    </a:lnTo>
                    <a:lnTo>
                      <a:pt x="29105" y="4562"/>
                    </a:lnTo>
                    <a:lnTo>
                      <a:pt x="29147" y="4394"/>
                    </a:lnTo>
                    <a:lnTo>
                      <a:pt x="29189" y="4332"/>
                    </a:lnTo>
                    <a:lnTo>
                      <a:pt x="29063" y="4248"/>
                    </a:lnTo>
                    <a:lnTo>
                      <a:pt x="29042" y="4185"/>
                    </a:lnTo>
                    <a:lnTo>
                      <a:pt x="29105" y="4164"/>
                    </a:lnTo>
                    <a:lnTo>
                      <a:pt x="29168" y="4122"/>
                    </a:lnTo>
                    <a:lnTo>
                      <a:pt x="29189" y="4164"/>
                    </a:lnTo>
                    <a:lnTo>
                      <a:pt x="29272" y="4185"/>
                    </a:lnTo>
                    <a:lnTo>
                      <a:pt x="29419" y="4122"/>
                    </a:lnTo>
                    <a:lnTo>
                      <a:pt x="29481" y="4039"/>
                    </a:lnTo>
                    <a:lnTo>
                      <a:pt x="29461" y="3955"/>
                    </a:lnTo>
                    <a:lnTo>
                      <a:pt x="29481" y="3913"/>
                    </a:lnTo>
                    <a:lnTo>
                      <a:pt x="29461" y="3829"/>
                    </a:lnTo>
                    <a:lnTo>
                      <a:pt x="29377" y="3850"/>
                    </a:lnTo>
                    <a:lnTo>
                      <a:pt x="29293" y="3746"/>
                    </a:lnTo>
                    <a:lnTo>
                      <a:pt x="29042" y="3746"/>
                    </a:lnTo>
                    <a:lnTo>
                      <a:pt x="28958" y="3725"/>
                    </a:lnTo>
                    <a:lnTo>
                      <a:pt x="28896" y="3767"/>
                    </a:lnTo>
                    <a:lnTo>
                      <a:pt x="28770" y="3767"/>
                    </a:lnTo>
                    <a:lnTo>
                      <a:pt x="28665" y="3725"/>
                    </a:lnTo>
                    <a:lnTo>
                      <a:pt x="28582" y="3746"/>
                    </a:lnTo>
                    <a:lnTo>
                      <a:pt x="28519" y="3641"/>
                    </a:lnTo>
                    <a:lnTo>
                      <a:pt x="28435" y="3599"/>
                    </a:lnTo>
                    <a:lnTo>
                      <a:pt x="28435" y="3516"/>
                    </a:lnTo>
                    <a:lnTo>
                      <a:pt x="28477" y="3453"/>
                    </a:lnTo>
                    <a:lnTo>
                      <a:pt x="28456" y="3411"/>
                    </a:lnTo>
                    <a:lnTo>
                      <a:pt x="28310" y="3390"/>
                    </a:lnTo>
                    <a:lnTo>
                      <a:pt x="28226" y="3432"/>
                    </a:lnTo>
                    <a:lnTo>
                      <a:pt x="28163" y="3495"/>
                    </a:lnTo>
                    <a:lnTo>
                      <a:pt x="28226" y="3537"/>
                    </a:lnTo>
                    <a:lnTo>
                      <a:pt x="28331" y="3537"/>
                    </a:lnTo>
                    <a:lnTo>
                      <a:pt x="28268" y="3641"/>
                    </a:lnTo>
                    <a:lnTo>
                      <a:pt x="28142" y="3620"/>
                    </a:lnTo>
                    <a:lnTo>
                      <a:pt x="28059" y="3495"/>
                    </a:lnTo>
                    <a:lnTo>
                      <a:pt x="28017" y="3516"/>
                    </a:lnTo>
                    <a:lnTo>
                      <a:pt x="27954" y="3495"/>
                    </a:lnTo>
                    <a:lnTo>
                      <a:pt x="27849" y="3537"/>
                    </a:lnTo>
                    <a:lnTo>
                      <a:pt x="27828" y="3641"/>
                    </a:lnTo>
                    <a:lnTo>
                      <a:pt x="27787" y="3662"/>
                    </a:lnTo>
                    <a:lnTo>
                      <a:pt x="27808" y="3767"/>
                    </a:lnTo>
                    <a:lnTo>
                      <a:pt x="27808" y="3871"/>
                    </a:lnTo>
                    <a:lnTo>
                      <a:pt x="27891" y="3934"/>
                    </a:lnTo>
                    <a:lnTo>
                      <a:pt x="27891" y="4060"/>
                    </a:lnTo>
                    <a:lnTo>
                      <a:pt x="27828" y="4122"/>
                    </a:lnTo>
                    <a:lnTo>
                      <a:pt x="27808" y="4248"/>
                    </a:lnTo>
                    <a:lnTo>
                      <a:pt x="27787" y="4248"/>
                    </a:lnTo>
                    <a:lnTo>
                      <a:pt x="27745" y="4018"/>
                    </a:lnTo>
                    <a:lnTo>
                      <a:pt x="27703" y="3913"/>
                    </a:lnTo>
                    <a:lnTo>
                      <a:pt x="27619" y="3850"/>
                    </a:lnTo>
                    <a:lnTo>
                      <a:pt x="27598" y="3934"/>
                    </a:lnTo>
                    <a:lnTo>
                      <a:pt x="27515" y="3934"/>
                    </a:lnTo>
                    <a:lnTo>
                      <a:pt x="27431" y="4018"/>
                    </a:lnTo>
                    <a:lnTo>
                      <a:pt x="27431" y="4143"/>
                    </a:lnTo>
                    <a:lnTo>
                      <a:pt x="27515" y="4248"/>
                    </a:lnTo>
                    <a:lnTo>
                      <a:pt x="27515" y="4332"/>
                    </a:lnTo>
                    <a:lnTo>
                      <a:pt x="27619" y="4457"/>
                    </a:lnTo>
                    <a:lnTo>
                      <a:pt x="27745" y="4457"/>
                    </a:lnTo>
                    <a:lnTo>
                      <a:pt x="27808" y="4353"/>
                    </a:lnTo>
                    <a:lnTo>
                      <a:pt x="27828" y="4353"/>
                    </a:lnTo>
                    <a:lnTo>
                      <a:pt x="27849" y="4457"/>
                    </a:lnTo>
                    <a:lnTo>
                      <a:pt x="27933" y="4583"/>
                    </a:lnTo>
                    <a:lnTo>
                      <a:pt x="27933" y="4666"/>
                    </a:lnTo>
                    <a:lnTo>
                      <a:pt x="27849" y="4666"/>
                    </a:lnTo>
                    <a:lnTo>
                      <a:pt x="27808" y="4562"/>
                    </a:lnTo>
                    <a:lnTo>
                      <a:pt x="27724" y="4541"/>
                    </a:lnTo>
                    <a:lnTo>
                      <a:pt x="27619" y="4562"/>
                    </a:lnTo>
                    <a:lnTo>
                      <a:pt x="27577" y="4604"/>
                    </a:lnTo>
                    <a:lnTo>
                      <a:pt x="27619" y="4708"/>
                    </a:lnTo>
                    <a:lnTo>
                      <a:pt x="27598" y="4792"/>
                    </a:lnTo>
                    <a:lnTo>
                      <a:pt x="27515" y="4876"/>
                    </a:lnTo>
                    <a:lnTo>
                      <a:pt x="27536" y="4959"/>
                    </a:lnTo>
                    <a:lnTo>
                      <a:pt x="27473" y="5085"/>
                    </a:lnTo>
                    <a:lnTo>
                      <a:pt x="27410" y="5127"/>
                    </a:lnTo>
                    <a:lnTo>
                      <a:pt x="27431" y="5231"/>
                    </a:lnTo>
                    <a:lnTo>
                      <a:pt x="27389" y="5294"/>
                    </a:lnTo>
                    <a:lnTo>
                      <a:pt x="27284" y="5273"/>
                    </a:lnTo>
                    <a:lnTo>
                      <a:pt x="27201" y="5169"/>
                    </a:lnTo>
                    <a:lnTo>
                      <a:pt x="27201" y="5064"/>
                    </a:lnTo>
                    <a:lnTo>
                      <a:pt x="27075" y="4897"/>
                    </a:lnTo>
                    <a:lnTo>
                      <a:pt x="27075" y="4792"/>
                    </a:lnTo>
                    <a:lnTo>
                      <a:pt x="27054" y="4708"/>
                    </a:lnTo>
                    <a:lnTo>
                      <a:pt x="26950" y="4687"/>
                    </a:lnTo>
                    <a:lnTo>
                      <a:pt x="26950" y="4646"/>
                    </a:lnTo>
                    <a:lnTo>
                      <a:pt x="26992" y="4604"/>
                    </a:lnTo>
                    <a:lnTo>
                      <a:pt x="27033" y="4562"/>
                    </a:lnTo>
                    <a:lnTo>
                      <a:pt x="26992" y="4478"/>
                    </a:lnTo>
                    <a:lnTo>
                      <a:pt x="26887" y="4457"/>
                    </a:lnTo>
                    <a:lnTo>
                      <a:pt x="26740" y="4499"/>
                    </a:lnTo>
                    <a:lnTo>
                      <a:pt x="26699" y="4457"/>
                    </a:lnTo>
                    <a:lnTo>
                      <a:pt x="26657" y="4478"/>
                    </a:lnTo>
                    <a:lnTo>
                      <a:pt x="26594" y="4562"/>
                    </a:lnTo>
                    <a:lnTo>
                      <a:pt x="26489" y="4604"/>
                    </a:lnTo>
                    <a:lnTo>
                      <a:pt x="26364" y="4792"/>
                    </a:lnTo>
                    <a:lnTo>
                      <a:pt x="26427" y="4876"/>
                    </a:lnTo>
                    <a:lnTo>
                      <a:pt x="26427" y="5064"/>
                    </a:lnTo>
                    <a:lnTo>
                      <a:pt x="26385" y="5127"/>
                    </a:lnTo>
                    <a:lnTo>
                      <a:pt x="26448" y="5210"/>
                    </a:lnTo>
                    <a:lnTo>
                      <a:pt x="26427" y="5378"/>
                    </a:lnTo>
                    <a:lnTo>
                      <a:pt x="26322" y="5420"/>
                    </a:lnTo>
                    <a:lnTo>
                      <a:pt x="26322" y="5545"/>
                    </a:lnTo>
                    <a:lnTo>
                      <a:pt x="26364" y="5608"/>
                    </a:lnTo>
                    <a:lnTo>
                      <a:pt x="26448" y="5587"/>
                    </a:lnTo>
                    <a:lnTo>
                      <a:pt x="26489" y="5629"/>
                    </a:lnTo>
                    <a:lnTo>
                      <a:pt x="26573" y="5587"/>
                    </a:lnTo>
                    <a:lnTo>
                      <a:pt x="26636" y="5608"/>
                    </a:lnTo>
                    <a:lnTo>
                      <a:pt x="26636" y="5734"/>
                    </a:lnTo>
                    <a:lnTo>
                      <a:pt x="26657" y="5796"/>
                    </a:lnTo>
                    <a:lnTo>
                      <a:pt x="26699" y="5796"/>
                    </a:lnTo>
                    <a:lnTo>
                      <a:pt x="26782" y="5922"/>
                    </a:lnTo>
                    <a:lnTo>
                      <a:pt x="26782" y="6110"/>
                    </a:lnTo>
                    <a:lnTo>
                      <a:pt x="26887" y="6236"/>
                    </a:lnTo>
                    <a:lnTo>
                      <a:pt x="26887" y="6319"/>
                    </a:lnTo>
                    <a:lnTo>
                      <a:pt x="26929" y="6424"/>
                    </a:lnTo>
                    <a:lnTo>
                      <a:pt x="27012" y="6466"/>
                    </a:lnTo>
                    <a:lnTo>
                      <a:pt x="26992" y="6550"/>
                    </a:lnTo>
                    <a:lnTo>
                      <a:pt x="27012" y="6696"/>
                    </a:lnTo>
                    <a:lnTo>
                      <a:pt x="26929" y="6842"/>
                    </a:lnTo>
                    <a:lnTo>
                      <a:pt x="27012" y="6905"/>
                    </a:lnTo>
                    <a:lnTo>
                      <a:pt x="27033" y="7052"/>
                    </a:lnTo>
                    <a:lnTo>
                      <a:pt x="27012" y="7156"/>
                    </a:lnTo>
                    <a:lnTo>
                      <a:pt x="27033" y="7198"/>
                    </a:lnTo>
                    <a:lnTo>
                      <a:pt x="27117" y="7156"/>
                    </a:lnTo>
                    <a:lnTo>
                      <a:pt x="27180" y="7198"/>
                    </a:lnTo>
                    <a:lnTo>
                      <a:pt x="27180" y="7324"/>
                    </a:lnTo>
                    <a:lnTo>
                      <a:pt x="27264" y="7387"/>
                    </a:lnTo>
                    <a:lnTo>
                      <a:pt x="27410" y="7324"/>
                    </a:lnTo>
                    <a:lnTo>
                      <a:pt x="27452" y="7198"/>
                    </a:lnTo>
                    <a:lnTo>
                      <a:pt x="27598" y="7114"/>
                    </a:lnTo>
                    <a:lnTo>
                      <a:pt x="27619" y="7010"/>
                    </a:lnTo>
                    <a:lnTo>
                      <a:pt x="27556" y="6968"/>
                    </a:lnTo>
                    <a:lnTo>
                      <a:pt x="27494" y="6759"/>
                    </a:lnTo>
                    <a:lnTo>
                      <a:pt x="27515" y="6654"/>
                    </a:lnTo>
                    <a:lnTo>
                      <a:pt x="27703" y="6466"/>
                    </a:lnTo>
                    <a:lnTo>
                      <a:pt x="27703" y="6550"/>
                    </a:lnTo>
                    <a:lnTo>
                      <a:pt x="27598" y="6675"/>
                    </a:lnTo>
                    <a:lnTo>
                      <a:pt x="27640" y="6905"/>
                    </a:lnTo>
                    <a:lnTo>
                      <a:pt x="27724" y="6947"/>
                    </a:lnTo>
                    <a:lnTo>
                      <a:pt x="27828" y="6884"/>
                    </a:lnTo>
                    <a:lnTo>
                      <a:pt x="27954" y="6968"/>
                    </a:lnTo>
                    <a:lnTo>
                      <a:pt x="28121" y="6905"/>
                    </a:lnTo>
                    <a:lnTo>
                      <a:pt x="28121" y="6842"/>
                    </a:lnTo>
                    <a:lnTo>
                      <a:pt x="28247" y="6780"/>
                    </a:lnTo>
                    <a:lnTo>
                      <a:pt x="28352" y="6780"/>
                    </a:lnTo>
                    <a:lnTo>
                      <a:pt x="28435" y="6738"/>
                    </a:lnTo>
                    <a:lnTo>
                      <a:pt x="28477" y="6780"/>
                    </a:lnTo>
                    <a:lnTo>
                      <a:pt x="28498" y="6759"/>
                    </a:lnTo>
                    <a:lnTo>
                      <a:pt x="28498" y="6759"/>
                    </a:lnTo>
                    <a:cubicBezTo>
                      <a:pt x="28477" y="6863"/>
                      <a:pt x="28456" y="6989"/>
                      <a:pt x="28456" y="7094"/>
                    </a:cubicBezTo>
                    <a:lnTo>
                      <a:pt x="28435" y="7114"/>
                    </a:lnTo>
                    <a:lnTo>
                      <a:pt x="28456" y="7156"/>
                    </a:lnTo>
                    <a:lnTo>
                      <a:pt x="28456" y="7219"/>
                    </a:lnTo>
                    <a:cubicBezTo>
                      <a:pt x="28456" y="7283"/>
                      <a:pt x="28503" y="7308"/>
                      <a:pt x="28554" y="7308"/>
                    </a:cubicBezTo>
                    <a:cubicBezTo>
                      <a:pt x="28586" y="7308"/>
                      <a:pt x="28620" y="7298"/>
                      <a:pt x="28644" y="7282"/>
                    </a:cubicBezTo>
                    <a:lnTo>
                      <a:pt x="28707" y="7282"/>
                    </a:lnTo>
                    <a:lnTo>
                      <a:pt x="28707" y="7324"/>
                    </a:lnTo>
                    <a:lnTo>
                      <a:pt x="28582" y="7533"/>
                    </a:lnTo>
                    <a:lnTo>
                      <a:pt x="28561" y="7617"/>
                    </a:lnTo>
                    <a:lnTo>
                      <a:pt x="28456" y="7679"/>
                    </a:lnTo>
                    <a:lnTo>
                      <a:pt x="28477" y="7596"/>
                    </a:lnTo>
                    <a:lnTo>
                      <a:pt x="28435" y="7533"/>
                    </a:lnTo>
                    <a:lnTo>
                      <a:pt x="28477" y="7407"/>
                    </a:lnTo>
                    <a:lnTo>
                      <a:pt x="28393" y="7324"/>
                    </a:lnTo>
                    <a:lnTo>
                      <a:pt x="28268" y="7387"/>
                    </a:lnTo>
                    <a:lnTo>
                      <a:pt x="28184" y="7512"/>
                    </a:lnTo>
                    <a:lnTo>
                      <a:pt x="28121" y="7512"/>
                    </a:lnTo>
                    <a:lnTo>
                      <a:pt x="28038" y="7679"/>
                    </a:lnTo>
                    <a:lnTo>
                      <a:pt x="27954" y="7700"/>
                    </a:lnTo>
                    <a:lnTo>
                      <a:pt x="27870" y="7910"/>
                    </a:lnTo>
                    <a:lnTo>
                      <a:pt x="27724" y="8056"/>
                    </a:lnTo>
                    <a:lnTo>
                      <a:pt x="27703" y="8203"/>
                    </a:lnTo>
                    <a:lnTo>
                      <a:pt x="27745" y="8328"/>
                    </a:lnTo>
                    <a:lnTo>
                      <a:pt x="27745" y="8412"/>
                    </a:lnTo>
                    <a:lnTo>
                      <a:pt x="27808" y="8433"/>
                    </a:lnTo>
                    <a:lnTo>
                      <a:pt x="27870" y="8370"/>
                    </a:lnTo>
                    <a:lnTo>
                      <a:pt x="27933" y="8370"/>
                    </a:lnTo>
                    <a:lnTo>
                      <a:pt x="27933" y="8454"/>
                    </a:lnTo>
                    <a:lnTo>
                      <a:pt x="27828" y="8537"/>
                    </a:lnTo>
                    <a:lnTo>
                      <a:pt x="27828" y="8579"/>
                    </a:lnTo>
                    <a:lnTo>
                      <a:pt x="27724" y="8579"/>
                    </a:lnTo>
                    <a:lnTo>
                      <a:pt x="27619" y="8642"/>
                    </a:lnTo>
                    <a:lnTo>
                      <a:pt x="27431" y="8830"/>
                    </a:lnTo>
                    <a:lnTo>
                      <a:pt x="27347" y="8935"/>
                    </a:lnTo>
                    <a:lnTo>
                      <a:pt x="27326" y="9207"/>
                    </a:lnTo>
                    <a:lnTo>
                      <a:pt x="27389" y="9311"/>
                    </a:lnTo>
                    <a:lnTo>
                      <a:pt x="27389" y="9395"/>
                    </a:lnTo>
                    <a:lnTo>
                      <a:pt x="27326" y="9500"/>
                    </a:lnTo>
                    <a:lnTo>
                      <a:pt x="27347" y="9563"/>
                    </a:lnTo>
                    <a:lnTo>
                      <a:pt x="27389" y="9625"/>
                    </a:lnTo>
                    <a:lnTo>
                      <a:pt x="27452" y="9625"/>
                    </a:lnTo>
                    <a:lnTo>
                      <a:pt x="27515" y="9667"/>
                    </a:lnTo>
                    <a:lnTo>
                      <a:pt x="27536" y="9793"/>
                    </a:lnTo>
                    <a:lnTo>
                      <a:pt x="27640" y="9835"/>
                    </a:lnTo>
                    <a:lnTo>
                      <a:pt x="27703" y="9939"/>
                    </a:lnTo>
                    <a:lnTo>
                      <a:pt x="27745" y="9939"/>
                    </a:lnTo>
                    <a:lnTo>
                      <a:pt x="27828" y="9814"/>
                    </a:lnTo>
                    <a:lnTo>
                      <a:pt x="27808" y="9939"/>
                    </a:lnTo>
                    <a:lnTo>
                      <a:pt x="27849" y="10107"/>
                    </a:lnTo>
                    <a:lnTo>
                      <a:pt x="28017" y="10127"/>
                    </a:lnTo>
                    <a:lnTo>
                      <a:pt x="28080" y="10190"/>
                    </a:lnTo>
                    <a:lnTo>
                      <a:pt x="28184" y="10190"/>
                    </a:lnTo>
                    <a:lnTo>
                      <a:pt x="28331" y="10211"/>
                    </a:lnTo>
                    <a:lnTo>
                      <a:pt x="28331" y="10295"/>
                    </a:lnTo>
                    <a:lnTo>
                      <a:pt x="28226" y="10504"/>
                    </a:lnTo>
                    <a:lnTo>
                      <a:pt x="28121" y="10546"/>
                    </a:lnTo>
                    <a:lnTo>
                      <a:pt x="28080" y="10525"/>
                    </a:lnTo>
                    <a:lnTo>
                      <a:pt x="28121" y="10420"/>
                    </a:lnTo>
                    <a:lnTo>
                      <a:pt x="28226" y="10379"/>
                    </a:lnTo>
                    <a:lnTo>
                      <a:pt x="28080" y="10337"/>
                    </a:lnTo>
                    <a:lnTo>
                      <a:pt x="27954" y="10379"/>
                    </a:lnTo>
                    <a:lnTo>
                      <a:pt x="27849" y="10504"/>
                    </a:lnTo>
                    <a:lnTo>
                      <a:pt x="27912" y="10546"/>
                    </a:lnTo>
                    <a:lnTo>
                      <a:pt x="27912" y="10630"/>
                    </a:lnTo>
                    <a:lnTo>
                      <a:pt x="27745" y="10713"/>
                    </a:lnTo>
                    <a:lnTo>
                      <a:pt x="27661" y="10797"/>
                    </a:lnTo>
                    <a:lnTo>
                      <a:pt x="27598" y="10797"/>
                    </a:lnTo>
                    <a:lnTo>
                      <a:pt x="27515" y="10944"/>
                    </a:lnTo>
                    <a:lnTo>
                      <a:pt x="27536" y="11006"/>
                    </a:lnTo>
                    <a:lnTo>
                      <a:pt x="27619" y="11006"/>
                    </a:lnTo>
                    <a:lnTo>
                      <a:pt x="27661" y="11048"/>
                    </a:lnTo>
                    <a:lnTo>
                      <a:pt x="27766" y="11027"/>
                    </a:lnTo>
                    <a:lnTo>
                      <a:pt x="27828" y="10923"/>
                    </a:lnTo>
                    <a:lnTo>
                      <a:pt x="27808" y="10860"/>
                    </a:lnTo>
                    <a:lnTo>
                      <a:pt x="27870" y="10839"/>
                    </a:lnTo>
                    <a:lnTo>
                      <a:pt x="27954" y="10797"/>
                    </a:lnTo>
                    <a:lnTo>
                      <a:pt x="28017" y="10839"/>
                    </a:lnTo>
                    <a:lnTo>
                      <a:pt x="27975" y="10944"/>
                    </a:lnTo>
                    <a:lnTo>
                      <a:pt x="27912" y="11069"/>
                    </a:lnTo>
                    <a:lnTo>
                      <a:pt x="27870" y="11236"/>
                    </a:lnTo>
                    <a:lnTo>
                      <a:pt x="27870" y="11320"/>
                    </a:lnTo>
                    <a:lnTo>
                      <a:pt x="27808" y="11383"/>
                    </a:lnTo>
                    <a:lnTo>
                      <a:pt x="27640" y="11425"/>
                    </a:lnTo>
                    <a:lnTo>
                      <a:pt x="27536" y="11529"/>
                    </a:lnTo>
                    <a:lnTo>
                      <a:pt x="27452" y="11550"/>
                    </a:lnTo>
                    <a:lnTo>
                      <a:pt x="27452" y="11592"/>
                    </a:lnTo>
                    <a:lnTo>
                      <a:pt x="27410" y="11697"/>
                    </a:lnTo>
                    <a:lnTo>
                      <a:pt x="27138" y="11801"/>
                    </a:lnTo>
                    <a:lnTo>
                      <a:pt x="27075" y="11906"/>
                    </a:lnTo>
                    <a:lnTo>
                      <a:pt x="26971" y="11948"/>
                    </a:lnTo>
                    <a:lnTo>
                      <a:pt x="26929" y="11885"/>
                    </a:lnTo>
                    <a:lnTo>
                      <a:pt x="26887" y="11885"/>
                    </a:lnTo>
                    <a:lnTo>
                      <a:pt x="26866" y="11843"/>
                    </a:lnTo>
                    <a:lnTo>
                      <a:pt x="26803" y="11906"/>
                    </a:lnTo>
                    <a:lnTo>
                      <a:pt x="26720" y="11948"/>
                    </a:lnTo>
                    <a:lnTo>
                      <a:pt x="26720" y="11948"/>
                    </a:lnTo>
                    <a:lnTo>
                      <a:pt x="26761" y="11885"/>
                    </a:lnTo>
                    <a:lnTo>
                      <a:pt x="26720" y="11843"/>
                    </a:lnTo>
                    <a:lnTo>
                      <a:pt x="26615" y="11948"/>
                    </a:lnTo>
                    <a:lnTo>
                      <a:pt x="26573" y="12094"/>
                    </a:lnTo>
                    <a:lnTo>
                      <a:pt x="26468" y="12262"/>
                    </a:lnTo>
                    <a:lnTo>
                      <a:pt x="26448" y="12304"/>
                    </a:lnTo>
                    <a:lnTo>
                      <a:pt x="26489" y="12387"/>
                    </a:lnTo>
                    <a:lnTo>
                      <a:pt x="26489" y="12471"/>
                    </a:lnTo>
                    <a:lnTo>
                      <a:pt x="26406" y="12617"/>
                    </a:lnTo>
                    <a:lnTo>
                      <a:pt x="26406" y="12701"/>
                    </a:lnTo>
                    <a:lnTo>
                      <a:pt x="26468" y="12785"/>
                    </a:lnTo>
                    <a:lnTo>
                      <a:pt x="26385" y="12827"/>
                    </a:lnTo>
                    <a:lnTo>
                      <a:pt x="26343" y="12952"/>
                    </a:lnTo>
                    <a:lnTo>
                      <a:pt x="26364" y="12952"/>
                    </a:lnTo>
                    <a:lnTo>
                      <a:pt x="26448" y="12931"/>
                    </a:lnTo>
                    <a:lnTo>
                      <a:pt x="26489" y="12848"/>
                    </a:lnTo>
                    <a:lnTo>
                      <a:pt x="26594" y="12889"/>
                    </a:lnTo>
                    <a:lnTo>
                      <a:pt x="26699" y="12806"/>
                    </a:lnTo>
                    <a:lnTo>
                      <a:pt x="26615" y="12910"/>
                    </a:lnTo>
                    <a:lnTo>
                      <a:pt x="26510" y="12910"/>
                    </a:lnTo>
                    <a:lnTo>
                      <a:pt x="26406" y="13015"/>
                    </a:lnTo>
                    <a:lnTo>
                      <a:pt x="26259" y="13057"/>
                    </a:lnTo>
                    <a:lnTo>
                      <a:pt x="26259" y="13203"/>
                    </a:lnTo>
                    <a:lnTo>
                      <a:pt x="26176" y="13266"/>
                    </a:lnTo>
                    <a:lnTo>
                      <a:pt x="26071" y="13203"/>
                    </a:lnTo>
                    <a:lnTo>
                      <a:pt x="25945" y="13203"/>
                    </a:lnTo>
                    <a:lnTo>
                      <a:pt x="25862" y="13120"/>
                    </a:lnTo>
                    <a:lnTo>
                      <a:pt x="25778" y="13161"/>
                    </a:lnTo>
                    <a:lnTo>
                      <a:pt x="25820" y="13350"/>
                    </a:lnTo>
                    <a:lnTo>
                      <a:pt x="25631" y="13245"/>
                    </a:lnTo>
                    <a:lnTo>
                      <a:pt x="25694" y="12994"/>
                    </a:lnTo>
                    <a:lnTo>
                      <a:pt x="25631" y="12827"/>
                    </a:lnTo>
                    <a:lnTo>
                      <a:pt x="25548" y="12722"/>
                    </a:lnTo>
                    <a:lnTo>
                      <a:pt x="25590" y="12555"/>
                    </a:lnTo>
                    <a:lnTo>
                      <a:pt x="25631" y="12555"/>
                    </a:lnTo>
                    <a:lnTo>
                      <a:pt x="25673" y="12722"/>
                    </a:lnTo>
                    <a:lnTo>
                      <a:pt x="25820" y="12638"/>
                    </a:lnTo>
                    <a:lnTo>
                      <a:pt x="25862" y="12743"/>
                    </a:lnTo>
                    <a:lnTo>
                      <a:pt x="25987" y="12806"/>
                    </a:lnTo>
                    <a:lnTo>
                      <a:pt x="26071" y="12722"/>
                    </a:lnTo>
                    <a:lnTo>
                      <a:pt x="26071" y="12638"/>
                    </a:lnTo>
                    <a:lnTo>
                      <a:pt x="26134" y="12492"/>
                    </a:lnTo>
                    <a:lnTo>
                      <a:pt x="26029" y="12513"/>
                    </a:lnTo>
                    <a:lnTo>
                      <a:pt x="25945" y="12492"/>
                    </a:lnTo>
                    <a:lnTo>
                      <a:pt x="26029" y="12429"/>
                    </a:lnTo>
                    <a:lnTo>
                      <a:pt x="26092" y="12304"/>
                    </a:lnTo>
                    <a:lnTo>
                      <a:pt x="26029" y="12304"/>
                    </a:lnTo>
                    <a:lnTo>
                      <a:pt x="25945" y="12387"/>
                    </a:lnTo>
                    <a:lnTo>
                      <a:pt x="25778" y="12429"/>
                    </a:lnTo>
                    <a:lnTo>
                      <a:pt x="25778" y="12345"/>
                    </a:lnTo>
                    <a:lnTo>
                      <a:pt x="25924" y="12283"/>
                    </a:lnTo>
                    <a:lnTo>
                      <a:pt x="25924" y="12178"/>
                    </a:lnTo>
                    <a:lnTo>
                      <a:pt x="25841" y="12178"/>
                    </a:lnTo>
                    <a:lnTo>
                      <a:pt x="25736" y="12220"/>
                    </a:lnTo>
                    <a:lnTo>
                      <a:pt x="25736" y="12136"/>
                    </a:lnTo>
                    <a:lnTo>
                      <a:pt x="25778" y="11969"/>
                    </a:lnTo>
                    <a:lnTo>
                      <a:pt x="25862" y="11864"/>
                    </a:lnTo>
                    <a:lnTo>
                      <a:pt x="25883" y="11969"/>
                    </a:lnTo>
                    <a:lnTo>
                      <a:pt x="25945" y="11906"/>
                    </a:lnTo>
                    <a:lnTo>
                      <a:pt x="25945" y="11822"/>
                    </a:lnTo>
                    <a:lnTo>
                      <a:pt x="26092" y="11676"/>
                    </a:lnTo>
                    <a:lnTo>
                      <a:pt x="26092" y="11592"/>
                    </a:lnTo>
                    <a:lnTo>
                      <a:pt x="26280" y="11488"/>
                    </a:lnTo>
                    <a:lnTo>
                      <a:pt x="26280" y="11362"/>
                    </a:lnTo>
                    <a:lnTo>
                      <a:pt x="26364" y="11299"/>
                    </a:lnTo>
                    <a:lnTo>
                      <a:pt x="26448" y="11278"/>
                    </a:lnTo>
                    <a:lnTo>
                      <a:pt x="26448" y="11236"/>
                    </a:lnTo>
                    <a:lnTo>
                      <a:pt x="26343" y="11236"/>
                    </a:lnTo>
                    <a:lnTo>
                      <a:pt x="26196" y="11257"/>
                    </a:lnTo>
                    <a:lnTo>
                      <a:pt x="26155" y="11425"/>
                    </a:lnTo>
                    <a:lnTo>
                      <a:pt x="26029" y="11488"/>
                    </a:lnTo>
                    <a:lnTo>
                      <a:pt x="25945" y="11467"/>
                    </a:lnTo>
                    <a:lnTo>
                      <a:pt x="25966" y="11425"/>
                    </a:lnTo>
                    <a:lnTo>
                      <a:pt x="26113" y="11362"/>
                    </a:lnTo>
                    <a:lnTo>
                      <a:pt x="26134" y="11257"/>
                    </a:lnTo>
                    <a:lnTo>
                      <a:pt x="26050" y="11216"/>
                    </a:lnTo>
                    <a:lnTo>
                      <a:pt x="25966" y="11236"/>
                    </a:lnTo>
                    <a:lnTo>
                      <a:pt x="25883" y="11153"/>
                    </a:lnTo>
                    <a:lnTo>
                      <a:pt x="25924" y="11069"/>
                    </a:lnTo>
                    <a:lnTo>
                      <a:pt x="25945" y="10944"/>
                    </a:lnTo>
                    <a:lnTo>
                      <a:pt x="25862" y="10860"/>
                    </a:lnTo>
                    <a:lnTo>
                      <a:pt x="25820" y="10902"/>
                    </a:lnTo>
                    <a:lnTo>
                      <a:pt x="25778" y="10964"/>
                    </a:lnTo>
                    <a:lnTo>
                      <a:pt x="25778" y="10902"/>
                    </a:lnTo>
                    <a:lnTo>
                      <a:pt x="25820" y="10818"/>
                    </a:lnTo>
                    <a:lnTo>
                      <a:pt x="25757" y="10713"/>
                    </a:lnTo>
                    <a:lnTo>
                      <a:pt x="25652" y="10713"/>
                    </a:lnTo>
                    <a:lnTo>
                      <a:pt x="25631" y="10902"/>
                    </a:lnTo>
                    <a:lnTo>
                      <a:pt x="25527" y="10964"/>
                    </a:lnTo>
                    <a:lnTo>
                      <a:pt x="25506" y="11027"/>
                    </a:lnTo>
                    <a:lnTo>
                      <a:pt x="25443" y="10985"/>
                    </a:lnTo>
                    <a:lnTo>
                      <a:pt x="25443" y="10923"/>
                    </a:lnTo>
                    <a:lnTo>
                      <a:pt x="25401" y="10839"/>
                    </a:lnTo>
                    <a:lnTo>
                      <a:pt x="25318" y="10839"/>
                    </a:lnTo>
                    <a:lnTo>
                      <a:pt x="25297" y="10923"/>
                    </a:lnTo>
                    <a:lnTo>
                      <a:pt x="25318" y="10964"/>
                    </a:lnTo>
                    <a:lnTo>
                      <a:pt x="25297" y="11027"/>
                    </a:lnTo>
                    <a:lnTo>
                      <a:pt x="25339" y="11132"/>
                    </a:lnTo>
                    <a:lnTo>
                      <a:pt x="25339" y="11195"/>
                    </a:lnTo>
                    <a:lnTo>
                      <a:pt x="25297" y="11257"/>
                    </a:lnTo>
                    <a:lnTo>
                      <a:pt x="25234" y="11195"/>
                    </a:lnTo>
                    <a:lnTo>
                      <a:pt x="25234" y="11132"/>
                    </a:lnTo>
                    <a:lnTo>
                      <a:pt x="25192" y="11132"/>
                    </a:lnTo>
                    <a:lnTo>
                      <a:pt x="25171" y="11195"/>
                    </a:lnTo>
                    <a:lnTo>
                      <a:pt x="25213" y="11446"/>
                    </a:lnTo>
                    <a:lnTo>
                      <a:pt x="25234" y="11592"/>
                    </a:lnTo>
                    <a:lnTo>
                      <a:pt x="25401" y="11676"/>
                    </a:lnTo>
                    <a:lnTo>
                      <a:pt x="25443" y="11760"/>
                    </a:lnTo>
                    <a:lnTo>
                      <a:pt x="25443" y="11990"/>
                    </a:lnTo>
                    <a:lnTo>
                      <a:pt x="25422" y="11864"/>
                    </a:lnTo>
                    <a:lnTo>
                      <a:pt x="25339" y="11801"/>
                    </a:lnTo>
                    <a:lnTo>
                      <a:pt x="25192" y="11613"/>
                    </a:lnTo>
                    <a:lnTo>
                      <a:pt x="25171" y="11467"/>
                    </a:lnTo>
                    <a:lnTo>
                      <a:pt x="25108" y="11278"/>
                    </a:lnTo>
                    <a:lnTo>
                      <a:pt x="25025" y="11278"/>
                    </a:lnTo>
                    <a:lnTo>
                      <a:pt x="24983" y="11341"/>
                    </a:lnTo>
                    <a:lnTo>
                      <a:pt x="25004" y="11488"/>
                    </a:lnTo>
                    <a:lnTo>
                      <a:pt x="25087" y="11592"/>
                    </a:lnTo>
                    <a:lnTo>
                      <a:pt x="25108" y="11718"/>
                    </a:lnTo>
                    <a:lnTo>
                      <a:pt x="25067" y="11760"/>
                    </a:lnTo>
                    <a:lnTo>
                      <a:pt x="24983" y="11655"/>
                    </a:lnTo>
                    <a:lnTo>
                      <a:pt x="24774" y="11697"/>
                    </a:lnTo>
                    <a:lnTo>
                      <a:pt x="24711" y="11760"/>
                    </a:lnTo>
                    <a:lnTo>
                      <a:pt x="24648" y="11676"/>
                    </a:lnTo>
                    <a:lnTo>
                      <a:pt x="24564" y="11655"/>
                    </a:lnTo>
                    <a:lnTo>
                      <a:pt x="24376" y="11488"/>
                    </a:lnTo>
                    <a:lnTo>
                      <a:pt x="24146" y="11488"/>
                    </a:lnTo>
                    <a:lnTo>
                      <a:pt x="24125" y="11404"/>
                    </a:lnTo>
                    <a:lnTo>
                      <a:pt x="24083" y="11404"/>
                    </a:lnTo>
                    <a:lnTo>
                      <a:pt x="23937" y="11488"/>
                    </a:lnTo>
                    <a:lnTo>
                      <a:pt x="23874" y="11571"/>
                    </a:lnTo>
                    <a:lnTo>
                      <a:pt x="23707" y="11571"/>
                    </a:lnTo>
                    <a:lnTo>
                      <a:pt x="23560" y="11655"/>
                    </a:lnTo>
                    <a:lnTo>
                      <a:pt x="23435" y="11550"/>
                    </a:lnTo>
                    <a:lnTo>
                      <a:pt x="23414" y="11550"/>
                    </a:lnTo>
                    <a:lnTo>
                      <a:pt x="23393" y="11446"/>
                    </a:lnTo>
                    <a:lnTo>
                      <a:pt x="23330" y="11404"/>
                    </a:lnTo>
                    <a:lnTo>
                      <a:pt x="23204" y="11488"/>
                    </a:lnTo>
                    <a:lnTo>
                      <a:pt x="23204" y="11404"/>
                    </a:lnTo>
                    <a:lnTo>
                      <a:pt x="23037" y="11257"/>
                    </a:lnTo>
                    <a:lnTo>
                      <a:pt x="23016" y="11174"/>
                    </a:lnTo>
                    <a:lnTo>
                      <a:pt x="22974" y="11153"/>
                    </a:lnTo>
                    <a:lnTo>
                      <a:pt x="22974" y="11069"/>
                    </a:lnTo>
                    <a:lnTo>
                      <a:pt x="22995" y="11027"/>
                    </a:lnTo>
                    <a:lnTo>
                      <a:pt x="22932" y="10944"/>
                    </a:lnTo>
                    <a:lnTo>
                      <a:pt x="22890" y="10964"/>
                    </a:lnTo>
                    <a:lnTo>
                      <a:pt x="22870" y="10944"/>
                    </a:lnTo>
                    <a:lnTo>
                      <a:pt x="22870" y="10860"/>
                    </a:lnTo>
                    <a:lnTo>
                      <a:pt x="22807" y="10839"/>
                    </a:lnTo>
                    <a:lnTo>
                      <a:pt x="22702" y="10881"/>
                    </a:lnTo>
                    <a:lnTo>
                      <a:pt x="22577" y="10881"/>
                    </a:lnTo>
                    <a:lnTo>
                      <a:pt x="22493" y="10818"/>
                    </a:lnTo>
                    <a:lnTo>
                      <a:pt x="22451" y="10818"/>
                    </a:lnTo>
                    <a:lnTo>
                      <a:pt x="22409" y="10755"/>
                    </a:lnTo>
                    <a:lnTo>
                      <a:pt x="22305" y="10713"/>
                    </a:lnTo>
                    <a:lnTo>
                      <a:pt x="22200" y="10713"/>
                    </a:lnTo>
                    <a:lnTo>
                      <a:pt x="22263" y="10630"/>
                    </a:lnTo>
                    <a:lnTo>
                      <a:pt x="22263" y="10546"/>
                    </a:lnTo>
                    <a:lnTo>
                      <a:pt x="22346" y="10462"/>
                    </a:lnTo>
                    <a:lnTo>
                      <a:pt x="22346" y="10420"/>
                    </a:lnTo>
                    <a:lnTo>
                      <a:pt x="22263" y="10400"/>
                    </a:lnTo>
                    <a:lnTo>
                      <a:pt x="22179" y="10400"/>
                    </a:lnTo>
                    <a:lnTo>
                      <a:pt x="22158" y="10148"/>
                    </a:lnTo>
                    <a:lnTo>
                      <a:pt x="22095" y="10127"/>
                    </a:lnTo>
                    <a:lnTo>
                      <a:pt x="22095" y="10086"/>
                    </a:lnTo>
                    <a:lnTo>
                      <a:pt x="22179" y="10023"/>
                    </a:lnTo>
                    <a:lnTo>
                      <a:pt x="22200" y="9981"/>
                    </a:lnTo>
                    <a:lnTo>
                      <a:pt x="22158" y="9939"/>
                    </a:lnTo>
                    <a:lnTo>
                      <a:pt x="22179" y="9876"/>
                    </a:lnTo>
                    <a:lnTo>
                      <a:pt x="22179" y="9772"/>
                    </a:lnTo>
                    <a:cubicBezTo>
                      <a:pt x="22284" y="9709"/>
                      <a:pt x="22388" y="9688"/>
                      <a:pt x="22493" y="9604"/>
                    </a:cubicBezTo>
                    <a:lnTo>
                      <a:pt x="22514" y="9625"/>
                    </a:lnTo>
                    <a:lnTo>
                      <a:pt x="22598" y="9604"/>
                    </a:lnTo>
                    <a:lnTo>
                      <a:pt x="22681" y="9500"/>
                    </a:lnTo>
                    <a:lnTo>
                      <a:pt x="22702" y="9500"/>
                    </a:lnTo>
                    <a:lnTo>
                      <a:pt x="22702" y="9604"/>
                    </a:lnTo>
                    <a:lnTo>
                      <a:pt x="22765" y="9709"/>
                    </a:lnTo>
                    <a:lnTo>
                      <a:pt x="22828" y="9730"/>
                    </a:lnTo>
                    <a:lnTo>
                      <a:pt x="22911" y="9688"/>
                    </a:lnTo>
                    <a:lnTo>
                      <a:pt x="22995" y="9709"/>
                    </a:lnTo>
                    <a:lnTo>
                      <a:pt x="23037" y="9793"/>
                    </a:lnTo>
                    <a:lnTo>
                      <a:pt x="23121" y="9793"/>
                    </a:lnTo>
                    <a:lnTo>
                      <a:pt x="23183" y="9835"/>
                    </a:lnTo>
                    <a:lnTo>
                      <a:pt x="23225" y="9835"/>
                    </a:lnTo>
                    <a:lnTo>
                      <a:pt x="23225" y="9730"/>
                    </a:lnTo>
                    <a:lnTo>
                      <a:pt x="23288" y="9730"/>
                    </a:lnTo>
                    <a:lnTo>
                      <a:pt x="23351" y="9709"/>
                    </a:lnTo>
                    <a:lnTo>
                      <a:pt x="23414" y="9730"/>
                    </a:lnTo>
                    <a:lnTo>
                      <a:pt x="23414" y="9814"/>
                    </a:lnTo>
                    <a:lnTo>
                      <a:pt x="23455" y="9835"/>
                    </a:lnTo>
                    <a:lnTo>
                      <a:pt x="23539" y="9814"/>
                    </a:lnTo>
                    <a:lnTo>
                      <a:pt x="23602" y="9730"/>
                    </a:lnTo>
                    <a:lnTo>
                      <a:pt x="23644" y="9772"/>
                    </a:lnTo>
                    <a:lnTo>
                      <a:pt x="23665" y="9835"/>
                    </a:lnTo>
                    <a:lnTo>
                      <a:pt x="23727" y="9835"/>
                    </a:lnTo>
                    <a:lnTo>
                      <a:pt x="23748" y="9793"/>
                    </a:lnTo>
                    <a:lnTo>
                      <a:pt x="23769" y="9793"/>
                    </a:lnTo>
                    <a:lnTo>
                      <a:pt x="23832" y="9709"/>
                    </a:lnTo>
                    <a:lnTo>
                      <a:pt x="23916" y="9709"/>
                    </a:lnTo>
                    <a:lnTo>
                      <a:pt x="23937" y="9772"/>
                    </a:lnTo>
                    <a:lnTo>
                      <a:pt x="23979" y="9793"/>
                    </a:lnTo>
                    <a:lnTo>
                      <a:pt x="24041" y="9772"/>
                    </a:lnTo>
                    <a:lnTo>
                      <a:pt x="24041" y="9709"/>
                    </a:lnTo>
                    <a:lnTo>
                      <a:pt x="24020" y="9667"/>
                    </a:lnTo>
                    <a:lnTo>
                      <a:pt x="24083" y="9583"/>
                    </a:lnTo>
                    <a:lnTo>
                      <a:pt x="24083" y="9521"/>
                    </a:lnTo>
                    <a:lnTo>
                      <a:pt x="24146" y="9458"/>
                    </a:lnTo>
                    <a:lnTo>
                      <a:pt x="24146" y="9374"/>
                    </a:lnTo>
                    <a:lnTo>
                      <a:pt x="24062" y="9374"/>
                    </a:lnTo>
                    <a:lnTo>
                      <a:pt x="24041" y="9291"/>
                    </a:lnTo>
                    <a:lnTo>
                      <a:pt x="24062" y="9186"/>
                    </a:lnTo>
                    <a:lnTo>
                      <a:pt x="24146" y="9165"/>
                    </a:lnTo>
                    <a:lnTo>
                      <a:pt x="24146" y="9060"/>
                    </a:lnTo>
                    <a:lnTo>
                      <a:pt x="24041" y="8998"/>
                    </a:lnTo>
                    <a:lnTo>
                      <a:pt x="23958" y="9039"/>
                    </a:lnTo>
                    <a:lnTo>
                      <a:pt x="23958" y="9102"/>
                    </a:lnTo>
                    <a:lnTo>
                      <a:pt x="23916" y="9165"/>
                    </a:lnTo>
                    <a:lnTo>
                      <a:pt x="23832" y="9102"/>
                    </a:lnTo>
                    <a:lnTo>
                      <a:pt x="23707" y="9102"/>
                    </a:lnTo>
                    <a:lnTo>
                      <a:pt x="23560" y="9249"/>
                    </a:lnTo>
                    <a:lnTo>
                      <a:pt x="23455" y="9311"/>
                    </a:lnTo>
                    <a:lnTo>
                      <a:pt x="23455" y="9270"/>
                    </a:lnTo>
                    <a:lnTo>
                      <a:pt x="23602" y="9186"/>
                    </a:lnTo>
                    <a:lnTo>
                      <a:pt x="23644" y="9102"/>
                    </a:lnTo>
                    <a:lnTo>
                      <a:pt x="23644" y="8977"/>
                    </a:lnTo>
                    <a:lnTo>
                      <a:pt x="23602" y="9060"/>
                    </a:lnTo>
                    <a:lnTo>
                      <a:pt x="23539" y="9039"/>
                    </a:lnTo>
                    <a:lnTo>
                      <a:pt x="23539" y="8935"/>
                    </a:lnTo>
                    <a:lnTo>
                      <a:pt x="23644" y="8851"/>
                    </a:lnTo>
                    <a:lnTo>
                      <a:pt x="23560" y="8726"/>
                    </a:lnTo>
                    <a:lnTo>
                      <a:pt x="23644" y="8642"/>
                    </a:lnTo>
                    <a:lnTo>
                      <a:pt x="23727" y="8642"/>
                    </a:lnTo>
                    <a:lnTo>
                      <a:pt x="23707" y="8684"/>
                    </a:lnTo>
                    <a:lnTo>
                      <a:pt x="23748" y="8851"/>
                    </a:lnTo>
                    <a:lnTo>
                      <a:pt x="23832" y="8935"/>
                    </a:lnTo>
                    <a:lnTo>
                      <a:pt x="23874" y="8893"/>
                    </a:lnTo>
                    <a:lnTo>
                      <a:pt x="23979" y="8893"/>
                    </a:lnTo>
                    <a:lnTo>
                      <a:pt x="24041" y="8767"/>
                    </a:lnTo>
                    <a:lnTo>
                      <a:pt x="23979" y="8726"/>
                    </a:lnTo>
                    <a:lnTo>
                      <a:pt x="23979" y="8663"/>
                    </a:lnTo>
                    <a:lnTo>
                      <a:pt x="24062" y="8663"/>
                    </a:lnTo>
                    <a:lnTo>
                      <a:pt x="24083" y="8726"/>
                    </a:lnTo>
                    <a:lnTo>
                      <a:pt x="24146" y="8684"/>
                    </a:lnTo>
                    <a:lnTo>
                      <a:pt x="24251" y="8621"/>
                    </a:lnTo>
                    <a:lnTo>
                      <a:pt x="24271" y="8475"/>
                    </a:lnTo>
                    <a:lnTo>
                      <a:pt x="24292" y="8579"/>
                    </a:lnTo>
                    <a:lnTo>
                      <a:pt x="24355" y="8579"/>
                    </a:lnTo>
                    <a:lnTo>
                      <a:pt x="24460" y="8516"/>
                    </a:lnTo>
                    <a:lnTo>
                      <a:pt x="24376" y="8684"/>
                    </a:lnTo>
                    <a:lnTo>
                      <a:pt x="24376" y="8851"/>
                    </a:lnTo>
                    <a:lnTo>
                      <a:pt x="24439" y="8830"/>
                    </a:lnTo>
                    <a:lnTo>
                      <a:pt x="24481" y="8851"/>
                    </a:lnTo>
                    <a:lnTo>
                      <a:pt x="24439" y="8935"/>
                    </a:lnTo>
                    <a:lnTo>
                      <a:pt x="24502" y="8935"/>
                    </a:lnTo>
                    <a:lnTo>
                      <a:pt x="24564" y="8788"/>
                    </a:lnTo>
                    <a:lnTo>
                      <a:pt x="24606" y="8747"/>
                    </a:lnTo>
                    <a:lnTo>
                      <a:pt x="24690" y="8579"/>
                    </a:lnTo>
                    <a:lnTo>
                      <a:pt x="24774" y="8558"/>
                    </a:lnTo>
                    <a:lnTo>
                      <a:pt x="24753" y="8684"/>
                    </a:lnTo>
                    <a:lnTo>
                      <a:pt x="24648" y="8788"/>
                    </a:lnTo>
                    <a:lnTo>
                      <a:pt x="24669" y="8977"/>
                    </a:lnTo>
                    <a:lnTo>
                      <a:pt x="24753" y="8977"/>
                    </a:lnTo>
                    <a:lnTo>
                      <a:pt x="24815" y="9039"/>
                    </a:lnTo>
                    <a:lnTo>
                      <a:pt x="24878" y="8956"/>
                    </a:lnTo>
                    <a:lnTo>
                      <a:pt x="25004" y="8851"/>
                    </a:lnTo>
                    <a:lnTo>
                      <a:pt x="25067" y="8684"/>
                    </a:lnTo>
                    <a:lnTo>
                      <a:pt x="25108" y="8558"/>
                    </a:lnTo>
                    <a:lnTo>
                      <a:pt x="25087" y="8433"/>
                    </a:lnTo>
                    <a:lnTo>
                      <a:pt x="25129" y="8370"/>
                    </a:lnTo>
                    <a:lnTo>
                      <a:pt x="25108" y="8328"/>
                    </a:lnTo>
                    <a:lnTo>
                      <a:pt x="25025" y="8328"/>
                    </a:lnTo>
                    <a:lnTo>
                      <a:pt x="24983" y="8307"/>
                    </a:lnTo>
                    <a:lnTo>
                      <a:pt x="24899" y="8349"/>
                    </a:lnTo>
                    <a:lnTo>
                      <a:pt x="24899" y="8223"/>
                    </a:lnTo>
                    <a:lnTo>
                      <a:pt x="24941" y="8203"/>
                    </a:lnTo>
                    <a:lnTo>
                      <a:pt x="24920" y="8140"/>
                    </a:lnTo>
                    <a:lnTo>
                      <a:pt x="24815" y="8140"/>
                    </a:lnTo>
                    <a:lnTo>
                      <a:pt x="24795" y="8098"/>
                    </a:lnTo>
                    <a:lnTo>
                      <a:pt x="24690" y="8014"/>
                    </a:lnTo>
                    <a:lnTo>
                      <a:pt x="24690" y="7931"/>
                    </a:lnTo>
                    <a:lnTo>
                      <a:pt x="24606" y="7742"/>
                    </a:lnTo>
                    <a:lnTo>
                      <a:pt x="24585" y="7617"/>
                    </a:lnTo>
                    <a:lnTo>
                      <a:pt x="24627" y="7491"/>
                    </a:lnTo>
                    <a:lnTo>
                      <a:pt x="24585" y="7324"/>
                    </a:lnTo>
                    <a:lnTo>
                      <a:pt x="24502" y="7470"/>
                    </a:lnTo>
                    <a:lnTo>
                      <a:pt x="24502" y="7575"/>
                    </a:lnTo>
                    <a:lnTo>
                      <a:pt x="24418" y="7428"/>
                    </a:lnTo>
                    <a:lnTo>
                      <a:pt x="24292" y="7366"/>
                    </a:lnTo>
                    <a:lnTo>
                      <a:pt x="24271" y="7114"/>
                    </a:lnTo>
                    <a:lnTo>
                      <a:pt x="24188" y="7073"/>
                    </a:lnTo>
                    <a:lnTo>
                      <a:pt x="24167" y="6884"/>
                    </a:lnTo>
                    <a:lnTo>
                      <a:pt x="24083" y="6780"/>
                    </a:lnTo>
                    <a:lnTo>
                      <a:pt x="24083" y="6675"/>
                    </a:lnTo>
                    <a:lnTo>
                      <a:pt x="24041" y="6591"/>
                    </a:lnTo>
                    <a:lnTo>
                      <a:pt x="24041" y="6529"/>
                    </a:lnTo>
                    <a:lnTo>
                      <a:pt x="24146" y="6529"/>
                    </a:lnTo>
                    <a:lnTo>
                      <a:pt x="24167" y="6382"/>
                    </a:lnTo>
                    <a:lnTo>
                      <a:pt x="24251" y="6382"/>
                    </a:lnTo>
                    <a:lnTo>
                      <a:pt x="24271" y="6424"/>
                    </a:lnTo>
                    <a:lnTo>
                      <a:pt x="24355" y="6361"/>
                    </a:lnTo>
                    <a:lnTo>
                      <a:pt x="24355" y="6257"/>
                    </a:lnTo>
                    <a:lnTo>
                      <a:pt x="24460" y="6026"/>
                    </a:lnTo>
                    <a:lnTo>
                      <a:pt x="24460" y="5922"/>
                    </a:lnTo>
                    <a:lnTo>
                      <a:pt x="24481" y="5880"/>
                    </a:lnTo>
                    <a:lnTo>
                      <a:pt x="24397" y="5692"/>
                    </a:lnTo>
                    <a:lnTo>
                      <a:pt x="24460" y="5566"/>
                    </a:lnTo>
                    <a:lnTo>
                      <a:pt x="24523" y="5566"/>
                    </a:lnTo>
                    <a:lnTo>
                      <a:pt x="24523" y="5399"/>
                    </a:lnTo>
                    <a:lnTo>
                      <a:pt x="24627" y="5252"/>
                    </a:lnTo>
                    <a:lnTo>
                      <a:pt x="24627" y="5148"/>
                    </a:lnTo>
                    <a:lnTo>
                      <a:pt x="24690" y="5064"/>
                    </a:lnTo>
                    <a:lnTo>
                      <a:pt x="24690" y="4855"/>
                    </a:lnTo>
                    <a:lnTo>
                      <a:pt x="24774" y="4834"/>
                    </a:lnTo>
                    <a:lnTo>
                      <a:pt x="24774" y="4729"/>
                    </a:lnTo>
                    <a:lnTo>
                      <a:pt x="24899" y="4583"/>
                    </a:lnTo>
                    <a:lnTo>
                      <a:pt x="24899" y="4478"/>
                    </a:lnTo>
                    <a:cubicBezTo>
                      <a:pt x="24918" y="4516"/>
                      <a:pt x="24966" y="4536"/>
                      <a:pt x="25020" y="4536"/>
                    </a:cubicBezTo>
                    <a:cubicBezTo>
                      <a:pt x="25085" y="4536"/>
                      <a:pt x="25158" y="4505"/>
                      <a:pt x="25192" y="4436"/>
                    </a:cubicBezTo>
                    <a:lnTo>
                      <a:pt x="25255" y="4122"/>
                    </a:lnTo>
                    <a:lnTo>
                      <a:pt x="25359" y="4122"/>
                    </a:lnTo>
                    <a:lnTo>
                      <a:pt x="25506" y="3955"/>
                    </a:lnTo>
                    <a:lnTo>
                      <a:pt x="25652" y="3892"/>
                    </a:lnTo>
                    <a:lnTo>
                      <a:pt x="25820" y="3725"/>
                    </a:lnTo>
                    <a:lnTo>
                      <a:pt x="25862" y="3725"/>
                    </a:lnTo>
                    <a:lnTo>
                      <a:pt x="25987" y="3599"/>
                    </a:lnTo>
                    <a:lnTo>
                      <a:pt x="25987" y="3516"/>
                    </a:lnTo>
                    <a:lnTo>
                      <a:pt x="26050" y="3474"/>
                    </a:lnTo>
                    <a:lnTo>
                      <a:pt x="26050" y="3390"/>
                    </a:lnTo>
                    <a:lnTo>
                      <a:pt x="25966" y="3285"/>
                    </a:lnTo>
                    <a:lnTo>
                      <a:pt x="25987" y="3223"/>
                    </a:lnTo>
                    <a:lnTo>
                      <a:pt x="25987" y="3160"/>
                    </a:lnTo>
                    <a:lnTo>
                      <a:pt x="25883" y="2993"/>
                    </a:lnTo>
                    <a:lnTo>
                      <a:pt x="25820" y="2993"/>
                    </a:lnTo>
                    <a:lnTo>
                      <a:pt x="25736" y="3013"/>
                    </a:lnTo>
                    <a:lnTo>
                      <a:pt x="25631" y="2972"/>
                    </a:lnTo>
                    <a:lnTo>
                      <a:pt x="25548" y="2993"/>
                    </a:lnTo>
                    <a:lnTo>
                      <a:pt x="25443" y="2909"/>
                    </a:lnTo>
                    <a:lnTo>
                      <a:pt x="25359" y="2909"/>
                    </a:lnTo>
                    <a:lnTo>
                      <a:pt x="25297" y="2846"/>
                    </a:lnTo>
                    <a:lnTo>
                      <a:pt x="25129" y="2867"/>
                    </a:lnTo>
                    <a:lnTo>
                      <a:pt x="25025" y="2972"/>
                    </a:lnTo>
                    <a:lnTo>
                      <a:pt x="24941" y="2993"/>
                    </a:lnTo>
                    <a:lnTo>
                      <a:pt x="24774" y="3118"/>
                    </a:lnTo>
                    <a:lnTo>
                      <a:pt x="24774" y="3181"/>
                    </a:lnTo>
                    <a:lnTo>
                      <a:pt x="24878" y="3265"/>
                    </a:lnTo>
                    <a:lnTo>
                      <a:pt x="24941" y="3390"/>
                    </a:lnTo>
                    <a:lnTo>
                      <a:pt x="24941" y="3516"/>
                    </a:lnTo>
                    <a:lnTo>
                      <a:pt x="24983" y="3641"/>
                    </a:lnTo>
                    <a:lnTo>
                      <a:pt x="24941" y="3704"/>
                    </a:lnTo>
                    <a:lnTo>
                      <a:pt x="24941" y="3809"/>
                    </a:lnTo>
                    <a:lnTo>
                      <a:pt x="25025" y="3913"/>
                    </a:lnTo>
                    <a:lnTo>
                      <a:pt x="25025" y="3934"/>
                    </a:lnTo>
                    <a:lnTo>
                      <a:pt x="25004" y="3955"/>
                    </a:lnTo>
                    <a:cubicBezTo>
                      <a:pt x="24983" y="4018"/>
                      <a:pt x="24941" y="4081"/>
                      <a:pt x="24920" y="4143"/>
                    </a:cubicBezTo>
                    <a:lnTo>
                      <a:pt x="24899" y="4081"/>
                    </a:lnTo>
                    <a:lnTo>
                      <a:pt x="24920" y="4018"/>
                    </a:lnTo>
                    <a:lnTo>
                      <a:pt x="24920" y="3934"/>
                    </a:lnTo>
                    <a:lnTo>
                      <a:pt x="24815" y="3871"/>
                    </a:lnTo>
                    <a:lnTo>
                      <a:pt x="24774" y="3725"/>
                    </a:lnTo>
                    <a:lnTo>
                      <a:pt x="24795" y="3662"/>
                    </a:lnTo>
                    <a:lnTo>
                      <a:pt x="24711" y="3495"/>
                    </a:lnTo>
                    <a:lnTo>
                      <a:pt x="24606" y="3474"/>
                    </a:lnTo>
                    <a:lnTo>
                      <a:pt x="24564" y="3411"/>
                    </a:lnTo>
                    <a:lnTo>
                      <a:pt x="24502" y="3411"/>
                    </a:lnTo>
                    <a:lnTo>
                      <a:pt x="24481" y="3578"/>
                    </a:lnTo>
                    <a:lnTo>
                      <a:pt x="24418" y="3578"/>
                    </a:lnTo>
                    <a:lnTo>
                      <a:pt x="24292" y="3369"/>
                    </a:lnTo>
                    <a:lnTo>
                      <a:pt x="24209" y="3369"/>
                    </a:lnTo>
                    <a:lnTo>
                      <a:pt x="24146" y="3285"/>
                    </a:lnTo>
                    <a:lnTo>
                      <a:pt x="24062" y="3327"/>
                    </a:lnTo>
                    <a:lnTo>
                      <a:pt x="24083" y="3495"/>
                    </a:lnTo>
                    <a:lnTo>
                      <a:pt x="24041" y="3516"/>
                    </a:lnTo>
                    <a:lnTo>
                      <a:pt x="23958" y="3495"/>
                    </a:lnTo>
                    <a:lnTo>
                      <a:pt x="23895" y="3620"/>
                    </a:lnTo>
                    <a:lnTo>
                      <a:pt x="23895" y="3704"/>
                    </a:lnTo>
                    <a:lnTo>
                      <a:pt x="23832" y="3746"/>
                    </a:lnTo>
                    <a:lnTo>
                      <a:pt x="23748" y="4039"/>
                    </a:lnTo>
                    <a:lnTo>
                      <a:pt x="23748" y="4143"/>
                    </a:lnTo>
                    <a:lnTo>
                      <a:pt x="23686" y="4227"/>
                    </a:lnTo>
                    <a:lnTo>
                      <a:pt x="23686" y="4353"/>
                    </a:lnTo>
                    <a:lnTo>
                      <a:pt x="23665" y="4374"/>
                    </a:lnTo>
                    <a:lnTo>
                      <a:pt x="23665" y="4478"/>
                    </a:lnTo>
                    <a:lnTo>
                      <a:pt x="23581" y="4541"/>
                    </a:lnTo>
                    <a:lnTo>
                      <a:pt x="23581" y="4771"/>
                    </a:lnTo>
                    <a:lnTo>
                      <a:pt x="23518" y="4813"/>
                    </a:lnTo>
                    <a:lnTo>
                      <a:pt x="23455" y="4792"/>
                    </a:lnTo>
                    <a:lnTo>
                      <a:pt x="23372" y="4980"/>
                    </a:lnTo>
                    <a:lnTo>
                      <a:pt x="23414" y="5064"/>
                    </a:lnTo>
                    <a:lnTo>
                      <a:pt x="23372" y="5169"/>
                    </a:lnTo>
                    <a:lnTo>
                      <a:pt x="23372" y="5273"/>
                    </a:lnTo>
                    <a:lnTo>
                      <a:pt x="23309" y="5378"/>
                    </a:lnTo>
                    <a:lnTo>
                      <a:pt x="23351" y="5462"/>
                    </a:lnTo>
                    <a:lnTo>
                      <a:pt x="23330" y="5524"/>
                    </a:lnTo>
                    <a:lnTo>
                      <a:pt x="23204" y="5524"/>
                    </a:lnTo>
                    <a:lnTo>
                      <a:pt x="23246" y="5587"/>
                    </a:lnTo>
                    <a:lnTo>
                      <a:pt x="23351" y="5629"/>
                    </a:lnTo>
                    <a:lnTo>
                      <a:pt x="23351" y="5734"/>
                    </a:lnTo>
                    <a:lnTo>
                      <a:pt x="23267" y="5713"/>
                    </a:lnTo>
                    <a:lnTo>
                      <a:pt x="23204" y="5734"/>
                    </a:lnTo>
                    <a:lnTo>
                      <a:pt x="23121" y="5796"/>
                    </a:lnTo>
                    <a:lnTo>
                      <a:pt x="23037" y="5754"/>
                    </a:lnTo>
                    <a:lnTo>
                      <a:pt x="22995" y="5817"/>
                    </a:lnTo>
                    <a:lnTo>
                      <a:pt x="22995" y="5922"/>
                    </a:lnTo>
                    <a:lnTo>
                      <a:pt x="22932" y="5964"/>
                    </a:lnTo>
                    <a:lnTo>
                      <a:pt x="22849" y="5922"/>
                    </a:lnTo>
                    <a:lnTo>
                      <a:pt x="22849" y="5817"/>
                    </a:lnTo>
                    <a:lnTo>
                      <a:pt x="22890" y="5734"/>
                    </a:lnTo>
                    <a:lnTo>
                      <a:pt x="22828" y="5650"/>
                    </a:lnTo>
                    <a:lnTo>
                      <a:pt x="22828" y="5482"/>
                    </a:lnTo>
                    <a:lnTo>
                      <a:pt x="22911" y="5294"/>
                    </a:lnTo>
                    <a:lnTo>
                      <a:pt x="22932" y="5169"/>
                    </a:lnTo>
                    <a:lnTo>
                      <a:pt x="23016" y="5085"/>
                    </a:lnTo>
                    <a:lnTo>
                      <a:pt x="23016" y="4980"/>
                    </a:lnTo>
                    <a:lnTo>
                      <a:pt x="23037" y="4876"/>
                    </a:lnTo>
                    <a:lnTo>
                      <a:pt x="23100" y="4646"/>
                    </a:lnTo>
                    <a:lnTo>
                      <a:pt x="23225" y="4562"/>
                    </a:lnTo>
                    <a:lnTo>
                      <a:pt x="23225" y="4436"/>
                    </a:lnTo>
                    <a:lnTo>
                      <a:pt x="23100" y="4436"/>
                    </a:lnTo>
                    <a:lnTo>
                      <a:pt x="23100" y="4353"/>
                    </a:lnTo>
                    <a:lnTo>
                      <a:pt x="23163" y="4269"/>
                    </a:lnTo>
                    <a:lnTo>
                      <a:pt x="23163" y="4039"/>
                    </a:lnTo>
                    <a:lnTo>
                      <a:pt x="23121" y="3976"/>
                    </a:lnTo>
                    <a:lnTo>
                      <a:pt x="23058" y="3850"/>
                    </a:lnTo>
                    <a:lnTo>
                      <a:pt x="23100" y="3809"/>
                    </a:lnTo>
                    <a:lnTo>
                      <a:pt x="23100" y="3662"/>
                    </a:lnTo>
                    <a:lnTo>
                      <a:pt x="23016" y="3662"/>
                    </a:lnTo>
                    <a:lnTo>
                      <a:pt x="22911" y="3537"/>
                    </a:lnTo>
                    <a:lnTo>
                      <a:pt x="22744" y="3599"/>
                    </a:lnTo>
                    <a:lnTo>
                      <a:pt x="22723" y="3725"/>
                    </a:lnTo>
                    <a:lnTo>
                      <a:pt x="22828" y="3809"/>
                    </a:lnTo>
                    <a:lnTo>
                      <a:pt x="22828" y="3913"/>
                    </a:lnTo>
                    <a:lnTo>
                      <a:pt x="22890" y="3976"/>
                    </a:lnTo>
                    <a:lnTo>
                      <a:pt x="22890" y="4060"/>
                    </a:lnTo>
                    <a:lnTo>
                      <a:pt x="22807" y="4060"/>
                    </a:lnTo>
                    <a:lnTo>
                      <a:pt x="22786" y="3955"/>
                    </a:lnTo>
                    <a:lnTo>
                      <a:pt x="22702" y="3955"/>
                    </a:lnTo>
                    <a:lnTo>
                      <a:pt x="22639" y="4081"/>
                    </a:lnTo>
                    <a:lnTo>
                      <a:pt x="22702" y="4122"/>
                    </a:lnTo>
                    <a:lnTo>
                      <a:pt x="22723" y="4227"/>
                    </a:lnTo>
                    <a:lnTo>
                      <a:pt x="22786" y="4353"/>
                    </a:lnTo>
                    <a:lnTo>
                      <a:pt x="22723" y="4394"/>
                    </a:lnTo>
                    <a:lnTo>
                      <a:pt x="22702" y="4353"/>
                    </a:lnTo>
                    <a:lnTo>
                      <a:pt x="22639" y="4290"/>
                    </a:lnTo>
                    <a:lnTo>
                      <a:pt x="22618" y="4436"/>
                    </a:lnTo>
                    <a:lnTo>
                      <a:pt x="22514" y="4353"/>
                    </a:lnTo>
                    <a:lnTo>
                      <a:pt x="22514" y="4248"/>
                    </a:lnTo>
                    <a:lnTo>
                      <a:pt x="22430" y="4248"/>
                    </a:lnTo>
                    <a:lnTo>
                      <a:pt x="22388" y="4353"/>
                    </a:lnTo>
                    <a:lnTo>
                      <a:pt x="22326" y="4332"/>
                    </a:lnTo>
                    <a:lnTo>
                      <a:pt x="22326" y="4185"/>
                    </a:lnTo>
                    <a:lnTo>
                      <a:pt x="22409" y="4122"/>
                    </a:lnTo>
                    <a:lnTo>
                      <a:pt x="22388" y="4081"/>
                    </a:lnTo>
                    <a:lnTo>
                      <a:pt x="22221" y="4143"/>
                    </a:lnTo>
                    <a:lnTo>
                      <a:pt x="22095" y="4269"/>
                    </a:lnTo>
                    <a:lnTo>
                      <a:pt x="22012" y="4143"/>
                    </a:lnTo>
                    <a:lnTo>
                      <a:pt x="21949" y="4143"/>
                    </a:lnTo>
                    <a:lnTo>
                      <a:pt x="21865" y="4227"/>
                    </a:lnTo>
                    <a:lnTo>
                      <a:pt x="21740" y="4227"/>
                    </a:lnTo>
                    <a:lnTo>
                      <a:pt x="21698" y="4164"/>
                    </a:lnTo>
                    <a:lnTo>
                      <a:pt x="21572" y="4185"/>
                    </a:lnTo>
                    <a:lnTo>
                      <a:pt x="21530" y="4143"/>
                    </a:lnTo>
                    <a:lnTo>
                      <a:pt x="21635" y="4060"/>
                    </a:lnTo>
                    <a:lnTo>
                      <a:pt x="21782" y="4039"/>
                    </a:lnTo>
                    <a:lnTo>
                      <a:pt x="21865" y="4060"/>
                    </a:lnTo>
                    <a:lnTo>
                      <a:pt x="21991" y="4039"/>
                    </a:lnTo>
                    <a:lnTo>
                      <a:pt x="21991" y="3955"/>
                    </a:lnTo>
                    <a:lnTo>
                      <a:pt x="22074" y="3934"/>
                    </a:lnTo>
                    <a:lnTo>
                      <a:pt x="22158" y="3955"/>
                    </a:lnTo>
                    <a:lnTo>
                      <a:pt x="22263" y="3850"/>
                    </a:lnTo>
                    <a:lnTo>
                      <a:pt x="22263" y="3746"/>
                    </a:lnTo>
                    <a:lnTo>
                      <a:pt x="22284" y="3662"/>
                    </a:lnTo>
                    <a:lnTo>
                      <a:pt x="22200" y="3599"/>
                    </a:lnTo>
                    <a:lnTo>
                      <a:pt x="22095" y="3411"/>
                    </a:lnTo>
                    <a:lnTo>
                      <a:pt x="21970" y="3348"/>
                    </a:lnTo>
                    <a:lnTo>
                      <a:pt x="21949" y="3285"/>
                    </a:lnTo>
                    <a:lnTo>
                      <a:pt x="21761" y="3118"/>
                    </a:lnTo>
                    <a:lnTo>
                      <a:pt x="21740" y="3076"/>
                    </a:lnTo>
                    <a:lnTo>
                      <a:pt x="21635" y="3076"/>
                    </a:lnTo>
                    <a:lnTo>
                      <a:pt x="21489" y="3139"/>
                    </a:lnTo>
                    <a:lnTo>
                      <a:pt x="21426" y="3139"/>
                    </a:lnTo>
                    <a:lnTo>
                      <a:pt x="21238" y="3327"/>
                    </a:lnTo>
                    <a:lnTo>
                      <a:pt x="21279" y="3390"/>
                    </a:lnTo>
                    <a:lnTo>
                      <a:pt x="21279" y="3453"/>
                    </a:lnTo>
                    <a:lnTo>
                      <a:pt x="21217" y="3495"/>
                    </a:lnTo>
                    <a:lnTo>
                      <a:pt x="21133" y="3516"/>
                    </a:lnTo>
                    <a:lnTo>
                      <a:pt x="21133" y="3453"/>
                    </a:lnTo>
                    <a:lnTo>
                      <a:pt x="21049" y="3495"/>
                    </a:lnTo>
                    <a:lnTo>
                      <a:pt x="20966" y="3432"/>
                    </a:lnTo>
                    <a:lnTo>
                      <a:pt x="20861" y="3432"/>
                    </a:lnTo>
                    <a:lnTo>
                      <a:pt x="20819" y="3495"/>
                    </a:lnTo>
                    <a:lnTo>
                      <a:pt x="20714" y="3495"/>
                    </a:lnTo>
                    <a:lnTo>
                      <a:pt x="20652" y="3432"/>
                    </a:lnTo>
                    <a:lnTo>
                      <a:pt x="20714" y="3390"/>
                    </a:lnTo>
                    <a:lnTo>
                      <a:pt x="20861" y="3348"/>
                    </a:lnTo>
                    <a:lnTo>
                      <a:pt x="20924" y="3244"/>
                    </a:lnTo>
                    <a:lnTo>
                      <a:pt x="21028" y="3223"/>
                    </a:lnTo>
                    <a:lnTo>
                      <a:pt x="21112" y="3244"/>
                    </a:lnTo>
                    <a:lnTo>
                      <a:pt x="21175" y="3139"/>
                    </a:lnTo>
                    <a:lnTo>
                      <a:pt x="21175" y="3013"/>
                    </a:lnTo>
                    <a:lnTo>
                      <a:pt x="21238" y="2972"/>
                    </a:lnTo>
                    <a:lnTo>
                      <a:pt x="21321" y="2972"/>
                    </a:lnTo>
                    <a:lnTo>
                      <a:pt x="21384" y="2804"/>
                    </a:lnTo>
                    <a:lnTo>
                      <a:pt x="21384" y="2616"/>
                    </a:lnTo>
                    <a:lnTo>
                      <a:pt x="21426" y="2553"/>
                    </a:lnTo>
                    <a:lnTo>
                      <a:pt x="21384" y="2449"/>
                    </a:lnTo>
                    <a:lnTo>
                      <a:pt x="21279" y="2449"/>
                    </a:lnTo>
                    <a:lnTo>
                      <a:pt x="21112" y="2490"/>
                    </a:lnTo>
                    <a:lnTo>
                      <a:pt x="20903" y="2553"/>
                    </a:lnTo>
                    <a:lnTo>
                      <a:pt x="20694" y="2616"/>
                    </a:lnTo>
                    <a:lnTo>
                      <a:pt x="20547" y="2658"/>
                    </a:lnTo>
                    <a:cubicBezTo>
                      <a:pt x="20652" y="2616"/>
                      <a:pt x="20798" y="2574"/>
                      <a:pt x="20903" y="2511"/>
                    </a:cubicBezTo>
                    <a:cubicBezTo>
                      <a:pt x="20945" y="2511"/>
                      <a:pt x="21028" y="2490"/>
                      <a:pt x="21070" y="2490"/>
                    </a:cubicBezTo>
                    <a:cubicBezTo>
                      <a:pt x="21217" y="2469"/>
                      <a:pt x="21238" y="2344"/>
                      <a:pt x="21175" y="2239"/>
                    </a:cubicBezTo>
                    <a:lnTo>
                      <a:pt x="21238" y="2177"/>
                    </a:lnTo>
                    <a:lnTo>
                      <a:pt x="21217" y="2072"/>
                    </a:lnTo>
                    <a:lnTo>
                      <a:pt x="21217" y="1967"/>
                    </a:lnTo>
                    <a:lnTo>
                      <a:pt x="21154" y="1884"/>
                    </a:lnTo>
                    <a:lnTo>
                      <a:pt x="21217" y="1842"/>
                    </a:lnTo>
                    <a:lnTo>
                      <a:pt x="21217" y="1674"/>
                    </a:lnTo>
                    <a:lnTo>
                      <a:pt x="21133" y="1507"/>
                    </a:lnTo>
                    <a:lnTo>
                      <a:pt x="21175" y="1402"/>
                    </a:lnTo>
                    <a:lnTo>
                      <a:pt x="21154" y="1109"/>
                    </a:lnTo>
                    <a:lnTo>
                      <a:pt x="20945" y="879"/>
                    </a:lnTo>
                    <a:lnTo>
                      <a:pt x="20924" y="775"/>
                    </a:lnTo>
                    <a:lnTo>
                      <a:pt x="20840" y="733"/>
                    </a:lnTo>
                    <a:lnTo>
                      <a:pt x="20694" y="796"/>
                    </a:lnTo>
                    <a:lnTo>
                      <a:pt x="20526" y="775"/>
                    </a:lnTo>
                    <a:lnTo>
                      <a:pt x="20442" y="837"/>
                    </a:lnTo>
                    <a:lnTo>
                      <a:pt x="20442" y="984"/>
                    </a:lnTo>
                    <a:lnTo>
                      <a:pt x="20212" y="1109"/>
                    </a:lnTo>
                    <a:lnTo>
                      <a:pt x="20212" y="1047"/>
                    </a:lnTo>
                    <a:lnTo>
                      <a:pt x="20380" y="900"/>
                    </a:lnTo>
                    <a:lnTo>
                      <a:pt x="20422" y="754"/>
                    </a:lnTo>
                    <a:lnTo>
                      <a:pt x="20317" y="670"/>
                    </a:lnTo>
                    <a:lnTo>
                      <a:pt x="20212" y="712"/>
                    </a:lnTo>
                    <a:lnTo>
                      <a:pt x="20129" y="733"/>
                    </a:lnTo>
                    <a:lnTo>
                      <a:pt x="20212" y="670"/>
                    </a:lnTo>
                    <a:lnTo>
                      <a:pt x="20191" y="586"/>
                    </a:lnTo>
                    <a:lnTo>
                      <a:pt x="19898" y="419"/>
                    </a:lnTo>
                    <a:lnTo>
                      <a:pt x="19815" y="293"/>
                    </a:lnTo>
                    <a:lnTo>
                      <a:pt x="19752" y="252"/>
                    </a:lnTo>
                    <a:lnTo>
                      <a:pt x="19773" y="105"/>
                    </a:lnTo>
                    <a:lnTo>
                      <a:pt x="1945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A6CBC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9" name="Google Shape;12097;p43">
              <a:extLst>
                <a:ext uri="{FF2B5EF4-FFF2-40B4-BE49-F238E27FC236}">
                  <a16:creationId xmlns:a16="http://schemas.microsoft.com/office/drawing/2014/main" id="{00EDF18C-AE91-F3D5-9427-E9D89D1DA5C1}"/>
                </a:ext>
              </a:extLst>
            </p:cNvPr>
            <p:cNvSpPr/>
            <p:nvPr/>
          </p:nvSpPr>
          <p:spPr>
            <a:xfrm>
              <a:off x="3216902" y="3020658"/>
              <a:ext cx="15456" cy="5959"/>
            </a:xfrm>
            <a:custGeom>
              <a:avLst/>
              <a:gdLst/>
              <a:ahLst/>
              <a:cxnLst/>
              <a:rect l="l" t="t" r="r" b="b"/>
              <a:pathLst>
                <a:path w="1298" h="524" extrusionOk="0">
                  <a:moveTo>
                    <a:pt x="503" y="0"/>
                  </a:moveTo>
                  <a:lnTo>
                    <a:pt x="293" y="42"/>
                  </a:lnTo>
                  <a:lnTo>
                    <a:pt x="168" y="21"/>
                  </a:lnTo>
                  <a:lnTo>
                    <a:pt x="63" y="42"/>
                  </a:lnTo>
                  <a:lnTo>
                    <a:pt x="1" y="147"/>
                  </a:lnTo>
                  <a:lnTo>
                    <a:pt x="105" y="230"/>
                  </a:lnTo>
                  <a:lnTo>
                    <a:pt x="189" y="209"/>
                  </a:lnTo>
                  <a:lnTo>
                    <a:pt x="252" y="230"/>
                  </a:lnTo>
                  <a:lnTo>
                    <a:pt x="314" y="377"/>
                  </a:lnTo>
                  <a:lnTo>
                    <a:pt x="398" y="439"/>
                  </a:lnTo>
                  <a:lnTo>
                    <a:pt x="524" y="439"/>
                  </a:lnTo>
                  <a:lnTo>
                    <a:pt x="607" y="523"/>
                  </a:lnTo>
                  <a:lnTo>
                    <a:pt x="775" y="523"/>
                  </a:lnTo>
                  <a:lnTo>
                    <a:pt x="775" y="377"/>
                  </a:lnTo>
                  <a:lnTo>
                    <a:pt x="879" y="377"/>
                  </a:lnTo>
                  <a:lnTo>
                    <a:pt x="900" y="439"/>
                  </a:lnTo>
                  <a:lnTo>
                    <a:pt x="984" y="439"/>
                  </a:lnTo>
                  <a:lnTo>
                    <a:pt x="1005" y="335"/>
                  </a:lnTo>
                  <a:lnTo>
                    <a:pt x="1089" y="377"/>
                  </a:lnTo>
                  <a:lnTo>
                    <a:pt x="1298" y="377"/>
                  </a:lnTo>
                  <a:lnTo>
                    <a:pt x="1298" y="335"/>
                  </a:lnTo>
                  <a:lnTo>
                    <a:pt x="1193" y="230"/>
                  </a:lnTo>
                  <a:lnTo>
                    <a:pt x="1047" y="209"/>
                  </a:lnTo>
                  <a:lnTo>
                    <a:pt x="942" y="21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Google Shape;12098;p43">
              <a:extLst>
                <a:ext uri="{FF2B5EF4-FFF2-40B4-BE49-F238E27FC236}">
                  <a16:creationId xmlns:a16="http://schemas.microsoft.com/office/drawing/2014/main" id="{CBFED48D-9255-502E-F3D1-CB6C3A89A6BF}"/>
                </a:ext>
              </a:extLst>
            </p:cNvPr>
            <p:cNvSpPr/>
            <p:nvPr/>
          </p:nvSpPr>
          <p:spPr>
            <a:xfrm>
              <a:off x="3243063" y="3010423"/>
              <a:ext cx="19695" cy="13340"/>
            </a:xfrm>
            <a:custGeom>
              <a:avLst/>
              <a:gdLst/>
              <a:ahLst/>
              <a:cxnLst/>
              <a:rect l="l" t="t" r="r" b="b"/>
              <a:pathLst>
                <a:path w="1654" h="1173" extrusionOk="0">
                  <a:moveTo>
                    <a:pt x="1089" y="0"/>
                  </a:moveTo>
                  <a:lnTo>
                    <a:pt x="1005" y="63"/>
                  </a:lnTo>
                  <a:lnTo>
                    <a:pt x="900" y="21"/>
                  </a:lnTo>
                  <a:lnTo>
                    <a:pt x="691" y="21"/>
                  </a:lnTo>
                  <a:lnTo>
                    <a:pt x="649" y="84"/>
                  </a:lnTo>
                  <a:lnTo>
                    <a:pt x="754" y="168"/>
                  </a:lnTo>
                  <a:lnTo>
                    <a:pt x="1068" y="272"/>
                  </a:lnTo>
                  <a:lnTo>
                    <a:pt x="1047" y="314"/>
                  </a:lnTo>
                  <a:lnTo>
                    <a:pt x="1109" y="398"/>
                  </a:lnTo>
                  <a:lnTo>
                    <a:pt x="1047" y="544"/>
                  </a:lnTo>
                  <a:lnTo>
                    <a:pt x="1109" y="649"/>
                  </a:lnTo>
                  <a:lnTo>
                    <a:pt x="1214" y="691"/>
                  </a:lnTo>
                  <a:lnTo>
                    <a:pt x="1340" y="795"/>
                  </a:lnTo>
                  <a:lnTo>
                    <a:pt x="1319" y="858"/>
                  </a:lnTo>
                  <a:lnTo>
                    <a:pt x="1068" y="858"/>
                  </a:lnTo>
                  <a:lnTo>
                    <a:pt x="1026" y="900"/>
                  </a:lnTo>
                  <a:lnTo>
                    <a:pt x="921" y="858"/>
                  </a:lnTo>
                  <a:lnTo>
                    <a:pt x="796" y="858"/>
                  </a:lnTo>
                  <a:lnTo>
                    <a:pt x="649" y="816"/>
                  </a:lnTo>
                  <a:lnTo>
                    <a:pt x="524" y="858"/>
                  </a:lnTo>
                  <a:lnTo>
                    <a:pt x="524" y="816"/>
                  </a:lnTo>
                  <a:lnTo>
                    <a:pt x="482" y="795"/>
                  </a:lnTo>
                  <a:lnTo>
                    <a:pt x="293" y="837"/>
                  </a:lnTo>
                  <a:lnTo>
                    <a:pt x="189" y="733"/>
                  </a:lnTo>
                  <a:lnTo>
                    <a:pt x="63" y="795"/>
                  </a:lnTo>
                  <a:lnTo>
                    <a:pt x="0" y="858"/>
                  </a:lnTo>
                  <a:lnTo>
                    <a:pt x="63" y="963"/>
                  </a:lnTo>
                  <a:lnTo>
                    <a:pt x="189" y="1005"/>
                  </a:lnTo>
                  <a:lnTo>
                    <a:pt x="314" y="1151"/>
                  </a:lnTo>
                  <a:lnTo>
                    <a:pt x="377" y="1172"/>
                  </a:lnTo>
                  <a:lnTo>
                    <a:pt x="377" y="1067"/>
                  </a:lnTo>
                  <a:lnTo>
                    <a:pt x="419" y="1026"/>
                  </a:lnTo>
                  <a:lnTo>
                    <a:pt x="691" y="1026"/>
                  </a:lnTo>
                  <a:lnTo>
                    <a:pt x="796" y="1067"/>
                  </a:lnTo>
                  <a:lnTo>
                    <a:pt x="1109" y="1067"/>
                  </a:lnTo>
                  <a:lnTo>
                    <a:pt x="1151" y="1047"/>
                  </a:lnTo>
                  <a:lnTo>
                    <a:pt x="1256" y="1109"/>
                  </a:lnTo>
                  <a:lnTo>
                    <a:pt x="1340" y="1109"/>
                  </a:lnTo>
                  <a:lnTo>
                    <a:pt x="1340" y="1047"/>
                  </a:lnTo>
                  <a:lnTo>
                    <a:pt x="1570" y="921"/>
                  </a:lnTo>
                  <a:lnTo>
                    <a:pt x="1570" y="837"/>
                  </a:lnTo>
                  <a:lnTo>
                    <a:pt x="1570" y="733"/>
                  </a:lnTo>
                  <a:lnTo>
                    <a:pt x="1528" y="607"/>
                  </a:lnTo>
                  <a:lnTo>
                    <a:pt x="1549" y="544"/>
                  </a:lnTo>
                  <a:lnTo>
                    <a:pt x="1633" y="502"/>
                  </a:lnTo>
                  <a:lnTo>
                    <a:pt x="1653" y="377"/>
                  </a:lnTo>
                  <a:lnTo>
                    <a:pt x="1612" y="293"/>
                  </a:lnTo>
                  <a:lnTo>
                    <a:pt x="1653" y="189"/>
                  </a:lnTo>
                  <a:lnTo>
                    <a:pt x="1633" y="126"/>
                  </a:lnTo>
                  <a:lnTo>
                    <a:pt x="1528" y="105"/>
                  </a:lnTo>
                  <a:lnTo>
                    <a:pt x="1423" y="126"/>
                  </a:lnTo>
                  <a:lnTo>
                    <a:pt x="1319" y="21"/>
                  </a:lnTo>
                  <a:lnTo>
                    <a:pt x="10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Google Shape;12099;p43">
              <a:extLst>
                <a:ext uri="{FF2B5EF4-FFF2-40B4-BE49-F238E27FC236}">
                  <a16:creationId xmlns:a16="http://schemas.microsoft.com/office/drawing/2014/main" id="{2A9C4C61-8719-EBAF-16D8-E3CF32174C4E}"/>
                </a:ext>
              </a:extLst>
            </p:cNvPr>
            <p:cNvSpPr/>
            <p:nvPr/>
          </p:nvSpPr>
          <p:spPr>
            <a:xfrm>
              <a:off x="3173297" y="2986859"/>
              <a:ext cx="73267" cy="24997"/>
            </a:xfrm>
            <a:custGeom>
              <a:avLst/>
              <a:gdLst/>
              <a:ahLst/>
              <a:cxnLst/>
              <a:rect l="l" t="t" r="r" b="b"/>
              <a:pathLst>
                <a:path w="6153" h="2198" extrusionOk="0">
                  <a:moveTo>
                    <a:pt x="1570" y="1"/>
                  </a:moveTo>
                  <a:lnTo>
                    <a:pt x="1445" y="106"/>
                  </a:lnTo>
                  <a:lnTo>
                    <a:pt x="1131" y="106"/>
                  </a:lnTo>
                  <a:lnTo>
                    <a:pt x="901" y="168"/>
                  </a:lnTo>
                  <a:lnTo>
                    <a:pt x="817" y="252"/>
                  </a:lnTo>
                  <a:lnTo>
                    <a:pt x="566" y="315"/>
                  </a:lnTo>
                  <a:lnTo>
                    <a:pt x="482" y="419"/>
                  </a:lnTo>
                  <a:lnTo>
                    <a:pt x="377" y="482"/>
                  </a:lnTo>
                  <a:lnTo>
                    <a:pt x="357" y="608"/>
                  </a:lnTo>
                  <a:lnTo>
                    <a:pt x="419" y="712"/>
                  </a:lnTo>
                  <a:lnTo>
                    <a:pt x="398" y="775"/>
                  </a:lnTo>
                  <a:lnTo>
                    <a:pt x="294" y="712"/>
                  </a:lnTo>
                  <a:lnTo>
                    <a:pt x="85" y="817"/>
                  </a:lnTo>
                  <a:lnTo>
                    <a:pt x="1" y="796"/>
                  </a:lnTo>
                  <a:lnTo>
                    <a:pt x="1" y="880"/>
                  </a:lnTo>
                  <a:lnTo>
                    <a:pt x="105" y="922"/>
                  </a:lnTo>
                  <a:lnTo>
                    <a:pt x="252" y="796"/>
                  </a:lnTo>
                  <a:lnTo>
                    <a:pt x="273" y="817"/>
                  </a:lnTo>
                  <a:lnTo>
                    <a:pt x="273" y="922"/>
                  </a:lnTo>
                  <a:lnTo>
                    <a:pt x="419" y="817"/>
                  </a:lnTo>
                  <a:lnTo>
                    <a:pt x="524" y="817"/>
                  </a:lnTo>
                  <a:lnTo>
                    <a:pt x="629" y="629"/>
                  </a:lnTo>
                  <a:lnTo>
                    <a:pt x="796" y="670"/>
                  </a:lnTo>
                  <a:lnTo>
                    <a:pt x="838" y="608"/>
                  </a:lnTo>
                  <a:lnTo>
                    <a:pt x="922" y="691"/>
                  </a:lnTo>
                  <a:lnTo>
                    <a:pt x="1026" y="670"/>
                  </a:lnTo>
                  <a:lnTo>
                    <a:pt x="1214" y="461"/>
                  </a:lnTo>
                  <a:lnTo>
                    <a:pt x="1319" y="419"/>
                  </a:lnTo>
                  <a:lnTo>
                    <a:pt x="1361" y="357"/>
                  </a:lnTo>
                  <a:lnTo>
                    <a:pt x="1528" y="378"/>
                  </a:lnTo>
                  <a:lnTo>
                    <a:pt x="1654" y="378"/>
                  </a:lnTo>
                  <a:lnTo>
                    <a:pt x="1884" y="398"/>
                  </a:lnTo>
                  <a:lnTo>
                    <a:pt x="1968" y="461"/>
                  </a:lnTo>
                  <a:lnTo>
                    <a:pt x="1884" y="503"/>
                  </a:lnTo>
                  <a:lnTo>
                    <a:pt x="1758" y="503"/>
                  </a:lnTo>
                  <a:lnTo>
                    <a:pt x="1675" y="566"/>
                  </a:lnTo>
                  <a:lnTo>
                    <a:pt x="1758" y="629"/>
                  </a:lnTo>
                  <a:lnTo>
                    <a:pt x="2093" y="691"/>
                  </a:lnTo>
                  <a:lnTo>
                    <a:pt x="2177" y="670"/>
                  </a:lnTo>
                  <a:lnTo>
                    <a:pt x="2282" y="670"/>
                  </a:lnTo>
                  <a:lnTo>
                    <a:pt x="2386" y="733"/>
                  </a:lnTo>
                  <a:lnTo>
                    <a:pt x="2554" y="775"/>
                  </a:lnTo>
                  <a:lnTo>
                    <a:pt x="2616" y="775"/>
                  </a:lnTo>
                  <a:lnTo>
                    <a:pt x="2658" y="691"/>
                  </a:lnTo>
                  <a:lnTo>
                    <a:pt x="2721" y="775"/>
                  </a:lnTo>
                  <a:lnTo>
                    <a:pt x="2763" y="817"/>
                  </a:lnTo>
                  <a:lnTo>
                    <a:pt x="2930" y="942"/>
                  </a:lnTo>
                  <a:lnTo>
                    <a:pt x="3077" y="984"/>
                  </a:lnTo>
                  <a:lnTo>
                    <a:pt x="3139" y="942"/>
                  </a:lnTo>
                  <a:lnTo>
                    <a:pt x="3244" y="1026"/>
                  </a:lnTo>
                  <a:lnTo>
                    <a:pt x="3349" y="1005"/>
                  </a:lnTo>
                  <a:lnTo>
                    <a:pt x="3432" y="1047"/>
                  </a:lnTo>
                  <a:lnTo>
                    <a:pt x="3600" y="1005"/>
                  </a:lnTo>
                  <a:lnTo>
                    <a:pt x="3663" y="1026"/>
                  </a:lnTo>
                  <a:lnTo>
                    <a:pt x="3746" y="1361"/>
                  </a:lnTo>
                  <a:lnTo>
                    <a:pt x="3955" y="1570"/>
                  </a:lnTo>
                  <a:lnTo>
                    <a:pt x="4039" y="1612"/>
                  </a:lnTo>
                  <a:lnTo>
                    <a:pt x="4081" y="1549"/>
                  </a:lnTo>
                  <a:lnTo>
                    <a:pt x="4227" y="1633"/>
                  </a:lnTo>
                  <a:lnTo>
                    <a:pt x="4437" y="1633"/>
                  </a:lnTo>
                  <a:lnTo>
                    <a:pt x="4458" y="1675"/>
                  </a:lnTo>
                  <a:lnTo>
                    <a:pt x="4541" y="1738"/>
                  </a:lnTo>
                  <a:lnTo>
                    <a:pt x="4541" y="1842"/>
                  </a:lnTo>
                  <a:lnTo>
                    <a:pt x="4374" y="1863"/>
                  </a:lnTo>
                  <a:lnTo>
                    <a:pt x="4186" y="2051"/>
                  </a:lnTo>
                  <a:lnTo>
                    <a:pt x="4186" y="2156"/>
                  </a:lnTo>
                  <a:lnTo>
                    <a:pt x="4374" y="2177"/>
                  </a:lnTo>
                  <a:lnTo>
                    <a:pt x="4541" y="2135"/>
                  </a:lnTo>
                  <a:lnTo>
                    <a:pt x="4604" y="2156"/>
                  </a:lnTo>
                  <a:lnTo>
                    <a:pt x="4897" y="2093"/>
                  </a:lnTo>
                  <a:lnTo>
                    <a:pt x="5064" y="2093"/>
                  </a:lnTo>
                  <a:lnTo>
                    <a:pt x="5274" y="2198"/>
                  </a:lnTo>
                  <a:lnTo>
                    <a:pt x="5546" y="2135"/>
                  </a:lnTo>
                  <a:lnTo>
                    <a:pt x="5587" y="2072"/>
                  </a:lnTo>
                  <a:lnTo>
                    <a:pt x="5650" y="2072"/>
                  </a:lnTo>
                  <a:lnTo>
                    <a:pt x="5734" y="2030"/>
                  </a:lnTo>
                  <a:lnTo>
                    <a:pt x="5943" y="2051"/>
                  </a:lnTo>
                  <a:lnTo>
                    <a:pt x="6069" y="1989"/>
                  </a:lnTo>
                  <a:lnTo>
                    <a:pt x="6152" y="1884"/>
                  </a:lnTo>
                  <a:lnTo>
                    <a:pt x="6111" y="1842"/>
                  </a:lnTo>
                  <a:lnTo>
                    <a:pt x="6006" y="1821"/>
                  </a:lnTo>
                  <a:lnTo>
                    <a:pt x="5922" y="1654"/>
                  </a:lnTo>
                  <a:lnTo>
                    <a:pt x="5692" y="1549"/>
                  </a:lnTo>
                  <a:lnTo>
                    <a:pt x="5378" y="1549"/>
                  </a:lnTo>
                  <a:lnTo>
                    <a:pt x="5295" y="1528"/>
                  </a:lnTo>
                  <a:lnTo>
                    <a:pt x="5336" y="1466"/>
                  </a:lnTo>
                  <a:lnTo>
                    <a:pt x="5399" y="1319"/>
                  </a:lnTo>
                  <a:lnTo>
                    <a:pt x="5315" y="1298"/>
                  </a:lnTo>
                  <a:lnTo>
                    <a:pt x="5232" y="1340"/>
                  </a:lnTo>
                  <a:lnTo>
                    <a:pt x="5127" y="1340"/>
                  </a:lnTo>
                  <a:lnTo>
                    <a:pt x="4918" y="1194"/>
                  </a:lnTo>
                  <a:lnTo>
                    <a:pt x="4855" y="1235"/>
                  </a:lnTo>
                  <a:lnTo>
                    <a:pt x="4771" y="1152"/>
                  </a:lnTo>
                  <a:lnTo>
                    <a:pt x="4604" y="1026"/>
                  </a:lnTo>
                  <a:lnTo>
                    <a:pt x="4541" y="1131"/>
                  </a:lnTo>
                  <a:lnTo>
                    <a:pt x="4479" y="1089"/>
                  </a:lnTo>
                  <a:lnTo>
                    <a:pt x="4499" y="1005"/>
                  </a:lnTo>
                  <a:lnTo>
                    <a:pt x="4437" y="984"/>
                  </a:lnTo>
                  <a:lnTo>
                    <a:pt x="4395" y="1047"/>
                  </a:lnTo>
                  <a:lnTo>
                    <a:pt x="4332" y="984"/>
                  </a:lnTo>
                  <a:lnTo>
                    <a:pt x="4123" y="922"/>
                  </a:lnTo>
                  <a:lnTo>
                    <a:pt x="3955" y="796"/>
                  </a:lnTo>
                  <a:lnTo>
                    <a:pt x="3830" y="712"/>
                  </a:lnTo>
                  <a:lnTo>
                    <a:pt x="3704" y="587"/>
                  </a:lnTo>
                  <a:lnTo>
                    <a:pt x="3349" y="587"/>
                  </a:lnTo>
                  <a:lnTo>
                    <a:pt x="3244" y="524"/>
                  </a:lnTo>
                  <a:lnTo>
                    <a:pt x="3202" y="398"/>
                  </a:lnTo>
                  <a:lnTo>
                    <a:pt x="3077" y="252"/>
                  </a:lnTo>
                  <a:lnTo>
                    <a:pt x="2972" y="273"/>
                  </a:lnTo>
                  <a:lnTo>
                    <a:pt x="2909" y="210"/>
                  </a:lnTo>
                  <a:lnTo>
                    <a:pt x="2491" y="147"/>
                  </a:lnTo>
                  <a:lnTo>
                    <a:pt x="2365" y="210"/>
                  </a:lnTo>
                  <a:lnTo>
                    <a:pt x="2177" y="168"/>
                  </a:lnTo>
                  <a:lnTo>
                    <a:pt x="2072" y="43"/>
                  </a:lnTo>
                  <a:lnTo>
                    <a:pt x="182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Google Shape;12100;p43">
              <a:extLst>
                <a:ext uri="{FF2B5EF4-FFF2-40B4-BE49-F238E27FC236}">
                  <a16:creationId xmlns:a16="http://schemas.microsoft.com/office/drawing/2014/main" id="{4077F556-CD1A-2DF4-7EF2-065BB540FF89}"/>
                </a:ext>
              </a:extLst>
            </p:cNvPr>
            <p:cNvSpPr/>
            <p:nvPr/>
          </p:nvSpPr>
          <p:spPr>
            <a:xfrm>
              <a:off x="3371128" y="3527019"/>
              <a:ext cx="18695" cy="10247"/>
            </a:xfrm>
            <a:custGeom>
              <a:avLst/>
              <a:gdLst/>
              <a:ahLst/>
              <a:cxnLst/>
              <a:rect l="l" t="t" r="r" b="b"/>
              <a:pathLst>
                <a:path w="1570" h="901" extrusionOk="0">
                  <a:moveTo>
                    <a:pt x="1025" y="0"/>
                  </a:moveTo>
                  <a:lnTo>
                    <a:pt x="984" y="84"/>
                  </a:lnTo>
                  <a:lnTo>
                    <a:pt x="921" y="105"/>
                  </a:lnTo>
                  <a:lnTo>
                    <a:pt x="942" y="189"/>
                  </a:lnTo>
                  <a:lnTo>
                    <a:pt x="921" y="252"/>
                  </a:lnTo>
                  <a:lnTo>
                    <a:pt x="691" y="314"/>
                  </a:lnTo>
                  <a:lnTo>
                    <a:pt x="733" y="273"/>
                  </a:lnTo>
                  <a:lnTo>
                    <a:pt x="774" y="126"/>
                  </a:lnTo>
                  <a:lnTo>
                    <a:pt x="733" y="63"/>
                  </a:lnTo>
                  <a:lnTo>
                    <a:pt x="649" y="84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461" y="84"/>
                  </a:lnTo>
                  <a:lnTo>
                    <a:pt x="377" y="84"/>
                  </a:lnTo>
                  <a:lnTo>
                    <a:pt x="377" y="252"/>
                  </a:lnTo>
                  <a:lnTo>
                    <a:pt x="272" y="210"/>
                  </a:lnTo>
                  <a:lnTo>
                    <a:pt x="168" y="105"/>
                  </a:lnTo>
                  <a:lnTo>
                    <a:pt x="105" y="168"/>
                  </a:lnTo>
                  <a:lnTo>
                    <a:pt x="230" y="356"/>
                  </a:lnTo>
                  <a:lnTo>
                    <a:pt x="377" y="377"/>
                  </a:lnTo>
                  <a:lnTo>
                    <a:pt x="377" y="419"/>
                  </a:lnTo>
                  <a:lnTo>
                    <a:pt x="230" y="419"/>
                  </a:lnTo>
                  <a:lnTo>
                    <a:pt x="168" y="482"/>
                  </a:lnTo>
                  <a:lnTo>
                    <a:pt x="189" y="565"/>
                  </a:lnTo>
                  <a:lnTo>
                    <a:pt x="84" y="670"/>
                  </a:lnTo>
                  <a:lnTo>
                    <a:pt x="0" y="670"/>
                  </a:lnTo>
                  <a:lnTo>
                    <a:pt x="0" y="712"/>
                  </a:lnTo>
                  <a:lnTo>
                    <a:pt x="126" y="796"/>
                  </a:lnTo>
                  <a:lnTo>
                    <a:pt x="189" y="712"/>
                  </a:lnTo>
                  <a:lnTo>
                    <a:pt x="293" y="796"/>
                  </a:lnTo>
                  <a:lnTo>
                    <a:pt x="377" y="691"/>
                  </a:lnTo>
                  <a:lnTo>
                    <a:pt x="230" y="628"/>
                  </a:lnTo>
                  <a:lnTo>
                    <a:pt x="335" y="586"/>
                  </a:lnTo>
                  <a:lnTo>
                    <a:pt x="523" y="607"/>
                  </a:lnTo>
                  <a:lnTo>
                    <a:pt x="649" y="565"/>
                  </a:lnTo>
                  <a:lnTo>
                    <a:pt x="649" y="461"/>
                  </a:lnTo>
                  <a:cubicBezTo>
                    <a:pt x="649" y="461"/>
                    <a:pt x="667" y="470"/>
                    <a:pt x="680" y="470"/>
                  </a:cubicBezTo>
                  <a:cubicBezTo>
                    <a:pt x="686" y="470"/>
                    <a:pt x="691" y="468"/>
                    <a:pt x="691" y="461"/>
                  </a:cubicBezTo>
                  <a:cubicBezTo>
                    <a:pt x="795" y="398"/>
                    <a:pt x="900" y="377"/>
                    <a:pt x="1005" y="314"/>
                  </a:cubicBezTo>
                  <a:lnTo>
                    <a:pt x="1046" y="398"/>
                  </a:lnTo>
                  <a:lnTo>
                    <a:pt x="1025" y="461"/>
                  </a:lnTo>
                  <a:lnTo>
                    <a:pt x="942" y="419"/>
                  </a:lnTo>
                  <a:lnTo>
                    <a:pt x="858" y="461"/>
                  </a:lnTo>
                  <a:lnTo>
                    <a:pt x="691" y="712"/>
                  </a:lnTo>
                  <a:lnTo>
                    <a:pt x="753" y="733"/>
                  </a:lnTo>
                  <a:lnTo>
                    <a:pt x="837" y="879"/>
                  </a:lnTo>
                  <a:lnTo>
                    <a:pt x="921" y="900"/>
                  </a:lnTo>
                  <a:lnTo>
                    <a:pt x="921" y="837"/>
                  </a:lnTo>
                  <a:lnTo>
                    <a:pt x="837" y="733"/>
                  </a:lnTo>
                  <a:lnTo>
                    <a:pt x="858" y="712"/>
                  </a:lnTo>
                  <a:lnTo>
                    <a:pt x="963" y="775"/>
                  </a:lnTo>
                  <a:lnTo>
                    <a:pt x="1025" y="733"/>
                  </a:lnTo>
                  <a:lnTo>
                    <a:pt x="963" y="691"/>
                  </a:lnTo>
                  <a:lnTo>
                    <a:pt x="963" y="607"/>
                  </a:lnTo>
                  <a:lnTo>
                    <a:pt x="1067" y="628"/>
                  </a:lnTo>
                  <a:lnTo>
                    <a:pt x="1172" y="607"/>
                  </a:lnTo>
                  <a:lnTo>
                    <a:pt x="1172" y="586"/>
                  </a:lnTo>
                  <a:lnTo>
                    <a:pt x="1088" y="586"/>
                  </a:lnTo>
                  <a:lnTo>
                    <a:pt x="1046" y="524"/>
                  </a:lnTo>
                  <a:lnTo>
                    <a:pt x="1088" y="503"/>
                  </a:lnTo>
                  <a:lnTo>
                    <a:pt x="1193" y="524"/>
                  </a:lnTo>
                  <a:lnTo>
                    <a:pt x="1339" y="503"/>
                  </a:lnTo>
                  <a:lnTo>
                    <a:pt x="1444" y="419"/>
                  </a:lnTo>
                  <a:lnTo>
                    <a:pt x="1549" y="398"/>
                  </a:lnTo>
                  <a:lnTo>
                    <a:pt x="1507" y="314"/>
                  </a:lnTo>
                  <a:lnTo>
                    <a:pt x="1465" y="293"/>
                  </a:lnTo>
                  <a:lnTo>
                    <a:pt x="1444" y="273"/>
                  </a:lnTo>
                  <a:lnTo>
                    <a:pt x="1486" y="210"/>
                  </a:lnTo>
                  <a:lnTo>
                    <a:pt x="1569" y="189"/>
                  </a:lnTo>
                  <a:lnTo>
                    <a:pt x="1528" y="126"/>
                  </a:lnTo>
                  <a:lnTo>
                    <a:pt x="1381" y="105"/>
                  </a:lnTo>
                  <a:lnTo>
                    <a:pt x="1318" y="126"/>
                  </a:lnTo>
                  <a:lnTo>
                    <a:pt x="1339" y="189"/>
                  </a:lnTo>
                  <a:lnTo>
                    <a:pt x="1256" y="210"/>
                  </a:lnTo>
                  <a:lnTo>
                    <a:pt x="1172" y="105"/>
                  </a:lnTo>
                  <a:lnTo>
                    <a:pt x="1172" y="42"/>
                  </a:lnTo>
                  <a:lnTo>
                    <a:pt x="102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Google Shape;12101;p43">
              <a:extLst>
                <a:ext uri="{FF2B5EF4-FFF2-40B4-BE49-F238E27FC236}">
                  <a16:creationId xmlns:a16="http://schemas.microsoft.com/office/drawing/2014/main" id="{0344ACBE-B75E-61D9-DF59-BF4953E540FD}"/>
                </a:ext>
              </a:extLst>
            </p:cNvPr>
            <p:cNvSpPr/>
            <p:nvPr/>
          </p:nvSpPr>
          <p:spPr>
            <a:xfrm>
              <a:off x="3183264" y="3080853"/>
              <a:ext cx="38140" cy="16672"/>
            </a:xfrm>
            <a:custGeom>
              <a:avLst/>
              <a:gdLst/>
              <a:ahLst/>
              <a:cxnLst/>
              <a:rect l="l" t="t" r="r" b="b"/>
              <a:pathLst>
                <a:path w="3203" h="1466" extrusionOk="0">
                  <a:moveTo>
                    <a:pt x="2072" y="1"/>
                  </a:moveTo>
                  <a:lnTo>
                    <a:pt x="2030" y="43"/>
                  </a:lnTo>
                  <a:lnTo>
                    <a:pt x="1863" y="147"/>
                  </a:lnTo>
                  <a:lnTo>
                    <a:pt x="1675" y="189"/>
                  </a:lnTo>
                  <a:lnTo>
                    <a:pt x="1319" y="377"/>
                  </a:lnTo>
                  <a:lnTo>
                    <a:pt x="1214" y="461"/>
                  </a:lnTo>
                  <a:lnTo>
                    <a:pt x="1131" y="482"/>
                  </a:lnTo>
                  <a:lnTo>
                    <a:pt x="921" y="482"/>
                  </a:lnTo>
                  <a:lnTo>
                    <a:pt x="733" y="315"/>
                  </a:lnTo>
                  <a:lnTo>
                    <a:pt x="608" y="273"/>
                  </a:lnTo>
                  <a:lnTo>
                    <a:pt x="566" y="294"/>
                  </a:lnTo>
                  <a:lnTo>
                    <a:pt x="629" y="356"/>
                  </a:lnTo>
                  <a:lnTo>
                    <a:pt x="629" y="398"/>
                  </a:lnTo>
                  <a:lnTo>
                    <a:pt x="566" y="419"/>
                  </a:lnTo>
                  <a:lnTo>
                    <a:pt x="461" y="377"/>
                  </a:lnTo>
                  <a:lnTo>
                    <a:pt x="419" y="315"/>
                  </a:lnTo>
                  <a:lnTo>
                    <a:pt x="461" y="294"/>
                  </a:lnTo>
                  <a:lnTo>
                    <a:pt x="482" y="294"/>
                  </a:lnTo>
                  <a:lnTo>
                    <a:pt x="461" y="252"/>
                  </a:lnTo>
                  <a:lnTo>
                    <a:pt x="398" y="252"/>
                  </a:lnTo>
                  <a:lnTo>
                    <a:pt x="315" y="210"/>
                  </a:lnTo>
                  <a:lnTo>
                    <a:pt x="273" y="168"/>
                  </a:lnTo>
                  <a:lnTo>
                    <a:pt x="252" y="84"/>
                  </a:lnTo>
                  <a:lnTo>
                    <a:pt x="147" y="84"/>
                  </a:lnTo>
                  <a:lnTo>
                    <a:pt x="85" y="147"/>
                  </a:lnTo>
                  <a:lnTo>
                    <a:pt x="85" y="252"/>
                  </a:lnTo>
                  <a:lnTo>
                    <a:pt x="43" y="315"/>
                  </a:lnTo>
                  <a:lnTo>
                    <a:pt x="1" y="398"/>
                  </a:lnTo>
                  <a:lnTo>
                    <a:pt x="85" y="419"/>
                  </a:lnTo>
                  <a:lnTo>
                    <a:pt x="147" y="524"/>
                  </a:lnTo>
                  <a:lnTo>
                    <a:pt x="64" y="587"/>
                  </a:lnTo>
                  <a:lnTo>
                    <a:pt x="43" y="691"/>
                  </a:lnTo>
                  <a:lnTo>
                    <a:pt x="43" y="733"/>
                  </a:lnTo>
                  <a:lnTo>
                    <a:pt x="64" y="796"/>
                  </a:lnTo>
                  <a:lnTo>
                    <a:pt x="168" y="796"/>
                  </a:lnTo>
                  <a:lnTo>
                    <a:pt x="252" y="817"/>
                  </a:lnTo>
                  <a:lnTo>
                    <a:pt x="357" y="796"/>
                  </a:lnTo>
                  <a:lnTo>
                    <a:pt x="398" y="733"/>
                  </a:lnTo>
                  <a:lnTo>
                    <a:pt x="461" y="796"/>
                  </a:lnTo>
                  <a:lnTo>
                    <a:pt x="461" y="838"/>
                  </a:lnTo>
                  <a:lnTo>
                    <a:pt x="524" y="880"/>
                  </a:lnTo>
                  <a:lnTo>
                    <a:pt x="733" y="900"/>
                  </a:lnTo>
                  <a:lnTo>
                    <a:pt x="775" y="1026"/>
                  </a:lnTo>
                  <a:lnTo>
                    <a:pt x="817" y="1193"/>
                  </a:lnTo>
                  <a:lnTo>
                    <a:pt x="921" y="1235"/>
                  </a:lnTo>
                  <a:lnTo>
                    <a:pt x="1026" y="1235"/>
                  </a:lnTo>
                  <a:lnTo>
                    <a:pt x="1047" y="1152"/>
                  </a:lnTo>
                  <a:lnTo>
                    <a:pt x="1005" y="1131"/>
                  </a:lnTo>
                  <a:lnTo>
                    <a:pt x="1047" y="1047"/>
                  </a:lnTo>
                  <a:lnTo>
                    <a:pt x="1131" y="1089"/>
                  </a:lnTo>
                  <a:lnTo>
                    <a:pt x="1152" y="1131"/>
                  </a:lnTo>
                  <a:lnTo>
                    <a:pt x="1131" y="1193"/>
                  </a:lnTo>
                  <a:lnTo>
                    <a:pt x="1152" y="1319"/>
                  </a:lnTo>
                  <a:lnTo>
                    <a:pt x="1152" y="1403"/>
                  </a:lnTo>
                  <a:lnTo>
                    <a:pt x="1193" y="1444"/>
                  </a:lnTo>
                  <a:lnTo>
                    <a:pt x="1340" y="1465"/>
                  </a:lnTo>
                  <a:lnTo>
                    <a:pt x="1424" y="1361"/>
                  </a:lnTo>
                  <a:lnTo>
                    <a:pt x="1507" y="1298"/>
                  </a:lnTo>
                  <a:lnTo>
                    <a:pt x="1612" y="1319"/>
                  </a:lnTo>
                  <a:lnTo>
                    <a:pt x="1654" y="1298"/>
                  </a:lnTo>
                  <a:lnTo>
                    <a:pt x="1654" y="1152"/>
                  </a:lnTo>
                  <a:lnTo>
                    <a:pt x="1570" y="1089"/>
                  </a:lnTo>
                  <a:lnTo>
                    <a:pt x="1465" y="1026"/>
                  </a:lnTo>
                  <a:lnTo>
                    <a:pt x="1445" y="921"/>
                  </a:lnTo>
                  <a:lnTo>
                    <a:pt x="1445" y="880"/>
                  </a:lnTo>
                  <a:lnTo>
                    <a:pt x="1549" y="817"/>
                  </a:lnTo>
                  <a:lnTo>
                    <a:pt x="1737" y="775"/>
                  </a:lnTo>
                  <a:lnTo>
                    <a:pt x="1884" y="628"/>
                  </a:lnTo>
                  <a:lnTo>
                    <a:pt x="1884" y="587"/>
                  </a:lnTo>
                  <a:lnTo>
                    <a:pt x="1863" y="566"/>
                  </a:lnTo>
                  <a:lnTo>
                    <a:pt x="1863" y="419"/>
                  </a:lnTo>
                  <a:lnTo>
                    <a:pt x="2051" y="356"/>
                  </a:lnTo>
                  <a:lnTo>
                    <a:pt x="2177" y="315"/>
                  </a:lnTo>
                  <a:lnTo>
                    <a:pt x="2261" y="377"/>
                  </a:lnTo>
                  <a:lnTo>
                    <a:pt x="2365" y="482"/>
                  </a:lnTo>
                  <a:lnTo>
                    <a:pt x="2449" y="482"/>
                  </a:lnTo>
                  <a:lnTo>
                    <a:pt x="2553" y="608"/>
                  </a:lnTo>
                  <a:lnTo>
                    <a:pt x="2574" y="712"/>
                  </a:lnTo>
                  <a:lnTo>
                    <a:pt x="2616" y="775"/>
                  </a:lnTo>
                  <a:lnTo>
                    <a:pt x="2679" y="733"/>
                  </a:lnTo>
                  <a:lnTo>
                    <a:pt x="2763" y="670"/>
                  </a:lnTo>
                  <a:lnTo>
                    <a:pt x="2805" y="670"/>
                  </a:lnTo>
                  <a:lnTo>
                    <a:pt x="2826" y="733"/>
                  </a:lnTo>
                  <a:lnTo>
                    <a:pt x="2784" y="796"/>
                  </a:lnTo>
                  <a:lnTo>
                    <a:pt x="2721" y="796"/>
                  </a:lnTo>
                  <a:lnTo>
                    <a:pt x="2616" y="942"/>
                  </a:lnTo>
                  <a:lnTo>
                    <a:pt x="2595" y="984"/>
                  </a:lnTo>
                  <a:lnTo>
                    <a:pt x="2616" y="1131"/>
                  </a:lnTo>
                  <a:lnTo>
                    <a:pt x="2763" y="1319"/>
                  </a:lnTo>
                  <a:lnTo>
                    <a:pt x="2888" y="1424"/>
                  </a:lnTo>
                  <a:lnTo>
                    <a:pt x="2972" y="1235"/>
                  </a:lnTo>
                  <a:lnTo>
                    <a:pt x="3014" y="1235"/>
                  </a:lnTo>
                  <a:lnTo>
                    <a:pt x="3098" y="1193"/>
                  </a:lnTo>
                  <a:lnTo>
                    <a:pt x="3118" y="1047"/>
                  </a:lnTo>
                  <a:lnTo>
                    <a:pt x="3202" y="900"/>
                  </a:lnTo>
                  <a:lnTo>
                    <a:pt x="3139" y="733"/>
                  </a:lnTo>
                  <a:lnTo>
                    <a:pt x="3139" y="691"/>
                  </a:lnTo>
                  <a:lnTo>
                    <a:pt x="3181" y="587"/>
                  </a:lnTo>
                  <a:lnTo>
                    <a:pt x="3118" y="524"/>
                  </a:lnTo>
                  <a:lnTo>
                    <a:pt x="3035" y="482"/>
                  </a:lnTo>
                  <a:lnTo>
                    <a:pt x="3014" y="419"/>
                  </a:lnTo>
                  <a:lnTo>
                    <a:pt x="2909" y="294"/>
                  </a:lnTo>
                  <a:lnTo>
                    <a:pt x="2679" y="168"/>
                  </a:lnTo>
                  <a:lnTo>
                    <a:pt x="2512" y="147"/>
                  </a:lnTo>
                  <a:lnTo>
                    <a:pt x="2281" y="147"/>
                  </a:lnTo>
                  <a:lnTo>
                    <a:pt x="2198" y="105"/>
                  </a:lnTo>
                  <a:lnTo>
                    <a:pt x="2156" y="63"/>
                  </a:lnTo>
                  <a:lnTo>
                    <a:pt x="207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Google Shape;12102;p43">
              <a:extLst>
                <a:ext uri="{FF2B5EF4-FFF2-40B4-BE49-F238E27FC236}">
                  <a16:creationId xmlns:a16="http://schemas.microsoft.com/office/drawing/2014/main" id="{8D96FADB-9EE5-0C6D-275A-04E4F914EE89}"/>
                </a:ext>
              </a:extLst>
            </p:cNvPr>
            <p:cNvSpPr/>
            <p:nvPr/>
          </p:nvSpPr>
          <p:spPr>
            <a:xfrm>
              <a:off x="3163092" y="3070629"/>
              <a:ext cx="23172" cy="20709"/>
            </a:xfrm>
            <a:custGeom>
              <a:avLst/>
              <a:gdLst/>
              <a:ahLst/>
              <a:cxnLst/>
              <a:rect l="l" t="t" r="r" b="b"/>
              <a:pathLst>
                <a:path w="1946" h="1821" extrusionOk="0">
                  <a:moveTo>
                    <a:pt x="293" y="0"/>
                  </a:moveTo>
                  <a:lnTo>
                    <a:pt x="105" y="21"/>
                  </a:lnTo>
                  <a:lnTo>
                    <a:pt x="105" y="42"/>
                  </a:lnTo>
                  <a:lnTo>
                    <a:pt x="63" y="63"/>
                  </a:lnTo>
                  <a:lnTo>
                    <a:pt x="84" y="63"/>
                  </a:lnTo>
                  <a:lnTo>
                    <a:pt x="63" y="209"/>
                  </a:lnTo>
                  <a:lnTo>
                    <a:pt x="0" y="230"/>
                  </a:lnTo>
                  <a:lnTo>
                    <a:pt x="63" y="251"/>
                  </a:lnTo>
                  <a:lnTo>
                    <a:pt x="126" y="272"/>
                  </a:lnTo>
                  <a:lnTo>
                    <a:pt x="167" y="377"/>
                  </a:lnTo>
                  <a:lnTo>
                    <a:pt x="63" y="460"/>
                  </a:lnTo>
                  <a:lnTo>
                    <a:pt x="0" y="586"/>
                  </a:lnTo>
                  <a:lnTo>
                    <a:pt x="21" y="690"/>
                  </a:lnTo>
                  <a:lnTo>
                    <a:pt x="188" y="837"/>
                  </a:lnTo>
                  <a:lnTo>
                    <a:pt x="335" y="837"/>
                  </a:lnTo>
                  <a:lnTo>
                    <a:pt x="418" y="879"/>
                  </a:lnTo>
                  <a:lnTo>
                    <a:pt x="481" y="983"/>
                  </a:lnTo>
                  <a:lnTo>
                    <a:pt x="523" y="983"/>
                  </a:lnTo>
                  <a:lnTo>
                    <a:pt x="607" y="879"/>
                  </a:lnTo>
                  <a:lnTo>
                    <a:pt x="586" y="774"/>
                  </a:lnTo>
                  <a:lnTo>
                    <a:pt x="418" y="670"/>
                  </a:lnTo>
                  <a:lnTo>
                    <a:pt x="377" y="586"/>
                  </a:lnTo>
                  <a:lnTo>
                    <a:pt x="418" y="565"/>
                  </a:lnTo>
                  <a:lnTo>
                    <a:pt x="523" y="649"/>
                  </a:lnTo>
                  <a:lnTo>
                    <a:pt x="628" y="690"/>
                  </a:lnTo>
                  <a:lnTo>
                    <a:pt x="649" y="774"/>
                  </a:lnTo>
                  <a:lnTo>
                    <a:pt x="753" y="858"/>
                  </a:lnTo>
                  <a:lnTo>
                    <a:pt x="795" y="983"/>
                  </a:lnTo>
                  <a:lnTo>
                    <a:pt x="921" y="1067"/>
                  </a:lnTo>
                  <a:lnTo>
                    <a:pt x="1025" y="1151"/>
                  </a:lnTo>
                  <a:lnTo>
                    <a:pt x="1109" y="1193"/>
                  </a:lnTo>
                  <a:lnTo>
                    <a:pt x="1234" y="1318"/>
                  </a:lnTo>
                  <a:lnTo>
                    <a:pt x="1255" y="1402"/>
                  </a:lnTo>
                  <a:lnTo>
                    <a:pt x="1172" y="1486"/>
                  </a:lnTo>
                  <a:lnTo>
                    <a:pt x="1172" y="1569"/>
                  </a:lnTo>
                  <a:lnTo>
                    <a:pt x="1234" y="1632"/>
                  </a:lnTo>
                  <a:lnTo>
                    <a:pt x="1360" y="1695"/>
                  </a:lnTo>
                  <a:lnTo>
                    <a:pt x="1444" y="1737"/>
                  </a:lnTo>
                  <a:lnTo>
                    <a:pt x="1486" y="1716"/>
                  </a:lnTo>
                  <a:lnTo>
                    <a:pt x="1527" y="1632"/>
                  </a:lnTo>
                  <a:lnTo>
                    <a:pt x="1465" y="1569"/>
                  </a:lnTo>
                  <a:lnTo>
                    <a:pt x="1360" y="1507"/>
                  </a:lnTo>
                  <a:lnTo>
                    <a:pt x="1360" y="1486"/>
                  </a:lnTo>
                  <a:lnTo>
                    <a:pt x="1381" y="1465"/>
                  </a:lnTo>
                  <a:lnTo>
                    <a:pt x="1465" y="1507"/>
                  </a:lnTo>
                  <a:lnTo>
                    <a:pt x="1548" y="1632"/>
                  </a:lnTo>
                  <a:lnTo>
                    <a:pt x="1548" y="1737"/>
                  </a:lnTo>
                  <a:lnTo>
                    <a:pt x="1590" y="1737"/>
                  </a:lnTo>
                  <a:lnTo>
                    <a:pt x="1632" y="1779"/>
                  </a:lnTo>
                  <a:lnTo>
                    <a:pt x="1674" y="1820"/>
                  </a:lnTo>
                  <a:lnTo>
                    <a:pt x="1737" y="1820"/>
                  </a:lnTo>
                  <a:lnTo>
                    <a:pt x="1758" y="1779"/>
                  </a:lnTo>
                  <a:lnTo>
                    <a:pt x="1758" y="1695"/>
                  </a:lnTo>
                  <a:lnTo>
                    <a:pt x="1737" y="1632"/>
                  </a:lnTo>
                  <a:lnTo>
                    <a:pt x="1737" y="1590"/>
                  </a:lnTo>
                  <a:lnTo>
                    <a:pt x="1758" y="1486"/>
                  </a:lnTo>
                  <a:lnTo>
                    <a:pt x="1841" y="1423"/>
                  </a:lnTo>
                  <a:lnTo>
                    <a:pt x="1779" y="1318"/>
                  </a:lnTo>
                  <a:lnTo>
                    <a:pt x="1695" y="1297"/>
                  </a:lnTo>
                  <a:lnTo>
                    <a:pt x="1737" y="1214"/>
                  </a:lnTo>
                  <a:lnTo>
                    <a:pt x="1779" y="1151"/>
                  </a:lnTo>
                  <a:lnTo>
                    <a:pt x="1779" y="1046"/>
                  </a:lnTo>
                  <a:lnTo>
                    <a:pt x="1841" y="983"/>
                  </a:lnTo>
                  <a:lnTo>
                    <a:pt x="1946" y="983"/>
                  </a:lnTo>
                  <a:lnTo>
                    <a:pt x="1946" y="962"/>
                  </a:lnTo>
                  <a:lnTo>
                    <a:pt x="1862" y="900"/>
                  </a:lnTo>
                  <a:lnTo>
                    <a:pt x="1758" y="879"/>
                  </a:lnTo>
                  <a:lnTo>
                    <a:pt x="1695" y="795"/>
                  </a:lnTo>
                  <a:lnTo>
                    <a:pt x="1653" y="732"/>
                  </a:lnTo>
                  <a:lnTo>
                    <a:pt x="1548" y="586"/>
                  </a:lnTo>
                  <a:lnTo>
                    <a:pt x="1465" y="481"/>
                  </a:lnTo>
                  <a:lnTo>
                    <a:pt x="1465" y="356"/>
                  </a:lnTo>
                  <a:lnTo>
                    <a:pt x="1423" y="251"/>
                  </a:lnTo>
                  <a:lnTo>
                    <a:pt x="1360" y="272"/>
                  </a:lnTo>
                  <a:lnTo>
                    <a:pt x="1339" y="335"/>
                  </a:lnTo>
                  <a:lnTo>
                    <a:pt x="1234" y="335"/>
                  </a:lnTo>
                  <a:lnTo>
                    <a:pt x="1255" y="272"/>
                  </a:lnTo>
                  <a:lnTo>
                    <a:pt x="1172" y="272"/>
                  </a:lnTo>
                  <a:lnTo>
                    <a:pt x="1130" y="314"/>
                  </a:lnTo>
                  <a:lnTo>
                    <a:pt x="1025" y="209"/>
                  </a:lnTo>
                  <a:lnTo>
                    <a:pt x="1025" y="146"/>
                  </a:lnTo>
                  <a:lnTo>
                    <a:pt x="942" y="126"/>
                  </a:lnTo>
                  <a:lnTo>
                    <a:pt x="858" y="42"/>
                  </a:lnTo>
                  <a:lnTo>
                    <a:pt x="711" y="42"/>
                  </a:lnTo>
                  <a:lnTo>
                    <a:pt x="607" y="63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Google Shape;12103;p43">
              <a:extLst>
                <a:ext uri="{FF2B5EF4-FFF2-40B4-BE49-F238E27FC236}">
                  <a16:creationId xmlns:a16="http://schemas.microsoft.com/office/drawing/2014/main" id="{C69F2D71-DEBA-B34B-59E6-6A1898604CA1}"/>
                </a:ext>
              </a:extLst>
            </p:cNvPr>
            <p:cNvSpPr/>
            <p:nvPr/>
          </p:nvSpPr>
          <p:spPr>
            <a:xfrm>
              <a:off x="3150875" y="3043494"/>
              <a:ext cx="32150" cy="30467"/>
            </a:xfrm>
            <a:custGeom>
              <a:avLst/>
              <a:gdLst/>
              <a:ahLst/>
              <a:cxnLst/>
              <a:rect l="l" t="t" r="r" b="b"/>
              <a:pathLst>
                <a:path w="2700" h="2679" extrusionOk="0">
                  <a:moveTo>
                    <a:pt x="2470" y="1"/>
                  </a:moveTo>
                  <a:lnTo>
                    <a:pt x="2407" y="22"/>
                  </a:lnTo>
                  <a:lnTo>
                    <a:pt x="2386" y="105"/>
                  </a:lnTo>
                  <a:lnTo>
                    <a:pt x="2302" y="126"/>
                  </a:lnTo>
                  <a:lnTo>
                    <a:pt x="2198" y="210"/>
                  </a:lnTo>
                  <a:lnTo>
                    <a:pt x="2093" y="210"/>
                  </a:lnTo>
                  <a:lnTo>
                    <a:pt x="2072" y="294"/>
                  </a:lnTo>
                  <a:lnTo>
                    <a:pt x="1988" y="252"/>
                  </a:lnTo>
                  <a:lnTo>
                    <a:pt x="1884" y="294"/>
                  </a:lnTo>
                  <a:lnTo>
                    <a:pt x="1863" y="231"/>
                  </a:lnTo>
                  <a:lnTo>
                    <a:pt x="1779" y="189"/>
                  </a:lnTo>
                  <a:lnTo>
                    <a:pt x="1737" y="189"/>
                  </a:lnTo>
                  <a:lnTo>
                    <a:pt x="1696" y="294"/>
                  </a:lnTo>
                  <a:lnTo>
                    <a:pt x="1591" y="294"/>
                  </a:lnTo>
                  <a:lnTo>
                    <a:pt x="1528" y="419"/>
                  </a:lnTo>
                  <a:lnTo>
                    <a:pt x="1528" y="461"/>
                  </a:lnTo>
                  <a:lnTo>
                    <a:pt x="1465" y="503"/>
                  </a:lnTo>
                  <a:lnTo>
                    <a:pt x="1361" y="587"/>
                  </a:lnTo>
                  <a:lnTo>
                    <a:pt x="1235" y="649"/>
                  </a:lnTo>
                  <a:lnTo>
                    <a:pt x="1214" y="691"/>
                  </a:lnTo>
                  <a:lnTo>
                    <a:pt x="1131" y="670"/>
                  </a:lnTo>
                  <a:lnTo>
                    <a:pt x="1068" y="691"/>
                  </a:lnTo>
                  <a:lnTo>
                    <a:pt x="1005" y="649"/>
                  </a:lnTo>
                  <a:lnTo>
                    <a:pt x="859" y="628"/>
                  </a:lnTo>
                  <a:lnTo>
                    <a:pt x="691" y="733"/>
                  </a:lnTo>
                  <a:lnTo>
                    <a:pt x="503" y="754"/>
                  </a:lnTo>
                  <a:lnTo>
                    <a:pt x="503" y="859"/>
                  </a:lnTo>
                  <a:lnTo>
                    <a:pt x="503" y="942"/>
                  </a:lnTo>
                  <a:lnTo>
                    <a:pt x="482" y="1089"/>
                  </a:lnTo>
                  <a:lnTo>
                    <a:pt x="419" y="1172"/>
                  </a:lnTo>
                  <a:lnTo>
                    <a:pt x="294" y="1172"/>
                  </a:lnTo>
                  <a:lnTo>
                    <a:pt x="189" y="1193"/>
                  </a:lnTo>
                  <a:lnTo>
                    <a:pt x="189" y="1256"/>
                  </a:lnTo>
                  <a:lnTo>
                    <a:pt x="126" y="1256"/>
                  </a:lnTo>
                  <a:lnTo>
                    <a:pt x="22" y="1214"/>
                  </a:lnTo>
                  <a:lnTo>
                    <a:pt x="1" y="1256"/>
                  </a:lnTo>
                  <a:lnTo>
                    <a:pt x="210" y="1507"/>
                  </a:lnTo>
                  <a:lnTo>
                    <a:pt x="315" y="1591"/>
                  </a:lnTo>
                  <a:lnTo>
                    <a:pt x="315" y="1675"/>
                  </a:lnTo>
                  <a:lnTo>
                    <a:pt x="482" y="1821"/>
                  </a:lnTo>
                  <a:lnTo>
                    <a:pt x="628" y="2030"/>
                  </a:lnTo>
                  <a:lnTo>
                    <a:pt x="900" y="2323"/>
                  </a:lnTo>
                  <a:lnTo>
                    <a:pt x="963" y="2323"/>
                  </a:lnTo>
                  <a:lnTo>
                    <a:pt x="1026" y="2344"/>
                  </a:lnTo>
                  <a:lnTo>
                    <a:pt x="1068" y="2323"/>
                  </a:lnTo>
                  <a:lnTo>
                    <a:pt x="1068" y="2407"/>
                  </a:lnTo>
                  <a:lnTo>
                    <a:pt x="1131" y="2407"/>
                  </a:lnTo>
                  <a:lnTo>
                    <a:pt x="1319" y="2386"/>
                  </a:lnTo>
                  <a:lnTo>
                    <a:pt x="1633" y="2449"/>
                  </a:lnTo>
                  <a:lnTo>
                    <a:pt x="1737" y="2428"/>
                  </a:lnTo>
                  <a:lnTo>
                    <a:pt x="1884" y="2428"/>
                  </a:lnTo>
                  <a:lnTo>
                    <a:pt x="1947" y="2512"/>
                  </a:lnTo>
                  <a:lnTo>
                    <a:pt x="2009" y="2532"/>
                  </a:lnTo>
                  <a:lnTo>
                    <a:pt x="2009" y="2595"/>
                  </a:lnTo>
                  <a:lnTo>
                    <a:pt x="2156" y="2679"/>
                  </a:lnTo>
                  <a:lnTo>
                    <a:pt x="2198" y="2658"/>
                  </a:lnTo>
                  <a:lnTo>
                    <a:pt x="2260" y="2658"/>
                  </a:lnTo>
                  <a:lnTo>
                    <a:pt x="2302" y="2637"/>
                  </a:lnTo>
                  <a:lnTo>
                    <a:pt x="2281" y="2553"/>
                  </a:lnTo>
                  <a:lnTo>
                    <a:pt x="2219" y="2470"/>
                  </a:lnTo>
                  <a:lnTo>
                    <a:pt x="2198" y="2344"/>
                  </a:lnTo>
                  <a:lnTo>
                    <a:pt x="2281" y="2219"/>
                  </a:lnTo>
                  <a:lnTo>
                    <a:pt x="2302" y="2135"/>
                  </a:lnTo>
                  <a:lnTo>
                    <a:pt x="2302" y="2009"/>
                  </a:lnTo>
                  <a:lnTo>
                    <a:pt x="2281" y="2093"/>
                  </a:lnTo>
                  <a:lnTo>
                    <a:pt x="2260" y="2135"/>
                  </a:lnTo>
                  <a:lnTo>
                    <a:pt x="2198" y="2156"/>
                  </a:lnTo>
                  <a:lnTo>
                    <a:pt x="2198" y="2093"/>
                  </a:lnTo>
                  <a:lnTo>
                    <a:pt x="2219" y="2009"/>
                  </a:lnTo>
                  <a:lnTo>
                    <a:pt x="2281" y="1884"/>
                  </a:lnTo>
                  <a:lnTo>
                    <a:pt x="2260" y="1800"/>
                  </a:lnTo>
                  <a:lnTo>
                    <a:pt x="2260" y="1716"/>
                  </a:lnTo>
                  <a:lnTo>
                    <a:pt x="2344" y="1528"/>
                  </a:lnTo>
                  <a:lnTo>
                    <a:pt x="2386" y="1528"/>
                  </a:lnTo>
                  <a:lnTo>
                    <a:pt x="2365" y="1591"/>
                  </a:lnTo>
                  <a:lnTo>
                    <a:pt x="2365" y="1675"/>
                  </a:lnTo>
                  <a:lnTo>
                    <a:pt x="2365" y="1800"/>
                  </a:lnTo>
                  <a:lnTo>
                    <a:pt x="2386" y="1800"/>
                  </a:lnTo>
                  <a:lnTo>
                    <a:pt x="2428" y="1716"/>
                  </a:lnTo>
                  <a:lnTo>
                    <a:pt x="2470" y="1486"/>
                  </a:lnTo>
                  <a:lnTo>
                    <a:pt x="2470" y="1214"/>
                  </a:lnTo>
                  <a:lnTo>
                    <a:pt x="2491" y="1172"/>
                  </a:lnTo>
                  <a:lnTo>
                    <a:pt x="2428" y="1089"/>
                  </a:lnTo>
                  <a:lnTo>
                    <a:pt x="2407" y="1068"/>
                  </a:lnTo>
                  <a:lnTo>
                    <a:pt x="2407" y="1005"/>
                  </a:lnTo>
                  <a:lnTo>
                    <a:pt x="2470" y="963"/>
                  </a:lnTo>
                  <a:lnTo>
                    <a:pt x="2491" y="963"/>
                  </a:lnTo>
                  <a:lnTo>
                    <a:pt x="2512" y="984"/>
                  </a:lnTo>
                  <a:lnTo>
                    <a:pt x="2533" y="838"/>
                  </a:lnTo>
                  <a:lnTo>
                    <a:pt x="2637" y="691"/>
                  </a:lnTo>
                  <a:lnTo>
                    <a:pt x="2700" y="628"/>
                  </a:lnTo>
                  <a:lnTo>
                    <a:pt x="2700" y="566"/>
                  </a:lnTo>
                  <a:lnTo>
                    <a:pt x="2637" y="524"/>
                  </a:lnTo>
                  <a:lnTo>
                    <a:pt x="2637" y="461"/>
                  </a:lnTo>
                  <a:lnTo>
                    <a:pt x="2679" y="377"/>
                  </a:lnTo>
                  <a:lnTo>
                    <a:pt x="2637" y="273"/>
                  </a:lnTo>
                  <a:lnTo>
                    <a:pt x="2637" y="126"/>
                  </a:lnTo>
                  <a:lnTo>
                    <a:pt x="2679" y="63"/>
                  </a:lnTo>
                  <a:lnTo>
                    <a:pt x="2700" y="43"/>
                  </a:lnTo>
                  <a:lnTo>
                    <a:pt x="2533" y="43"/>
                  </a:lnTo>
                  <a:lnTo>
                    <a:pt x="25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Google Shape;12104;p43">
              <a:extLst>
                <a:ext uri="{FF2B5EF4-FFF2-40B4-BE49-F238E27FC236}">
                  <a16:creationId xmlns:a16="http://schemas.microsoft.com/office/drawing/2014/main" id="{2C40BBAE-C31B-1AE6-2C28-0A4AED1869A4}"/>
                </a:ext>
              </a:extLst>
            </p:cNvPr>
            <p:cNvSpPr/>
            <p:nvPr/>
          </p:nvSpPr>
          <p:spPr>
            <a:xfrm>
              <a:off x="3140409" y="3037308"/>
              <a:ext cx="43617" cy="20948"/>
            </a:xfrm>
            <a:custGeom>
              <a:avLst/>
              <a:gdLst/>
              <a:ahLst/>
              <a:cxnLst/>
              <a:rect l="l" t="t" r="r" b="b"/>
              <a:pathLst>
                <a:path w="3663" h="1842" extrusionOk="0">
                  <a:moveTo>
                    <a:pt x="1926" y="1"/>
                  </a:moveTo>
                  <a:lnTo>
                    <a:pt x="1905" y="43"/>
                  </a:lnTo>
                  <a:lnTo>
                    <a:pt x="1968" y="105"/>
                  </a:lnTo>
                  <a:lnTo>
                    <a:pt x="1863" y="126"/>
                  </a:lnTo>
                  <a:lnTo>
                    <a:pt x="1800" y="168"/>
                  </a:lnTo>
                  <a:lnTo>
                    <a:pt x="1696" y="147"/>
                  </a:lnTo>
                  <a:lnTo>
                    <a:pt x="1507" y="168"/>
                  </a:lnTo>
                  <a:lnTo>
                    <a:pt x="943" y="168"/>
                  </a:lnTo>
                  <a:lnTo>
                    <a:pt x="775" y="252"/>
                  </a:lnTo>
                  <a:lnTo>
                    <a:pt x="712" y="210"/>
                  </a:lnTo>
                  <a:lnTo>
                    <a:pt x="712" y="252"/>
                  </a:lnTo>
                  <a:lnTo>
                    <a:pt x="629" y="315"/>
                  </a:lnTo>
                  <a:lnTo>
                    <a:pt x="566" y="419"/>
                  </a:lnTo>
                  <a:lnTo>
                    <a:pt x="419" y="482"/>
                  </a:lnTo>
                  <a:lnTo>
                    <a:pt x="336" y="482"/>
                  </a:lnTo>
                  <a:lnTo>
                    <a:pt x="189" y="649"/>
                  </a:lnTo>
                  <a:lnTo>
                    <a:pt x="106" y="754"/>
                  </a:lnTo>
                  <a:lnTo>
                    <a:pt x="126" y="838"/>
                  </a:lnTo>
                  <a:lnTo>
                    <a:pt x="43" y="984"/>
                  </a:lnTo>
                  <a:lnTo>
                    <a:pt x="1" y="1047"/>
                  </a:lnTo>
                  <a:lnTo>
                    <a:pt x="43" y="1005"/>
                  </a:lnTo>
                  <a:lnTo>
                    <a:pt x="126" y="1047"/>
                  </a:lnTo>
                  <a:lnTo>
                    <a:pt x="147" y="1068"/>
                  </a:lnTo>
                  <a:lnTo>
                    <a:pt x="210" y="1089"/>
                  </a:lnTo>
                  <a:lnTo>
                    <a:pt x="252" y="1151"/>
                  </a:lnTo>
                  <a:lnTo>
                    <a:pt x="399" y="1110"/>
                  </a:lnTo>
                  <a:lnTo>
                    <a:pt x="503" y="1151"/>
                  </a:lnTo>
                  <a:lnTo>
                    <a:pt x="566" y="1256"/>
                  </a:lnTo>
                  <a:lnTo>
                    <a:pt x="608" y="1298"/>
                  </a:lnTo>
                  <a:lnTo>
                    <a:pt x="650" y="1361"/>
                  </a:lnTo>
                  <a:lnTo>
                    <a:pt x="671" y="1298"/>
                  </a:lnTo>
                  <a:lnTo>
                    <a:pt x="712" y="1256"/>
                  </a:lnTo>
                  <a:lnTo>
                    <a:pt x="817" y="1214"/>
                  </a:lnTo>
                  <a:lnTo>
                    <a:pt x="859" y="1256"/>
                  </a:lnTo>
                  <a:lnTo>
                    <a:pt x="943" y="1277"/>
                  </a:lnTo>
                  <a:lnTo>
                    <a:pt x="943" y="1382"/>
                  </a:lnTo>
                  <a:lnTo>
                    <a:pt x="922" y="1486"/>
                  </a:lnTo>
                  <a:lnTo>
                    <a:pt x="922" y="1507"/>
                  </a:lnTo>
                  <a:lnTo>
                    <a:pt x="880" y="1612"/>
                  </a:lnTo>
                  <a:lnTo>
                    <a:pt x="922" y="1675"/>
                  </a:lnTo>
                  <a:lnTo>
                    <a:pt x="963" y="1696"/>
                  </a:lnTo>
                  <a:lnTo>
                    <a:pt x="984" y="1716"/>
                  </a:lnTo>
                  <a:lnTo>
                    <a:pt x="1047" y="1716"/>
                  </a:lnTo>
                  <a:lnTo>
                    <a:pt x="1068" y="1696"/>
                  </a:lnTo>
                  <a:lnTo>
                    <a:pt x="1131" y="1716"/>
                  </a:lnTo>
                  <a:lnTo>
                    <a:pt x="1131" y="1800"/>
                  </a:lnTo>
                  <a:lnTo>
                    <a:pt x="1152" y="1842"/>
                  </a:lnTo>
                  <a:lnTo>
                    <a:pt x="1256" y="1821"/>
                  </a:lnTo>
                  <a:lnTo>
                    <a:pt x="1382" y="1821"/>
                  </a:lnTo>
                  <a:lnTo>
                    <a:pt x="1445" y="1737"/>
                  </a:lnTo>
                  <a:lnTo>
                    <a:pt x="1445" y="1591"/>
                  </a:lnTo>
                  <a:lnTo>
                    <a:pt x="1445" y="1507"/>
                  </a:lnTo>
                  <a:lnTo>
                    <a:pt x="1445" y="1403"/>
                  </a:lnTo>
                  <a:lnTo>
                    <a:pt x="1612" y="1382"/>
                  </a:lnTo>
                  <a:lnTo>
                    <a:pt x="1800" y="1277"/>
                  </a:lnTo>
                  <a:lnTo>
                    <a:pt x="1926" y="1298"/>
                  </a:lnTo>
                  <a:lnTo>
                    <a:pt x="2010" y="1361"/>
                  </a:lnTo>
                  <a:lnTo>
                    <a:pt x="2072" y="1361"/>
                  </a:lnTo>
                  <a:lnTo>
                    <a:pt x="2135" y="1382"/>
                  </a:lnTo>
                  <a:lnTo>
                    <a:pt x="2177" y="1298"/>
                  </a:lnTo>
                  <a:lnTo>
                    <a:pt x="2303" y="1277"/>
                  </a:lnTo>
                  <a:lnTo>
                    <a:pt x="2407" y="1151"/>
                  </a:lnTo>
                  <a:lnTo>
                    <a:pt x="2449" y="1110"/>
                  </a:lnTo>
                  <a:lnTo>
                    <a:pt x="2491" y="1068"/>
                  </a:lnTo>
                  <a:lnTo>
                    <a:pt x="2554" y="900"/>
                  </a:lnTo>
                  <a:lnTo>
                    <a:pt x="2658" y="900"/>
                  </a:lnTo>
                  <a:lnTo>
                    <a:pt x="2700" y="796"/>
                  </a:lnTo>
                  <a:lnTo>
                    <a:pt x="2742" y="796"/>
                  </a:lnTo>
                  <a:lnTo>
                    <a:pt x="2826" y="879"/>
                  </a:lnTo>
                  <a:lnTo>
                    <a:pt x="2847" y="900"/>
                  </a:lnTo>
                  <a:lnTo>
                    <a:pt x="2951" y="900"/>
                  </a:lnTo>
                  <a:lnTo>
                    <a:pt x="3035" y="942"/>
                  </a:lnTo>
                  <a:lnTo>
                    <a:pt x="3056" y="859"/>
                  </a:lnTo>
                  <a:lnTo>
                    <a:pt x="3139" y="859"/>
                  </a:lnTo>
                  <a:lnTo>
                    <a:pt x="3244" y="775"/>
                  </a:lnTo>
                  <a:lnTo>
                    <a:pt x="3328" y="754"/>
                  </a:lnTo>
                  <a:lnTo>
                    <a:pt x="3349" y="670"/>
                  </a:lnTo>
                  <a:lnTo>
                    <a:pt x="3391" y="649"/>
                  </a:lnTo>
                  <a:lnTo>
                    <a:pt x="3453" y="649"/>
                  </a:lnTo>
                  <a:lnTo>
                    <a:pt x="3474" y="670"/>
                  </a:lnTo>
                  <a:lnTo>
                    <a:pt x="3642" y="670"/>
                  </a:lnTo>
                  <a:lnTo>
                    <a:pt x="3663" y="628"/>
                  </a:lnTo>
                  <a:lnTo>
                    <a:pt x="3642" y="566"/>
                  </a:lnTo>
                  <a:lnTo>
                    <a:pt x="3495" y="461"/>
                  </a:lnTo>
                  <a:lnTo>
                    <a:pt x="3370" y="419"/>
                  </a:lnTo>
                  <a:lnTo>
                    <a:pt x="3370" y="419"/>
                  </a:lnTo>
                  <a:lnTo>
                    <a:pt x="3432" y="524"/>
                  </a:lnTo>
                  <a:lnTo>
                    <a:pt x="3286" y="524"/>
                  </a:lnTo>
                  <a:lnTo>
                    <a:pt x="3139" y="482"/>
                  </a:lnTo>
                  <a:lnTo>
                    <a:pt x="3077" y="461"/>
                  </a:lnTo>
                  <a:lnTo>
                    <a:pt x="2972" y="440"/>
                  </a:lnTo>
                  <a:lnTo>
                    <a:pt x="2867" y="440"/>
                  </a:lnTo>
                  <a:lnTo>
                    <a:pt x="2909" y="377"/>
                  </a:lnTo>
                  <a:lnTo>
                    <a:pt x="2972" y="377"/>
                  </a:lnTo>
                  <a:lnTo>
                    <a:pt x="2972" y="315"/>
                  </a:lnTo>
                  <a:lnTo>
                    <a:pt x="3035" y="315"/>
                  </a:lnTo>
                  <a:lnTo>
                    <a:pt x="3119" y="335"/>
                  </a:lnTo>
                  <a:lnTo>
                    <a:pt x="3265" y="377"/>
                  </a:lnTo>
                  <a:lnTo>
                    <a:pt x="3286" y="356"/>
                  </a:lnTo>
                  <a:lnTo>
                    <a:pt x="3181" y="273"/>
                  </a:lnTo>
                  <a:lnTo>
                    <a:pt x="3035" y="210"/>
                  </a:lnTo>
                  <a:lnTo>
                    <a:pt x="2951" y="168"/>
                  </a:lnTo>
                  <a:lnTo>
                    <a:pt x="2847" y="210"/>
                  </a:lnTo>
                  <a:lnTo>
                    <a:pt x="2805" y="168"/>
                  </a:lnTo>
                  <a:lnTo>
                    <a:pt x="2763" y="252"/>
                  </a:lnTo>
                  <a:lnTo>
                    <a:pt x="2700" y="210"/>
                  </a:lnTo>
                  <a:lnTo>
                    <a:pt x="2428" y="168"/>
                  </a:lnTo>
                  <a:lnTo>
                    <a:pt x="2198" y="147"/>
                  </a:lnTo>
                  <a:lnTo>
                    <a:pt x="2072" y="43"/>
                  </a:lnTo>
                  <a:lnTo>
                    <a:pt x="19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Google Shape;12105;p43">
              <a:extLst>
                <a:ext uri="{FF2B5EF4-FFF2-40B4-BE49-F238E27FC236}">
                  <a16:creationId xmlns:a16="http://schemas.microsoft.com/office/drawing/2014/main" id="{BA8D3AC0-3D7F-834F-E6D2-D80DC7FC1030}"/>
                </a:ext>
              </a:extLst>
            </p:cNvPr>
            <p:cNvSpPr/>
            <p:nvPr/>
          </p:nvSpPr>
          <p:spPr>
            <a:xfrm>
              <a:off x="3134431" y="3048737"/>
              <a:ext cx="17206" cy="9519"/>
            </a:xfrm>
            <a:custGeom>
              <a:avLst/>
              <a:gdLst/>
              <a:ahLst/>
              <a:cxnLst/>
              <a:rect l="l" t="t" r="r" b="b"/>
              <a:pathLst>
                <a:path w="1445" h="837" extrusionOk="0">
                  <a:moveTo>
                    <a:pt x="545" y="0"/>
                  </a:moveTo>
                  <a:lnTo>
                    <a:pt x="503" y="42"/>
                  </a:lnTo>
                  <a:lnTo>
                    <a:pt x="398" y="105"/>
                  </a:lnTo>
                  <a:lnTo>
                    <a:pt x="398" y="167"/>
                  </a:lnTo>
                  <a:lnTo>
                    <a:pt x="294" y="188"/>
                  </a:lnTo>
                  <a:lnTo>
                    <a:pt x="168" y="251"/>
                  </a:lnTo>
                  <a:lnTo>
                    <a:pt x="64" y="356"/>
                  </a:lnTo>
                  <a:lnTo>
                    <a:pt x="64" y="398"/>
                  </a:lnTo>
                  <a:lnTo>
                    <a:pt x="1" y="481"/>
                  </a:lnTo>
                  <a:lnTo>
                    <a:pt x="168" y="481"/>
                  </a:lnTo>
                  <a:lnTo>
                    <a:pt x="273" y="586"/>
                  </a:lnTo>
                  <a:lnTo>
                    <a:pt x="398" y="607"/>
                  </a:lnTo>
                  <a:lnTo>
                    <a:pt x="440" y="607"/>
                  </a:lnTo>
                  <a:lnTo>
                    <a:pt x="649" y="691"/>
                  </a:lnTo>
                  <a:lnTo>
                    <a:pt x="838" y="795"/>
                  </a:lnTo>
                  <a:lnTo>
                    <a:pt x="859" y="732"/>
                  </a:lnTo>
                  <a:lnTo>
                    <a:pt x="796" y="691"/>
                  </a:lnTo>
                  <a:lnTo>
                    <a:pt x="817" y="670"/>
                  </a:lnTo>
                  <a:lnTo>
                    <a:pt x="921" y="670"/>
                  </a:lnTo>
                  <a:lnTo>
                    <a:pt x="1005" y="795"/>
                  </a:lnTo>
                  <a:lnTo>
                    <a:pt x="1068" y="837"/>
                  </a:lnTo>
                  <a:lnTo>
                    <a:pt x="1340" y="837"/>
                  </a:lnTo>
                  <a:lnTo>
                    <a:pt x="1424" y="732"/>
                  </a:lnTo>
                  <a:lnTo>
                    <a:pt x="1382" y="691"/>
                  </a:lnTo>
                  <a:lnTo>
                    <a:pt x="1424" y="670"/>
                  </a:lnTo>
                  <a:lnTo>
                    <a:pt x="1382" y="607"/>
                  </a:lnTo>
                  <a:lnTo>
                    <a:pt x="1424" y="502"/>
                  </a:lnTo>
                  <a:lnTo>
                    <a:pt x="1424" y="481"/>
                  </a:lnTo>
                  <a:lnTo>
                    <a:pt x="1445" y="377"/>
                  </a:lnTo>
                  <a:lnTo>
                    <a:pt x="1445" y="272"/>
                  </a:lnTo>
                  <a:lnTo>
                    <a:pt x="1361" y="251"/>
                  </a:lnTo>
                  <a:lnTo>
                    <a:pt x="1319" y="209"/>
                  </a:lnTo>
                  <a:lnTo>
                    <a:pt x="1214" y="251"/>
                  </a:lnTo>
                  <a:lnTo>
                    <a:pt x="1173" y="293"/>
                  </a:lnTo>
                  <a:lnTo>
                    <a:pt x="1152" y="356"/>
                  </a:lnTo>
                  <a:lnTo>
                    <a:pt x="1110" y="293"/>
                  </a:lnTo>
                  <a:lnTo>
                    <a:pt x="1068" y="251"/>
                  </a:lnTo>
                  <a:lnTo>
                    <a:pt x="1005" y="146"/>
                  </a:lnTo>
                  <a:lnTo>
                    <a:pt x="901" y="105"/>
                  </a:lnTo>
                  <a:lnTo>
                    <a:pt x="754" y="146"/>
                  </a:lnTo>
                  <a:lnTo>
                    <a:pt x="712" y="84"/>
                  </a:lnTo>
                  <a:lnTo>
                    <a:pt x="649" y="63"/>
                  </a:lnTo>
                  <a:lnTo>
                    <a:pt x="628" y="42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Google Shape;12106;p43">
              <a:extLst>
                <a:ext uri="{FF2B5EF4-FFF2-40B4-BE49-F238E27FC236}">
                  <a16:creationId xmlns:a16="http://schemas.microsoft.com/office/drawing/2014/main" id="{C4039B64-3B2D-12F7-051B-D402BF9ED379}"/>
                </a:ext>
              </a:extLst>
            </p:cNvPr>
            <p:cNvSpPr/>
            <p:nvPr/>
          </p:nvSpPr>
          <p:spPr>
            <a:xfrm>
              <a:off x="3142159" y="3021841"/>
              <a:ext cx="7978" cy="16672"/>
            </a:xfrm>
            <a:custGeom>
              <a:avLst/>
              <a:gdLst/>
              <a:ahLst/>
              <a:cxnLst/>
              <a:rect l="l" t="t" r="r" b="b"/>
              <a:pathLst>
                <a:path w="670" h="1466" extrusionOk="0">
                  <a:moveTo>
                    <a:pt x="398" y="1"/>
                  </a:moveTo>
                  <a:lnTo>
                    <a:pt x="377" y="43"/>
                  </a:lnTo>
                  <a:lnTo>
                    <a:pt x="356" y="147"/>
                  </a:lnTo>
                  <a:lnTo>
                    <a:pt x="272" y="231"/>
                  </a:lnTo>
                  <a:lnTo>
                    <a:pt x="272" y="252"/>
                  </a:lnTo>
                  <a:lnTo>
                    <a:pt x="210" y="273"/>
                  </a:lnTo>
                  <a:lnTo>
                    <a:pt x="189" y="315"/>
                  </a:lnTo>
                  <a:lnTo>
                    <a:pt x="168" y="273"/>
                  </a:lnTo>
                  <a:lnTo>
                    <a:pt x="168" y="231"/>
                  </a:lnTo>
                  <a:lnTo>
                    <a:pt x="84" y="231"/>
                  </a:lnTo>
                  <a:lnTo>
                    <a:pt x="42" y="273"/>
                  </a:lnTo>
                  <a:lnTo>
                    <a:pt x="0" y="356"/>
                  </a:lnTo>
                  <a:lnTo>
                    <a:pt x="0" y="1423"/>
                  </a:lnTo>
                  <a:lnTo>
                    <a:pt x="84" y="1423"/>
                  </a:lnTo>
                  <a:lnTo>
                    <a:pt x="105" y="1465"/>
                  </a:lnTo>
                  <a:lnTo>
                    <a:pt x="168" y="1465"/>
                  </a:lnTo>
                  <a:lnTo>
                    <a:pt x="210" y="1361"/>
                  </a:lnTo>
                  <a:lnTo>
                    <a:pt x="314" y="1256"/>
                  </a:lnTo>
                  <a:lnTo>
                    <a:pt x="398" y="1298"/>
                  </a:lnTo>
                  <a:lnTo>
                    <a:pt x="565" y="1068"/>
                  </a:lnTo>
                  <a:lnTo>
                    <a:pt x="607" y="900"/>
                  </a:lnTo>
                  <a:lnTo>
                    <a:pt x="607" y="733"/>
                  </a:lnTo>
                  <a:lnTo>
                    <a:pt x="565" y="670"/>
                  </a:lnTo>
                  <a:lnTo>
                    <a:pt x="586" y="482"/>
                  </a:lnTo>
                  <a:lnTo>
                    <a:pt x="628" y="377"/>
                  </a:lnTo>
                  <a:lnTo>
                    <a:pt x="670" y="105"/>
                  </a:lnTo>
                  <a:lnTo>
                    <a:pt x="670" y="43"/>
                  </a:lnTo>
                  <a:lnTo>
                    <a:pt x="670" y="1"/>
                  </a:lnTo>
                  <a:lnTo>
                    <a:pt x="586" y="1"/>
                  </a:lnTo>
                  <a:lnTo>
                    <a:pt x="524" y="43"/>
                  </a:lnTo>
                  <a:lnTo>
                    <a:pt x="5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Google Shape;12107;p43">
              <a:extLst>
                <a:ext uri="{FF2B5EF4-FFF2-40B4-BE49-F238E27FC236}">
                  <a16:creationId xmlns:a16="http://schemas.microsoft.com/office/drawing/2014/main" id="{B1148916-6E2F-E4E8-B8D0-617A3F37E80B}"/>
                </a:ext>
              </a:extLst>
            </p:cNvPr>
            <p:cNvSpPr/>
            <p:nvPr/>
          </p:nvSpPr>
          <p:spPr>
            <a:xfrm>
              <a:off x="3120487" y="3025651"/>
              <a:ext cx="28411" cy="28568"/>
            </a:xfrm>
            <a:custGeom>
              <a:avLst/>
              <a:gdLst/>
              <a:ahLst/>
              <a:cxnLst/>
              <a:rect l="l" t="t" r="r" b="b"/>
              <a:pathLst>
                <a:path w="2386" h="2512" extrusionOk="0">
                  <a:moveTo>
                    <a:pt x="837" y="0"/>
                  </a:moveTo>
                  <a:lnTo>
                    <a:pt x="816" y="314"/>
                  </a:lnTo>
                  <a:lnTo>
                    <a:pt x="565" y="335"/>
                  </a:lnTo>
                  <a:lnTo>
                    <a:pt x="649" y="419"/>
                  </a:lnTo>
                  <a:lnTo>
                    <a:pt x="670" y="461"/>
                  </a:lnTo>
                  <a:lnTo>
                    <a:pt x="774" y="565"/>
                  </a:lnTo>
                  <a:lnTo>
                    <a:pt x="858" y="649"/>
                  </a:lnTo>
                  <a:lnTo>
                    <a:pt x="942" y="649"/>
                  </a:lnTo>
                  <a:lnTo>
                    <a:pt x="963" y="712"/>
                  </a:lnTo>
                  <a:lnTo>
                    <a:pt x="983" y="816"/>
                  </a:lnTo>
                  <a:lnTo>
                    <a:pt x="1025" y="837"/>
                  </a:lnTo>
                  <a:lnTo>
                    <a:pt x="1130" y="858"/>
                  </a:lnTo>
                  <a:lnTo>
                    <a:pt x="1193" y="879"/>
                  </a:lnTo>
                  <a:lnTo>
                    <a:pt x="1193" y="963"/>
                  </a:lnTo>
                  <a:lnTo>
                    <a:pt x="1130" y="1026"/>
                  </a:lnTo>
                  <a:lnTo>
                    <a:pt x="398" y="1026"/>
                  </a:lnTo>
                  <a:lnTo>
                    <a:pt x="42" y="1570"/>
                  </a:lnTo>
                  <a:lnTo>
                    <a:pt x="42" y="1674"/>
                  </a:lnTo>
                  <a:lnTo>
                    <a:pt x="84" y="1695"/>
                  </a:lnTo>
                  <a:lnTo>
                    <a:pt x="42" y="1758"/>
                  </a:lnTo>
                  <a:lnTo>
                    <a:pt x="84" y="1800"/>
                  </a:lnTo>
                  <a:lnTo>
                    <a:pt x="105" y="1821"/>
                  </a:lnTo>
                  <a:lnTo>
                    <a:pt x="105" y="1863"/>
                  </a:lnTo>
                  <a:lnTo>
                    <a:pt x="42" y="1904"/>
                  </a:lnTo>
                  <a:lnTo>
                    <a:pt x="21" y="1967"/>
                  </a:lnTo>
                  <a:lnTo>
                    <a:pt x="0" y="1988"/>
                  </a:lnTo>
                  <a:lnTo>
                    <a:pt x="105" y="2093"/>
                  </a:lnTo>
                  <a:lnTo>
                    <a:pt x="147" y="2218"/>
                  </a:lnTo>
                  <a:lnTo>
                    <a:pt x="251" y="2218"/>
                  </a:lnTo>
                  <a:lnTo>
                    <a:pt x="335" y="2323"/>
                  </a:lnTo>
                  <a:lnTo>
                    <a:pt x="628" y="2428"/>
                  </a:lnTo>
                  <a:lnTo>
                    <a:pt x="942" y="2428"/>
                  </a:lnTo>
                  <a:lnTo>
                    <a:pt x="1172" y="2511"/>
                  </a:lnTo>
                  <a:lnTo>
                    <a:pt x="1235" y="2428"/>
                  </a:lnTo>
                  <a:lnTo>
                    <a:pt x="1235" y="2386"/>
                  </a:lnTo>
                  <a:lnTo>
                    <a:pt x="1339" y="2281"/>
                  </a:lnTo>
                  <a:lnTo>
                    <a:pt x="1465" y="2218"/>
                  </a:lnTo>
                  <a:lnTo>
                    <a:pt x="1569" y="2197"/>
                  </a:lnTo>
                  <a:lnTo>
                    <a:pt x="1569" y="2135"/>
                  </a:lnTo>
                  <a:lnTo>
                    <a:pt x="1716" y="2009"/>
                  </a:lnTo>
                  <a:lnTo>
                    <a:pt x="1799" y="1863"/>
                  </a:lnTo>
                  <a:lnTo>
                    <a:pt x="1779" y="1779"/>
                  </a:lnTo>
                  <a:lnTo>
                    <a:pt x="1862" y="1674"/>
                  </a:lnTo>
                  <a:lnTo>
                    <a:pt x="2009" y="1507"/>
                  </a:lnTo>
                  <a:lnTo>
                    <a:pt x="2092" y="1507"/>
                  </a:lnTo>
                  <a:lnTo>
                    <a:pt x="2239" y="1444"/>
                  </a:lnTo>
                  <a:lnTo>
                    <a:pt x="2302" y="1340"/>
                  </a:lnTo>
                  <a:lnTo>
                    <a:pt x="2385" y="1277"/>
                  </a:lnTo>
                  <a:lnTo>
                    <a:pt x="2385" y="1235"/>
                  </a:lnTo>
                  <a:lnTo>
                    <a:pt x="2344" y="1172"/>
                  </a:lnTo>
                  <a:lnTo>
                    <a:pt x="2239" y="1172"/>
                  </a:lnTo>
                  <a:lnTo>
                    <a:pt x="2218" y="1256"/>
                  </a:lnTo>
                  <a:lnTo>
                    <a:pt x="2113" y="1172"/>
                  </a:lnTo>
                  <a:lnTo>
                    <a:pt x="2030" y="1172"/>
                  </a:lnTo>
                  <a:lnTo>
                    <a:pt x="1988" y="1130"/>
                  </a:lnTo>
                  <a:lnTo>
                    <a:pt x="1925" y="1130"/>
                  </a:lnTo>
                  <a:lnTo>
                    <a:pt x="1904" y="1088"/>
                  </a:lnTo>
                  <a:lnTo>
                    <a:pt x="1820" y="1088"/>
                  </a:lnTo>
                  <a:lnTo>
                    <a:pt x="1820" y="21"/>
                  </a:lnTo>
                  <a:lnTo>
                    <a:pt x="8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Google Shape;12108;p43">
              <a:extLst>
                <a:ext uri="{FF2B5EF4-FFF2-40B4-BE49-F238E27FC236}">
                  <a16:creationId xmlns:a16="http://schemas.microsoft.com/office/drawing/2014/main" id="{DF2329FE-F724-6CAD-F971-1FAA701AB2AD}"/>
                </a:ext>
              </a:extLst>
            </p:cNvPr>
            <p:cNvSpPr/>
            <p:nvPr/>
          </p:nvSpPr>
          <p:spPr>
            <a:xfrm>
              <a:off x="2965761" y="2909287"/>
              <a:ext cx="196343" cy="138983"/>
            </a:xfrm>
            <a:custGeom>
              <a:avLst/>
              <a:gdLst/>
              <a:ahLst/>
              <a:cxnLst/>
              <a:rect l="l" t="t" r="r" b="b"/>
              <a:pathLst>
                <a:path w="16489" h="12221" extrusionOk="0">
                  <a:moveTo>
                    <a:pt x="1381" y="1"/>
                  </a:moveTo>
                  <a:lnTo>
                    <a:pt x="1" y="22"/>
                  </a:lnTo>
                  <a:lnTo>
                    <a:pt x="21" y="168"/>
                  </a:lnTo>
                  <a:lnTo>
                    <a:pt x="105" y="482"/>
                  </a:lnTo>
                  <a:lnTo>
                    <a:pt x="168" y="587"/>
                  </a:lnTo>
                  <a:lnTo>
                    <a:pt x="231" y="691"/>
                  </a:lnTo>
                  <a:lnTo>
                    <a:pt x="168" y="712"/>
                  </a:lnTo>
                  <a:lnTo>
                    <a:pt x="168" y="796"/>
                  </a:lnTo>
                  <a:lnTo>
                    <a:pt x="189" y="901"/>
                  </a:lnTo>
                  <a:lnTo>
                    <a:pt x="356" y="1110"/>
                  </a:lnTo>
                  <a:lnTo>
                    <a:pt x="356" y="1152"/>
                  </a:lnTo>
                  <a:lnTo>
                    <a:pt x="314" y="1173"/>
                  </a:lnTo>
                  <a:lnTo>
                    <a:pt x="335" y="1256"/>
                  </a:lnTo>
                  <a:lnTo>
                    <a:pt x="461" y="1361"/>
                  </a:lnTo>
                  <a:lnTo>
                    <a:pt x="482" y="1486"/>
                  </a:lnTo>
                  <a:lnTo>
                    <a:pt x="440" y="1549"/>
                  </a:lnTo>
                  <a:lnTo>
                    <a:pt x="440" y="1654"/>
                  </a:lnTo>
                  <a:lnTo>
                    <a:pt x="524" y="1696"/>
                  </a:lnTo>
                  <a:lnTo>
                    <a:pt x="545" y="1779"/>
                  </a:lnTo>
                  <a:lnTo>
                    <a:pt x="545" y="1968"/>
                  </a:lnTo>
                  <a:lnTo>
                    <a:pt x="586" y="2114"/>
                  </a:lnTo>
                  <a:lnTo>
                    <a:pt x="691" y="2219"/>
                  </a:lnTo>
                  <a:lnTo>
                    <a:pt x="754" y="2219"/>
                  </a:lnTo>
                  <a:lnTo>
                    <a:pt x="942" y="2386"/>
                  </a:lnTo>
                  <a:lnTo>
                    <a:pt x="1005" y="2512"/>
                  </a:lnTo>
                  <a:lnTo>
                    <a:pt x="1047" y="2595"/>
                  </a:lnTo>
                  <a:lnTo>
                    <a:pt x="1172" y="2721"/>
                  </a:lnTo>
                  <a:lnTo>
                    <a:pt x="1214" y="2909"/>
                  </a:lnTo>
                  <a:lnTo>
                    <a:pt x="1277" y="2930"/>
                  </a:lnTo>
                  <a:lnTo>
                    <a:pt x="1361" y="3056"/>
                  </a:lnTo>
                  <a:lnTo>
                    <a:pt x="1298" y="3139"/>
                  </a:lnTo>
                  <a:lnTo>
                    <a:pt x="1277" y="3202"/>
                  </a:lnTo>
                  <a:lnTo>
                    <a:pt x="1319" y="3265"/>
                  </a:lnTo>
                  <a:lnTo>
                    <a:pt x="1298" y="3349"/>
                  </a:lnTo>
                  <a:lnTo>
                    <a:pt x="1214" y="3328"/>
                  </a:lnTo>
                  <a:lnTo>
                    <a:pt x="1172" y="3411"/>
                  </a:lnTo>
                  <a:lnTo>
                    <a:pt x="1193" y="3432"/>
                  </a:lnTo>
                  <a:lnTo>
                    <a:pt x="1277" y="3432"/>
                  </a:lnTo>
                  <a:lnTo>
                    <a:pt x="1277" y="3516"/>
                  </a:lnTo>
                  <a:lnTo>
                    <a:pt x="1214" y="3558"/>
                  </a:lnTo>
                  <a:lnTo>
                    <a:pt x="1151" y="3516"/>
                  </a:lnTo>
                  <a:lnTo>
                    <a:pt x="1005" y="3516"/>
                  </a:lnTo>
                  <a:lnTo>
                    <a:pt x="900" y="3453"/>
                  </a:lnTo>
                  <a:lnTo>
                    <a:pt x="775" y="3474"/>
                  </a:lnTo>
                  <a:lnTo>
                    <a:pt x="712" y="3516"/>
                  </a:lnTo>
                  <a:lnTo>
                    <a:pt x="858" y="3662"/>
                  </a:lnTo>
                  <a:lnTo>
                    <a:pt x="963" y="3725"/>
                  </a:lnTo>
                  <a:lnTo>
                    <a:pt x="963" y="3830"/>
                  </a:lnTo>
                  <a:lnTo>
                    <a:pt x="1005" y="3934"/>
                  </a:lnTo>
                  <a:lnTo>
                    <a:pt x="1109" y="3955"/>
                  </a:lnTo>
                  <a:lnTo>
                    <a:pt x="1235" y="4039"/>
                  </a:lnTo>
                  <a:lnTo>
                    <a:pt x="1235" y="4081"/>
                  </a:lnTo>
                  <a:lnTo>
                    <a:pt x="1319" y="4081"/>
                  </a:lnTo>
                  <a:lnTo>
                    <a:pt x="1402" y="4102"/>
                  </a:lnTo>
                  <a:lnTo>
                    <a:pt x="1381" y="4144"/>
                  </a:lnTo>
                  <a:lnTo>
                    <a:pt x="1423" y="4206"/>
                  </a:lnTo>
                  <a:lnTo>
                    <a:pt x="1507" y="4186"/>
                  </a:lnTo>
                  <a:lnTo>
                    <a:pt x="1591" y="4186"/>
                  </a:lnTo>
                  <a:lnTo>
                    <a:pt x="1674" y="4081"/>
                  </a:lnTo>
                  <a:lnTo>
                    <a:pt x="1716" y="4081"/>
                  </a:lnTo>
                  <a:lnTo>
                    <a:pt x="1695" y="4186"/>
                  </a:lnTo>
                  <a:lnTo>
                    <a:pt x="1716" y="4374"/>
                  </a:lnTo>
                  <a:lnTo>
                    <a:pt x="1905" y="4562"/>
                  </a:lnTo>
                  <a:lnTo>
                    <a:pt x="2009" y="4583"/>
                  </a:lnTo>
                  <a:lnTo>
                    <a:pt x="2051" y="4583"/>
                  </a:lnTo>
                  <a:lnTo>
                    <a:pt x="2114" y="4667"/>
                  </a:lnTo>
                  <a:lnTo>
                    <a:pt x="2197" y="4897"/>
                  </a:lnTo>
                  <a:lnTo>
                    <a:pt x="2197" y="5127"/>
                  </a:lnTo>
                  <a:lnTo>
                    <a:pt x="2156" y="5315"/>
                  </a:lnTo>
                  <a:lnTo>
                    <a:pt x="2051" y="5462"/>
                  </a:lnTo>
                  <a:lnTo>
                    <a:pt x="2093" y="5546"/>
                  </a:lnTo>
                  <a:lnTo>
                    <a:pt x="2197" y="5650"/>
                  </a:lnTo>
                  <a:lnTo>
                    <a:pt x="2239" y="5629"/>
                  </a:lnTo>
                  <a:lnTo>
                    <a:pt x="2260" y="5713"/>
                  </a:lnTo>
                  <a:lnTo>
                    <a:pt x="2407" y="5734"/>
                  </a:lnTo>
                  <a:lnTo>
                    <a:pt x="2449" y="5859"/>
                  </a:lnTo>
                  <a:lnTo>
                    <a:pt x="2679" y="6131"/>
                  </a:lnTo>
                  <a:lnTo>
                    <a:pt x="2762" y="6152"/>
                  </a:lnTo>
                  <a:lnTo>
                    <a:pt x="2804" y="6236"/>
                  </a:lnTo>
                  <a:lnTo>
                    <a:pt x="2888" y="6341"/>
                  </a:lnTo>
                  <a:lnTo>
                    <a:pt x="3034" y="6362"/>
                  </a:lnTo>
                  <a:lnTo>
                    <a:pt x="3076" y="6445"/>
                  </a:lnTo>
                  <a:lnTo>
                    <a:pt x="3076" y="6571"/>
                  </a:lnTo>
                  <a:lnTo>
                    <a:pt x="3160" y="6655"/>
                  </a:lnTo>
                  <a:lnTo>
                    <a:pt x="3160" y="6717"/>
                  </a:lnTo>
                  <a:lnTo>
                    <a:pt x="3202" y="6822"/>
                  </a:lnTo>
                  <a:lnTo>
                    <a:pt x="3286" y="6864"/>
                  </a:lnTo>
                  <a:lnTo>
                    <a:pt x="3474" y="6780"/>
                  </a:lnTo>
                  <a:lnTo>
                    <a:pt x="3578" y="6613"/>
                  </a:lnTo>
                  <a:lnTo>
                    <a:pt x="3578" y="6487"/>
                  </a:lnTo>
                  <a:lnTo>
                    <a:pt x="3495" y="6445"/>
                  </a:lnTo>
                  <a:lnTo>
                    <a:pt x="3474" y="6341"/>
                  </a:lnTo>
                  <a:lnTo>
                    <a:pt x="3411" y="6278"/>
                  </a:lnTo>
                  <a:lnTo>
                    <a:pt x="3390" y="6173"/>
                  </a:lnTo>
                  <a:lnTo>
                    <a:pt x="3286" y="6131"/>
                  </a:lnTo>
                  <a:lnTo>
                    <a:pt x="3265" y="6048"/>
                  </a:lnTo>
                  <a:lnTo>
                    <a:pt x="3202" y="5964"/>
                  </a:lnTo>
                  <a:lnTo>
                    <a:pt x="3139" y="5943"/>
                  </a:lnTo>
                  <a:lnTo>
                    <a:pt x="3097" y="5964"/>
                  </a:lnTo>
                  <a:lnTo>
                    <a:pt x="3097" y="6048"/>
                  </a:lnTo>
                  <a:lnTo>
                    <a:pt x="3055" y="6069"/>
                  </a:lnTo>
                  <a:lnTo>
                    <a:pt x="3055" y="5985"/>
                  </a:lnTo>
                  <a:lnTo>
                    <a:pt x="2972" y="5943"/>
                  </a:lnTo>
                  <a:lnTo>
                    <a:pt x="2867" y="5818"/>
                  </a:lnTo>
                  <a:lnTo>
                    <a:pt x="2846" y="5734"/>
                  </a:lnTo>
                  <a:lnTo>
                    <a:pt x="2888" y="5629"/>
                  </a:lnTo>
                  <a:lnTo>
                    <a:pt x="2888" y="5504"/>
                  </a:lnTo>
                  <a:lnTo>
                    <a:pt x="2804" y="5399"/>
                  </a:lnTo>
                  <a:lnTo>
                    <a:pt x="2846" y="5294"/>
                  </a:lnTo>
                  <a:lnTo>
                    <a:pt x="2846" y="5232"/>
                  </a:lnTo>
                  <a:lnTo>
                    <a:pt x="2783" y="5148"/>
                  </a:lnTo>
                  <a:lnTo>
                    <a:pt x="2783" y="5085"/>
                  </a:lnTo>
                  <a:lnTo>
                    <a:pt x="2721" y="5002"/>
                  </a:lnTo>
                  <a:lnTo>
                    <a:pt x="2721" y="4897"/>
                  </a:lnTo>
                  <a:lnTo>
                    <a:pt x="2679" y="4834"/>
                  </a:lnTo>
                  <a:lnTo>
                    <a:pt x="2679" y="4688"/>
                  </a:lnTo>
                  <a:lnTo>
                    <a:pt x="2721" y="4604"/>
                  </a:lnTo>
                  <a:lnTo>
                    <a:pt x="2658" y="4395"/>
                  </a:lnTo>
                  <a:lnTo>
                    <a:pt x="2616" y="4290"/>
                  </a:lnTo>
                  <a:lnTo>
                    <a:pt x="2553" y="4206"/>
                  </a:lnTo>
                  <a:lnTo>
                    <a:pt x="2532" y="4186"/>
                  </a:lnTo>
                  <a:lnTo>
                    <a:pt x="2532" y="4248"/>
                  </a:lnTo>
                  <a:lnTo>
                    <a:pt x="2532" y="4290"/>
                  </a:lnTo>
                  <a:lnTo>
                    <a:pt x="2469" y="4353"/>
                  </a:lnTo>
                  <a:lnTo>
                    <a:pt x="2365" y="4186"/>
                  </a:lnTo>
                  <a:lnTo>
                    <a:pt x="2365" y="4102"/>
                  </a:lnTo>
                  <a:lnTo>
                    <a:pt x="2407" y="4039"/>
                  </a:lnTo>
                  <a:lnTo>
                    <a:pt x="2365" y="3976"/>
                  </a:lnTo>
                  <a:lnTo>
                    <a:pt x="2323" y="3955"/>
                  </a:lnTo>
                  <a:lnTo>
                    <a:pt x="2281" y="3746"/>
                  </a:lnTo>
                  <a:lnTo>
                    <a:pt x="2197" y="3579"/>
                  </a:lnTo>
                  <a:lnTo>
                    <a:pt x="2135" y="3558"/>
                  </a:lnTo>
                  <a:lnTo>
                    <a:pt x="2030" y="3453"/>
                  </a:lnTo>
                  <a:lnTo>
                    <a:pt x="2030" y="3328"/>
                  </a:lnTo>
                  <a:lnTo>
                    <a:pt x="2051" y="3202"/>
                  </a:lnTo>
                  <a:lnTo>
                    <a:pt x="1946" y="3056"/>
                  </a:lnTo>
                  <a:lnTo>
                    <a:pt x="1884" y="3035"/>
                  </a:lnTo>
                  <a:lnTo>
                    <a:pt x="1821" y="2993"/>
                  </a:lnTo>
                  <a:lnTo>
                    <a:pt x="1821" y="2846"/>
                  </a:lnTo>
                  <a:lnTo>
                    <a:pt x="1737" y="2784"/>
                  </a:lnTo>
                  <a:lnTo>
                    <a:pt x="1633" y="2742"/>
                  </a:lnTo>
                  <a:lnTo>
                    <a:pt x="1612" y="2637"/>
                  </a:lnTo>
                  <a:lnTo>
                    <a:pt x="1633" y="2574"/>
                  </a:lnTo>
                  <a:lnTo>
                    <a:pt x="1612" y="2407"/>
                  </a:lnTo>
                  <a:lnTo>
                    <a:pt x="1465" y="2302"/>
                  </a:lnTo>
                  <a:lnTo>
                    <a:pt x="1402" y="2219"/>
                  </a:lnTo>
                  <a:lnTo>
                    <a:pt x="1319" y="2198"/>
                  </a:lnTo>
                  <a:lnTo>
                    <a:pt x="1319" y="2093"/>
                  </a:lnTo>
                  <a:lnTo>
                    <a:pt x="1235" y="1947"/>
                  </a:lnTo>
                  <a:lnTo>
                    <a:pt x="1193" y="1863"/>
                  </a:lnTo>
                  <a:lnTo>
                    <a:pt x="1235" y="1779"/>
                  </a:lnTo>
                  <a:lnTo>
                    <a:pt x="1214" y="1361"/>
                  </a:lnTo>
                  <a:lnTo>
                    <a:pt x="1193" y="1131"/>
                  </a:lnTo>
                  <a:lnTo>
                    <a:pt x="1235" y="1005"/>
                  </a:lnTo>
                  <a:lnTo>
                    <a:pt x="1298" y="796"/>
                  </a:lnTo>
                  <a:lnTo>
                    <a:pt x="1277" y="691"/>
                  </a:lnTo>
                  <a:lnTo>
                    <a:pt x="1235" y="545"/>
                  </a:lnTo>
                  <a:lnTo>
                    <a:pt x="1319" y="691"/>
                  </a:lnTo>
                  <a:lnTo>
                    <a:pt x="1486" y="754"/>
                  </a:lnTo>
                  <a:lnTo>
                    <a:pt x="1570" y="921"/>
                  </a:lnTo>
                  <a:lnTo>
                    <a:pt x="1633" y="963"/>
                  </a:lnTo>
                  <a:lnTo>
                    <a:pt x="1737" y="963"/>
                  </a:lnTo>
                  <a:lnTo>
                    <a:pt x="1800" y="921"/>
                  </a:lnTo>
                  <a:lnTo>
                    <a:pt x="1884" y="1026"/>
                  </a:lnTo>
                  <a:lnTo>
                    <a:pt x="1925" y="1068"/>
                  </a:lnTo>
                  <a:lnTo>
                    <a:pt x="2030" y="1068"/>
                  </a:lnTo>
                  <a:lnTo>
                    <a:pt x="2156" y="1152"/>
                  </a:lnTo>
                  <a:lnTo>
                    <a:pt x="2156" y="1214"/>
                  </a:lnTo>
                  <a:lnTo>
                    <a:pt x="2093" y="1319"/>
                  </a:lnTo>
                  <a:lnTo>
                    <a:pt x="2093" y="1382"/>
                  </a:lnTo>
                  <a:lnTo>
                    <a:pt x="2135" y="1549"/>
                  </a:lnTo>
                  <a:lnTo>
                    <a:pt x="2156" y="1737"/>
                  </a:lnTo>
                  <a:lnTo>
                    <a:pt x="2218" y="1842"/>
                  </a:lnTo>
                  <a:lnTo>
                    <a:pt x="2239" y="1968"/>
                  </a:lnTo>
                  <a:lnTo>
                    <a:pt x="2218" y="2051"/>
                  </a:lnTo>
                  <a:lnTo>
                    <a:pt x="2239" y="2156"/>
                  </a:lnTo>
                  <a:lnTo>
                    <a:pt x="2407" y="2323"/>
                  </a:lnTo>
                  <a:lnTo>
                    <a:pt x="2365" y="2386"/>
                  </a:lnTo>
                  <a:lnTo>
                    <a:pt x="2344" y="2470"/>
                  </a:lnTo>
                  <a:lnTo>
                    <a:pt x="2407" y="2533"/>
                  </a:lnTo>
                  <a:lnTo>
                    <a:pt x="2428" y="2533"/>
                  </a:lnTo>
                  <a:lnTo>
                    <a:pt x="2469" y="2595"/>
                  </a:lnTo>
                  <a:lnTo>
                    <a:pt x="2532" y="2784"/>
                  </a:lnTo>
                  <a:lnTo>
                    <a:pt x="2616" y="2805"/>
                  </a:lnTo>
                  <a:lnTo>
                    <a:pt x="2658" y="2909"/>
                  </a:lnTo>
                  <a:lnTo>
                    <a:pt x="2658" y="3035"/>
                  </a:lnTo>
                  <a:lnTo>
                    <a:pt x="2721" y="3097"/>
                  </a:lnTo>
                  <a:lnTo>
                    <a:pt x="2783" y="3118"/>
                  </a:lnTo>
                  <a:lnTo>
                    <a:pt x="2846" y="3244"/>
                  </a:lnTo>
                  <a:lnTo>
                    <a:pt x="2867" y="3349"/>
                  </a:lnTo>
                  <a:lnTo>
                    <a:pt x="2951" y="3411"/>
                  </a:lnTo>
                  <a:lnTo>
                    <a:pt x="2972" y="3453"/>
                  </a:lnTo>
                  <a:lnTo>
                    <a:pt x="3055" y="3453"/>
                  </a:lnTo>
                  <a:lnTo>
                    <a:pt x="3097" y="3516"/>
                  </a:lnTo>
                  <a:lnTo>
                    <a:pt x="3181" y="3453"/>
                  </a:lnTo>
                  <a:lnTo>
                    <a:pt x="3244" y="3516"/>
                  </a:lnTo>
                  <a:lnTo>
                    <a:pt x="3244" y="3642"/>
                  </a:lnTo>
                  <a:lnTo>
                    <a:pt x="3181" y="3725"/>
                  </a:lnTo>
                  <a:lnTo>
                    <a:pt x="3202" y="3872"/>
                  </a:lnTo>
                  <a:lnTo>
                    <a:pt x="3390" y="4060"/>
                  </a:lnTo>
                  <a:lnTo>
                    <a:pt x="3474" y="4039"/>
                  </a:lnTo>
                  <a:lnTo>
                    <a:pt x="3558" y="4060"/>
                  </a:lnTo>
                  <a:lnTo>
                    <a:pt x="3516" y="4165"/>
                  </a:lnTo>
                  <a:lnTo>
                    <a:pt x="3578" y="4269"/>
                  </a:lnTo>
                  <a:lnTo>
                    <a:pt x="3683" y="4290"/>
                  </a:lnTo>
                  <a:lnTo>
                    <a:pt x="3767" y="4290"/>
                  </a:lnTo>
                  <a:lnTo>
                    <a:pt x="3850" y="4395"/>
                  </a:lnTo>
                  <a:lnTo>
                    <a:pt x="3892" y="4499"/>
                  </a:lnTo>
                  <a:lnTo>
                    <a:pt x="3976" y="4520"/>
                  </a:lnTo>
                  <a:lnTo>
                    <a:pt x="3997" y="4499"/>
                  </a:lnTo>
                  <a:lnTo>
                    <a:pt x="4018" y="4520"/>
                  </a:lnTo>
                  <a:lnTo>
                    <a:pt x="4039" y="4604"/>
                  </a:lnTo>
                  <a:lnTo>
                    <a:pt x="3997" y="4667"/>
                  </a:lnTo>
                  <a:lnTo>
                    <a:pt x="3934" y="4604"/>
                  </a:lnTo>
                  <a:lnTo>
                    <a:pt x="3850" y="4625"/>
                  </a:lnTo>
                  <a:lnTo>
                    <a:pt x="3767" y="4730"/>
                  </a:lnTo>
                  <a:lnTo>
                    <a:pt x="3704" y="4897"/>
                  </a:lnTo>
                  <a:lnTo>
                    <a:pt x="3725" y="5002"/>
                  </a:lnTo>
                  <a:lnTo>
                    <a:pt x="3809" y="5085"/>
                  </a:lnTo>
                  <a:lnTo>
                    <a:pt x="3913" y="5085"/>
                  </a:lnTo>
                  <a:lnTo>
                    <a:pt x="3997" y="5148"/>
                  </a:lnTo>
                  <a:lnTo>
                    <a:pt x="4206" y="5315"/>
                  </a:lnTo>
                  <a:lnTo>
                    <a:pt x="4353" y="5357"/>
                  </a:lnTo>
                  <a:lnTo>
                    <a:pt x="4415" y="5357"/>
                  </a:lnTo>
                  <a:lnTo>
                    <a:pt x="4436" y="5420"/>
                  </a:lnTo>
                  <a:lnTo>
                    <a:pt x="4499" y="5525"/>
                  </a:lnTo>
                  <a:lnTo>
                    <a:pt x="4541" y="5608"/>
                  </a:lnTo>
                  <a:lnTo>
                    <a:pt x="4499" y="5713"/>
                  </a:lnTo>
                  <a:lnTo>
                    <a:pt x="4415" y="5734"/>
                  </a:lnTo>
                  <a:lnTo>
                    <a:pt x="4436" y="5776"/>
                  </a:lnTo>
                  <a:lnTo>
                    <a:pt x="4520" y="5838"/>
                  </a:lnTo>
                  <a:lnTo>
                    <a:pt x="4708" y="5880"/>
                  </a:lnTo>
                  <a:lnTo>
                    <a:pt x="4708" y="5964"/>
                  </a:lnTo>
                  <a:lnTo>
                    <a:pt x="4750" y="5985"/>
                  </a:lnTo>
                  <a:lnTo>
                    <a:pt x="4897" y="6131"/>
                  </a:lnTo>
                  <a:lnTo>
                    <a:pt x="5085" y="6362"/>
                  </a:lnTo>
                  <a:lnTo>
                    <a:pt x="5231" y="6592"/>
                  </a:lnTo>
                  <a:lnTo>
                    <a:pt x="5399" y="6801"/>
                  </a:lnTo>
                  <a:lnTo>
                    <a:pt x="5399" y="6906"/>
                  </a:lnTo>
                  <a:lnTo>
                    <a:pt x="5608" y="7178"/>
                  </a:lnTo>
                  <a:lnTo>
                    <a:pt x="5650" y="7282"/>
                  </a:lnTo>
                  <a:lnTo>
                    <a:pt x="5587" y="7408"/>
                  </a:lnTo>
                  <a:lnTo>
                    <a:pt x="5650" y="7491"/>
                  </a:lnTo>
                  <a:lnTo>
                    <a:pt x="5692" y="7638"/>
                  </a:lnTo>
                  <a:lnTo>
                    <a:pt x="5817" y="7952"/>
                  </a:lnTo>
                  <a:lnTo>
                    <a:pt x="5817" y="8077"/>
                  </a:lnTo>
                  <a:lnTo>
                    <a:pt x="5775" y="8182"/>
                  </a:lnTo>
                  <a:lnTo>
                    <a:pt x="5650" y="8287"/>
                  </a:lnTo>
                  <a:lnTo>
                    <a:pt x="5608" y="8370"/>
                  </a:lnTo>
                  <a:lnTo>
                    <a:pt x="5671" y="8370"/>
                  </a:lnTo>
                  <a:lnTo>
                    <a:pt x="5754" y="8454"/>
                  </a:lnTo>
                  <a:lnTo>
                    <a:pt x="5692" y="8496"/>
                  </a:lnTo>
                  <a:lnTo>
                    <a:pt x="5566" y="8496"/>
                  </a:lnTo>
                  <a:lnTo>
                    <a:pt x="5482" y="8538"/>
                  </a:lnTo>
                  <a:lnTo>
                    <a:pt x="5482" y="8579"/>
                  </a:lnTo>
                  <a:lnTo>
                    <a:pt x="5566" y="8789"/>
                  </a:lnTo>
                  <a:lnTo>
                    <a:pt x="5650" y="8872"/>
                  </a:lnTo>
                  <a:lnTo>
                    <a:pt x="5650" y="8956"/>
                  </a:lnTo>
                  <a:lnTo>
                    <a:pt x="5754" y="9103"/>
                  </a:lnTo>
                  <a:lnTo>
                    <a:pt x="5796" y="9228"/>
                  </a:lnTo>
                  <a:lnTo>
                    <a:pt x="5859" y="9291"/>
                  </a:lnTo>
                  <a:lnTo>
                    <a:pt x="5922" y="9291"/>
                  </a:lnTo>
                  <a:lnTo>
                    <a:pt x="5943" y="9333"/>
                  </a:lnTo>
                  <a:lnTo>
                    <a:pt x="6131" y="9395"/>
                  </a:lnTo>
                  <a:lnTo>
                    <a:pt x="6278" y="9375"/>
                  </a:lnTo>
                  <a:lnTo>
                    <a:pt x="6340" y="9375"/>
                  </a:lnTo>
                  <a:lnTo>
                    <a:pt x="6299" y="9437"/>
                  </a:lnTo>
                  <a:lnTo>
                    <a:pt x="6299" y="9500"/>
                  </a:lnTo>
                  <a:lnTo>
                    <a:pt x="6424" y="9542"/>
                  </a:lnTo>
                  <a:lnTo>
                    <a:pt x="6591" y="9688"/>
                  </a:lnTo>
                  <a:lnTo>
                    <a:pt x="6696" y="9835"/>
                  </a:lnTo>
                  <a:lnTo>
                    <a:pt x="6759" y="9960"/>
                  </a:lnTo>
                  <a:lnTo>
                    <a:pt x="6863" y="10023"/>
                  </a:lnTo>
                  <a:lnTo>
                    <a:pt x="6926" y="10002"/>
                  </a:lnTo>
                  <a:lnTo>
                    <a:pt x="7031" y="10044"/>
                  </a:lnTo>
                  <a:lnTo>
                    <a:pt x="7115" y="10044"/>
                  </a:lnTo>
                  <a:lnTo>
                    <a:pt x="7345" y="10149"/>
                  </a:lnTo>
                  <a:lnTo>
                    <a:pt x="7428" y="10149"/>
                  </a:lnTo>
                  <a:lnTo>
                    <a:pt x="7449" y="10107"/>
                  </a:lnTo>
                  <a:lnTo>
                    <a:pt x="7512" y="10107"/>
                  </a:lnTo>
                  <a:lnTo>
                    <a:pt x="7575" y="10170"/>
                  </a:lnTo>
                  <a:lnTo>
                    <a:pt x="7847" y="10442"/>
                  </a:lnTo>
                  <a:lnTo>
                    <a:pt x="7910" y="10442"/>
                  </a:lnTo>
                  <a:lnTo>
                    <a:pt x="8098" y="10630"/>
                  </a:lnTo>
                  <a:lnTo>
                    <a:pt x="8328" y="10735"/>
                  </a:lnTo>
                  <a:lnTo>
                    <a:pt x="8621" y="10756"/>
                  </a:lnTo>
                  <a:lnTo>
                    <a:pt x="8747" y="10839"/>
                  </a:lnTo>
                  <a:lnTo>
                    <a:pt x="8830" y="10965"/>
                  </a:lnTo>
                  <a:lnTo>
                    <a:pt x="8998" y="10965"/>
                  </a:lnTo>
                  <a:lnTo>
                    <a:pt x="9144" y="11048"/>
                  </a:lnTo>
                  <a:lnTo>
                    <a:pt x="9228" y="10986"/>
                  </a:lnTo>
                  <a:lnTo>
                    <a:pt x="9249" y="11007"/>
                  </a:lnTo>
                  <a:lnTo>
                    <a:pt x="9332" y="11153"/>
                  </a:lnTo>
                  <a:lnTo>
                    <a:pt x="9479" y="11216"/>
                  </a:lnTo>
                  <a:lnTo>
                    <a:pt x="9625" y="11216"/>
                  </a:lnTo>
                  <a:lnTo>
                    <a:pt x="9730" y="11279"/>
                  </a:lnTo>
                  <a:lnTo>
                    <a:pt x="9960" y="11362"/>
                  </a:lnTo>
                  <a:lnTo>
                    <a:pt x="10148" y="11362"/>
                  </a:lnTo>
                  <a:lnTo>
                    <a:pt x="10295" y="11467"/>
                  </a:lnTo>
                  <a:lnTo>
                    <a:pt x="10588" y="11572"/>
                  </a:lnTo>
                  <a:lnTo>
                    <a:pt x="10692" y="11530"/>
                  </a:lnTo>
                  <a:lnTo>
                    <a:pt x="11006" y="11404"/>
                  </a:lnTo>
                  <a:lnTo>
                    <a:pt x="11111" y="11404"/>
                  </a:lnTo>
                  <a:lnTo>
                    <a:pt x="11299" y="11300"/>
                  </a:lnTo>
                  <a:lnTo>
                    <a:pt x="11404" y="11279"/>
                  </a:lnTo>
                  <a:lnTo>
                    <a:pt x="11613" y="11279"/>
                  </a:lnTo>
                  <a:lnTo>
                    <a:pt x="11613" y="11258"/>
                  </a:lnTo>
                  <a:lnTo>
                    <a:pt x="11467" y="11216"/>
                  </a:lnTo>
                  <a:lnTo>
                    <a:pt x="11404" y="11216"/>
                  </a:lnTo>
                  <a:lnTo>
                    <a:pt x="11404" y="11174"/>
                  </a:lnTo>
                  <a:lnTo>
                    <a:pt x="11529" y="11090"/>
                  </a:lnTo>
                  <a:lnTo>
                    <a:pt x="11550" y="11111"/>
                  </a:lnTo>
                  <a:lnTo>
                    <a:pt x="11550" y="11195"/>
                  </a:lnTo>
                  <a:lnTo>
                    <a:pt x="11634" y="11153"/>
                  </a:lnTo>
                  <a:lnTo>
                    <a:pt x="11718" y="11153"/>
                  </a:lnTo>
                  <a:lnTo>
                    <a:pt x="11718" y="11195"/>
                  </a:lnTo>
                  <a:lnTo>
                    <a:pt x="11655" y="11195"/>
                  </a:lnTo>
                  <a:lnTo>
                    <a:pt x="11634" y="11216"/>
                  </a:lnTo>
                  <a:lnTo>
                    <a:pt x="11655" y="11258"/>
                  </a:lnTo>
                  <a:lnTo>
                    <a:pt x="11760" y="11258"/>
                  </a:lnTo>
                  <a:lnTo>
                    <a:pt x="11864" y="11279"/>
                  </a:lnTo>
                  <a:lnTo>
                    <a:pt x="12032" y="11404"/>
                  </a:lnTo>
                  <a:lnTo>
                    <a:pt x="12094" y="11467"/>
                  </a:lnTo>
                  <a:lnTo>
                    <a:pt x="12094" y="11425"/>
                  </a:lnTo>
                  <a:lnTo>
                    <a:pt x="11969" y="11300"/>
                  </a:lnTo>
                  <a:lnTo>
                    <a:pt x="11780" y="11216"/>
                  </a:lnTo>
                  <a:lnTo>
                    <a:pt x="11780" y="11174"/>
                  </a:lnTo>
                  <a:lnTo>
                    <a:pt x="11822" y="11174"/>
                  </a:lnTo>
                  <a:lnTo>
                    <a:pt x="11843" y="11195"/>
                  </a:lnTo>
                  <a:lnTo>
                    <a:pt x="11948" y="11216"/>
                  </a:lnTo>
                  <a:lnTo>
                    <a:pt x="12053" y="11300"/>
                  </a:lnTo>
                  <a:lnTo>
                    <a:pt x="12157" y="11425"/>
                  </a:lnTo>
                  <a:lnTo>
                    <a:pt x="12157" y="11488"/>
                  </a:lnTo>
                  <a:lnTo>
                    <a:pt x="12199" y="11530"/>
                  </a:lnTo>
                  <a:lnTo>
                    <a:pt x="12597" y="11885"/>
                  </a:lnTo>
                  <a:lnTo>
                    <a:pt x="12722" y="11906"/>
                  </a:lnTo>
                  <a:lnTo>
                    <a:pt x="12764" y="11990"/>
                  </a:lnTo>
                  <a:lnTo>
                    <a:pt x="12910" y="12116"/>
                  </a:lnTo>
                  <a:lnTo>
                    <a:pt x="12994" y="12220"/>
                  </a:lnTo>
                  <a:lnTo>
                    <a:pt x="13015" y="12199"/>
                  </a:lnTo>
                  <a:lnTo>
                    <a:pt x="13036" y="12136"/>
                  </a:lnTo>
                  <a:lnTo>
                    <a:pt x="13099" y="12095"/>
                  </a:lnTo>
                  <a:lnTo>
                    <a:pt x="13099" y="12053"/>
                  </a:lnTo>
                  <a:lnTo>
                    <a:pt x="13078" y="12032"/>
                  </a:lnTo>
                  <a:lnTo>
                    <a:pt x="13036" y="11990"/>
                  </a:lnTo>
                  <a:lnTo>
                    <a:pt x="13078" y="11927"/>
                  </a:lnTo>
                  <a:lnTo>
                    <a:pt x="13036" y="11906"/>
                  </a:lnTo>
                  <a:lnTo>
                    <a:pt x="13036" y="11802"/>
                  </a:lnTo>
                  <a:lnTo>
                    <a:pt x="13392" y="11258"/>
                  </a:lnTo>
                  <a:lnTo>
                    <a:pt x="14124" y="11258"/>
                  </a:lnTo>
                  <a:lnTo>
                    <a:pt x="14187" y="11195"/>
                  </a:lnTo>
                  <a:lnTo>
                    <a:pt x="14187" y="11111"/>
                  </a:lnTo>
                  <a:lnTo>
                    <a:pt x="14124" y="11090"/>
                  </a:lnTo>
                  <a:lnTo>
                    <a:pt x="14019" y="11069"/>
                  </a:lnTo>
                  <a:lnTo>
                    <a:pt x="13977" y="11048"/>
                  </a:lnTo>
                  <a:lnTo>
                    <a:pt x="13957" y="10944"/>
                  </a:lnTo>
                  <a:lnTo>
                    <a:pt x="13936" y="10881"/>
                  </a:lnTo>
                  <a:lnTo>
                    <a:pt x="13852" y="10881"/>
                  </a:lnTo>
                  <a:lnTo>
                    <a:pt x="13768" y="10797"/>
                  </a:lnTo>
                  <a:lnTo>
                    <a:pt x="13664" y="10693"/>
                  </a:lnTo>
                  <a:lnTo>
                    <a:pt x="13643" y="10651"/>
                  </a:lnTo>
                  <a:lnTo>
                    <a:pt x="13559" y="10567"/>
                  </a:lnTo>
                  <a:lnTo>
                    <a:pt x="13810" y="10546"/>
                  </a:lnTo>
                  <a:lnTo>
                    <a:pt x="13831" y="10232"/>
                  </a:lnTo>
                  <a:lnTo>
                    <a:pt x="14814" y="10253"/>
                  </a:lnTo>
                  <a:lnTo>
                    <a:pt x="14856" y="10170"/>
                  </a:lnTo>
                  <a:lnTo>
                    <a:pt x="14898" y="10128"/>
                  </a:lnTo>
                  <a:lnTo>
                    <a:pt x="14982" y="10128"/>
                  </a:lnTo>
                  <a:lnTo>
                    <a:pt x="14982" y="10170"/>
                  </a:lnTo>
                  <a:lnTo>
                    <a:pt x="15003" y="10212"/>
                  </a:lnTo>
                  <a:lnTo>
                    <a:pt x="15024" y="10170"/>
                  </a:lnTo>
                  <a:lnTo>
                    <a:pt x="15086" y="10149"/>
                  </a:lnTo>
                  <a:lnTo>
                    <a:pt x="15086" y="10128"/>
                  </a:lnTo>
                  <a:lnTo>
                    <a:pt x="15170" y="10044"/>
                  </a:lnTo>
                  <a:lnTo>
                    <a:pt x="15191" y="9940"/>
                  </a:lnTo>
                  <a:lnTo>
                    <a:pt x="15212" y="9898"/>
                  </a:lnTo>
                  <a:lnTo>
                    <a:pt x="15317" y="9898"/>
                  </a:lnTo>
                  <a:lnTo>
                    <a:pt x="15421" y="9793"/>
                  </a:lnTo>
                  <a:lnTo>
                    <a:pt x="15526" y="9647"/>
                  </a:lnTo>
                  <a:lnTo>
                    <a:pt x="15610" y="9626"/>
                  </a:lnTo>
                  <a:lnTo>
                    <a:pt x="15610" y="9626"/>
                  </a:lnTo>
                  <a:lnTo>
                    <a:pt x="15589" y="9730"/>
                  </a:lnTo>
                  <a:lnTo>
                    <a:pt x="15526" y="9793"/>
                  </a:lnTo>
                  <a:lnTo>
                    <a:pt x="15547" y="9835"/>
                  </a:lnTo>
                  <a:lnTo>
                    <a:pt x="15651" y="9919"/>
                  </a:lnTo>
                  <a:lnTo>
                    <a:pt x="15714" y="10023"/>
                  </a:lnTo>
                  <a:lnTo>
                    <a:pt x="15735" y="10002"/>
                  </a:lnTo>
                  <a:lnTo>
                    <a:pt x="15840" y="9814"/>
                  </a:lnTo>
                  <a:lnTo>
                    <a:pt x="15944" y="9437"/>
                  </a:lnTo>
                  <a:lnTo>
                    <a:pt x="16007" y="9333"/>
                  </a:lnTo>
                  <a:lnTo>
                    <a:pt x="15944" y="9375"/>
                  </a:lnTo>
                  <a:lnTo>
                    <a:pt x="15902" y="9416"/>
                  </a:lnTo>
                  <a:lnTo>
                    <a:pt x="15840" y="9395"/>
                  </a:lnTo>
                  <a:lnTo>
                    <a:pt x="15840" y="9333"/>
                  </a:lnTo>
                  <a:lnTo>
                    <a:pt x="15965" y="9207"/>
                  </a:lnTo>
                  <a:lnTo>
                    <a:pt x="16007" y="9123"/>
                  </a:lnTo>
                  <a:lnTo>
                    <a:pt x="15902" y="9123"/>
                  </a:lnTo>
                  <a:lnTo>
                    <a:pt x="15819" y="9061"/>
                  </a:lnTo>
                  <a:lnTo>
                    <a:pt x="15840" y="9019"/>
                  </a:lnTo>
                  <a:lnTo>
                    <a:pt x="15965" y="8956"/>
                  </a:lnTo>
                  <a:lnTo>
                    <a:pt x="15965" y="8789"/>
                  </a:lnTo>
                  <a:lnTo>
                    <a:pt x="16028" y="8705"/>
                  </a:lnTo>
                  <a:lnTo>
                    <a:pt x="16279" y="8475"/>
                  </a:lnTo>
                  <a:lnTo>
                    <a:pt x="16426" y="8266"/>
                  </a:lnTo>
                  <a:lnTo>
                    <a:pt x="16488" y="8119"/>
                  </a:lnTo>
                  <a:lnTo>
                    <a:pt x="16488" y="8015"/>
                  </a:lnTo>
                  <a:lnTo>
                    <a:pt x="16321" y="7763"/>
                  </a:lnTo>
                  <a:lnTo>
                    <a:pt x="16216" y="7805"/>
                  </a:lnTo>
                  <a:lnTo>
                    <a:pt x="16237" y="7847"/>
                  </a:lnTo>
                  <a:lnTo>
                    <a:pt x="16174" y="7868"/>
                  </a:lnTo>
                  <a:lnTo>
                    <a:pt x="15923" y="7826"/>
                  </a:lnTo>
                  <a:lnTo>
                    <a:pt x="15693" y="7826"/>
                  </a:lnTo>
                  <a:lnTo>
                    <a:pt x="15693" y="7868"/>
                  </a:lnTo>
                  <a:lnTo>
                    <a:pt x="15547" y="7952"/>
                  </a:lnTo>
                  <a:lnTo>
                    <a:pt x="15505" y="7910"/>
                  </a:lnTo>
                  <a:lnTo>
                    <a:pt x="15379" y="7931"/>
                  </a:lnTo>
                  <a:lnTo>
                    <a:pt x="15275" y="8035"/>
                  </a:lnTo>
                  <a:lnTo>
                    <a:pt x="14793" y="8035"/>
                  </a:lnTo>
                  <a:lnTo>
                    <a:pt x="14396" y="8119"/>
                  </a:lnTo>
                  <a:lnTo>
                    <a:pt x="14396" y="8182"/>
                  </a:lnTo>
                  <a:lnTo>
                    <a:pt x="14501" y="8224"/>
                  </a:lnTo>
                  <a:lnTo>
                    <a:pt x="14291" y="8454"/>
                  </a:lnTo>
                  <a:lnTo>
                    <a:pt x="14270" y="8810"/>
                  </a:lnTo>
                  <a:lnTo>
                    <a:pt x="14291" y="8851"/>
                  </a:lnTo>
                  <a:lnTo>
                    <a:pt x="14082" y="9082"/>
                  </a:lnTo>
                  <a:lnTo>
                    <a:pt x="14082" y="9270"/>
                  </a:lnTo>
                  <a:lnTo>
                    <a:pt x="13957" y="9395"/>
                  </a:lnTo>
                  <a:lnTo>
                    <a:pt x="13873" y="9416"/>
                  </a:lnTo>
                  <a:lnTo>
                    <a:pt x="13622" y="9542"/>
                  </a:lnTo>
                  <a:lnTo>
                    <a:pt x="13643" y="9584"/>
                  </a:lnTo>
                  <a:lnTo>
                    <a:pt x="13747" y="9500"/>
                  </a:lnTo>
                  <a:lnTo>
                    <a:pt x="13726" y="9605"/>
                  </a:lnTo>
                  <a:lnTo>
                    <a:pt x="13726" y="9793"/>
                  </a:lnTo>
                  <a:lnTo>
                    <a:pt x="13622" y="9919"/>
                  </a:lnTo>
                  <a:lnTo>
                    <a:pt x="13538" y="9919"/>
                  </a:lnTo>
                  <a:lnTo>
                    <a:pt x="13517" y="9960"/>
                  </a:lnTo>
                  <a:lnTo>
                    <a:pt x="13454" y="9919"/>
                  </a:lnTo>
                  <a:lnTo>
                    <a:pt x="13329" y="9835"/>
                  </a:lnTo>
                  <a:lnTo>
                    <a:pt x="13350" y="9793"/>
                  </a:lnTo>
                  <a:lnTo>
                    <a:pt x="13454" y="9730"/>
                  </a:lnTo>
                  <a:lnTo>
                    <a:pt x="13308" y="9688"/>
                  </a:lnTo>
                  <a:lnTo>
                    <a:pt x="13245" y="9730"/>
                  </a:lnTo>
                  <a:lnTo>
                    <a:pt x="13120" y="9709"/>
                  </a:lnTo>
                  <a:lnTo>
                    <a:pt x="12973" y="9709"/>
                  </a:lnTo>
                  <a:lnTo>
                    <a:pt x="12869" y="9793"/>
                  </a:lnTo>
                  <a:lnTo>
                    <a:pt x="12722" y="9814"/>
                  </a:lnTo>
                  <a:lnTo>
                    <a:pt x="12513" y="9814"/>
                  </a:lnTo>
                  <a:lnTo>
                    <a:pt x="12492" y="9856"/>
                  </a:lnTo>
                  <a:lnTo>
                    <a:pt x="12262" y="10002"/>
                  </a:lnTo>
                  <a:lnTo>
                    <a:pt x="12178" y="10002"/>
                  </a:lnTo>
                  <a:lnTo>
                    <a:pt x="12157" y="9940"/>
                  </a:lnTo>
                  <a:lnTo>
                    <a:pt x="11948" y="10002"/>
                  </a:lnTo>
                  <a:lnTo>
                    <a:pt x="11822" y="10044"/>
                  </a:lnTo>
                  <a:lnTo>
                    <a:pt x="11760" y="9919"/>
                  </a:lnTo>
                  <a:lnTo>
                    <a:pt x="11634" y="9730"/>
                  </a:lnTo>
                  <a:lnTo>
                    <a:pt x="11467" y="9647"/>
                  </a:lnTo>
                  <a:lnTo>
                    <a:pt x="11425" y="9605"/>
                  </a:lnTo>
                  <a:lnTo>
                    <a:pt x="11257" y="9605"/>
                  </a:lnTo>
                  <a:lnTo>
                    <a:pt x="11216" y="9626"/>
                  </a:lnTo>
                  <a:lnTo>
                    <a:pt x="11132" y="9521"/>
                  </a:lnTo>
                  <a:lnTo>
                    <a:pt x="10902" y="9270"/>
                  </a:lnTo>
                  <a:lnTo>
                    <a:pt x="10881" y="9165"/>
                  </a:lnTo>
                  <a:lnTo>
                    <a:pt x="10881" y="9082"/>
                  </a:lnTo>
                  <a:lnTo>
                    <a:pt x="10776" y="8914"/>
                  </a:lnTo>
                  <a:lnTo>
                    <a:pt x="10713" y="8789"/>
                  </a:lnTo>
                  <a:lnTo>
                    <a:pt x="10400" y="8454"/>
                  </a:lnTo>
                  <a:lnTo>
                    <a:pt x="10379" y="8328"/>
                  </a:lnTo>
                  <a:lnTo>
                    <a:pt x="10316" y="8245"/>
                  </a:lnTo>
                  <a:lnTo>
                    <a:pt x="10358" y="8161"/>
                  </a:lnTo>
                  <a:lnTo>
                    <a:pt x="10316" y="8077"/>
                  </a:lnTo>
                  <a:lnTo>
                    <a:pt x="10253" y="7847"/>
                  </a:lnTo>
                  <a:lnTo>
                    <a:pt x="10169" y="7763"/>
                  </a:lnTo>
                  <a:lnTo>
                    <a:pt x="10190" y="7638"/>
                  </a:lnTo>
                  <a:lnTo>
                    <a:pt x="10316" y="7805"/>
                  </a:lnTo>
                  <a:lnTo>
                    <a:pt x="10316" y="8015"/>
                  </a:lnTo>
                  <a:lnTo>
                    <a:pt x="10379" y="7973"/>
                  </a:lnTo>
                  <a:lnTo>
                    <a:pt x="10379" y="7805"/>
                  </a:lnTo>
                  <a:lnTo>
                    <a:pt x="10211" y="7554"/>
                  </a:lnTo>
                  <a:lnTo>
                    <a:pt x="10253" y="7429"/>
                  </a:lnTo>
                  <a:lnTo>
                    <a:pt x="10190" y="7219"/>
                  </a:lnTo>
                  <a:lnTo>
                    <a:pt x="10169" y="7115"/>
                  </a:lnTo>
                  <a:lnTo>
                    <a:pt x="10253" y="7010"/>
                  </a:lnTo>
                  <a:lnTo>
                    <a:pt x="10295" y="6717"/>
                  </a:lnTo>
                  <a:lnTo>
                    <a:pt x="10253" y="6571"/>
                  </a:lnTo>
                  <a:lnTo>
                    <a:pt x="10316" y="6278"/>
                  </a:lnTo>
                  <a:lnTo>
                    <a:pt x="10316" y="6173"/>
                  </a:lnTo>
                  <a:lnTo>
                    <a:pt x="10358" y="6090"/>
                  </a:lnTo>
                  <a:lnTo>
                    <a:pt x="10316" y="6048"/>
                  </a:lnTo>
                  <a:lnTo>
                    <a:pt x="10316" y="5922"/>
                  </a:lnTo>
                  <a:lnTo>
                    <a:pt x="10379" y="5859"/>
                  </a:lnTo>
                  <a:lnTo>
                    <a:pt x="10400" y="5713"/>
                  </a:lnTo>
                  <a:lnTo>
                    <a:pt x="10420" y="5650"/>
                  </a:lnTo>
                  <a:lnTo>
                    <a:pt x="10358" y="5608"/>
                  </a:lnTo>
                  <a:lnTo>
                    <a:pt x="10420" y="5504"/>
                  </a:lnTo>
                  <a:lnTo>
                    <a:pt x="10420" y="5336"/>
                  </a:lnTo>
                  <a:lnTo>
                    <a:pt x="10525" y="5336"/>
                  </a:lnTo>
                  <a:lnTo>
                    <a:pt x="10504" y="5441"/>
                  </a:lnTo>
                  <a:lnTo>
                    <a:pt x="10504" y="5525"/>
                  </a:lnTo>
                  <a:lnTo>
                    <a:pt x="10567" y="5504"/>
                  </a:lnTo>
                  <a:lnTo>
                    <a:pt x="10588" y="5399"/>
                  </a:lnTo>
                  <a:lnTo>
                    <a:pt x="10672" y="5294"/>
                  </a:lnTo>
                  <a:lnTo>
                    <a:pt x="10692" y="5148"/>
                  </a:lnTo>
                  <a:lnTo>
                    <a:pt x="10734" y="5106"/>
                  </a:lnTo>
                  <a:lnTo>
                    <a:pt x="10776" y="4939"/>
                  </a:lnTo>
                  <a:lnTo>
                    <a:pt x="10776" y="4897"/>
                  </a:lnTo>
                  <a:lnTo>
                    <a:pt x="10692" y="4939"/>
                  </a:lnTo>
                  <a:lnTo>
                    <a:pt x="10672" y="5127"/>
                  </a:lnTo>
                  <a:lnTo>
                    <a:pt x="10567" y="5190"/>
                  </a:lnTo>
                  <a:lnTo>
                    <a:pt x="10588" y="5106"/>
                  </a:lnTo>
                  <a:lnTo>
                    <a:pt x="10525" y="5085"/>
                  </a:lnTo>
                  <a:lnTo>
                    <a:pt x="10504" y="5002"/>
                  </a:lnTo>
                  <a:lnTo>
                    <a:pt x="10400" y="5002"/>
                  </a:lnTo>
                  <a:lnTo>
                    <a:pt x="10295" y="4918"/>
                  </a:lnTo>
                  <a:lnTo>
                    <a:pt x="10107" y="4876"/>
                  </a:lnTo>
                  <a:lnTo>
                    <a:pt x="10002" y="4771"/>
                  </a:lnTo>
                  <a:lnTo>
                    <a:pt x="9939" y="4730"/>
                  </a:lnTo>
                  <a:lnTo>
                    <a:pt x="9856" y="4730"/>
                  </a:lnTo>
                  <a:lnTo>
                    <a:pt x="9793" y="4709"/>
                  </a:lnTo>
                  <a:lnTo>
                    <a:pt x="9772" y="4709"/>
                  </a:lnTo>
                  <a:lnTo>
                    <a:pt x="9730" y="4667"/>
                  </a:lnTo>
                  <a:lnTo>
                    <a:pt x="9751" y="4499"/>
                  </a:lnTo>
                  <a:lnTo>
                    <a:pt x="9625" y="4165"/>
                  </a:lnTo>
                  <a:lnTo>
                    <a:pt x="9625" y="4144"/>
                  </a:lnTo>
                  <a:lnTo>
                    <a:pt x="9625" y="4081"/>
                  </a:lnTo>
                  <a:lnTo>
                    <a:pt x="9625" y="3976"/>
                  </a:lnTo>
                  <a:lnTo>
                    <a:pt x="9646" y="3872"/>
                  </a:lnTo>
                  <a:lnTo>
                    <a:pt x="9542" y="3788"/>
                  </a:lnTo>
                  <a:lnTo>
                    <a:pt x="9479" y="3683"/>
                  </a:lnTo>
                  <a:lnTo>
                    <a:pt x="9458" y="3579"/>
                  </a:lnTo>
                  <a:lnTo>
                    <a:pt x="9374" y="3537"/>
                  </a:lnTo>
                  <a:lnTo>
                    <a:pt x="9353" y="3453"/>
                  </a:lnTo>
                  <a:lnTo>
                    <a:pt x="9312" y="3432"/>
                  </a:lnTo>
                  <a:lnTo>
                    <a:pt x="9228" y="3223"/>
                  </a:lnTo>
                  <a:lnTo>
                    <a:pt x="9207" y="3139"/>
                  </a:lnTo>
                  <a:lnTo>
                    <a:pt x="9123" y="3118"/>
                  </a:lnTo>
                  <a:lnTo>
                    <a:pt x="9123" y="2951"/>
                  </a:lnTo>
                  <a:lnTo>
                    <a:pt x="9123" y="2888"/>
                  </a:lnTo>
                  <a:lnTo>
                    <a:pt x="9060" y="2825"/>
                  </a:lnTo>
                  <a:lnTo>
                    <a:pt x="9040" y="2721"/>
                  </a:lnTo>
                  <a:lnTo>
                    <a:pt x="8935" y="2574"/>
                  </a:lnTo>
                  <a:lnTo>
                    <a:pt x="8830" y="2491"/>
                  </a:lnTo>
                  <a:lnTo>
                    <a:pt x="8788" y="2386"/>
                  </a:lnTo>
                  <a:lnTo>
                    <a:pt x="8705" y="2365"/>
                  </a:lnTo>
                  <a:lnTo>
                    <a:pt x="8621" y="2365"/>
                  </a:lnTo>
                  <a:lnTo>
                    <a:pt x="8600" y="2323"/>
                  </a:lnTo>
                  <a:lnTo>
                    <a:pt x="8579" y="2302"/>
                  </a:lnTo>
                  <a:lnTo>
                    <a:pt x="8475" y="2323"/>
                  </a:lnTo>
                  <a:lnTo>
                    <a:pt x="8370" y="2302"/>
                  </a:lnTo>
                  <a:lnTo>
                    <a:pt x="8265" y="2302"/>
                  </a:lnTo>
                  <a:lnTo>
                    <a:pt x="8223" y="2386"/>
                  </a:lnTo>
                  <a:lnTo>
                    <a:pt x="8182" y="2386"/>
                  </a:lnTo>
                  <a:lnTo>
                    <a:pt x="8161" y="2365"/>
                  </a:lnTo>
                  <a:lnTo>
                    <a:pt x="8119" y="2365"/>
                  </a:lnTo>
                  <a:lnTo>
                    <a:pt x="8035" y="2386"/>
                  </a:lnTo>
                  <a:lnTo>
                    <a:pt x="7993" y="2428"/>
                  </a:lnTo>
                  <a:lnTo>
                    <a:pt x="7910" y="2595"/>
                  </a:lnTo>
                  <a:lnTo>
                    <a:pt x="7868" y="2679"/>
                  </a:lnTo>
                  <a:lnTo>
                    <a:pt x="7868" y="2700"/>
                  </a:lnTo>
                  <a:lnTo>
                    <a:pt x="7868" y="2742"/>
                  </a:lnTo>
                  <a:lnTo>
                    <a:pt x="7805" y="2742"/>
                  </a:lnTo>
                  <a:lnTo>
                    <a:pt x="7700" y="2825"/>
                  </a:lnTo>
                  <a:lnTo>
                    <a:pt x="7700" y="2846"/>
                  </a:lnTo>
                  <a:lnTo>
                    <a:pt x="7659" y="2888"/>
                  </a:lnTo>
                  <a:lnTo>
                    <a:pt x="7596" y="2888"/>
                  </a:lnTo>
                  <a:lnTo>
                    <a:pt x="7575" y="2825"/>
                  </a:lnTo>
                  <a:lnTo>
                    <a:pt x="7449" y="2784"/>
                  </a:lnTo>
                  <a:lnTo>
                    <a:pt x="7366" y="2742"/>
                  </a:lnTo>
                  <a:lnTo>
                    <a:pt x="7345" y="2700"/>
                  </a:lnTo>
                  <a:lnTo>
                    <a:pt x="7219" y="2637"/>
                  </a:lnTo>
                  <a:lnTo>
                    <a:pt x="7156" y="2637"/>
                  </a:lnTo>
                  <a:lnTo>
                    <a:pt x="7115" y="2595"/>
                  </a:lnTo>
                  <a:lnTo>
                    <a:pt x="7115" y="2574"/>
                  </a:lnTo>
                  <a:lnTo>
                    <a:pt x="7073" y="2512"/>
                  </a:lnTo>
                  <a:lnTo>
                    <a:pt x="7031" y="2491"/>
                  </a:lnTo>
                  <a:lnTo>
                    <a:pt x="6989" y="2491"/>
                  </a:lnTo>
                  <a:lnTo>
                    <a:pt x="6947" y="2470"/>
                  </a:lnTo>
                  <a:lnTo>
                    <a:pt x="6926" y="2470"/>
                  </a:lnTo>
                  <a:lnTo>
                    <a:pt x="6926" y="2428"/>
                  </a:lnTo>
                  <a:lnTo>
                    <a:pt x="6905" y="2323"/>
                  </a:lnTo>
                  <a:lnTo>
                    <a:pt x="6822" y="2261"/>
                  </a:lnTo>
                  <a:lnTo>
                    <a:pt x="6717" y="2114"/>
                  </a:lnTo>
                  <a:lnTo>
                    <a:pt x="6717" y="2093"/>
                  </a:lnTo>
                  <a:lnTo>
                    <a:pt x="6801" y="2072"/>
                  </a:lnTo>
                  <a:lnTo>
                    <a:pt x="6822" y="2051"/>
                  </a:lnTo>
                  <a:lnTo>
                    <a:pt x="6822" y="1968"/>
                  </a:lnTo>
                  <a:lnTo>
                    <a:pt x="6738" y="1884"/>
                  </a:lnTo>
                  <a:lnTo>
                    <a:pt x="6717" y="1863"/>
                  </a:lnTo>
                  <a:lnTo>
                    <a:pt x="6696" y="1842"/>
                  </a:lnTo>
                  <a:lnTo>
                    <a:pt x="6654" y="1800"/>
                  </a:lnTo>
                  <a:lnTo>
                    <a:pt x="6633" y="1675"/>
                  </a:lnTo>
                  <a:lnTo>
                    <a:pt x="6591" y="1591"/>
                  </a:lnTo>
                  <a:lnTo>
                    <a:pt x="6508" y="1549"/>
                  </a:lnTo>
                  <a:lnTo>
                    <a:pt x="6424" y="1528"/>
                  </a:lnTo>
                  <a:lnTo>
                    <a:pt x="6466" y="1465"/>
                  </a:lnTo>
                  <a:lnTo>
                    <a:pt x="6466" y="1424"/>
                  </a:lnTo>
                  <a:lnTo>
                    <a:pt x="6403" y="1340"/>
                  </a:lnTo>
                  <a:lnTo>
                    <a:pt x="6299" y="1319"/>
                  </a:lnTo>
                  <a:lnTo>
                    <a:pt x="6319" y="1256"/>
                  </a:lnTo>
                  <a:lnTo>
                    <a:pt x="6278" y="1173"/>
                  </a:lnTo>
                  <a:lnTo>
                    <a:pt x="6215" y="1173"/>
                  </a:lnTo>
                  <a:lnTo>
                    <a:pt x="6194" y="1131"/>
                  </a:lnTo>
                  <a:lnTo>
                    <a:pt x="6131" y="1068"/>
                  </a:lnTo>
                  <a:lnTo>
                    <a:pt x="6068" y="942"/>
                  </a:lnTo>
                  <a:lnTo>
                    <a:pt x="5943" y="859"/>
                  </a:lnTo>
                  <a:lnTo>
                    <a:pt x="5022" y="838"/>
                  </a:lnTo>
                  <a:lnTo>
                    <a:pt x="4980" y="1047"/>
                  </a:lnTo>
                  <a:lnTo>
                    <a:pt x="3327" y="1005"/>
                  </a:lnTo>
                  <a:lnTo>
                    <a:pt x="1402" y="105"/>
                  </a:lnTo>
                  <a:lnTo>
                    <a:pt x="1402" y="64"/>
                  </a:lnTo>
                  <a:lnTo>
                    <a:pt x="1381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Google Shape;12109;p43">
              <a:extLst>
                <a:ext uri="{FF2B5EF4-FFF2-40B4-BE49-F238E27FC236}">
                  <a16:creationId xmlns:a16="http://schemas.microsoft.com/office/drawing/2014/main" id="{2F2E8FF4-7597-E180-2BEA-F39041AF3E40}"/>
                </a:ext>
              </a:extLst>
            </p:cNvPr>
            <p:cNvSpPr/>
            <p:nvPr/>
          </p:nvSpPr>
          <p:spPr>
            <a:xfrm>
              <a:off x="3378594" y="3107749"/>
              <a:ext cx="19445" cy="26657"/>
            </a:xfrm>
            <a:custGeom>
              <a:avLst/>
              <a:gdLst/>
              <a:ahLst/>
              <a:cxnLst/>
              <a:rect l="l" t="t" r="r" b="b"/>
              <a:pathLst>
                <a:path w="1633" h="2344" extrusionOk="0">
                  <a:moveTo>
                    <a:pt x="336" y="0"/>
                  </a:moveTo>
                  <a:lnTo>
                    <a:pt x="231" y="84"/>
                  </a:lnTo>
                  <a:lnTo>
                    <a:pt x="126" y="147"/>
                  </a:lnTo>
                  <a:lnTo>
                    <a:pt x="85" y="209"/>
                  </a:lnTo>
                  <a:lnTo>
                    <a:pt x="1" y="314"/>
                  </a:lnTo>
                  <a:lnTo>
                    <a:pt x="1" y="460"/>
                  </a:lnTo>
                  <a:lnTo>
                    <a:pt x="64" y="607"/>
                  </a:lnTo>
                  <a:lnTo>
                    <a:pt x="22" y="732"/>
                  </a:lnTo>
                  <a:lnTo>
                    <a:pt x="22" y="816"/>
                  </a:lnTo>
                  <a:lnTo>
                    <a:pt x="126" y="879"/>
                  </a:lnTo>
                  <a:lnTo>
                    <a:pt x="189" y="963"/>
                  </a:lnTo>
                  <a:lnTo>
                    <a:pt x="231" y="1067"/>
                  </a:lnTo>
                  <a:lnTo>
                    <a:pt x="273" y="1193"/>
                  </a:lnTo>
                  <a:lnTo>
                    <a:pt x="294" y="1256"/>
                  </a:lnTo>
                  <a:lnTo>
                    <a:pt x="273" y="1360"/>
                  </a:lnTo>
                  <a:lnTo>
                    <a:pt x="189" y="1444"/>
                  </a:lnTo>
                  <a:lnTo>
                    <a:pt x="189" y="1590"/>
                  </a:lnTo>
                  <a:lnTo>
                    <a:pt x="231" y="1653"/>
                  </a:lnTo>
                  <a:lnTo>
                    <a:pt x="189" y="1779"/>
                  </a:lnTo>
                  <a:lnTo>
                    <a:pt x="64" y="1883"/>
                  </a:lnTo>
                  <a:lnTo>
                    <a:pt x="1" y="1883"/>
                  </a:lnTo>
                  <a:lnTo>
                    <a:pt x="22" y="1925"/>
                  </a:lnTo>
                  <a:lnTo>
                    <a:pt x="85" y="2009"/>
                  </a:lnTo>
                  <a:lnTo>
                    <a:pt x="106" y="2030"/>
                  </a:lnTo>
                  <a:lnTo>
                    <a:pt x="106" y="2113"/>
                  </a:lnTo>
                  <a:lnTo>
                    <a:pt x="189" y="2197"/>
                  </a:lnTo>
                  <a:lnTo>
                    <a:pt x="294" y="2218"/>
                  </a:lnTo>
                  <a:lnTo>
                    <a:pt x="336" y="2134"/>
                  </a:lnTo>
                  <a:lnTo>
                    <a:pt x="419" y="2113"/>
                  </a:lnTo>
                  <a:lnTo>
                    <a:pt x="503" y="2113"/>
                  </a:lnTo>
                  <a:lnTo>
                    <a:pt x="503" y="2176"/>
                  </a:lnTo>
                  <a:lnTo>
                    <a:pt x="545" y="2197"/>
                  </a:lnTo>
                  <a:lnTo>
                    <a:pt x="545" y="2323"/>
                  </a:lnTo>
                  <a:lnTo>
                    <a:pt x="608" y="2344"/>
                  </a:lnTo>
                  <a:lnTo>
                    <a:pt x="712" y="2281"/>
                  </a:lnTo>
                  <a:lnTo>
                    <a:pt x="733" y="2197"/>
                  </a:lnTo>
                  <a:lnTo>
                    <a:pt x="817" y="2134"/>
                  </a:lnTo>
                  <a:lnTo>
                    <a:pt x="880" y="2113"/>
                  </a:lnTo>
                  <a:lnTo>
                    <a:pt x="963" y="1988"/>
                  </a:lnTo>
                  <a:lnTo>
                    <a:pt x="1068" y="1820"/>
                  </a:lnTo>
                  <a:lnTo>
                    <a:pt x="1173" y="1590"/>
                  </a:lnTo>
                  <a:lnTo>
                    <a:pt x="1173" y="1486"/>
                  </a:lnTo>
                  <a:lnTo>
                    <a:pt x="1340" y="1297"/>
                  </a:lnTo>
                  <a:lnTo>
                    <a:pt x="1466" y="1130"/>
                  </a:lnTo>
                  <a:lnTo>
                    <a:pt x="1528" y="1046"/>
                  </a:lnTo>
                  <a:lnTo>
                    <a:pt x="1633" y="921"/>
                  </a:lnTo>
                  <a:lnTo>
                    <a:pt x="1591" y="774"/>
                  </a:lnTo>
                  <a:lnTo>
                    <a:pt x="1487" y="649"/>
                  </a:lnTo>
                  <a:lnTo>
                    <a:pt x="1466" y="711"/>
                  </a:lnTo>
                  <a:lnTo>
                    <a:pt x="1382" y="649"/>
                  </a:lnTo>
                  <a:lnTo>
                    <a:pt x="1361" y="544"/>
                  </a:lnTo>
                  <a:lnTo>
                    <a:pt x="1173" y="335"/>
                  </a:lnTo>
                  <a:lnTo>
                    <a:pt x="1131" y="335"/>
                  </a:lnTo>
                  <a:lnTo>
                    <a:pt x="963" y="209"/>
                  </a:lnTo>
                  <a:lnTo>
                    <a:pt x="650" y="105"/>
                  </a:lnTo>
                  <a:lnTo>
                    <a:pt x="524" y="21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Google Shape;12110;p43">
              <a:extLst>
                <a:ext uri="{FF2B5EF4-FFF2-40B4-BE49-F238E27FC236}">
                  <a16:creationId xmlns:a16="http://schemas.microsoft.com/office/drawing/2014/main" id="{3CE13363-F179-01CB-D6A4-E71FAB8ADC04}"/>
                </a:ext>
              </a:extLst>
            </p:cNvPr>
            <p:cNvSpPr/>
            <p:nvPr/>
          </p:nvSpPr>
          <p:spPr>
            <a:xfrm>
              <a:off x="3354434" y="3105122"/>
              <a:ext cx="27661" cy="28807"/>
            </a:xfrm>
            <a:custGeom>
              <a:avLst/>
              <a:gdLst/>
              <a:ahLst/>
              <a:cxnLst/>
              <a:rect l="l" t="t" r="r" b="b"/>
              <a:pathLst>
                <a:path w="2323" h="2533" extrusionOk="0">
                  <a:moveTo>
                    <a:pt x="1632" y="1"/>
                  </a:moveTo>
                  <a:lnTo>
                    <a:pt x="1528" y="43"/>
                  </a:lnTo>
                  <a:lnTo>
                    <a:pt x="1339" y="22"/>
                  </a:lnTo>
                  <a:lnTo>
                    <a:pt x="1151" y="64"/>
                  </a:lnTo>
                  <a:lnTo>
                    <a:pt x="963" y="22"/>
                  </a:lnTo>
                  <a:lnTo>
                    <a:pt x="691" y="22"/>
                  </a:lnTo>
                  <a:lnTo>
                    <a:pt x="544" y="64"/>
                  </a:lnTo>
                  <a:lnTo>
                    <a:pt x="544" y="210"/>
                  </a:lnTo>
                  <a:lnTo>
                    <a:pt x="482" y="336"/>
                  </a:lnTo>
                  <a:lnTo>
                    <a:pt x="523" y="419"/>
                  </a:lnTo>
                  <a:lnTo>
                    <a:pt x="440" y="524"/>
                  </a:lnTo>
                  <a:lnTo>
                    <a:pt x="335" y="566"/>
                  </a:lnTo>
                  <a:lnTo>
                    <a:pt x="168" y="566"/>
                  </a:lnTo>
                  <a:lnTo>
                    <a:pt x="105" y="691"/>
                  </a:lnTo>
                  <a:lnTo>
                    <a:pt x="105" y="838"/>
                  </a:lnTo>
                  <a:lnTo>
                    <a:pt x="0" y="1068"/>
                  </a:lnTo>
                  <a:lnTo>
                    <a:pt x="21" y="1152"/>
                  </a:lnTo>
                  <a:lnTo>
                    <a:pt x="126" y="1194"/>
                  </a:lnTo>
                  <a:lnTo>
                    <a:pt x="168" y="1277"/>
                  </a:lnTo>
                  <a:lnTo>
                    <a:pt x="210" y="1319"/>
                  </a:lnTo>
                  <a:lnTo>
                    <a:pt x="272" y="1424"/>
                  </a:lnTo>
                  <a:lnTo>
                    <a:pt x="272" y="1507"/>
                  </a:lnTo>
                  <a:lnTo>
                    <a:pt x="335" y="1570"/>
                  </a:lnTo>
                  <a:lnTo>
                    <a:pt x="419" y="1570"/>
                  </a:lnTo>
                  <a:lnTo>
                    <a:pt x="461" y="1591"/>
                  </a:lnTo>
                  <a:lnTo>
                    <a:pt x="482" y="1696"/>
                  </a:lnTo>
                  <a:lnTo>
                    <a:pt x="523" y="1842"/>
                  </a:lnTo>
                  <a:lnTo>
                    <a:pt x="523" y="1989"/>
                  </a:lnTo>
                  <a:lnTo>
                    <a:pt x="586" y="2010"/>
                  </a:lnTo>
                  <a:lnTo>
                    <a:pt x="670" y="2135"/>
                  </a:lnTo>
                  <a:lnTo>
                    <a:pt x="691" y="2219"/>
                  </a:lnTo>
                  <a:lnTo>
                    <a:pt x="795" y="2261"/>
                  </a:lnTo>
                  <a:lnTo>
                    <a:pt x="795" y="2323"/>
                  </a:lnTo>
                  <a:lnTo>
                    <a:pt x="858" y="2407"/>
                  </a:lnTo>
                  <a:lnTo>
                    <a:pt x="942" y="2449"/>
                  </a:lnTo>
                  <a:lnTo>
                    <a:pt x="984" y="2449"/>
                  </a:lnTo>
                  <a:lnTo>
                    <a:pt x="1005" y="2470"/>
                  </a:lnTo>
                  <a:lnTo>
                    <a:pt x="1172" y="2533"/>
                  </a:lnTo>
                  <a:lnTo>
                    <a:pt x="1256" y="2533"/>
                  </a:lnTo>
                  <a:lnTo>
                    <a:pt x="1277" y="2470"/>
                  </a:lnTo>
                  <a:lnTo>
                    <a:pt x="1214" y="2344"/>
                  </a:lnTo>
                  <a:lnTo>
                    <a:pt x="1193" y="2303"/>
                  </a:lnTo>
                  <a:lnTo>
                    <a:pt x="1088" y="2198"/>
                  </a:lnTo>
                  <a:lnTo>
                    <a:pt x="1109" y="2093"/>
                  </a:lnTo>
                  <a:lnTo>
                    <a:pt x="1214" y="2010"/>
                  </a:lnTo>
                  <a:lnTo>
                    <a:pt x="1339" y="2031"/>
                  </a:lnTo>
                  <a:lnTo>
                    <a:pt x="1591" y="2031"/>
                  </a:lnTo>
                  <a:lnTo>
                    <a:pt x="1695" y="1989"/>
                  </a:lnTo>
                  <a:lnTo>
                    <a:pt x="1842" y="1989"/>
                  </a:lnTo>
                  <a:lnTo>
                    <a:pt x="1946" y="2093"/>
                  </a:lnTo>
                  <a:lnTo>
                    <a:pt x="2030" y="2114"/>
                  </a:lnTo>
                  <a:lnTo>
                    <a:pt x="2093" y="2114"/>
                  </a:lnTo>
                  <a:lnTo>
                    <a:pt x="2218" y="2010"/>
                  </a:lnTo>
                  <a:lnTo>
                    <a:pt x="2260" y="1884"/>
                  </a:lnTo>
                  <a:lnTo>
                    <a:pt x="2218" y="1821"/>
                  </a:lnTo>
                  <a:lnTo>
                    <a:pt x="2218" y="1675"/>
                  </a:lnTo>
                  <a:lnTo>
                    <a:pt x="2302" y="1591"/>
                  </a:lnTo>
                  <a:lnTo>
                    <a:pt x="2323" y="1487"/>
                  </a:lnTo>
                  <a:lnTo>
                    <a:pt x="2302" y="1424"/>
                  </a:lnTo>
                  <a:lnTo>
                    <a:pt x="2260" y="1298"/>
                  </a:lnTo>
                  <a:lnTo>
                    <a:pt x="2218" y="1194"/>
                  </a:lnTo>
                  <a:lnTo>
                    <a:pt x="2155" y="1110"/>
                  </a:lnTo>
                  <a:lnTo>
                    <a:pt x="2051" y="1047"/>
                  </a:lnTo>
                  <a:lnTo>
                    <a:pt x="2051" y="963"/>
                  </a:lnTo>
                  <a:lnTo>
                    <a:pt x="2093" y="838"/>
                  </a:lnTo>
                  <a:lnTo>
                    <a:pt x="2030" y="691"/>
                  </a:lnTo>
                  <a:lnTo>
                    <a:pt x="2030" y="545"/>
                  </a:lnTo>
                  <a:lnTo>
                    <a:pt x="2114" y="440"/>
                  </a:lnTo>
                  <a:lnTo>
                    <a:pt x="2155" y="378"/>
                  </a:lnTo>
                  <a:lnTo>
                    <a:pt x="2260" y="231"/>
                  </a:lnTo>
                  <a:lnTo>
                    <a:pt x="2260" y="147"/>
                  </a:lnTo>
                  <a:lnTo>
                    <a:pt x="2135" y="106"/>
                  </a:lnTo>
                  <a:lnTo>
                    <a:pt x="1946" y="64"/>
                  </a:lnTo>
                  <a:lnTo>
                    <a:pt x="17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Google Shape;12111;p43">
              <a:extLst>
                <a:ext uri="{FF2B5EF4-FFF2-40B4-BE49-F238E27FC236}">
                  <a16:creationId xmlns:a16="http://schemas.microsoft.com/office/drawing/2014/main" id="{4D1C2991-BA77-617E-27A0-6B22254CBC73}"/>
                </a:ext>
              </a:extLst>
            </p:cNvPr>
            <p:cNvSpPr/>
            <p:nvPr/>
          </p:nvSpPr>
          <p:spPr>
            <a:xfrm>
              <a:off x="3331012" y="3088711"/>
              <a:ext cx="34639" cy="49743"/>
            </a:xfrm>
            <a:custGeom>
              <a:avLst/>
              <a:gdLst/>
              <a:ahLst/>
              <a:cxnLst/>
              <a:rect l="l" t="t" r="r" b="b"/>
              <a:pathLst>
                <a:path w="2909" h="4374" extrusionOk="0">
                  <a:moveTo>
                    <a:pt x="879" y="0"/>
                  </a:moveTo>
                  <a:lnTo>
                    <a:pt x="858" y="84"/>
                  </a:lnTo>
                  <a:lnTo>
                    <a:pt x="712" y="251"/>
                  </a:lnTo>
                  <a:lnTo>
                    <a:pt x="565" y="356"/>
                  </a:lnTo>
                  <a:lnTo>
                    <a:pt x="503" y="335"/>
                  </a:lnTo>
                  <a:lnTo>
                    <a:pt x="335" y="544"/>
                  </a:lnTo>
                  <a:lnTo>
                    <a:pt x="356" y="628"/>
                  </a:lnTo>
                  <a:lnTo>
                    <a:pt x="419" y="733"/>
                  </a:lnTo>
                  <a:lnTo>
                    <a:pt x="565" y="753"/>
                  </a:lnTo>
                  <a:lnTo>
                    <a:pt x="649" y="837"/>
                  </a:lnTo>
                  <a:lnTo>
                    <a:pt x="649" y="963"/>
                  </a:lnTo>
                  <a:lnTo>
                    <a:pt x="461" y="1046"/>
                  </a:lnTo>
                  <a:lnTo>
                    <a:pt x="398" y="1025"/>
                  </a:lnTo>
                  <a:lnTo>
                    <a:pt x="293" y="1046"/>
                  </a:lnTo>
                  <a:lnTo>
                    <a:pt x="210" y="1025"/>
                  </a:lnTo>
                  <a:lnTo>
                    <a:pt x="126" y="1088"/>
                  </a:lnTo>
                  <a:lnTo>
                    <a:pt x="105" y="1277"/>
                  </a:lnTo>
                  <a:lnTo>
                    <a:pt x="1" y="1381"/>
                  </a:lnTo>
                  <a:lnTo>
                    <a:pt x="42" y="1507"/>
                  </a:lnTo>
                  <a:lnTo>
                    <a:pt x="189" y="1716"/>
                  </a:lnTo>
                  <a:lnTo>
                    <a:pt x="419" y="1904"/>
                  </a:lnTo>
                  <a:lnTo>
                    <a:pt x="419" y="1925"/>
                  </a:lnTo>
                  <a:lnTo>
                    <a:pt x="461" y="1925"/>
                  </a:lnTo>
                  <a:lnTo>
                    <a:pt x="524" y="1988"/>
                  </a:lnTo>
                  <a:lnTo>
                    <a:pt x="565" y="1925"/>
                  </a:lnTo>
                  <a:lnTo>
                    <a:pt x="712" y="1967"/>
                  </a:lnTo>
                  <a:lnTo>
                    <a:pt x="817" y="2072"/>
                  </a:lnTo>
                  <a:lnTo>
                    <a:pt x="817" y="2218"/>
                  </a:lnTo>
                  <a:lnTo>
                    <a:pt x="733" y="2344"/>
                  </a:lnTo>
                  <a:lnTo>
                    <a:pt x="670" y="2406"/>
                  </a:lnTo>
                  <a:lnTo>
                    <a:pt x="775" y="2448"/>
                  </a:lnTo>
                  <a:lnTo>
                    <a:pt x="879" y="2448"/>
                  </a:lnTo>
                  <a:lnTo>
                    <a:pt x="942" y="2532"/>
                  </a:lnTo>
                  <a:lnTo>
                    <a:pt x="984" y="2616"/>
                  </a:lnTo>
                  <a:lnTo>
                    <a:pt x="1089" y="2616"/>
                  </a:lnTo>
                  <a:lnTo>
                    <a:pt x="1089" y="2657"/>
                  </a:lnTo>
                  <a:lnTo>
                    <a:pt x="984" y="2804"/>
                  </a:lnTo>
                  <a:lnTo>
                    <a:pt x="963" y="2950"/>
                  </a:lnTo>
                  <a:lnTo>
                    <a:pt x="837" y="3160"/>
                  </a:lnTo>
                  <a:lnTo>
                    <a:pt x="858" y="3264"/>
                  </a:lnTo>
                  <a:lnTo>
                    <a:pt x="817" y="3369"/>
                  </a:lnTo>
                  <a:lnTo>
                    <a:pt x="817" y="3474"/>
                  </a:lnTo>
                  <a:lnTo>
                    <a:pt x="837" y="3536"/>
                  </a:lnTo>
                  <a:lnTo>
                    <a:pt x="817" y="3599"/>
                  </a:lnTo>
                  <a:lnTo>
                    <a:pt x="817" y="3704"/>
                  </a:lnTo>
                  <a:lnTo>
                    <a:pt x="921" y="3808"/>
                  </a:lnTo>
                  <a:lnTo>
                    <a:pt x="1047" y="3955"/>
                  </a:lnTo>
                  <a:lnTo>
                    <a:pt x="1047" y="4018"/>
                  </a:lnTo>
                  <a:lnTo>
                    <a:pt x="1130" y="4122"/>
                  </a:lnTo>
                  <a:lnTo>
                    <a:pt x="1361" y="4331"/>
                  </a:lnTo>
                  <a:lnTo>
                    <a:pt x="1444" y="4373"/>
                  </a:lnTo>
                  <a:lnTo>
                    <a:pt x="1507" y="4290"/>
                  </a:lnTo>
                  <a:lnTo>
                    <a:pt x="1591" y="4269"/>
                  </a:lnTo>
                  <a:lnTo>
                    <a:pt x="1612" y="4290"/>
                  </a:lnTo>
                  <a:lnTo>
                    <a:pt x="1758" y="4290"/>
                  </a:lnTo>
                  <a:lnTo>
                    <a:pt x="1821" y="4185"/>
                  </a:lnTo>
                  <a:lnTo>
                    <a:pt x="1863" y="4122"/>
                  </a:lnTo>
                  <a:lnTo>
                    <a:pt x="1967" y="4101"/>
                  </a:lnTo>
                  <a:lnTo>
                    <a:pt x="2198" y="4101"/>
                  </a:lnTo>
                  <a:lnTo>
                    <a:pt x="2260" y="3913"/>
                  </a:lnTo>
                  <a:lnTo>
                    <a:pt x="2386" y="3871"/>
                  </a:lnTo>
                  <a:lnTo>
                    <a:pt x="2553" y="3871"/>
                  </a:lnTo>
                  <a:lnTo>
                    <a:pt x="2616" y="3913"/>
                  </a:lnTo>
                  <a:lnTo>
                    <a:pt x="2721" y="3892"/>
                  </a:lnTo>
                  <a:lnTo>
                    <a:pt x="2909" y="3892"/>
                  </a:lnTo>
                  <a:lnTo>
                    <a:pt x="2825" y="3850"/>
                  </a:lnTo>
                  <a:lnTo>
                    <a:pt x="2762" y="3766"/>
                  </a:lnTo>
                  <a:lnTo>
                    <a:pt x="2762" y="3704"/>
                  </a:lnTo>
                  <a:lnTo>
                    <a:pt x="2658" y="3662"/>
                  </a:lnTo>
                  <a:lnTo>
                    <a:pt x="2637" y="3578"/>
                  </a:lnTo>
                  <a:lnTo>
                    <a:pt x="2553" y="3453"/>
                  </a:lnTo>
                  <a:lnTo>
                    <a:pt x="2490" y="3432"/>
                  </a:lnTo>
                  <a:lnTo>
                    <a:pt x="2490" y="3285"/>
                  </a:lnTo>
                  <a:lnTo>
                    <a:pt x="2449" y="3139"/>
                  </a:lnTo>
                  <a:lnTo>
                    <a:pt x="2428" y="3034"/>
                  </a:lnTo>
                  <a:lnTo>
                    <a:pt x="2386" y="3013"/>
                  </a:lnTo>
                  <a:lnTo>
                    <a:pt x="2302" y="3013"/>
                  </a:lnTo>
                  <a:lnTo>
                    <a:pt x="2239" y="2950"/>
                  </a:lnTo>
                  <a:lnTo>
                    <a:pt x="2239" y="2867"/>
                  </a:lnTo>
                  <a:lnTo>
                    <a:pt x="2177" y="2762"/>
                  </a:lnTo>
                  <a:lnTo>
                    <a:pt x="2135" y="2720"/>
                  </a:lnTo>
                  <a:lnTo>
                    <a:pt x="2093" y="2637"/>
                  </a:lnTo>
                  <a:lnTo>
                    <a:pt x="1988" y="2595"/>
                  </a:lnTo>
                  <a:lnTo>
                    <a:pt x="1967" y="2511"/>
                  </a:lnTo>
                  <a:lnTo>
                    <a:pt x="2072" y="2281"/>
                  </a:lnTo>
                  <a:lnTo>
                    <a:pt x="2072" y="2134"/>
                  </a:lnTo>
                  <a:lnTo>
                    <a:pt x="2135" y="2009"/>
                  </a:lnTo>
                  <a:lnTo>
                    <a:pt x="2302" y="2009"/>
                  </a:lnTo>
                  <a:lnTo>
                    <a:pt x="2407" y="1967"/>
                  </a:lnTo>
                  <a:lnTo>
                    <a:pt x="2490" y="1862"/>
                  </a:lnTo>
                  <a:lnTo>
                    <a:pt x="2449" y="1779"/>
                  </a:lnTo>
                  <a:lnTo>
                    <a:pt x="2511" y="1653"/>
                  </a:lnTo>
                  <a:lnTo>
                    <a:pt x="2449" y="1549"/>
                  </a:lnTo>
                  <a:lnTo>
                    <a:pt x="2449" y="1381"/>
                  </a:lnTo>
                  <a:lnTo>
                    <a:pt x="2428" y="1297"/>
                  </a:lnTo>
                  <a:lnTo>
                    <a:pt x="2218" y="1256"/>
                  </a:lnTo>
                  <a:lnTo>
                    <a:pt x="2009" y="1046"/>
                  </a:lnTo>
                  <a:lnTo>
                    <a:pt x="1905" y="963"/>
                  </a:lnTo>
                  <a:lnTo>
                    <a:pt x="1863" y="984"/>
                  </a:lnTo>
                  <a:lnTo>
                    <a:pt x="1716" y="1046"/>
                  </a:lnTo>
                  <a:lnTo>
                    <a:pt x="1653" y="1130"/>
                  </a:lnTo>
                  <a:lnTo>
                    <a:pt x="1612" y="1235"/>
                  </a:lnTo>
                  <a:lnTo>
                    <a:pt x="1591" y="1088"/>
                  </a:lnTo>
                  <a:lnTo>
                    <a:pt x="1612" y="921"/>
                  </a:lnTo>
                  <a:lnTo>
                    <a:pt x="1674" y="816"/>
                  </a:lnTo>
                  <a:lnTo>
                    <a:pt x="1612" y="628"/>
                  </a:lnTo>
                  <a:lnTo>
                    <a:pt x="1507" y="565"/>
                  </a:lnTo>
                  <a:lnTo>
                    <a:pt x="1298" y="419"/>
                  </a:lnTo>
                  <a:lnTo>
                    <a:pt x="1151" y="251"/>
                  </a:lnTo>
                  <a:lnTo>
                    <a:pt x="1130" y="147"/>
                  </a:lnTo>
                  <a:lnTo>
                    <a:pt x="1026" y="42"/>
                  </a:lnTo>
                  <a:lnTo>
                    <a:pt x="921" y="21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Google Shape;12112;p43">
              <a:extLst>
                <a:ext uri="{FF2B5EF4-FFF2-40B4-BE49-F238E27FC236}">
                  <a16:creationId xmlns:a16="http://schemas.microsoft.com/office/drawing/2014/main" id="{CA5EB684-9FD2-8C1C-0561-9611158E79FB}"/>
                </a:ext>
              </a:extLst>
            </p:cNvPr>
            <p:cNvSpPr/>
            <p:nvPr/>
          </p:nvSpPr>
          <p:spPr>
            <a:xfrm>
              <a:off x="3250041" y="3063487"/>
              <a:ext cx="91450" cy="78538"/>
            </a:xfrm>
            <a:custGeom>
              <a:avLst/>
              <a:gdLst/>
              <a:ahLst/>
              <a:cxnLst/>
              <a:rect l="l" t="t" r="r" b="b"/>
              <a:pathLst>
                <a:path w="7680" h="6906" extrusionOk="0">
                  <a:moveTo>
                    <a:pt x="1988" y="0"/>
                  </a:moveTo>
                  <a:lnTo>
                    <a:pt x="1821" y="63"/>
                  </a:lnTo>
                  <a:lnTo>
                    <a:pt x="1674" y="251"/>
                  </a:lnTo>
                  <a:lnTo>
                    <a:pt x="1695" y="377"/>
                  </a:lnTo>
                  <a:lnTo>
                    <a:pt x="1758" y="440"/>
                  </a:lnTo>
                  <a:lnTo>
                    <a:pt x="1863" y="356"/>
                  </a:lnTo>
                  <a:lnTo>
                    <a:pt x="1967" y="377"/>
                  </a:lnTo>
                  <a:lnTo>
                    <a:pt x="2072" y="461"/>
                  </a:lnTo>
                  <a:lnTo>
                    <a:pt x="2030" y="544"/>
                  </a:lnTo>
                  <a:lnTo>
                    <a:pt x="1925" y="565"/>
                  </a:lnTo>
                  <a:lnTo>
                    <a:pt x="1821" y="523"/>
                  </a:lnTo>
                  <a:lnTo>
                    <a:pt x="1779" y="482"/>
                  </a:lnTo>
                  <a:lnTo>
                    <a:pt x="1758" y="523"/>
                  </a:lnTo>
                  <a:lnTo>
                    <a:pt x="1758" y="565"/>
                  </a:lnTo>
                  <a:lnTo>
                    <a:pt x="1611" y="649"/>
                  </a:lnTo>
                  <a:lnTo>
                    <a:pt x="1360" y="670"/>
                  </a:lnTo>
                  <a:lnTo>
                    <a:pt x="1088" y="774"/>
                  </a:lnTo>
                  <a:lnTo>
                    <a:pt x="1026" y="879"/>
                  </a:lnTo>
                  <a:lnTo>
                    <a:pt x="1026" y="984"/>
                  </a:lnTo>
                  <a:lnTo>
                    <a:pt x="1088" y="1088"/>
                  </a:lnTo>
                  <a:lnTo>
                    <a:pt x="1088" y="1318"/>
                  </a:lnTo>
                  <a:lnTo>
                    <a:pt x="1130" y="1486"/>
                  </a:lnTo>
                  <a:lnTo>
                    <a:pt x="1151" y="1611"/>
                  </a:lnTo>
                  <a:lnTo>
                    <a:pt x="1067" y="1800"/>
                  </a:lnTo>
                  <a:lnTo>
                    <a:pt x="879" y="1925"/>
                  </a:lnTo>
                  <a:lnTo>
                    <a:pt x="775" y="1904"/>
                  </a:lnTo>
                  <a:lnTo>
                    <a:pt x="775" y="1737"/>
                  </a:lnTo>
                  <a:lnTo>
                    <a:pt x="649" y="1611"/>
                  </a:lnTo>
                  <a:lnTo>
                    <a:pt x="628" y="1486"/>
                  </a:lnTo>
                  <a:lnTo>
                    <a:pt x="733" y="1402"/>
                  </a:lnTo>
                  <a:lnTo>
                    <a:pt x="754" y="1318"/>
                  </a:lnTo>
                  <a:lnTo>
                    <a:pt x="963" y="1109"/>
                  </a:lnTo>
                  <a:lnTo>
                    <a:pt x="963" y="942"/>
                  </a:lnTo>
                  <a:lnTo>
                    <a:pt x="879" y="795"/>
                  </a:lnTo>
                  <a:lnTo>
                    <a:pt x="921" y="754"/>
                  </a:lnTo>
                  <a:lnTo>
                    <a:pt x="879" y="670"/>
                  </a:lnTo>
                  <a:lnTo>
                    <a:pt x="816" y="628"/>
                  </a:lnTo>
                  <a:lnTo>
                    <a:pt x="754" y="523"/>
                  </a:lnTo>
                  <a:lnTo>
                    <a:pt x="775" y="440"/>
                  </a:lnTo>
                  <a:lnTo>
                    <a:pt x="921" y="377"/>
                  </a:lnTo>
                  <a:lnTo>
                    <a:pt x="1067" y="356"/>
                  </a:lnTo>
                  <a:lnTo>
                    <a:pt x="1172" y="210"/>
                  </a:lnTo>
                  <a:lnTo>
                    <a:pt x="1130" y="210"/>
                  </a:lnTo>
                  <a:lnTo>
                    <a:pt x="1088" y="230"/>
                  </a:lnTo>
                  <a:lnTo>
                    <a:pt x="775" y="356"/>
                  </a:lnTo>
                  <a:lnTo>
                    <a:pt x="628" y="628"/>
                  </a:lnTo>
                  <a:lnTo>
                    <a:pt x="565" y="670"/>
                  </a:lnTo>
                  <a:lnTo>
                    <a:pt x="461" y="691"/>
                  </a:lnTo>
                  <a:lnTo>
                    <a:pt x="356" y="837"/>
                  </a:lnTo>
                  <a:lnTo>
                    <a:pt x="293" y="900"/>
                  </a:lnTo>
                  <a:lnTo>
                    <a:pt x="105" y="1172"/>
                  </a:lnTo>
                  <a:lnTo>
                    <a:pt x="84" y="1298"/>
                  </a:lnTo>
                  <a:lnTo>
                    <a:pt x="105" y="1402"/>
                  </a:lnTo>
                  <a:lnTo>
                    <a:pt x="84" y="1590"/>
                  </a:lnTo>
                  <a:lnTo>
                    <a:pt x="0" y="1779"/>
                  </a:lnTo>
                  <a:lnTo>
                    <a:pt x="0" y="1821"/>
                  </a:lnTo>
                  <a:lnTo>
                    <a:pt x="147" y="1821"/>
                  </a:lnTo>
                  <a:lnTo>
                    <a:pt x="398" y="2239"/>
                  </a:lnTo>
                  <a:lnTo>
                    <a:pt x="503" y="2407"/>
                  </a:lnTo>
                  <a:lnTo>
                    <a:pt x="523" y="2511"/>
                  </a:lnTo>
                  <a:lnTo>
                    <a:pt x="461" y="2637"/>
                  </a:lnTo>
                  <a:lnTo>
                    <a:pt x="461" y="2720"/>
                  </a:lnTo>
                  <a:lnTo>
                    <a:pt x="440" y="2762"/>
                  </a:lnTo>
                  <a:lnTo>
                    <a:pt x="440" y="2867"/>
                  </a:lnTo>
                  <a:lnTo>
                    <a:pt x="565" y="2971"/>
                  </a:lnTo>
                  <a:lnTo>
                    <a:pt x="733" y="3034"/>
                  </a:lnTo>
                  <a:lnTo>
                    <a:pt x="837" y="3055"/>
                  </a:lnTo>
                  <a:lnTo>
                    <a:pt x="963" y="3097"/>
                  </a:lnTo>
                  <a:lnTo>
                    <a:pt x="1047" y="3055"/>
                  </a:lnTo>
                  <a:lnTo>
                    <a:pt x="1193" y="3055"/>
                  </a:lnTo>
                  <a:lnTo>
                    <a:pt x="1339" y="3097"/>
                  </a:lnTo>
                  <a:lnTo>
                    <a:pt x="1381" y="3076"/>
                  </a:lnTo>
                  <a:lnTo>
                    <a:pt x="1549" y="3055"/>
                  </a:lnTo>
                  <a:lnTo>
                    <a:pt x="1716" y="3076"/>
                  </a:lnTo>
                  <a:lnTo>
                    <a:pt x="1821" y="3139"/>
                  </a:lnTo>
                  <a:lnTo>
                    <a:pt x="2281" y="3557"/>
                  </a:lnTo>
                  <a:lnTo>
                    <a:pt x="2427" y="3515"/>
                  </a:lnTo>
                  <a:lnTo>
                    <a:pt x="2448" y="3557"/>
                  </a:lnTo>
                  <a:lnTo>
                    <a:pt x="2511" y="3515"/>
                  </a:lnTo>
                  <a:lnTo>
                    <a:pt x="2637" y="3578"/>
                  </a:lnTo>
                  <a:lnTo>
                    <a:pt x="2699" y="3599"/>
                  </a:lnTo>
                  <a:lnTo>
                    <a:pt x="2825" y="3557"/>
                  </a:lnTo>
                  <a:lnTo>
                    <a:pt x="2930" y="3557"/>
                  </a:lnTo>
                  <a:lnTo>
                    <a:pt x="3076" y="3578"/>
                  </a:lnTo>
                  <a:lnTo>
                    <a:pt x="3118" y="3515"/>
                  </a:lnTo>
                  <a:lnTo>
                    <a:pt x="3223" y="3515"/>
                  </a:lnTo>
                  <a:lnTo>
                    <a:pt x="3285" y="3578"/>
                  </a:lnTo>
                  <a:lnTo>
                    <a:pt x="3348" y="3808"/>
                  </a:lnTo>
                  <a:lnTo>
                    <a:pt x="3285" y="3892"/>
                  </a:lnTo>
                  <a:lnTo>
                    <a:pt x="3285" y="3997"/>
                  </a:lnTo>
                  <a:lnTo>
                    <a:pt x="3264" y="4080"/>
                  </a:lnTo>
                  <a:lnTo>
                    <a:pt x="3118" y="4101"/>
                  </a:lnTo>
                  <a:lnTo>
                    <a:pt x="3055" y="4185"/>
                  </a:lnTo>
                  <a:lnTo>
                    <a:pt x="3076" y="4394"/>
                  </a:lnTo>
                  <a:lnTo>
                    <a:pt x="3118" y="4457"/>
                  </a:lnTo>
                  <a:lnTo>
                    <a:pt x="3055" y="4624"/>
                  </a:lnTo>
                  <a:lnTo>
                    <a:pt x="3055" y="4813"/>
                  </a:lnTo>
                  <a:lnTo>
                    <a:pt x="3139" y="4875"/>
                  </a:lnTo>
                  <a:lnTo>
                    <a:pt x="3139" y="4959"/>
                  </a:lnTo>
                  <a:lnTo>
                    <a:pt x="3244" y="5252"/>
                  </a:lnTo>
                  <a:lnTo>
                    <a:pt x="3055" y="5587"/>
                  </a:lnTo>
                  <a:lnTo>
                    <a:pt x="3076" y="5692"/>
                  </a:lnTo>
                  <a:lnTo>
                    <a:pt x="3139" y="5692"/>
                  </a:lnTo>
                  <a:lnTo>
                    <a:pt x="3223" y="5671"/>
                  </a:lnTo>
                  <a:lnTo>
                    <a:pt x="3223" y="5692"/>
                  </a:lnTo>
                  <a:lnTo>
                    <a:pt x="3244" y="5775"/>
                  </a:lnTo>
                  <a:lnTo>
                    <a:pt x="3327" y="5817"/>
                  </a:lnTo>
                  <a:lnTo>
                    <a:pt x="3369" y="5922"/>
                  </a:lnTo>
                  <a:lnTo>
                    <a:pt x="3348" y="5984"/>
                  </a:lnTo>
                  <a:lnTo>
                    <a:pt x="3390" y="6131"/>
                  </a:lnTo>
                  <a:lnTo>
                    <a:pt x="3536" y="6424"/>
                  </a:lnTo>
                  <a:lnTo>
                    <a:pt x="3536" y="6528"/>
                  </a:lnTo>
                  <a:lnTo>
                    <a:pt x="3746" y="6696"/>
                  </a:lnTo>
                  <a:lnTo>
                    <a:pt x="3976" y="6863"/>
                  </a:lnTo>
                  <a:lnTo>
                    <a:pt x="4101" y="6905"/>
                  </a:lnTo>
                  <a:lnTo>
                    <a:pt x="4332" y="6863"/>
                  </a:lnTo>
                  <a:lnTo>
                    <a:pt x="4478" y="6717"/>
                  </a:lnTo>
                  <a:lnTo>
                    <a:pt x="4687" y="6591"/>
                  </a:lnTo>
                  <a:lnTo>
                    <a:pt x="4750" y="6487"/>
                  </a:lnTo>
                  <a:lnTo>
                    <a:pt x="5064" y="6319"/>
                  </a:lnTo>
                  <a:lnTo>
                    <a:pt x="5127" y="6173"/>
                  </a:lnTo>
                  <a:lnTo>
                    <a:pt x="5168" y="6110"/>
                  </a:lnTo>
                  <a:lnTo>
                    <a:pt x="5210" y="6068"/>
                  </a:lnTo>
                  <a:lnTo>
                    <a:pt x="5482" y="6005"/>
                  </a:lnTo>
                  <a:lnTo>
                    <a:pt x="5629" y="5964"/>
                  </a:lnTo>
                  <a:lnTo>
                    <a:pt x="5587" y="5817"/>
                  </a:lnTo>
                  <a:lnTo>
                    <a:pt x="5440" y="5796"/>
                  </a:lnTo>
                  <a:lnTo>
                    <a:pt x="5252" y="5817"/>
                  </a:lnTo>
                  <a:lnTo>
                    <a:pt x="4959" y="5712"/>
                  </a:lnTo>
                  <a:lnTo>
                    <a:pt x="5022" y="5545"/>
                  </a:lnTo>
                  <a:lnTo>
                    <a:pt x="5001" y="5482"/>
                  </a:lnTo>
                  <a:lnTo>
                    <a:pt x="4938" y="5440"/>
                  </a:lnTo>
                  <a:lnTo>
                    <a:pt x="5127" y="5168"/>
                  </a:lnTo>
                  <a:lnTo>
                    <a:pt x="5064" y="5064"/>
                  </a:lnTo>
                  <a:lnTo>
                    <a:pt x="4938" y="4938"/>
                  </a:lnTo>
                  <a:lnTo>
                    <a:pt x="4834" y="4917"/>
                  </a:lnTo>
                  <a:lnTo>
                    <a:pt x="4750" y="4750"/>
                  </a:lnTo>
                  <a:lnTo>
                    <a:pt x="4917" y="4813"/>
                  </a:lnTo>
                  <a:lnTo>
                    <a:pt x="5106" y="4834"/>
                  </a:lnTo>
                  <a:lnTo>
                    <a:pt x="5273" y="4938"/>
                  </a:lnTo>
                  <a:lnTo>
                    <a:pt x="5461" y="4938"/>
                  </a:lnTo>
                  <a:lnTo>
                    <a:pt x="5733" y="4875"/>
                  </a:lnTo>
                  <a:lnTo>
                    <a:pt x="5796" y="4938"/>
                  </a:lnTo>
                  <a:lnTo>
                    <a:pt x="5985" y="4875"/>
                  </a:lnTo>
                  <a:lnTo>
                    <a:pt x="6173" y="4708"/>
                  </a:lnTo>
                  <a:lnTo>
                    <a:pt x="6319" y="4708"/>
                  </a:lnTo>
                  <a:lnTo>
                    <a:pt x="6424" y="4729"/>
                  </a:lnTo>
                  <a:lnTo>
                    <a:pt x="6675" y="4624"/>
                  </a:lnTo>
                  <a:lnTo>
                    <a:pt x="6884" y="4624"/>
                  </a:lnTo>
                  <a:lnTo>
                    <a:pt x="7156" y="4394"/>
                  </a:lnTo>
                  <a:lnTo>
                    <a:pt x="7219" y="4248"/>
                  </a:lnTo>
                  <a:lnTo>
                    <a:pt x="7219" y="4143"/>
                  </a:lnTo>
                  <a:lnTo>
                    <a:pt x="7219" y="4122"/>
                  </a:lnTo>
                  <a:lnTo>
                    <a:pt x="6989" y="3934"/>
                  </a:lnTo>
                  <a:lnTo>
                    <a:pt x="6842" y="3725"/>
                  </a:lnTo>
                  <a:lnTo>
                    <a:pt x="6801" y="3599"/>
                  </a:lnTo>
                  <a:lnTo>
                    <a:pt x="6905" y="3495"/>
                  </a:lnTo>
                  <a:lnTo>
                    <a:pt x="6926" y="3306"/>
                  </a:lnTo>
                  <a:lnTo>
                    <a:pt x="7010" y="3243"/>
                  </a:lnTo>
                  <a:lnTo>
                    <a:pt x="7093" y="3264"/>
                  </a:lnTo>
                  <a:lnTo>
                    <a:pt x="7198" y="3243"/>
                  </a:lnTo>
                  <a:lnTo>
                    <a:pt x="7261" y="3264"/>
                  </a:lnTo>
                  <a:lnTo>
                    <a:pt x="7449" y="3181"/>
                  </a:lnTo>
                  <a:lnTo>
                    <a:pt x="7449" y="3055"/>
                  </a:lnTo>
                  <a:lnTo>
                    <a:pt x="7365" y="2971"/>
                  </a:lnTo>
                  <a:lnTo>
                    <a:pt x="7219" y="2951"/>
                  </a:lnTo>
                  <a:lnTo>
                    <a:pt x="7156" y="2846"/>
                  </a:lnTo>
                  <a:lnTo>
                    <a:pt x="7135" y="2762"/>
                  </a:lnTo>
                  <a:lnTo>
                    <a:pt x="7303" y="2553"/>
                  </a:lnTo>
                  <a:lnTo>
                    <a:pt x="7365" y="2574"/>
                  </a:lnTo>
                  <a:lnTo>
                    <a:pt x="7512" y="2469"/>
                  </a:lnTo>
                  <a:lnTo>
                    <a:pt x="7658" y="2302"/>
                  </a:lnTo>
                  <a:lnTo>
                    <a:pt x="7679" y="2218"/>
                  </a:lnTo>
                  <a:lnTo>
                    <a:pt x="7658" y="2218"/>
                  </a:lnTo>
                  <a:lnTo>
                    <a:pt x="7428" y="2114"/>
                  </a:lnTo>
                  <a:lnTo>
                    <a:pt x="7345" y="2114"/>
                  </a:lnTo>
                  <a:lnTo>
                    <a:pt x="7261" y="2135"/>
                  </a:lnTo>
                  <a:lnTo>
                    <a:pt x="7156" y="2114"/>
                  </a:lnTo>
                  <a:lnTo>
                    <a:pt x="7093" y="2114"/>
                  </a:lnTo>
                  <a:lnTo>
                    <a:pt x="7010" y="2155"/>
                  </a:lnTo>
                  <a:lnTo>
                    <a:pt x="6821" y="2197"/>
                  </a:lnTo>
                  <a:lnTo>
                    <a:pt x="6675" y="2155"/>
                  </a:lnTo>
                  <a:lnTo>
                    <a:pt x="6612" y="2155"/>
                  </a:lnTo>
                  <a:lnTo>
                    <a:pt x="6717" y="2135"/>
                  </a:lnTo>
                  <a:lnTo>
                    <a:pt x="6801" y="2135"/>
                  </a:lnTo>
                  <a:lnTo>
                    <a:pt x="6884" y="2093"/>
                  </a:lnTo>
                  <a:lnTo>
                    <a:pt x="6926" y="2009"/>
                  </a:lnTo>
                  <a:lnTo>
                    <a:pt x="7052" y="1904"/>
                  </a:lnTo>
                  <a:lnTo>
                    <a:pt x="7093" y="1842"/>
                  </a:lnTo>
                  <a:lnTo>
                    <a:pt x="7010" y="1800"/>
                  </a:lnTo>
                  <a:lnTo>
                    <a:pt x="7010" y="1779"/>
                  </a:lnTo>
                  <a:lnTo>
                    <a:pt x="6989" y="1674"/>
                  </a:lnTo>
                  <a:lnTo>
                    <a:pt x="6821" y="1590"/>
                  </a:lnTo>
                  <a:lnTo>
                    <a:pt x="6612" y="1528"/>
                  </a:lnTo>
                  <a:lnTo>
                    <a:pt x="6570" y="1486"/>
                  </a:lnTo>
                  <a:lnTo>
                    <a:pt x="6487" y="1423"/>
                  </a:lnTo>
                  <a:lnTo>
                    <a:pt x="6382" y="1423"/>
                  </a:lnTo>
                  <a:lnTo>
                    <a:pt x="6361" y="1381"/>
                  </a:lnTo>
                  <a:lnTo>
                    <a:pt x="6215" y="1318"/>
                  </a:lnTo>
                  <a:lnTo>
                    <a:pt x="6173" y="1318"/>
                  </a:lnTo>
                  <a:lnTo>
                    <a:pt x="6173" y="1423"/>
                  </a:lnTo>
                  <a:lnTo>
                    <a:pt x="6089" y="1318"/>
                  </a:lnTo>
                  <a:lnTo>
                    <a:pt x="6047" y="1214"/>
                  </a:lnTo>
                  <a:lnTo>
                    <a:pt x="5943" y="1172"/>
                  </a:lnTo>
                  <a:lnTo>
                    <a:pt x="5901" y="1088"/>
                  </a:lnTo>
                  <a:lnTo>
                    <a:pt x="5964" y="1046"/>
                  </a:lnTo>
                  <a:lnTo>
                    <a:pt x="6215" y="1067"/>
                  </a:lnTo>
                  <a:lnTo>
                    <a:pt x="6319" y="984"/>
                  </a:lnTo>
                  <a:lnTo>
                    <a:pt x="6487" y="984"/>
                  </a:lnTo>
                  <a:lnTo>
                    <a:pt x="6487" y="879"/>
                  </a:lnTo>
                  <a:lnTo>
                    <a:pt x="6361" y="900"/>
                  </a:lnTo>
                  <a:lnTo>
                    <a:pt x="6089" y="858"/>
                  </a:lnTo>
                  <a:lnTo>
                    <a:pt x="5901" y="879"/>
                  </a:lnTo>
                  <a:lnTo>
                    <a:pt x="5775" y="879"/>
                  </a:lnTo>
                  <a:lnTo>
                    <a:pt x="5524" y="963"/>
                  </a:lnTo>
                  <a:lnTo>
                    <a:pt x="5440" y="942"/>
                  </a:lnTo>
                  <a:lnTo>
                    <a:pt x="5336" y="942"/>
                  </a:lnTo>
                  <a:lnTo>
                    <a:pt x="5127" y="1088"/>
                  </a:lnTo>
                  <a:lnTo>
                    <a:pt x="5022" y="1109"/>
                  </a:lnTo>
                  <a:lnTo>
                    <a:pt x="4896" y="1172"/>
                  </a:lnTo>
                  <a:lnTo>
                    <a:pt x="4834" y="1256"/>
                  </a:lnTo>
                  <a:lnTo>
                    <a:pt x="4645" y="1277"/>
                  </a:lnTo>
                  <a:lnTo>
                    <a:pt x="4604" y="1298"/>
                  </a:lnTo>
                  <a:lnTo>
                    <a:pt x="4520" y="1277"/>
                  </a:lnTo>
                  <a:lnTo>
                    <a:pt x="4269" y="1088"/>
                  </a:lnTo>
                  <a:lnTo>
                    <a:pt x="4206" y="984"/>
                  </a:lnTo>
                  <a:lnTo>
                    <a:pt x="3871" y="984"/>
                  </a:lnTo>
                  <a:lnTo>
                    <a:pt x="3327" y="1088"/>
                  </a:lnTo>
                  <a:lnTo>
                    <a:pt x="3055" y="1088"/>
                  </a:lnTo>
                  <a:lnTo>
                    <a:pt x="2951" y="1046"/>
                  </a:lnTo>
                  <a:lnTo>
                    <a:pt x="2909" y="963"/>
                  </a:lnTo>
                  <a:lnTo>
                    <a:pt x="2909" y="858"/>
                  </a:lnTo>
                  <a:lnTo>
                    <a:pt x="2972" y="858"/>
                  </a:lnTo>
                  <a:lnTo>
                    <a:pt x="2951" y="733"/>
                  </a:lnTo>
                  <a:lnTo>
                    <a:pt x="2846" y="565"/>
                  </a:lnTo>
                  <a:lnTo>
                    <a:pt x="2741" y="544"/>
                  </a:lnTo>
                  <a:lnTo>
                    <a:pt x="2448" y="565"/>
                  </a:lnTo>
                  <a:lnTo>
                    <a:pt x="2323" y="482"/>
                  </a:lnTo>
                  <a:lnTo>
                    <a:pt x="2239" y="482"/>
                  </a:lnTo>
                  <a:lnTo>
                    <a:pt x="2176" y="523"/>
                  </a:lnTo>
                  <a:lnTo>
                    <a:pt x="2072" y="356"/>
                  </a:lnTo>
                  <a:lnTo>
                    <a:pt x="2072" y="210"/>
                  </a:lnTo>
                  <a:lnTo>
                    <a:pt x="2030" y="21"/>
                  </a:lnTo>
                  <a:lnTo>
                    <a:pt x="198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Google Shape;12113;p43">
              <a:extLst>
                <a:ext uri="{FF2B5EF4-FFF2-40B4-BE49-F238E27FC236}">
                  <a16:creationId xmlns:a16="http://schemas.microsoft.com/office/drawing/2014/main" id="{7D0C0220-FC7F-58BA-7A08-F7E7E0377AF6}"/>
                </a:ext>
              </a:extLst>
            </p:cNvPr>
            <p:cNvSpPr/>
            <p:nvPr/>
          </p:nvSpPr>
          <p:spPr>
            <a:xfrm>
              <a:off x="3209425" y="3061815"/>
              <a:ext cx="82733" cy="112565"/>
            </a:xfrm>
            <a:custGeom>
              <a:avLst/>
              <a:gdLst/>
              <a:ahLst/>
              <a:cxnLst/>
              <a:rect l="l" t="t" r="r" b="b"/>
              <a:pathLst>
                <a:path w="6948" h="9898" extrusionOk="0">
                  <a:moveTo>
                    <a:pt x="4353" y="1"/>
                  </a:moveTo>
                  <a:lnTo>
                    <a:pt x="4332" y="64"/>
                  </a:lnTo>
                  <a:lnTo>
                    <a:pt x="4290" y="105"/>
                  </a:lnTo>
                  <a:lnTo>
                    <a:pt x="4227" y="147"/>
                  </a:lnTo>
                  <a:lnTo>
                    <a:pt x="4165" y="168"/>
                  </a:lnTo>
                  <a:lnTo>
                    <a:pt x="4060" y="168"/>
                  </a:lnTo>
                  <a:lnTo>
                    <a:pt x="3976" y="189"/>
                  </a:lnTo>
                  <a:lnTo>
                    <a:pt x="3955" y="252"/>
                  </a:lnTo>
                  <a:lnTo>
                    <a:pt x="3976" y="294"/>
                  </a:lnTo>
                  <a:lnTo>
                    <a:pt x="3955" y="357"/>
                  </a:lnTo>
                  <a:lnTo>
                    <a:pt x="3809" y="419"/>
                  </a:lnTo>
                  <a:lnTo>
                    <a:pt x="3621" y="566"/>
                  </a:lnTo>
                  <a:lnTo>
                    <a:pt x="3495" y="670"/>
                  </a:lnTo>
                  <a:lnTo>
                    <a:pt x="3328" y="691"/>
                  </a:lnTo>
                  <a:lnTo>
                    <a:pt x="2972" y="691"/>
                  </a:lnTo>
                  <a:lnTo>
                    <a:pt x="2867" y="733"/>
                  </a:lnTo>
                  <a:lnTo>
                    <a:pt x="2867" y="817"/>
                  </a:lnTo>
                  <a:lnTo>
                    <a:pt x="2888" y="901"/>
                  </a:lnTo>
                  <a:lnTo>
                    <a:pt x="2888" y="1005"/>
                  </a:lnTo>
                  <a:lnTo>
                    <a:pt x="2805" y="1089"/>
                  </a:lnTo>
                  <a:lnTo>
                    <a:pt x="2721" y="1047"/>
                  </a:lnTo>
                  <a:lnTo>
                    <a:pt x="2763" y="942"/>
                  </a:lnTo>
                  <a:lnTo>
                    <a:pt x="2763" y="921"/>
                  </a:lnTo>
                  <a:lnTo>
                    <a:pt x="2825" y="901"/>
                  </a:lnTo>
                  <a:lnTo>
                    <a:pt x="2700" y="880"/>
                  </a:lnTo>
                  <a:lnTo>
                    <a:pt x="2574" y="817"/>
                  </a:lnTo>
                  <a:lnTo>
                    <a:pt x="2491" y="817"/>
                  </a:lnTo>
                  <a:lnTo>
                    <a:pt x="2302" y="942"/>
                  </a:lnTo>
                  <a:lnTo>
                    <a:pt x="2261" y="1026"/>
                  </a:lnTo>
                  <a:lnTo>
                    <a:pt x="2135" y="1152"/>
                  </a:lnTo>
                  <a:lnTo>
                    <a:pt x="1968" y="1465"/>
                  </a:lnTo>
                  <a:lnTo>
                    <a:pt x="1947" y="1549"/>
                  </a:lnTo>
                  <a:lnTo>
                    <a:pt x="1947" y="1549"/>
                  </a:lnTo>
                  <a:lnTo>
                    <a:pt x="1989" y="1528"/>
                  </a:lnTo>
                  <a:lnTo>
                    <a:pt x="2051" y="1570"/>
                  </a:lnTo>
                  <a:lnTo>
                    <a:pt x="2051" y="1654"/>
                  </a:lnTo>
                  <a:lnTo>
                    <a:pt x="2030" y="1758"/>
                  </a:lnTo>
                  <a:lnTo>
                    <a:pt x="1947" y="1821"/>
                  </a:lnTo>
                  <a:lnTo>
                    <a:pt x="1842" y="1821"/>
                  </a:lnTo>
                  <a:lnTo>
                    <a:pt x="1737" y="1863"/>
                  </a:lnTo>
                  <a:lnTo>
                    <a:pt x="1612" y="1989"/>
                  </a:lnTo>
                  <a:lnTo>
                    <a:pt x="1528" y="2051"/>
                  </a:lnTo>
                  <a:lnTo>
                    <a:pt x="1424" y="2198"/>
                  </a:lnTo>
                  <a:lnTo>
                    <a:pt x="1340" y="2198"/>
                  </a:lnTo>
                  <a:lnTo>
                    <a:pt x="1256" y="2240"/>
                  </a:lnTo>
                  <a:lnTo>
                    <a:pt x="1298" y="2344"/>
                  </a:lnTo>
                  <a:lnTo>
                    <a:pt x="1403" y="2449"/>
                  </a:lnTo>
                  <a:lnTo>
                    <a:pt x="1403" y="2574"/>
                  </a:lnTo>
                  <a:lnTo>
                    <a:pt x="1340" y="2700"/>
                  </a:lnTo>
                  <a:lnTo>
                    <a:pt x="1256" y="2700"/>
                  </a:lnTo>
                  <a:lnTo>
                    <a:pt x="1152" y="2616"/>
                  </a:lnTo>
                  <a:lnTo>
                    <a:pt x="1193" y="2574"/>
                  </a:lnTo>
                  <a:lnTo>
                    <a:pt x="1214" y="2512"/>
                  </a:lnTo>
                  <a:lnTo>
                    <a:pt x="1131" y="2470"/>
                  </a:lnTo>
                  <a:lnTo>
                    <a:pt x="1089" y="2365"/>
                  </a:lnTo>
                  <a:lnTo>
                    <a:pt x="984" y="2261"/>
                  </a:lnTo>
                  <a:lnTo>
                    <a:pt x="942" y="2365"/>
                  </a:lnTo>
                  <a:lnTo>
                    <a:pt x="942" y="2407"/>
                  </a:lnTo>
                  <a:lnTo>
                    <a:pt x="1005" y="2574"/>
                  </a:lnTo>
                  <a:lnTo>
                    <a:pt x="921" y="2721"/>
                  </a:lnTo>
                  <a:lnTo>
                    <a:pt x="901" y="2867"/>
                  </a:lnTo>
                  <a:lnTo>
                    <a:pt x="817" y="2909"/>
                  </a:lnTo>
                  <a:lnTo>
                    <a:pt x="775" y="2909"/>
                  </a:lnTo>
                  <a:lnTo>
                    <a:pt x="691" y="3098"/>
                  </a:lnTo>
                  <a:lnTo>
                    <a:pt x="712" y="3118"/>
                  </a:lnTo>
                  <a:lnTo>
                    <a:pt x="733" y="3244"/>
                  </a:lnTo>
                  <a:lnTo>
                    <a:pt x="733" y="3390"/>
                  </a:lnTo>
                  <a:lnTo>
                    <a:pt x="880" y="3516"/>
                  </a:lnTo>
                  <a:lnTo>
                    <a:pt x="901" y="3516"/>
                  </a:lnTo>
                  <a:lnTo>
                    <a:pt x="942" y="3495"/>
                  </a:lnTo>
                  <a:lnTo>
                    <a:pt x="1005" y="3537"/>
                  </a:lnTo>
                  <a:lnTo>
                    <a:pt x="1005" y="3662"/>
                  </a:lnTo>
                  <a:lnTo>
                    <a:pt x="921" y="3746"/>
                  </a:lnTo>
                  <a:lnTo>
                    <a:pt x="921" y="3809"/>
                  </a:lnTo>
                  <a:lnTo>
                    <a:pt x="1005" y="3872"/>
                  </a:lnTo>
                  <a:lnTo>
                    <a:pt x="1005" y="4039"/>
                  </a:lnTo>
                  <a:lnTo>
                    <a:pt x="921" y="4081"/>
                  </a:lnTo>
                  <a:lnTo>
                    <a:pt x="880" y="4165"/>
                  </a:lnTo>
                  <a:lnTo>
                    <a:pt x="921" y="4186"/>
                  </a:lnTo>
                  <a:lnTo>
                    <a:pt x="984" y="4290"/>
                  </a:lnTo>
                  <a:lnTo>
                    <a:pt x="942" y="4478"/>
                  </a:lnTo>
                  <a:lnTo>
                    <a:pt x="984" y="4771"/>
                  </a:lnTo>
                  <a:lnTo>
                    <a:pt x="901" y="4855"/>
                  </a:lnTo>
                  <a:lnTo>
                    <a:pt x="880" y="4918"/>
                  </a:lnTo>
                  <a:lnTo>
                    <a:pt x="942" y="5022"/>
                  </a:lnTo>
                  <a:lnTo>
                    <a:pt x="1047" y="4981"/>
                  </a:lnTo>
                  <a:lnTo>
                    <a:pt x="1047" y="4981"/>
                  </a:lnTo>
                  <a:lnTo>
                    <a:pt x="1026" y="5064"/>
                  </a:lnTo>
                  <a:lnTo>
                    <a:pt x="1089" y="5127"/>
                  </a:lnTo>
                  <a:lnTo>
                    <a:pt x="1152" y="5127"/>
                  </a:lnTo>
                  <a:lnTo>
                    <a:pt x="1152" y="5190"/>
                  </a:lnTo>
                  <a:lnTo>
                    <a:pt x="1110" y="5274"/>
                  </a:lnTo>
                  <a:lnTo>
                    <a:pt x="1047" y="5378"/>
                  </a:lnTo>
                  <a:lnTo>
                    <a:pt x="817" y="5608"/>
                  </a:lnTo>
                  <a:lnTo>
                    <a:pt x="775" y="5713"/>
                  </a:lnTo>
                  <a:lnTo>
                    <a:pt x="608" y="5859"/>
                  </a:lnTo>
                  <a:lnTo>
                    <a:pt x="398" y="5922"/>
                  </a:lnTo>
                  <a:lnTo>
                    <a:pt x="210" y="6048"/>
                  </a:lnTo>
                  <a:lnTo>
                    <a:pt x="64" y="6278"/>
                  </a:lnTo>
                  <a:lnTo>
                    <a:pt x="43" y="6466"/>
                  </a:lnTo>
                  <a:lnTo>
                    <a:pt x="1" y="6571"/>
                  </a:lnTo>
                  <a:lnTo>
                    <a:pt x="189" y="6655"/>
                  </a:lnTo>
                  <a:lnTo>
                    <a:pt x="377" y="6780"/>
                  </a:lnTo>
                  <a:lnTo>
                    <a:pt x="629" y="6947"/>
                  </a:lnTo>
                  <a:lnTo>
                    <a:pt x="733" y="6947"/>
                  </a:lnTo>
                  <a:lnTo>
                    <a:pt x="880" y="7094"/>
                  </a:lnTo>
                  <a:lnTo>
                    <a:pt x="838" y="7178"/>
                  </a:lnTo>
                  <a:lnTo>
                    <a:pt x="880" y="7261"/>
                  </a:lnTo>
                  <a:lnTo>
                    <a:pt x="1047" y="7282"/>
                  </a:lnTo>
                  <a:lnTo>
                    <a:pt x="1256" y="7366"/>
                  </a:lnTo>
                  <a:lnTo>
                    <a:pt x="1319" y="7408"/>
                  </a:lnTo>
                  <a:lnTo>
                    <a:pt x="1507" y="7471"/>
                  </a:lnTo>
                  <a:lnTo>
                    <a:pt x="1570" y="7387"/>
                  </a:lnTo>
                  <a:lnTo>
                    <a:pt x="1570" y="7282"/>
                  </a:lnTo>
                  <a:lnTo>
                    <a:pt x="1654" y="7199"/>
                  </a:lnTo>
                  <a:lnTo>
                    <a:pt x="1717" y="7199"/>
                  </a:lnTo>
                  <a:lnTo>
                    <a:pt x="1863" y="7282"/>
                  </a:lnTo>
                  <a:lnTo>
                    <a:pt x="1968" y="7303"/>
                  </a:lnTo>
                  <a:lnTo>
                    <a:pt x="1989" y="7387"/>
                  </a:lnTo>
                  <a:lnTo>
                    <a:pt x="2072" y="7429"/>
                  </a:lnTo>
                  <a:lnTo>
                    <a:pt x="2135" y="7429"/>
                  </a:lnTo>
                  <a:lnTo>
                    <a:pt x="2177" y="7512"/>
                  </a:lnTo>
                  <a:lnTo>
                    <a:pt x="2386" y="7575"/>
                  </a:lnTo>
                  <a:lnTo>
                    <a:pt x="2512" y="7596"/>
                  </a:lnTo>
                  <a:lnTo>
                    <a:pt x="2553" y="7638"/>
                  </a:lnTo>
                  <a:lnTo>
                    <a:pt x="2700" y="7805"/>
                  </a:lnTo>
                  <a:lnTo>
                    <a:pt x="2700" y="7910"/>
                  </a:lnTo>
                  <a:lnTo>
                    <a:pt x="2805" y="8098"/>
                  </a:lnTo>
                  <a:lnTo>
                    <a:pt x="2888" y="8098"/>
                  </a:lnTo>
                  <a:lnTo>
                    <a:pt x="3139" y="8203"/>
                  </a:lnTo>
                  <a:lnTo>
                    <a:pt x="3244" y="8349"/>
                  </a:lnTo>
                  <a:lnTo>
                    <a:pt x="3244" y="8517"/>
                  </a:lnTo>
                  <a:lnTo>
                    <a:pt x="3307" y="8517"/>
                  </a:lnTo>
                  <a:lnTo>
                    <a:pt x="3411" y="8559"/>
                  </a:lnTo>
                  <a:lnTo>
                    <a:pt x="3432" y="8684"/>
                  </a:lnTo>
                  <a:lnTo>
                    <a:pt x="3411" y="8768"/>
                  </a:lnTo>
                  <a:lnTo>
                    <a:pt x="3432" y="8852"/>
                  </a:lnTo>
                  <a:lnTo>
                    <a:pt x="3537" y="8872"/>
                  </a:lnTo>
                  <a:lnTo>
                    <a:pt x="3662" y="8852"/>
                  </a:lnTo>
                  <a:lnTo>
                    <a:pt x="3767" y="8872"/>
                  </a:lnTo>
                  <a:lnTo>
                    <a:pt x="3914" y="8872"/>
                  </a:lnTo>
                  <a:lnTo>
                    <a:pt x="3955" y="8831"/>
                  </a:lnTo>
                  <a:lnTo>
                    <a:pt x="4144" y="8747"/>
                  </a:lnTo>
                  <a:lnTo>
                    <a:pt x="4290" y="8768"/>
                  </a:lnTo>
                  <a:lnTo>
                    <a:pt x="4458" y="8852"/>
                  </a:lnTo>
                  <a:lnTo>
                    <a:pt x="4646" y="8747"/>
                  </a:lnTo>
                  <a:lnTo>
                    <a:pt x="4750" y="8747"/>
                  </a:lnTo>
                  <a:lnTo>
                    <a:pt x="4792" y="8831"/>
                  </a:lnTo>
                  <a:lnTo>
                    <a:pt x="4876" y="8831"/>
                  </a:lnTo>
                  <a:lnTo>
                    <a:pt x="4981" y="8872"/>
                  </a:lnTo>
                  <a:lnTo>
                    <a:pt x="5064" y="8956"/>
                  </a:lnTo>
                  <a:lnTo>
                    <a:pt x="5169" y="8935"/>
                  </a:lnTo>
                  <a:lnTo>
                    <a:pt x="5169" y="8998"/>
                  </a:lnTo>
                  <a:lnTo>
                    <a:pt x="4792" y="9626"/>
                  </a:lnTo>
                  <a:lnTo>
                    <a:pt x="4813" y="9709"/>
                  </a:lnTo>
                  <a:lnTo>
                    <a:pt x="4960" y="9688"/>
                  </a:lnTo>
                  <a:lnTo>
                    <a:pt x="5085" y="9688"/>
                  </a:lnTo>
                  <a:lnTo>
                    <a:pt x="5190" y="9772"/>
                  </a:lnTo>
                  <a:lnTo>
                    <a:pt x="5211" y="9898"/>
                  </a:lnTo>
                  <a:lnTo>
                    <a:pt x="5294" y="9584"/>
                  </a:lnTo>
                  <a:lnTo>
                    <a:pt x="5629" y="8370"/>
                  </a:lnTo>
                  <a:lnTo>
                    <a:pt x="5629" y="8308"/>
                  </a:lnTo>
                  <a:lnTo>
                    <a:pt x="5629" y="8098"/>
                  </a:lnTo>
                  <a:lnTo>
                    <a:pt x="5504" y="7847"/>
                  </a:lnTo>
                  <a:lnTo>
                    <a:pt x="5294" y="7680"/>
                  </a:lnTo>
                  <a:lnTo>
                    <a:pt x="5190" y="7533"/>
                  </a:lnTo>
                  <a:lnTo>
                    <a:pt x="5169" y="7219"/>
                  </a:lnTo>
                  <a:lnTo>
                    <a:pt x="5546" y="7094"/>
                  </a:lnTo>
                  <a:lnTo>
                    <a:pt x="5692" y="7199"/>
                  </a:lnTo>
                  <a:lnTo>
                    <a:pt x="5713" y="7094"/>
                  </a:lnTo>
                  <a:lnTo>
                    <a:pt x="5650" y="7010"/>
                  </a:lnTo>
                  <a:lnTo>
                    <a:pt x="5713" y="6968"/>
                  </a:lnTo>
                  <a:lnTo>
                    <a:pt x="5629" y="6801"/>
                  </a:lnTo>
                  <a:lnTo>
                    <a:pt x="5420" y="6738"/>
                  </a:lnTo>
                  <a:lnTo>
                    <a:pt x="5336" y="6592"/>
                  </a:lnTo>
                  <a:lnTo>
                    <a:pt x="5399" y="6424"/>
                  </a:lnTo>
                  <a:lnTo>
                    <a:pt x="6048" y="6424"/>
                  </a:lnTo>
                  <a:lnTo>
                    <a:pt x="6131" y="6341"/>
                  </a:lnTo>
                  <a:lnTo>
                    <a:pt x="6236" y="6341"/>
                  </a:lnTo>
                  <a:lnTo>
                    <a:pt x="6278" y="6383"/>
                  </a:lnTo>
                  <a:lnTo>
                    <a:pt x="6362" y="6383"/>
                  </a:lnTo>
                  <a:lnTo>
                    <a:pt x="6466" y="6257"/>
                  </a:lnTo>
                  <a:lnTo>
                    <a:pt x="6634" y="6215"/>
                  </a:lnTo>
                  <a:lnTo>
                    <a:pt x="6675" y="6320"/>
                  </a:lnTo>
                  <a:lnTo>
                    <a:pt x="6759" y="6424"/>
                  </a:lnTo>
                  <a:lnTo>
                    <a:pt x="6780" y="6550"/>
                  </a:lnTo>
                  <a:lnTo>
                    <a:pt x="6780" y="6696"/>
                  </a:lnTo>
                  <a:lnTo>
                    <a:pt x="6947" y="6675"/>
                  </a:lnTo>
                  <a:lnTo>
                    <a:pt x="6947" y="6571"/>
                  </a:lnTo>
                  <a:lnTo>
                    <a:pt x="6801" y="6278"/>
                  </a:lnTo>
                  <a:lnTo>
                    <a:pt x="6759" y="6131"/>
                  </a:lnTo>
                  <a:lnTo>
                    <a:pt x="6780" y="6069"/>
                  </a:lnTo>
                  <a:lnTo>
                    <a:pt x="6738" y="5964"/>
                  </a:lnTo>
                  <a:lnTo>
                    <a:pt x="6655" y="5922"/>
                  </a:lnTo>
                  <a:lnTo>
                    <a:pt x="6634" y="5839"/>
                  </a:lnTo>
                  <a:lnTo>
                    <a:pt x="6634" y="5818"/>
                  </a:lnTo>
                  <a:lnTo>
                    <a:pt x="6550" y="5839"/>
                  </a:lnTo>
                  <a:lnTo>
                    <a:pt x="6487" y="5839"/>
                  </a:lnTo>
                  <a:lnTo>
                    <a:pt x="6466" y="5734"/>
                  </a:lnTo>
                  <a:lnTo>
                    <a:pt x="6655" y="5399"/>
                  </a:lnTo>
                  <a:lnTo>
                    <a:pt x="6550" y="5106"/>
                  </a:lnTo>
                  <a:lnTo>
                    <a:pt x="6550" y="5022"/>
                  </a:lnTo>
                  <a:lnTo>
                    <a:pt x="6466" y="4960"/>
                  </a:lnTo>
                  <a:lnTo>
                    <a:pt x="6466" y="4771"/>
                  </a:lnTo>
                  <a:lnTo>
                    <a:pt x="6529" y="4604"/>
                  </a:lnTo>
                  <a:lnTo>
                    <a:pt x="6487" y="4541"/>
                  </a:lnTo>
                  <a:lnTo>
                    <a:pt x="6466" y="4332"/>
                  </a:lnTo>
                  <a:lnTo>
                    <a:pt x="6529" y="4248"/>
                  </a:lnTo>
                  <a:lnTo>
                    <a:pt x="6675" y="4227"/>
                  </a:lnTo>
                  <a:lnTo>
                    <a:pt x="6696" y="4144"/>
                  </a:lnTo>
                  <a:lnTo>
                    <a:pt x="6696" y="4039"/>
                  </a:lnTo>
                  <a:lnTo>
                    <a:pt x="6759" y="3955"/>
                  </a:lnTo>
                  <a:lnTo>
                    <a:pt x="6696" y="3725"/>
                  </a:lnTo>
                  <a:lnTo>
                    <a:pt x="6634" y="3662"/>
                  </a:lnTo>
                  <a:lnTo>
                    <a:pt x="6529" y="3662"/>
                  </a:lnTo>
                  <a:lnTo>
                    <a:pt x="6487" y="3725"/>
                  </a:lnTo>
                  <a:lnTo>
                    <a:pt x="6341" y="3704"/>
                  </a:lnTo>
                  <a:lnTo>
                    <a:pt x="6236" y="3704"/>
                  </a:lnTo>
                  <a:lnTo>
                    <a:pt x="6110" y="3746"/>
                  </a:lnTo>
                  <a:lnTo>
                    <a:pt x="6048" y="3725"/>
                  </a:lnTo>
                  <a:lnTo>
                    <a:pt x="5922" y="3662"/>
                  </a:lnTo>
                  <a:lnTo>
                    <a:pt x="5859" y="3704"/>
                  </a:lnTo>
                  <a:lnTo>
                    <a:pt x="5838" y="3662"/>
                  </a:lnTo>
                  <a:lnTo>
                    <a:pt x="5692" y="3704"/>
                  </a:lnTo>
                  <a:lnTo>
                    <a:pt x="5232" y="3286"/>
                  </a:lnTo>
                  <a:lnTo>
                    <a:pt x="5127" y="3223"/>
                  </a:lnTo>
                  <a:lnTo>
                    <a:pt x="4960" y="3202"/>
                  </a:lnTo>
                  <a:lnTo>
                    <a:pt x="4792" y="3223"/>
                  </a:lnTo>
                  <a:lnTo>
                    <a:pt x="4750" y="3244"/>
                  </a:lnTo>
                  <a:lnTo>
                    <a:pt x="4604" y="3202"/>
                  </a:lnTo>
                  <a:lnTo>
                    <a:pt x="4458" y="3202"/>
                  </a:lnTo>
                  <a:lnTo>
                    <a:pt x="4374" y="3244"/>
                  </a:lnTo>
                  <a:lnTo>
                    <a:pt x="4248" y="3202"/>
                  </a:lnTo>
                  <a:lnTo>
                    <a:pt x="4144" y="3181"/>
                  </a:lnTo>
                  <a:lnTo>
                    <a:pt x="3976" y="3118"/>
                  </a:lnTo>
                  <a:lnTo>
                    <a:pt x="3851" y="3014"/>
                  </a:lnTo>
                  <a:lnTo>
                    <a:pt x="3851" y="2909"/>
                  </a:lnTo>
                  <a:lnTo>
                    <a:pt x="3872" y="2867"/>
                  </a:lnTo>
                  <a:lnTo>
                    <a:pt x="3872" y="2784"/>
                  </a:lnTo>
                  <a:lnTo>
                    <a:pt x="3934" y="2658"/>
                  </a:lnTo>
                  <a:lnTo>
                    <a:pt x="3914" y="2554"/>
                  </a:lnTo>
                  <a:lnTo>
                    <a:pt x="3809" y="2386"/>
                  </a:lnTo>
                  <a:lnTo>
                    <a:pt x="3558" y="1968"/>
                  </a:lnTo>
                  <a:lnTo>
                    <a:pt x="3411" y="1968"/>
                  </a:lnTo>
                  <a:lnTo>
                    <a:pt x="3411" y="1926"/>
                  </a:lnTo>
                  <a:lnTo>
                    <a:pt x="3495" y="1737"/>
                  </a:lnTo>
                  <a:lnTo>
                    <a:pt x="3516" y="1549"/>
                  </a:lnTo>
                  <a:lnTo>
                    <a:pt x="3495" y="1445"/>
                  </a:lnTo>
                  <a:lnTo>
                    <a:pt x="3516" y="1319"/>
                  </a:lnTo>
                  <a:lnTo>
                    <a:pt x="3704" y="1047"/>
                  </a:lnTo>
                  <a:lnTo>
                    <a:pt x="3767" y="984"/>
                  </a:lnTo>
                  <a:lnTo>
                    <a:pt x="3872" y="838"/>
                  </a:lnTo>
                  <a:lnTo>
                    <a:pt x="3976" y="817"/>
                  </a:lnTo>
                  <a:lnTo>
                    <a:pt x="4039" y="775"/>
                  </a:lnTo>
                  <a:lnTo>
                    <a:pt x="4186" y="503"/>
                  </a:lnTo>
                  <a:lnTo>
                    <a:pt x="4499" y="377"/>
                  </a:lnTo>
                  <a:lnTo>
                    <a:pt x="4541" y="357"/>
                  </a:lnTo>
                  <a:lnTo>
                    <a:pt x="4604" y="357"/>
                  </a:lnTo>
                  <a:lnTo>
                    <a:pt x="4667" y="294"/>
                  </a:lnTo>
                  <a:lnTo>
                    <a:pt x="4688" y="210"/>
                  </a:lnTo>
                  <a:lnTo>
                    <a:pt x="4646" y="147"/>
                  </a:lnTo>
                  <a:lnTo>
                    <a:pt x="4437" y="43"/>
                  </a:lnTo>
                  <a:lnTo>
                    <a:pt x="4353" y="1"/>
                  </a:lnTo>
                  <a:close/>
                </a:path>
              </a:pathLst>
            </a:custGeom>
            <a:solidFill>
              <a:srgbClr val="00B3F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Google Shape;12114;p43">
              <a:extLst>
                <a:ext uri="{FF2B5EF4-FFF2-40B4-BE49-F238E27FC236}">
                  <a16:creationId xmlns:a16="http://schemas.microsoft.com/office/drawing/2014/main" id="{5D14FFE5-0CAD-4066-F82E-3E47EADC9A4E}"/>
                </a:ext>
              </a:extLst>
            </p:cNvPr>
            <p:cNvSpPr/>
            <p:nvPr/>
          </p:nvSpPr>
          <p:spPr>
            <a:xfrm>
              <a:off x="3195231" y="3136533"/>
              <a:ext cx="40867" cy="42852"/>
            </a:xfrm>
            <a:custGeom>
              <a:avLst/>
              <a:gdLst/>
              <a:ahLst/>
              <a:cxnLst/>
              <a:rect l="l" t="t" r="r" b="b"/>
              <a:pathLst>
                <a:path w="3432" h="3768" extrusionOk="0">
                  <a:moveTo>
                    <a:pt x="1193" y="1"/>
                  </a:moveTo>
                  <a:lnTo>
                    <a:pt x="1172" y="168"/>
                  </a:lnTo>
                  <a:lnTo>
                    <a:pt x="1025" y="168"/>
                  </a:lnTo>
                  <a:lnTo>
                    <a:pt x="732" y="336"/>
                  </a:lnTo>
                  <a:lnTo>
                    <a:pt x="607" y="377"/>
                  </a:lnTo>
                  <a:lnTo>
                    <a:pt x="440" y="440"/>
                  </a:lnTo>
                  <a:lnTo>
                    <a:pt x="523" y="587"/>
                  </a:lnTo>
                  <a:lnTo>
                    <a:pt x="523" y="649"/>
                  </a:lnTo>
                  <a:lnTo>
                    <a:pt x="565" y="733"/>
                  </a:lnTo>
                  <a:lnTo>
                    <a:pt x="544" y="901"/>
                  </a:lnTo>
                  <a:lnTo>
                    <a:pt x="335" y="1131"/>
                  </a:lnTo>
                  <a:lnTo>
                    <a:pt x="314" y="1235"/>
                  </a:lnTo>
                  <a:lnTo>
                    <a:pt x="356" y="1277"/>
                  </a:lnTo>
                  <a:lnTo>
                    <a:pt x="251" y="1445"/>
                  </a:lnTo>
                  <a:lnTo>
                    <a:pt x="126" y="1465"/>
                  </a:lnTo>
                  <a:lnTo>
                    <a:pt x="21" y="1591"/>
                  </a:lnTo>
                  <a:lnTo>
                    <a:pt x="84" y="1696"/>
                  </a:lnTo>
                  <a:lnTo>
                    <a:pt x="126" y="1800"/>
                  </a:lnTo>
                  <a:lnTo>
                    <a:pt x="105" y="1905"/>
                  </a:lnTo>
                  <a:lnTo>
                    <a:pt x="126" y="2072"/>
                  </a:lnTo>
                  <a:lnTo>
                    <a:pt x="84" y="2198"/>
                  </a:lnTo>
                  <a:lnTo>
                    <a:pt x="0" y="2261"/>
                  </a:lnTo>
                  <a:lnTo>
                    <a:pt x="84" y="2323"/>
                  </a:lnTo>
                  <a:lnTo>
                    <a:pt x="209" y="2386"/>
                  </a:lnTo>
                  <a:lnTo>
                    <a:pt x="314" y="2491"/>
                  </a:lnTo>
                  <a:lnTo>
                    <a:pt x="419" y="2574"/>
                  </a:lnTo>
                  <a:lnTo>
                    <a:pt x="440" y="2533"/>
                  </a:lnTo>
                  <a:lnTo>
                    <a:pt x="502" y="2386"/>
                  </a:lnTo>
                  <a:lnTo>
                    <a:pt x="544" y="2323"/>
                  </a:lnTo>
                  <a:lnTo>
                    <a:pt x="628" y="2219"/>
                  </a:lnTo>
                  <a:lnTo>
                    <a:pt x="628" y="2323"/>
                  </a:lnTo>
                  <a:lnTo>
                    <a:pt x="649" y="2428"/>
                  </a:lnTo>
                  <a:lnTo>
                    <a:pt x="649" y="2365"/>
                  </a:lnTo>
                  <a:lnTo>
                    <a:pt x="649" y="2282"/>
                  </a:lnTo>
                  <a:lnTo>
                    <a:pt x="712" y="2282"/>
                  </a:lnTo>
                  <a:lnTo>
                    <a:pt x="732" y="2428"/>
                  </a:lnTo>
                  <a:lnTo>
                    <a:pt x="712" y="2595"/>
                  </a:lnTo>
                  <a:lnTo>
                    <a:pt x="712" y="2700"/>
                  </a:lnTo>
                  <a:lnTo>
                    <a:pt x="649" y="2826"/>
                  </a:lnTo>
                  <a:lnTo>
                    <a:pt x="502" y="2951"/>
                  </a:lnTo>
                  <a:lnTo>
                    <a:pt x="544" y="2993"/>
                  </a:lnTo>
                  <a:lnTo>
                    <a:pt x="607" y="3139"/>
                  </a:lnTo>
                  <a:lnTo>
                    <a:pt x="502" y="3202"/>
                  </a:lnTo>
                  <a:lnTo>
                    <a:pt x="398" y="3328"/>
                  </a:lnTo>
                  <a:lnTo>
                    <a:pt x="419" y="3432"/>
                  </a:lnTo>
                  <a:lnTo>
                    <a:pt x="523" y="3432"/>
                  </a:lnTo>
                  <a:lnTo>
                    <a:pt x="649" y="3370"/>
                  </a:lnTo>
                  <a:lnTo>
                    <a:pt x="712" y="3453"/>
                  </a:lnTo>
                  <a:lnTo>
                    <a:pt x="879" y="3516"/>
                  </a:lnTo>
                  <a:lnTo>
                    <a:pt x="984" y="3537"/>
                  </a:lnTo>
                  <a:lnTo>
                    <a:pt x="1151" y="3767"/>
                  </a:lnTo>
                  <a:lnTo>
                    <a:pt x="1235" y="3767"/>
                  </a:lnTo>
                  <a:lnTo>
                    <a:pt x="1339" y="3662"/>
                  </a:lnTo>
                  <a:lnTo>
                    <a:pt x="1779" y="2721"/>
                  </a:lnTo>
                  <a:lnTo>
                    <a:pt x="1883" y="2637"/>
                  </a:lnTo>
                  <a:lnTo>
                    <a:pt x="2448" y="2470"/>
                  </a:lnTo>
                  <a:lnTo>
                    <a:pt x="2720" y="2282"/>
                  </a:lnTo>
                  <a:lnTo>
                    <a:pt x="3118" y="1905"/>
                  </a:lnTo>
                  <a:lnTo>
                    <a:pt x="3264" y="1549"/>
                  </a:lnTo>
                  <a:lnTo>
                    <a:pt x="3369" y="1549"/>
                  </a:lnTo>
                  <a:lnTo>
                    <a:pt x="3390" y="1486"/>
                  </a:lnTo>
                  <a:lnTo>
                    <a:pt x="3432" y="1361"/>
                  </a:lnTo>
                  <a:lnTo>
                    <a:pt x="3390" y="1235"/>
                  </a:lnTo>
                  <a:lnTo>
                    <a:pt x="3285" y="1026"/>
                  </a:lnTo>
                  <a:lnTo>
                    <a:pt x="3285" y="963"/>
                  </a:lnTo>
                  <a:lnTo>
                    <a:pt x="3264" y="859"/>
                  </a:lnTo>
                  <a:lnTo>
                    <a:pt x="3181" y="817"/>
                  </a:lnTo>
                  <a:lnTo>
                    <a:pt x="3160" y="733"/>
                  </a:lnTo>
                  <a:lnTo>
                    <a:pt x="3055" y="712"/>
                  </a:lnTo>
                  <a:lnTo>
                    <a:pt x="2909" y="629"/>
                  </a:lnTo>
                  <a:lnTo>
                    <a:pt x="2846" y="629"/>
                  </a:lnTo>
                  <a:lnTo>
                    <a:pt x="2762" y="712"/>
                  </a:lnTo>
                  <a:lnTo>
                    <a:pt x="2762" y="817"/>
                  </a:lnTo>
                  <a:lnTo>
                    <a:pt x="2699" y="901"/>
                  </a:lnTo>
                  <a:lnTo>
                    <a:pt x="2511" y="838"/>
                  </a:lnTo>
                  <a:lnTo>
                    <a:pt x="2448" y="796"/>
                  </a:lnTo>
                  <a:lnTo>
                    <a:pt x="2239" y="712"/>
                  </a:lnTo>
                  <a:lnTo>
                    <a:pt x="2072" y="691"/>
                  </a:lnTo>
                  <a:lnTo>
                    <a:pt x="2030" y="608"/>
                  </a:lnTo>
                  <a:lnTo>
                    <a:pt x="2072" y="524"/>
                  </a:lnTo>
                  <a:lnTo>
                    <a:pt x="1925" y="377"/>
                  </a:lnTo>
                  <a:lnTo>
                    <a:pt x="1821" y="377"/>
                  </a:lnTo>
                  <a:lnTo>
                    <a:pt x="1569" y="210"/>
                  </a:lnTo>
                  <a:lnTo>
                    <a:pt x="1381" y="85"/>
                  </a:lnTo>
                  <a:lnTo>
                    <a:pt x="11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Google Shape;12115;p43">
              <a:extLst>
                <a:ext uri="{FF2B5EF4-FFF2-40B4-BE49-F238E27FC236}">
                  <a16:creationId xmlns:a16="http://schemas.microsoft.com/office/drawing/2014/main" id="{E520D368-507F-DC76-322C-120CD63FB32F}"/>
                </a:ext>
              </a:extLst>
            </p:cNvPr>
            <p:cNvSpPr/>
            <p:nvPr/>
          </p:nvSpPr>
          <p:spPr>
            <a:xfrm>
              <a:off x="3192980" y="3146290"/>
              <a:ext cx="88711" cy="124938"/>
            </a:xfrm>
            <a:custGeom>
              <a:avLst/>
              <a:gdLst/>
              <a:ahLst/>
              <a:cxnLst/>
              <a:rect l="l" t="t" r="r" b="b"/>
              <a:pathLst>
                <a:path w="7450" h="10986" extrusionOk="0">
                  <a:moveTo>
                    <a:pt x="3453" y="1"/>
                  </a:moveTo>
                  <a:lnTo>
                    <a:pt x="3474" y="105"/>
                  </a:lnTo>
                  <a:lnTo>
                    <a:pt x="3474" y="168"/>
                  </a:lnTo>
                  <a:lnTo>
                    <a:pt x="3579" y="377"/>
                  </a:lnTo>
                  <a:lnTo>
                    <a:pt x="3621" y="503"/>
                  </a:lnTo>
                  <a:lnTo>
                    <a:pt x="3579" y="628"/>
                  </a:lnTo>
                  <a:lnTo>
                    <a:pt x="3558" y="691"/>
                  </a:lnTo>
                  <a:lnTo>
                    <a:pt x="3453" y="691"/>
                  </a:lnTo>
                  <a:lnTo>
                    <a:pt x="3307" y="1047"/>
                  </a:lnTo>
                  <a:lnTo>
                    <a:pt x="2909" y="1424"/>
                  </a:lnTo>
                  <a:lnTo>
                    <a:pt x="2637" y="1612"/>
                  </a:lnTo>
                  <a:lnTo>
                    <a:pt x="2072" y="1779"/>
                  </a:lnTo>
                  <a:lnTo>
                    <a:pt x="1968" y="1863"/>
                  </a:lnTo>
                  <a:lnTo>
                    <a:pt x="1528" y="2804"/>
                  </a:lnTo>
                  <a:lnTo>
                    <a:pt x="1424" y="2909"/>
                  </a:lnTo>
                  <a:lnTo>
                    <a:pt x="1340" y="2909"/>
                  </a:lnTo>
                  <a:lnTo>
                    <a:pt x="1173" y="2679"/>
                  </a:lnTo>
                  <a:lnTo>
                    <a:pt x="1068" y="2658"/>
                  </a:lnTo>
                  <a:lnTo>
                    <a:pt x="901" y="2595"/>
                  </a:lnTo>
                  <a:lnTo>
                    <a:pt x="838" y="2512"/>
                  </a:lnTo>
                  <a:lnTo>
                    <a:pt x="712" y="2574"/>
                  </a:lnTo>
                  <a:lnTo>
                    <a:pt x="608" y="2574"/>
                  </a:lnTo>
                  <a:lnTo>
                    <a:pt x="587" y="2470"/>
                  </a:lnTo>
                  <a:lnTo>
                    <a:pt x="691" y="2344"/>
                  </a:lnTo>
                  <a:lnTo>
                    <a:pt x="796" y="2281"/>
                  </a:lnTo>
                  <a:lnTo>
                    <a:pt x="733" y="2135"/>
                  </a:lnTo>
                  <a:lnTo>
                    <a:pt x="691" y="2093"/>
                  </a:lnTo>
                  <a:lnTo>
                    <a:pt x="398" y="2240"/>
                  </a:lnTo>
                  <a:lnTo>
                    <a:pt x="294" y="2344"/>
                  </a:lnTo>
                  <a:lnTo>
                    <a:pt x="105" y="2512"/>
                  </a:lnTo>
                  <a:lnTo>
                    <a:pt x="64" y="2679"/>
                  </a:lnTo>
                  <a:lnTo>
                    <a:pt x="1" y="2784"/>
                  </a:lnTo>
                  <a:lnTo>
                    <a:pt x="22" y="2825"/>
                  </a:lnTo>
                  <a:lnTo>
                    <a:pt x="105" y="2909"/>
                  </a:lnTo>
                  <a:lnTo>
                    <a:pt x="126" y="2993"/>
                  </a:lnTo>
                  <a:lnTo>
                    <a:pt x="64" y="3035"/>
                  </a:lnTo>
                  <a:lnTo>
                    <a:pt x="64" y="3097"/>
                  </a:lnTo>
                  <a:lnTo>
                    <a:pt x="189" y="3202"/>
                  </a:lnTo>
                  <a:lnTo>
                    <a:pt x="273" y="3348"/>
                  </a:lnTo>
                  <a:lnTo>
                    <a:pt x="231" y="3495"/>
                  </a:lnTo>
                  <a:lnTo>
                    <a:pt x="168" y="3495"/>
                  </a:lnTo>
                  <a:lnTo>
                    <a:pt x="85" y="3516"/>
                  </a:lnTo>
                  <a:lnTo>
                    <a:pt x="22" y="3621"/>
                  </a:lnTo>
                  <a:lnTo>
                    <a:pt x="126" y="3704"/>
                  </a:lnTo>
                  <a:lnTo>
                    <a:pt x="231" y="3746"/>
                  </a:lnTo>
                  <a:lnTo>
                    <a:pt x="419" y="3872"/>
                  </a:lnTo>
                  <a:lnTo>
                    <a:pt x="587" y="3913"/>
                  </a:lnTo>
                  <a:lnTo>
                    <a:pt x="817" y="4060"/>
                  </a:lnTo>
                  <a:lnTo>
                    <a:pt x="921" y="4081"/>
                  </a:lnTo>
                  <a:lnTo>
                    <a:pt x="963" y="4185"/>
                  </a:lnTo>
                  <a:lnTo>
                    <a:pt x="1068" y="4374"/>
                  </a:lnTo>
                  <a:lnTo>
                    <a:pt x="1110" y="4541"/>
                  </a:lnTo>
                  <a:lnTo>
                    <a:pt x="1173" y="4667"/>
                  </a:lnTo>
                  <a:lnTo>
                    <a:pt x="1424" y="4771"/>
                  </a:lnTo>
                  <a:lnTo>
                    <a:pt x="1486" y="4960"/>
                  </a:lnTo>
                  <a:lnTo>
                    <a:pt x="1549" y="5106"/>
                  </a:lnTo>
                  <a:lnTo>
                    <a:pt x="1591" y="5211"/>
                  </a:lnTo>
                  <a:lnTo>
                    <a:pt x="1633" y="5399"/>
                  </a:lnTo>
                  <a:lnTo>
                    <a:pt x="1696" y="5525"/>
                  </a:lnTo>
                  <a:lnTo>
                    <a:pt x="1800" y="5587"/>
                  </a:lnTo>
                  <a:lnTo>
                    <a:pt x="1905" y="5797"/>
                  </a:lnTo>
                  <a:lnTo>
                    <a:pt x="1905" y="5922"/>
                  </a:lnTo>
                  <a:lnTo>
                    <a:pt x="1884" y="5964"/>
                  </a:lnTo>
                  <a:lnTo>
                    <a:pt x="1989" y="6152"/>
                  </a:lnTo>
                  <a:lnTo>
                    <a:pt x="2177" y="6382"/>
                  </a:lnTo>
                  <a:lnTo>
                    <a:pt x="2219" y="6487"/>
                  </a:lnTo>
                  <a:lnTo>
                    <a:pt x="2198" y="6592"/>
                  </a:lnTo>
                  <a:lnTo>
                    <a:pt x="2219" y="6675"/>
                  </a:lnTo>
                  <a:lnTo>
                    <a:pt x="2302" y="6696"/>
                  </a:lnTo>
                  <a:lnTo>
                    <a:pt x="2491" y="6885"/>
                  </a:lnTo>
                  <a:lnTo>
                    <a:pt x="2533" y="6989"/>
                  </a:lnTo>
                  <a:lnTo>
                    <a:pt x="2574" y="7157"/>
                  </a:lnTo>
                  <a:lnTo>
                    <a:pt x="2616" y="7219"/>
                  </a:lnTo>
                  <a:lnTo>
                    <a:pt x="2784" y="7282"/>
                  </a:lnTo>
                  <a:lnTo>
                    <a:pt x="2805" y="7408"/>
                  </a:lnTo>
                  <a:lnTo>
                    <a:pt x="2951" y="7680"/>
                  </a:lnTo>
                  <a:lnTo>
                    <a:pt x="3014" y="7805"/>
                  </a:lnTo>
                  <a:lnTo>
                    <a:pt x="3202" y="8056"/>
                  </a:lnTo>
                  <a:lnTo>
                    <a:pt x="3202" y="8203"/>
                  </a:lnTo>
                  <a:lnTo>
                    <a:pt x="3139" y="8203"/>
                  </a:lnTo>
                  <a:lnTo>
                    <a:pt x="3098" y="8161"/>
                  </a:lnTo>
                  <a:lnTo>
                    <a:pt x="3098" y="8224"/>
                  </a:lnTo>
                  <a:lnTo>
                    <a:pt x="3118" y="8328"/>
                  </a:lnTo>
                  <a:lnTo>
                    <a:pt x="3118" y="8412"/>
                  </a:lnTo>
                  <a:lnTo>
                    <a:pt x="3160" y="8412"/>
                  </a:lnTo>
                  <a:lnTo>
                    <a:pt x="3244" y="8454"/>
                  </a:lnTo>
                  <a:lnTo>
                    <a:pt x="3265" y="8538"/>
                  </a:lnTo>
                  <a:lnTo>
                    <a:pt x="3244" y="8579"/>
                  </a:lnTo>
                  <a:lnTo>
                    <a:pt x="3432" y="8726"/>
                  </a:lnTo>
                  <a:lnTo>
                    <a:pt x="3621" y="8789"/>
                  </a:lnTo>
                  <a:lnTo>
                    <a:pt x="3642" y="8872"/>
                  </a:lnTo>
                  <a:lnTo>
                    <a:pt x="3725" y="8977"/>
                  </a:lnTo>
                  <a:lnTo>
                    <a:pt x="3830" y="8998"/>
                  </a:lnTo>
                  <a:lnTo>
                    <a:pt x="3872" y="9061"/>
                  </a:lnTo>
                  <a:lnTo>
                    <a:pt x="3893" y="9165"/>
                  </a:lnTo>
                  <a:lnTo>
                    <a:pt x="3976" y="9207"/>
                  </a:lnTo>
                  <a:lnTo>
                    <a:pt x="4165" y="9186"/>
                  </a:lnTo>
                  <a:lnTo>
                    <a:pt x="4206" y="9144"/>
                  </a:lnTo>
                  <a:lnTo>
                    <a:pt x="4186" y="9207"/>
                  </a:lnTo>
                  <a:lnTo>
                    <a:pt x="4269" y="9354"/>
                  </a:lnTo>
                  <a:lnTo>
                    <a:pt x="4458" y="9416"/>
                  </a:lnTo>
                  <a:lnTo>
                    <a:pt x="4562" y="9500"/>
                  </a:lnTo>
                  <a:lnTo>
                    <a:pt x="4562" y="9605"/>
                  </a:lnTo>
                  <a:lnTo>
                    <a:pt x="4667" y="9667"/>
                  </a:lnTo>
                  <a:lnTo>
                    <a:pt x="4792" y="9709"/>
                  </a:lnTo>
                  <a:lnTo>
                    <a:pt x="4834" y="9688"/>
                  </a:lnTo>
                  <a:lnTo>
                    <a:pt x="4939" y="9709"/>
                  </a:lnTo>
                  <a:lnTo>
                    <a:pt x="5148" y="9835"/>
                  </a:lnTo>
                  <a:lnTo>
                    <a:pt x="5315" y="9919"/>
                  </a:lnTo>
                  <a:lnTo>
                    <a:pt x="5420" y="9919"/>
                  </a:lnTo>
                  <a:lnTo>
                    <a:pt x="5462" y="9939"/>
                  </a:lnTo>
                  <a:lnTo>
                    <a:pt x="5504" y="10023"/>
                  </a:lnTo>
                  <a:lnTo>
                    <a:pt x="5650" y="10128"/>
                  </a:lnTo>
                  <a:lnTo>
                    <a:pt x="5755" y="10191"/>
                  </a:lnTo>
                  <a:lnTo>
                    <a:pt x="5859" y="10316"/>
                  </a:lnTo>
                  <a:lnTo>
                    <a:pt x="5943" y="10337"/>
                  </a:lnTo>
                  <a:lnTo>
                    <a:pt x="5985" y="10421"/>
                  </a:lnTo>
                  <a:lnTo>
                    <a:pt x="5964" y="10463"/>
                  </a:lnTo>
                  <a:lnTo>
                    <a:pt x="5964" y="10546"/>
                  </a:lnTo>
                  <a:lnTo>
                    <a:pt x="6090" y="10567"/>
                  </a:lnTo>
                  <a:lnTo>
                    <a:pt x="6236" y="10630"/>
                  </a:lnTo>
                  <a:lnTo>
                    <a:pt x="6403" y="10776"/>
                  </a:lnTo>
                  <a:lnTo>
                    <a:pt x="6550" y="10944"/>
                  </a:lnTo>
                  <a:lnTo>
                    <a:pt x="6655" y="10965"/>
                  </a:lnTo>
                  <a:lnTo>
                    <a:pt x="6675" y="10986"/>
                  </a:lnTo>
                  <a:lnTo>
                    <a:pt x="6801" y="10923"/>
                  </a:lnTo>
                  <a:lnTo>
                    <a:pt x="6927" y="10839"/>
                  </a:lnTo>
                  <a:lnTo>
                    <a:pt x="7010" y="10839"/>
                  </a:lnTo>
                  <a:lnTo>
                    <a:pt x="7115" y="10776"/>
                  </a:lnTo>
                  <a:lnTo>
                    <a:pt x="7178" y="10672"/>
                  </a:lnTo>
                  <a:lnTo>
                    <a:pt x="7073" y="10567"/>
                  </a:lnTo>
                  <a:lnTo>
                    <a:pt x="7094" y="10463"/>
                  </a:lnTo>
                  <a:lnTo>
                    <a:pt x="7136" y="10400"/>
                  </a:lnTo>
                  <a:lnTo>
                    <a:pt x="7240" y="10421"/>
                  </a:lnTo>
                  <a:lnTo>
                    <a:pt x="7219" y="10337"/>
                  </a:lnTo>
                  <a:lnTo>
                    <a:pt x="7136" y="10316"/>
                  </a:lnTo>
                  <a:lnTo>
                    <a:pt x="7094" y="10253"/>
                  </a:lnTo>
                  <a:lnTo>
                    <a:pt x="7199" y="10086"/>
                  </a:lnTo>
                  <a:lnTo>
                    <a:pt x="7324" y="10002"/>
                  </a:lnTo>
                  <a:lnTo>
                    <a:pt x="7429" y="9835"/>
                  </a:lnTo>
                  <a:lnTo>
                    <a:pt x="7450" y="9709"/>
                  </a:lnTo>
                  <a:lnTo>
                    <a:pt x="7282" y="9312"/>
                  </a:lnTo>
                  <a:lnTo>
                    <a:pt x="7324" y="9207"/>
                  </a:lnTo>
                  <a:lnTo>
                    <a:pt x="7324" y="9082"/>
                  </a:lnTo>
                  <a:lnTo>
                    <a:pt x="7303" y="8998"/>
                  </a:lnTo>
                  <a:lnTo>
                    <a:pt x="7282" y="8872"/>
                  </a:lnTo>
                  <a:lnTo>
                    <a:pt x="7324" y="8789"/>
                  </a:lnTo>
                  <a:lnTo>
                    <a:pt x="7387" y="8621"/>
                  </a:lnTo>
                  <a:lnTo>
                    <a:pt x="7345" y="8245"/>
                  </a:lnTo>
                  <a:lnTo>
                    <a:pt x="7303" y="8098"/>
                  </a:lnTo>
                  <a:lnTo>
                    <a:pt x="7387" y="7910"/>
                  </a:lnTo>
                  <a:lnTo>
                    <a:pt x="7387" y="7491"/>
                  </a:lnTo>
                  <a:lnTo>
                    <a:pt x="7450" y="7324"/>
                  </a:lnTo>
                  <a:lnTo>
                    <a:pt x="7450" y="7261"/>
                  </a:lnTo>
                  <a:lnTo>
                    <a:pt x="6927" y="6487"/>
                  </a:lnTo>
                  <a:lnTo>
                    <a:pt x="6906" y="6487"/>
                  </a:lnTo>
                  <a:lnTo>
                    <a:pt x="6864" y="6466"/>
                  </a:lnTo>
                  <a:lnTo>
                    <a:pt x="6675" y="6466"/>
                  </a:lnTo>
                  <a:lnTo>
                    <a:pt x="6571" y="6529"/>
                  </a:lnTo>
                  <a:lnTo>
                    <a:pt x="6445" y="6529"/>
                  </a:lnTo>
                  <a:lnTo>
                    <a:pt x="6383" y="6466"/>
                  </a:lnTo>
                  <a:lnTo>
                    <a:pt x="6362" y="6341"/>
                  </a:lnTo>
                  <a:lnTo>
                    <a:pt x="6341" y="6006"/>
                  </a:lnTo>
                  <a:lnTo>
                    <a:pt x="6341" y="5797"/>
                  </a:lnTo>
                  <a:lnTo>
                    <a:pt x="6383" y="5734"/>
                  </a:lnTo>
                  <a:lnTo>
                    <a:pt x="6403" y="5608"/>
                  </a:lnTo>
                  <a:lnTo>
                    <a:pt x="6362" y="5545"/>
                  </a:lnTo>
                  <a:lnTo>
                    <a:pt x="6152" y="5650"/>
                  </a:lnTo>
                  <a:lnTo>
                    <a:pt x="5922" y="5901"/>
                  </a:lnTo>
                  <a:lnTo>
                    <a:pt x="5608" y="5859"/>
                  </a:lnTo>
                  <a:lnTo>
                    <a:pt x="5357" y="5859"/>
                  </a:lnTo>
                  <a:lnTo>
                    <a:pt x="5315" y="5713"/>
                  </a:lnTo>
                  <a:lnTo>
                    <a:pt x="5211" y="5525"/>
                  </a:lnTo>
                  <a:lnTo>
                    <a:pt x="5023" y="5483"/>
                  </a:lnTo>
                  <a:lnTo>
                    <a:pt x="4688" y="5525"/>
                  </a:lnTo>
                  <a:lnTo>
                    <a:pt x="4813" y="5336"/>
                  </a:lnTo>
                  <a:lnTo>
                    <a:pt x="4520" y="4876"/>
                  </a:lnTo>
                  <a:lnTo>
                    <a:pt x="4374" y="4709"/>
                  </a:lnTo>
                  <a:lnTo>
                    <a:pt x="4395" y="4646"/>
                  </a:lnTo>
                  <a:lnTo>
                    <a:pt x="4374" y="4541"/>
                  </a:lnTo>
                  <a:lnTo>
                    <a:pt x="4416" y="4437"/>
                  </a:lnTo>
                  <a:lnTo>
                    <a:pt x="4416" y="4290"/>
                  </a:lnTo>
                  <a:lnTo>
                    <a:pt x="4395" y="4227"/>
                  </a:lnTo>
                  <a:lnTo>
                    <a:pt x="4458" y="4165"/>
                  </a:lnTo>
                  <a:lnTo>
                    <a:pt x="4458" y="4039"/>
                  </a:lnTo>
                  <a:lnTo>
                    <a:pt x="4625" y="3934"/>
                  </a:lnTo>
                  <a:lnTo>
                    <a:pt x="4709" y="3955"/>
                  </a:lnTo>
                  <a:lnTo>
                    <a:pt x="4792" y="3851"/>
                  </a:lnTo>
                  <a:lnTo>
                    <a:pt x="4730" y="3746"/>
                  </a:lnTo>
                  <a:lnTo>
                    <a:pt x="4688" y="3558"/>
                  </a:lnTo>
                  <a:lnTo>
                    <a:pt x="4834" y="3411"/>
                  </a:lnTo>
                  <a:lnTo>
                    <a:pt x="4813" y="3307"/>
                  </a:lnTo>
                  <a:lnTo>
                    <a:pt x="4897" y="3223"/>
                  </a:lnTo>
                  <a:lnTo>
                    <a:pt x="4876" y="3076"/>
                  </a:lnTo>
                  <a:lnTo>
                    <a:pt x="4981" y="3014"/>
                  </a:lnTo>
                  <a:lnTo>
                    <a:pt x="5106" y="2930"/>
                  </a:lnTo>
                  <a:lnTo>
                    <a:pt x="5232" y="2825"/>
                  </a:lnTo>
                  <a:lnTo>
                    <a:pt x="5295" y="2804"/>
                  </a:lnTo>
                  <a:lnTo>
                    <a:pt x="5357" y="2721"/>
                  </a:lnTo>
                  <a:lnTo>
                    <a:pt x="5650" y="2679"/>
                  </a:lnTo>
                  <a:lnTo>
                    <a:pt x="6069" y="2553"/>
                  </a:lnTo>
                  <a:lnTo>
                    <a:pt x="6090" y="2449"/>
                  </a:lnTo>
                  <a:lnTo>
                    <a:pt x="6152" y="2470"/>
                  </a:lnTo>
                  <a:lnTo>
                    <a:pt x="6299" y="2470"/>
                  </a:lnTo>
                  <a:lnTo>
                    <a:pt x="6445" y="2553"/>
                  </a:lnTo>
                  <a:lnTo>
                    <a:pt x="6445" y="2574"/>
                  </a:lnTo>
                  <a:lnTo>
                    <a:pt x="6550" y="2595"/>
                  </a:lnTo>
                  <a:lnTo>
                    <a:pt x="6592" y="2512"/>
                  </a:lnTo>
                  <a:lnTo>
                    <a:pt x="6592" y="2470"/>
                  </a:lnTo>
                  <a:lnTo>
                    <a:pt x="6571" y="2344"/>
                  </a:lnTo>
                  <a:lnTo>
                    <a:pt x="6466" y="2260"/>
                  </a:lnTo>
                  <a:lnTo>
                    <a:pt x="6341" y="2260"/>
                  </a:lnTo>
                  <a:lnTo>
                    <a:pt x="6194" y="2281"/>
                  </a:lnTo>
                  <a:lnTo>
                    <a:pt x="6173" y="2198"/>
                  </a:lnTo>
                  <a:lnTo>
                    <a:pt x="6550" y="1570"/>
                  </a:lnTo>
                  <a:lnTo>
                    <a:pt x="6550" y="1507"/>
                  </a:lnTo>
                  <a:lnTo>
                    <a:pt x="6445" y="1528"/>
                  </a:lnTo>
                  <a:lnTo>
                    <a:pt x="6362" y="1444"/>
                  </a:lnTo>
                  <a:lnTo>
                    <a:pt x="6257" y="1403"/>
                  </a:lnTo>
                  <a:lnTo>
                    <a:pt x="6173" y="1403"/>
                  </a:lnTo>
                  <a:lnTo>
                    <a:pt x="6131" y="1319"/>
                  </a:lnTo>
                  <a:lnTo>
                    <a:pt x="6027" y="1319"/>
                  </a:lnTo>
                  <a:lnTo>
                    <a:pt x="5839" y="1424"/>
                  </a:lnTo>
                  <a:lnTo>
                    <a:pt x="5671" y="1340"/>
                  </a:lnTo>
                  <a:lnTo>
                    <a:pt x="5525" y="1319"/>
                  </a:lnTo>
                  <a:lnTo>
                    <a:pt x="5336" y="1403"/>
                  </a:lnTo>
                  <a:lnTo>
                    <a:pt x="5295" y="1444"/>
                  </a:lnTo>
                  <a:lnTo>
                    <a:pt x="5148" y="1444"/>
                  </a:lnTo>
                  <a:lnTo>
                    <a:pt x="5043" y="1424"/>
                  </a:lnTo>
                  <a:lnTo>
                    <a:pt x="4918" y="1444"/>
                  </a:lnTo>
                  <a:lnTo>
                    <a:pt x="4813" y="1424"/>
                  </a:lnTo>
                  <a:lnTo>
                    <a:pt x="4792" y="1340"/>
                  </a:lnTo>
                  <a:lnTo>
                    <a:pt x="4813" y="1256"/>
                  </a:lnTo>
                  <a:lnTo>
                    <a:pt x="4792" y="1131"/>
                  </a:lnTo>
                  <a:lnTo>
                    <a:pt x="4688" y="1089"/>
                  </a:lnTo>
                  <a:lnTo>
                    <a:pt x="4625" y="1089"/>
                  </a:lnTo>
                  <a:lnTo>
                    <a:pt x="4625" y="921"/>
                  </a:lnTo>
                  <a:lnTo>
                    <a:pt x="4520" y="775"/>
                  </a:lnTo>
                  <a:lnTo>
                    <a:pt x="4269" y="670"/>
                  </a:lnTo>
                  <a:lnTo>
                    <a:pt x="4186" y="670"/>
                  </a:lnTo>
                  <a:lnTo>
                    <a:pt x="4081" y="482"/>
                  </a:lnTo>
                  <a:lnTo>
                    <a:pt x="4081" y="377"/>
                  </a:lnTo>
                  <a:lnTo>
                    <a:pt x="3934" y="210"/>
                  </a:lnTo>
                  <a:lnTo>
                    <a:pt x="3893" y="168"/>
                  </a:lnTo>
                  <a:lnTo>
                    <a:pt x="3767" y="147"/>
                  </a:lnTo>
                  <a:lnTo>
                    <a:pt x="3558" y="84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Google Shape;12116;p43">
              <a:extLst>
                <a:ext uri="{FF2B5EF4-FFF2-40B4-BE49-F238E27FC236}">
                  <a16:creationId xmlns:a16="http://schemas.microsoft.com/office/drawing/2014/main" id="{422846DC-C9DA-2112-0890-0A904634A2B1}"/>
                </a:ext>
              </a:extLst>
            </p:cNvPr>
            <p:cNvSpPr/>
            <p:nvPr/>
          </p:nvSpPr>
          <p:spPr>
            <a:xfrm>
              <a:off x="3275452" y="3211250"/>
              <a:ext cx="85722" cy="91389"/>
            </a:xfrm>
            <a:custGeom>
              <a:avLst/>
              <a:gdLst/>
              <a:ahLst/>
              <a:cxnLst/>
              <a:rect l="l" t="t" r="r" b="b"/>
              <a:pathLst>
                <a:path w="7199" h="8036" extrusionOk="0">
                  <a:moveTo>
                    <a:pt x="1967" y="1"/>
                  </a:moveTo>
                  <a:lnTo>
                    <a:pt x="1779" y="85"/>
                  </a:lnTo>
                  <a:lnTo>
                    <a:pt x="1612" y="126"/>
                  </a:lnTo>
                  <a:lnTo>
                    <a:pt x="1319" y="294"/>
                  </a:lnTo>
                  <a:lnTo>
                    <a:pt x="1235" y="545"/>
                  </a:lnTo>
                  <a:lnTo>
                    <a:pt x="1047" y="608"/>
                  </a:lnTo>
                  <a:lnTo>
                    <a:pt x="921" y="608"/>
                  </a:lnTo>
                  <a:lnTo>
                    <a:pt x="796" y="712"/>
                  </a:lnTo>
                  <a:lnTo>
                    <a:pt x="712" y="712"/>
                  </a:lnTo>
                  <a:lnTo>
                    <a:pt x="524" y="775"/>
                  </a:lnTo>
                  <a:lnTo>
                    <a:pt x="1" y="775"/>
                  </a:lnTo>
                  <a:lnTo>
                    <a:pt x="524" y="1549"/>
                  </a:lnTo>
                  <a:lnTo>
                    <a:pt x="524" y="1612"/>
                  </a:lnTo>
                  <a:lnTo>
                    <a:pt x="461" y="1779"/>
                  </a:lnTo>
                  <a:lnTo>
                    <a:pt x="461" y="2198"/>
                  </a:lnTo>
                  <a:lnTo>
                    <a:pt x="377" y="2386"/>
                  </a:lnTo>
                  <a:lnTo>
                    <a:pt x="419" y="2533"/>
                  </a:lnTo>
                  <a:lnTo>
                    <a:pt x="461" y="2909"/>
                  </a:lnTo>
                  <a:lnTo>
                    <a:pt x="398" y="3077"/>
                  </a:lnTo>
                  <a:lnTo>
                    <a:pt x="356" y="3160"/>
                  </a:lnTo>
                  <a:lnTo>
                    <a:pt x="377" y="3286"/>
                  </a:lnTo>
                  <a:lnTo>
                    <a:pt x="398" y="3370"/>
                  </a:lnTo>
                  <a:lnTo>
                    <a:pt x="398" y="3495"/>
                  </a:lnTo>
                  <a:lnTo>
                    <a:pt x="356" y="3600"/>
                  </a:lnTo>
                  <a:lnTo>
                    <a:pt x="524" y="3997"/>
                  </a:lnTo>
                  <a:lnTo>
                    <a:pt x="503" y="4123"/>
                  </a:lnTo>
                  <a:lnTo>
                    <a:pt x="398" y="4290"/>
                  </a:lnTo>
                  <a:lnTo>
                    <a:pt x="273" y="4374"/>
                  </a:lnTo>
                  <a:lnTo>
                    <a:pt x="168" y="4541"/>
                  </a:lnTo>
                  <a:lnTo>
                    <a:pt x="210" y="4604"/>
                  </a:lnTo>
                  <a:lnTo>
                    <a:pt x="293" y="4625"/>
                  </a:lnTo>
                  <a:lnTo>
                    <a:pt x="314" y="4709"/>
                  </a:lnTo>
                  <a:lnTo>
                    <a:pt x="356" y="4709"/>
                  </a:lnTo>
                  <a:lnTo>
                    <a:pt x="356" y="4834"/>
                  </a:lnTo>
                  <a:lnTo>
                    <a:pt x="482" y="4939"/>
                  </a:lnTo>
                  <a:lnTo>
                    <a:pt x="524" y="5002"/>
                  </a:lnTo>
                  <a:lnTo>
                    <a:pt x="565" y="5127"/>
                  </a:lnTo>
                  <a:lnTo>
                    <a:pt x="524" y="5232"/>
                  </a:lnTo>
                  <a:lnTo>
                    <a:pt x="524" y="5274"/>
                  </a:lnTo>
                  <a:lnTo>
                    <a:pt x="586" y="5483"/>
                  </a:lnTo>
                  <a:lnTo>
                    <a:pt x="670" y="5629"/>
                  </a:lnTo>
                  <a:lnTo>
                    <a:pt x="921" y="5839"/>
                  </a:lnTo>
                  <a:lnTo>
                    <a:pt x="942" y="5901"/>
                  </a:lnTo>
                  <a:lnTo>
                    <a:pt x="879" y="6090"/>
                  </a:lnTo>
                  <a:lnTo>
                    <a:pt x="921" y="6194"/>
                  </a:lnTo>
                  <a:lnTo>
                    <a:pt x="775" y="6508"/>
                  </a:lnTo>
                  <a:lnTo>
                    <a:pt x="879" y="6613"/>
                  </a:lnTo>
                  <a:lnTo>
                    <a:pt x="1130" y="6885"/>
                  </a:lnTo>
                  <a:lnTo>
                    <a:pt x="1570" y="8036"/>
                  </a:lnTo>
                  <a:lnTo>
                    <a:pt x="1737" y="8036"/>
                  </a:lnTo>
                  <a:lnTo>
                    <a:pt x="1758" y="7952"/>
                  </a:lnTo>
                  <a:lnTo>
                    <a:pt x="1863" y="7931"/>
                  </a:lnTo>
                  <a:lnTo>
                    <a:pt x="1863" y="7952"/>
                  </a:lnTo>
                  <a:lnTo>
                    <a:pt x="1946" y="7847"/>
                  </a:lnTo>
                  <a:lnTo>
                    <a:pt x="2051" y="7638"/>
                  </a:lnTo>
                  <a:lnTo>
                    <a:pt x="2260" y="7408"/>
                  </a:lnTo>
                  <a:lnTo>
                    <a:pt x="2407" y="7345"/>
                  </a:lnTo>
                  <a:lnTo>
                    <a:pt x="2553" y="7471"/>
                  </a:lnTo>
                  <a:lnTo>
                    <a:pt x="2721" y="7450"/>
                  </a:lnTo>
                  <a:lnTo>
                    <a:pt x="2804" y="7429"/>
                  </a:lnTo>
                  <a:lnTo>
                    <a:pt x="2930" y="7471"/>
                  </a:lnTo>
                  <a:lnTo>
                    <a:pt x="3139" y="7429"/>
                  </a:lnTo>
                  <a:lnTo>
                    <a:pt x="3244" y="7450"/>
                  </a:lnTo>
                  <a:lnTo>
                    <a:pt x="3286" y="7575"/>
                  </a:lnTo>
                  <a:lnTo>
                    <a:pt x="3348" y="7847"/>
                  </a:lnTo>
                  <a:lnTo>
                    <a:pt x="3411" y="7889"/>
                  </a:lnTo>
                  <a:lnTo>
                    <a:pt x="3453" y="7847"/>
                  </a:lnTo>
                  <a:lnTo>
                    <a:pt x="3453" y="7743"/>
                  </a:lnTo>
                  <a:lnTo>
                    <a:pt x="3516" y="7617"/>
                  </a:lnTo>
                  <a:lnTo>
                    <a:pt x="3516" y="7512"/>
                  </a:lnTo>
                  <a:lnTo>
                    <a:pt x="3620" y="7366"/>
                  </a:lnTo>
                  <a:lnTo>
                    <a:pt x="4227" y="7366"/>
                  </a:lnTo>
                  <a:lnTo>
                    <a:pt x="4353" y="7471"/>
                  </a:lnTo>
                  <a:lnTo>
                    <a:pt x="4374" y="7303"/>
                  </a:lnTo>
                  <a:lnTo>
                    <a:pt x="4541" y="6989"/>
                  </a:lnTo>
                  <a:lnTo>
                    <a:pt x="4562" y="6822"/>
                  </a:lnTo>
                  <a:lnTo>
                    <a:pt x="4541" y="6675"/>
                  </a:lnTo>
                  <a:lnTo>
                    <a:pt x="4478" y="6592"/>
                  </a:lnTo>
                  <a:lnTo>
                    <a:pt x="4667" y="6299"/>
                  </a:lnTo>
                  <a:lnTo>
                    <a:pt x="4750" y="6090"/>
                  </a:lnTo>
                  <a:lnTo>
                    <a:pt x="4750" y="5985"/>
                  </a:lnTo>
                  <a:lnTo>
                    <a:pt x="4876" y="5901"/>
                  </a:lnTo>
                  <a:lnTo>
                    <a:pt x="5650" y="5692"/>
                  </a:lnTo>
                  <a:lnTo>
                    <a:pt x="6319" y="5692"/>
                  </a:lnTo>
                  <a:lnTo>
                    <a:pt x="6696" y="5985"/>
                  </a:lnTo>
                  <a:lnTo>
                    <a:pt x="6780" y="5985"/>
                  </a:lnTo>
                  <a:lnTo>
                    <a:pt x="6864" y="6069"/>
                  </a:lnTo>
                  <a:lnTo>
                    <a:pt x="6926" y="5964"/>
                  </a:lnTo>
                  <a:lnTo>
                    <a:pt x="6905" y="5880"/>
                  </a:lnTo>
                  <a:lnTo>
                    <a:pt x="7198" y="5315"/>
                  </a:lnTo>
                  <a:lnTo>
                    <a:pt x="7177" y="5043"/>
                  </a:lnTo>
                  <a:lnTo>
                    <a:pt x="6884" y="4499"/>
                  </a:lnTo>
                  <a:lnTo>
                    <a:pt x="6571" y="4437"/>
                  </a:lnTo>
                  <a:lnTo>
                    <a:pt x="6591" y="4207"/>
                  </a:lnTo>
                  <a:lnTo>
                    <a:pt x="6550" y="3851"/>
                  </a:lnTo>
                  <a:lnTo>
                    <a:pt x="5524" y="3809"/>
                  </a:lnTo>
                  <a:lnTo>
                    <a:pt x="5545" y="3558"/>
                  </a:lnTo>
                  <a:lnTo>
                    <a:pt x="5315" y="3181"/>
                  </a:lnTo>
                  <a:lnTo>
                    <a:pt x="5399" y="3056"/>
                  </a:lnTo>
                  <a:lnTo>
                    <a:pt x="5336" y="2846"/>
                  </a:lnTo>
                  <a:lnTo>
                    <a:pt x="5378" y="2554"/>
                  </a:lnTo>
                  <a:lnTo>
                    <a:pt x="5315" y="2491"/>
                  </a:lnTo>
                  <a:lnTo>
                    <a:pt x="5106" y="2323"/>
                  </a:lnTo>
                  <a:lnTo>
                    <a:pt x="4771" y="2386"/>
                  </a:lnTo>
                  <a:lnTo>
                    <a:pt x="4604" y="2302"/>
                  </a:lnTo>
                  <a:lnTo>
                    <a:pt x="4499" y="2240"/>
                  </a:lnTo>
                  <a:lnTo>
                    <a:pt x="4457" y="2093"/>
                  </a:lnTo>
                  <a:lnTo>
                    <a:pt x="4290" y="2030"/>
                  </a:lnTo>
                  <a:lnTo>
                    <a:pt x="4060" y="1968"/>
                  </a:lnTo>
                  <a:lnTo>
                    <a:pt x="3955" y="1968"/>
                  </a:lnTo>
                  <a:lnTo>
                    <a:pt x="3746" y="1717"/>
                  </a:lnTo>
                  <a:lnTo>
                    <a:pt x="3620" y="1779"/>
                  </a:lnTo>
                  <a:lnTo>
                    <a:pt x="3411" y="1570"/>
                  </a:lnTo>
                  <a:lnTo>
                    <a:pt x="3181" y="1612"/>
                  </a:lnTo>
                  <a:lnTo>
                    <a:pt x="3118" y="1696"/>
                  </a:lnTo>
                  <a:lnTo>
                    <a:pt x="2993" y="1570"/>
                  </a:lnTo>
                  <a:lnTo>
                    <a:pt x="2804" y="1466"/>
                  </a:lnTo>
                  <a:lnTo>
                    <a:pt x="2679" y="1382"/>
                  </a:lnTo>
                  <a:lnTo>
                    <a:pt x="2616" y="1235"/>
                  </a:lnTo>
                  <a:lnTo>
                    <a:pt x="2490" y="1152"/>
                  </a:lnTo>
                  <a:lnTo>
                    <a:pt x="2407" y="942"/>
                  </a:lnTo>
                  <a:lnTo>
                    <a:pt x="2449" y="838"/>
                  </a:lnTo>
                  <a:lnTo>
                    <a:pt x="2386" y="545"/>
                  </a:lnTo>
                  <a:lnTo>
                    <a:pt x="2470" y="398"/>
                  </a:lnTo>
                  <a:lnTo>
                    <a:pt x="2407" y="189"/>
                  </a:lnTo>
                  <a:lnTo>
                    <a:pt x="2407" y="43"/>
                  </a:lnTo>
                  <a:lnTo>
                    <a:pt x="2365" y="1"/>
                  </a:lnTo>
                  <a:lnTo>
                    <a:pt x="2239" y="85"/>
                  </a:lnTo>
                  <a:lnTo>
                    <a:pt x="20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6B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Google Shape;12117;p43">
              <a:extLst>
                <a:ext uri="{FF2B5EF4-FFF2-40B4-BE49-F238E27FC236}">
                  <a16:creationId xmlns:a16="http://schemas.microsoft.com/office/drawing/2014/main" id="{EA9727F9-431A-FB5A-8957-EA524CC24864}"/>
                </a:ext>
              </a:extLst>
            </p:cNvPr>
            <p:cNvSpPr/>
            <p:nvPr/>
          </p:nvSpPr>
          <p:spPr>
            <a:xfrm>
              <a:off x="3327273" y="3275982"/>
              <a:ext cx="58811" cy="59262"/>
            </a:xfrm>
            <a:custGeom>
              <a:avLst/>
              <a:gdLst/>
              <a:ahLst/>
              <a:cxnLst/>
              <a:rect l="l" t="t" r="r" b="b"/>
              <a:pathLst>
                <a:path w="4939" h="5211" extrusionOk="0">
                  <a:moveTo>
                    <a:pt x="1298" y="0"/>
                  </a:moveTo>
                  <a:lnTo>
                    <a:pt x="524" y="209"/>
                  </a:lnTo>
                  <a:lnTo>
                    <a:pt x="398" y="293"/>
                  </a:lnTo>
                  <a:lnTo>
                    <a:pt x="398" y="398"/>
                  </a:lnTo>
                  <a:lnTo>
                    <a:pt x="315" y="607"/>
                  </a:lnTo>
                  <a:lnTo>
                    <a:pt x="126" y="900"/>
                  </a:lnTo>
                  <a:lnTo>
                    <a:pt x="189" y="983"/>
                  </a:lnTo>
                  <a:lnTo>
                    <a:pt x="210" y="1130"/>
                  </a:lnTo>
                  <a:lnTo>
                    <a:pt x="189" y="1297"/>
                  </a:lnTo>
                  <a:lnTo>
                    <a:pt x="22" y="1611"/>
                  </a:lnTo>
                  <a:lnTo>
                    <a:pt x="1" y="1779"/>
                  </a:lnTo>
                  <a:lnTo>
                    <a:pt x="1" y="1820"/>
                  </a:lnTo>
                  <a:lnTo>
                    <a:pt x="126" y="1946"/>
                  </a:lnTo>
                  <a:lnTo>
                    <a:pt x="231" y="1967"/>
                  </a:lnTo>
                  <a:lnTo>
                    <a:pt x="398" y="2239"/>
                  </a:lnTo>
                  <a:lnTo>
                    <a:pt x="754" y="2595"/>
                  </a:lnTo>
                  <a:lnTo>
                    <a:pt x="879" y="2595"/>
                  </a:lnTo>
                  <a:lnTo>
                    <a:pt x="1026" y="2720"/>
                  </a:lnTo>
                  <a:lnTo>
                    <a:pt x="1131" y="2888"/>
                  </a:lnTo>
                  <a:lnTo>
                    <a:pt x="1465" y="2971"/>
                  </a:lnTo>
                  <a:lnTo>
                    <a:pt x="1695" y="3097"/>
                  </a:lnTo>
                  <a:lnTo>
                    <a:pt x="1800" y="3097"/>
                  </a:lnTo>
                  <a:lnTo>
                    <a:pt x="2030" y="3327"/>
                  </a:lnTo>
                  <a:lnTo>
                    <a:pt x="2302" y="3452"/>
                  </a:lnTo>
                  <a:lnTo>
                    <a:pt x="2637" y="3515"/>
                  </a:lnTo>
                  <a:lnTo>
                    <a:pt x="2804" y="3641"/>
                  </a:lnTo>
                  <a:lnTo>
                    <a:pt x="2951" y="3808"/>
                  </a:lnTo>
                  <a:lnTo>
                    <a:pt x="3035" y="3934"/>
                  </a:lnTo>
                  <a:lnTo>
                    <a:pt x="2972" y="4059"/>
                  </a:lnTo>
                  <a:lnTo>
                    <a:pt x="2909" y="4185"/>
                  </a:lnTo>
                  <a:lnTo>
                    <a:pt x="2804" y="4269"/>
                  </a:lnTo>
                  <a:lnTo>
                    <a:pt x="2742" y="4373"/>
                  </a:lnTo>
                  <a:lnTo>
                    <a:pt x="2763" y="4478"/>
                  </a:lnTo>
                  <a:lnTo>
                    <a:pt x="2700" y="4708"/>
                  </a:lnTo>
                  <a:lnTo>
                    <a:pt x="2512" y="4896"/>
                  </a:lnTo>
                  <a:lnTo>
                    <a:pt x="2491" y="5022"/>
                  </a:lnTo>
                  <a:lnTo>
                    <a:pt x="2574" y="5022"/>
                  </a:lnTo>
                  <a:lnTo>
                    <a:pt x="2972" y="4959"/>
                  </a:lnTo>
                  <a:lnTo>
                    <a:pt x="3328" y="5064"/>
                  </a:lnTo>
                  <a:lnTo>
                    <a:pt x="3579" y="5210"/>
                  </a:lnTo>
                  <a:lnTo>
                    <a:pt x="3704" y="5168"/>
                  </a:lnTo>
                  <a:lnTo>
                    <a:pt x="3788" y="5168"/>
                  </a:lnTo>
                  <a:lnTo>
                    <a:pt x="3851" y="5210"/>
                  </a:lnTo>
                  <a:lnTo>
                    <a:pt x="3955" y="5064"/>
                  </a:lnTo>
                  <a:lnTo>
                    <a:pt x="3997" y="5022"/>
                  </a:lnTo>
                  <a:lnTo>
                    <a:pt x="4123" y="5085"/>
                  </a:lnTo>
                  <a:lnTo>
                    <a:pt x="4227" y="4959"/>
                  </a:lnTo>
                  <a:lnTo>
                    <a:pt x="4290" y="4792"/>
                  </a:lnTo>
                  <a:lnTo>
                    <a:pt x="4541" y="4603"/>
                  </a:lnTo>
                  <a:lnTo>
                    <a:pt x="4583" y="4478"/>
                  </a:lnTo>
                  <a:lnTo>
                    <a:pt x="4646" y="4352"/>
                  </a:lnTo>
                  <a:lnTo>
                    <a:pt x="4750" y="4248"/>
                  </a:lnTo>
                  <a:lnTo>
                    <a:pt x="4792" y="4038"/>
                  </a:lnTo>
                  <a:lnTo>
                    <a:pt x="4750" y="3976"/>
                  </a:lnTo>
                  <a:lnTo>
                    <a:pt x="4750" y="3829"/>
                  </a:lnTo>
                  <a:lnTo>
                    <a:pt x="4813" y="3808"/>
                  </a:lnTo>
                  <a:lnTo>
                    <a:pt x="4813" y="3724"/>
                  </a:lnTo>
                  <a:lnTo>
                    <a:pt x="4813" y="3662"/>
                  </a:lnTo>
                  <a:lnTo>
                    <a:pt x="4813" y="3599"/>
                  </a:lnTo>
                  <a:lnTo>
                    <a:pt x="4834" y="3599"/>
                  </a:lnTo>
                  <a:lnTo>
                    <a:pt x="4855" y="3515"/>
                  </a:lnTo>
                  <a:lnTo>
                    <a:pt x="4855" y="2971"/>
                  </a:lnTo>
                  <a:lnTo>
                    <a:pt x="4939" y="2888"/>
                  </a:lnTo>
                  <a:lnTo>
                    <a:pt x="4834" y="2867"/>
                  </a:lnTo>
                  <a:lnTo>
                    <a:pt x="4750" y="2783"/>
                  </a:lnTo>
                  <a:lnTo>
                    <a:pt x="4625" y="2720"/>
                  </a:lnTo>
                  <a:lnTo>
                    <a:pt x="4395" y="2867"/>
                  </a:lnTo>
                  <a:lnTo>
                    <a:pt x="4290" y="2825"/>
                  </a:lnTo>
                  <a:lnTo>
                    <a:pt x="4206" y="2616"/>
                  </a:lnTo>
                  <a:lnTo>
                    <a:pt x="4060" y="1988"/>
                  </a:lnTo>
                  <a:lnTo>
                    <a:pt x="4018" y="1862"/>
                  </a:lnTo>
                  <a:lnTo>
                    <a:pt x="3892" y="1820"/>
                  </a:lnTo>
                  <a:lnTo>
                    <a:pt x="3767" y="1716"/>
                  </a:lnTo>
                  <a:lnTo>
                    <a:pt x="3495" y="1841"/>
                  </a:lnTo>
                  <a:lnTo>
                    <a:pt x="3328" y="1758"/>
                  </a:lnTo>
                  <a:lnTo>
                    <a:pt x="3056" y="1779"/>
                  </a:lnTo>
                  <a:lnTo>
                    <a:pt x="2972" y="1737"/>
                  </a:lnTo>
                  <a:lnTo>
                    <a:pt x="2763" y="1758"/>
                  </a:lnTo>
                  <a:lnTo>
                    <a:pt x="2721" y="1632"/>
                  </a:lnTo>
                  <a:lnTo>
                    <a:pt x="2763" y="1528"/>
                  </a:lnTo>
                  <a:lnTo>
                    <a:pt x="2721" y="1360"/>
                  </a:lnTo>
                  <a:lnTo>
                    <a:pt x="2763" y="1025"/>
                  </a:lnTo>
                  <a:lnTo>
                    <a:pt x="2658" y="837"/>
                  </a:lnTo>
                  <a:lnTo>
                    <a:pt x="2658" y="670"/>
                  </a:lnTo>
                  <a:lnTo>
                    <a:pt x="2512" y="565"/>
                  </a:lnTo>
                  <a:lnTo>
                    <a:pt x="2553" y="419"/>
                  </a:lnTo>
                  <a:lnTo>
                    <a:pt x="2428" y="293"/>
                  </a:lnTo>
                  <a:lnTo>
                    <a:pt x="2344" y="293"/>
                  </a:lnTo>
                  <a:lnTo>
                    <a:pt x="196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A6CBC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Google Shape;12118;p43">
              <a:extLst>
                <a:ext uri="{FF2B5EF4-FFF2-40B4-BE49-F238E27FC236}">
                  <a16:creationId xmlns:a16="http://schemas.microsoft.com/office/drawing/2014/main" id="{541BDAF1-9420-C6DE-46F4-93A7B80E6751}"/>
                </a:ext>
              </a:extLst>
            </p:cNvPr>
            <p:cNvSpPr/>
            <p:nvPr/>
          </p:nvSpPr>
          <p:spPr>
            <a:xfrm>
              <a:off x="3363150" y="3352838"/>
              <a:ext cx="34889" cy="37848"/>
            </a:xfrm>
            <a:custGeom>
              <a:avLst/>
              <a:gdLst/>
              <a:ahLst/>
              <a:cxnLst/>
              <a:rect l="l" t="t" r="r" b="b"/>
              <a:pathLst>
                <a:path w="2930" h="3328" extrusionOk="0">
                  <a:moveTo>
                    <a:pt x="754" y="0"/>
                  </a:moveTo>
                  <a:lnTo>
                    <a:pt x="440" y="63"/>
                  </a:lnTo>
                  <a:lnTo>
                    <a:pt x="377" y="42"/>
                  </a:lnTo>
                  <a:lnTo>
                    <a:pt x="315" y="42"/>
                  </a:lnTo>
                  <a:lnTo>
                    <a:pt x="273" y="63"/>
                  </a:lnTo>
                  <a:lnTo>
                    <a:pt x="231" y="210"/>
                  </a:lnTo>
                  <a:lnTo>
                    <a:pt x="126" y="335"/>
                  </a:lnTo>
                  <a:lnTo>
                    <a:pt x="168" y="524"/>
                  </a:lnTo>
                  <a:lnTo>
                    <a:pt x="126" y="586"/>
                  </a:lnTo>
                  <a:lnTo>
                    <a:pt x="147" y="712"/>
                  </a:lnTo>
                  <a:lnTo>
                    <a:pt x="147" y="963"/>
                  </a:lnTo>
                  <a:lnTo>
                    <a:pt x="84" y="1047"/>
                  </a:lnTo>
                  <a:lnTo>
                    <a:pt x="84" y="1151"/>
                  </a:lnTo>
                  <a:lnTo>
                    <a:pt x="43" y="1277"/>
                  </a:lnTo>
                  <a:lnTo>
                    <a:pt x="84" y="1465"/>
                  </a:lnTo>
                  <a:lnTo>
                    <a:pt x="43" y="1507"/>
                  </a:lnTo>
                  <a:lnTo>
                    <a:pt x="63" y="1779"/>
                  </a:lnTo>
                  <a:lnTo>
                    <a:pt x="126" y="1967"/>
                  </a:lnTo>
                  <a:lnTo>
                    <a:pt x="84" y="2030"/>
                  </a:lnTo>
                  <a:lnTo>
                    <a:pt x="22" y="2114"/>
                  </a:lnTo>
                  <a:lnTo>
                    <a:pt x="1" y="2156"/>
                  </a:lnTo>
                  <a:lnTo>
                    <a:pt x="1" y="2428"/>
                  </a:lnTo>
                  <a:lnTo>
                    <a:pt x="63" y="2637"/>
                  </a:lnTo>
                  <a:lnTo>
                    <a:pt x="231" y="2867"/>
                  </a:lnTo>
                  <a:lnTo>
                    <a:pt x="315" y="2867"/>
                  </a:lnTo>
                  <a:lnTo>
                    <a:pt x="461" y="3034"/>
                  </a:lnTo>
                  <a:lnTo>
                    <a:pt x="545" y="3055"/>
                  </a:lnTo>
                  <a:lnTo>
                    <a:pt x="796" y="3034"/>
                  </a:lnTo>
                  <a:lnTo>
                    <a:pt x="963" y="3055"/>
                  </a:lnTo>
                  <a:lnTo>
                    <a:pt x="1089" y="3139"/>
                  </a:lnTo>
                  <a:lnTo>
                    <a:pt x="1172" y="3160"/>
                  </a:lnTo>
                  <a:lnTo>
                    <a:pt x="1277" y="3160"/>
                  </a:lnTo>
                  <a:lnTo>
                    <a:pt x="1298" y="3181"/>
                  </a:lnTo>
                  <a:lnTo>
                    <a:pt x="1277" y="3244"/>
                  </a:lnTo>
                  <a:lnTo>
                    <a:pt x="1277" y="3285"/>
                  </a:lnTo>
                  <a:lnTo>
                    <a:pt x="1382" y="3285"/>
                  </a:lnTo>
                  <a:lnTo>
                    <a:pt x="1507" y="3202"/>
                  </a:lnTo>
                  <a:lnTo>
                    <a:pt x="1654" y="3181"/>
                  </a:lnTo>
                  <a:lnTo>
                    <a:pt x="1800" y="3244"/>
                  </a:lnTo>
                  <a:lnTo>
                    <a:pt x="1842" y="3264"/>
                  </a:lnTo>
                  <a:lnTo>
                    <a:pt x="1926" y="3264"/>
                  </a:lnTo>
                  <a:lnTo>
                    <a:pt x="2009" y="3285"/>
                  </a:lnTo>
                  <a:lnTo>
                    <a:pt x="2093" y="3327"/>
                  </a:lnTo>
                  <a:lnTo>
                    <a:pt x="2135" y="3264"/>
                  </a:lnTo>
                  <a:lnTo>
                    <a:pt x="2156" y="3181"/>
                  </a:lnTo>
                  <a:lnTo>
                    <a:pt x="2177" y="3181"/>
                  </a:lnTo>
                  <a:lnTo>
                    <a:pt x="2239" y="3202"/>
                  </a:lnTo>
                  <a:lnTo>
                    <a:pt x="2449" y="3139"/>
                  </a:lnTo>
                  <a:lnTo>
                    <a:pt x="2574" y="2972"/>
                  </a:lnTo>
                  <a:lnTo>
                    <a:pt x="2637" y="2930"/>
                  </a:lnTo>
                  <a:lnTo>
                    <a:pt x="2616" y="2909"/>
                  </a:lnTo>
                  <a:lnTo>
                    <a:pt x="2658" y="2804"/>
                  </a:lnTo>
                  <a:lnTo>
                    <a:pt x="2784" y="2720"/>
                  </a:lnTo>
                  <a:lnTo>
                    <a:pt x="2784" y="2532"/>
                  </a:lnTo>
                  <a:lnTo>
                    <a:pt x="2867" y="2428"/>
                  </a:lnTo>
                  <a:lnTo>
                    <a:pt x="2930" y="2407"/>
                  </a:lnTo>
                  <a:lnTo>
                    <a:pt x="2888" y="2386"/>
                  </a:lnTo>
                  <a:lnTo>
                    <a:pt x="2825" y="2281"/>
                  </a:lnTo>
                  <a:lnTo>
                    <a:pt x="2784" y="2239"/>
                  </a:lnTo>
                  <a:lnTo>
                    <a:pt x="2784" y="2218"/>
                  </a:lnTo>
                  <a:lnTo>
                    <a:pt x="2742" y="2030"/>
                  </a:lnTo>
                  <a:lnTo>
                    <a:pt x="2846" y="1884"/>
                  </a:lnTo>
                  <a:lnTo>
                    <a:pt x="2867" y="1716"/>
                  </a:lnTo>
                  <a:lnTo>
                    <a:pt x="2742" y="1612"/>
                  </a:lnTo>
                  <a:lnTo>
                    <a:pt x="2574" y="1402"/>
                  </a:lnTo>
                  <a:lnTo>
                    <a:pt x="2449" y="1256"/>
                  </a:lnTo>
                  <a:lnTo>
                    <a:pt x="2239" y="1151"/>
                  </a:lnTo>
                  <a:lnTo>
                    <a:pt x="2114" y="1172"/>
                  </a:lnTo>
                  <a:lnTo>
                    <a:pt x="2114" y="1026"/>
                  </a:lnTo>
                  <a:lnTo>
                    <a:pt x="1988" y="879"/>
                  </a:lnTo>
                  <a:lnTo>
                    <a:pt x="1842" y="858"/>
                  </a:lnTo>
                  <a:lnTo>
                    <a:pt x="1695" y="775"/>
                  </a:lnTo>
                  <a:lnTo>
                    <a:pt x="1570" y="565"/>
                  </a:lnTo>
                  <a:lnTo>
                    <a:pt x="1486" y="565"/>
                  </a:lnTo>
                  <a:lnTo>
                    <a:pt x="1382" y="670"/>
                  </a:lnTo>
                  <a:lnTo>
                    <a:pt x="1319" y="670"/>
                  </a:lnTo>
                  <a:lnTo>
                    <a:pt x="1172" y="461"/>
                  </a:lnTo>
                  <a:lnTo>
                    <a:pt x="1110" y="314"/>
                  </a:lnTo>
                  <a:lnTo>
                    <a:pt x="984" y="251"/>
                  </a:lnTo>
                  <a:lnTo>
                    <a:pt x="859" y="63"/>
                  </a:lnTo>
                  <a:lnTo>
                    <a:pt x="754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62" name="Google Shape;12119;p43">
              <a:extLst>
                <a:ext uri="{FF2B5EF4-FFF2-40B4-BE49-F238E27FC236}">
                  <a16:creationId xmlns:a16="http://schemas.microsoft.com/office/drawing/2014/main" id="{5D881C4B-8EB2-A123-A13A-D7276D342E48}"/>
                </a:ext>
              </a:extLst>
            </p:cNvPr>
            <p:cNvGrpSpPr/>
            <p:nvPr/>
          </p:nvGrpSpPr>
          <p:grpSpPr>
            <a:xfrm>
              <a:off x="3280929" y="3294542"/>
              <a:ext cx="109894" cy="272224"/>
              <a:chOff x="2711750" y="3572300"/>
              <a:chExt cx="230725" cy="598425"/>
            </a:xfrm>
          </p:grpSpPr>
          <p:sp>
            <p:nvSpPr>
              <p:cNvPr id="226" name="Google Shape;12120;p43">
                <a:extLst>
                  <a:ext uri="{FF2B5EF4-FFF2-40B4-BE49-F238E27FC236}">
                    <a16:creationId xmlns:a16="http://schemas.microsoft.com/office/drawing/2014/main" id="{CDDCEFD7-81B8-C350-763B-44B2F303710D}"/>
                  </a:ext>
                </a:extLst>
              </p:cNvPr>
              <p:cNvSpPr/>
              <p:nvPr/>
            </p:nvSpPr>
            <p:spPr>
              <a:xfrm>
                <a:off x="2711750" y="3572300"/>
                <a:ext cx="230725" cy="538800"/>
              </a:xfrm>
              <a:custGeom>
                <a:avLst/>
                <a:gdLst/>
                <a:ahLst/>
                <a:cxnLst/>
                <a:rect l="l" t="t" r="r" b="b"/>
                <a:pathLst>
                  <a:path w="9229" h="21552" extrusionOk="0">
                    <a:moveTo>
                      <a:pt x="1947" y="0"/>
                    </a:moveTo>
                    <a:lnTo>
                      <a:pt x="1800" y="42"/>
                    </a:lnTo>
                    <a:lnTo>
                      <a:pt x="1570" y="293"/>
                    </a:lnTo>
                    <a:lnTo>
                      <a:pt x="1466" y="502"/>
                    </a:lnTo>
                    <a:lnTo>
                      <a:pt x="1382" y="607"/>
                    </a:lnTo>
                    <a:lnTo>
                      <a:pt x="1466" y="753"/>
                    </a:lnTo>
                    <a:lnTo>
                      <a:pt x="1298" y="1402"/>
                    </a:lnTo>
                    <a:lnTo>
                      <a:pt x="629" y="1779"/>
                    </a:lnTo>
                    <a:lnTo>
                      <a:pt x="566" y="1925"/>
                    </a:lnTo>
                    <a:lnTo>
                      <a:pt x="691" y="2030"/>
                    </a:lnTo>
                    <a:lnTo>
                      <a:pt x="733" y="2134"/>
                    </a:lnTo>
                    <a:lnTo>
                      <a:pt x="650" y="2281"/>
                    </a:lnTo>
                    <a:lnTo>
                      <a:pt x="670" y="2448"/>
                    </a:lnTo>
                    <a:lnTo>
                      <a:pt x="796" y="2616"/>
                    </a:lnTo>
                    <a:lnTo>
                      <a:pt x="796" y="2762"/>
                    </a:lnTo>
                    <a:lnTo>
                      <a:pt x="691" y="2846"/>
                    </a:lnTo>
                    <a:lnTo>
                      <a:pt x="670" y="2950"/>
                    </a:lnTo>
                    <a:lnTo>
                      <a:pt x="754" y="3013"/>
                    </a:lnTo>
                    <a:lnTo>
                      <a:pt x="796" y="3076"/>
                    </a:lnTo>
                    <a:lnTo>
                      <a:pt x="796" y="3243"/>
                    </a:lnTo>
                    <a:lnTo>
                      <a:pt x="859" y="3285"/>
                    </a:lnTo>
                    <a:lnTo>
                      <a:pt x="775" y="3390"/>
                    </a:lnTo>
                    <a:lnTo>
                      <a:pt x="670" y="3453"/>
                    </a:lnTo>
                    <a:lnTo>
                      <a:pt x="524" y="3599"/>
                    </a:lnTo>
                    <a:lnTo>
                      <a:pt x="357" y="3997"/>
                    </a:lnTo>
                    <a:lnTo>
                      <a:pt x="252" y="4164"/>
                    </a:lnTo>
                    <a:lnTo>
                      <a:pt x="210" y="4582"/>
                    </a:lnTo>
                    <a:lnTo>
                      <a:pt x="126" y="4645"/>
                    </a:lnTo>
                    <a:lnTo>
                      <a:pt x="147" y="5022"/>
                    </a:lnTo>
                    <a:lnTo>
                      <a:pt x="252" y="5210"/>
                    </a:lnTo>
                    <a:lnTo>
                      <a:pt x="252" y="5461"/>
                    </a:lnTo>
                    <a:lnTo>
                      <a:pt x="168" y="5566"/>
                    </a:lnTo>
                    <a:lnTo>
                      <a:pt x="168" y="5859"/>
                    </a:lnTo>
                    <a:lnTo>
                      <a:pt x="22" y="5942"/>
                    </a:lnTo>
                    <a:lnTo>
                      <a:pt x="1" y="6152"/>
                    </a:lnTo>
                    <a:lnTo>
                      <a:pt x="43" y="6424"/>
                    </a:lnTo>
                    <a:lnTo>
                      <a:pt x="147" y="6570"/>
                    </a:lnTo>
                    <a:lnTo>
                      <a:pt x="168" y="6675"/>
                    </a:lnTo>
                    <a:lnTo>
                      <a:pt x="315" y="6884"/>
                    </a:lnTo>
                    <a:lnTo>
                      <a:pt x="378" y="7051"/>
                    </a:lnTo>
                    <a:lnTo>
                      <a:pt x="461" y="7407"/>
                    </a:lnTo>
                    <a:lnTo>
                      <a:pt x="545" y="7470"/>
                    </a:lnTo>
                    <a:lnTo>
                      <a:pt x="587" y="7930"/>
                    </a:lnTo>
                    <a:lnTo>
                      <a:pt x="566" y="8181"/>
                    </a:lnTo>
                    <a:lnTo>
                      <a:pt x="461" y="8202"/>
                    </a:lnTo>
                    <a:lnTo>
                      <a:pt x="357" y="8453"/>
                    </a:lnTo>
                    <a:lnTo>
                      <a:pt x="378" y="8683"/>
                    </a:lnTo>
                    <a:lnTo>
                      <a:pt x="252" y="8872"/>
                    </a:lnTo>
                    <a:lnTo>
                      <a:pt x="336" y="8935"/>
                    </a:lnTo>
                    <a:lnTo>
                      <a:pt x="440" y="9123"/>
                    </a:lnTo>
                    <a:lnTo>
                      <a:pt x="461" y="9332"/>
                    </a:lnTo>
                    <a:lnTo>
                      <a:pt x="336" y="9458"/>
                    </a:lnTo>
                    <a:lnTo>
                      <a:pt x="210" y="9709"/>
                    </a:lnTo>
                    <a:lnTo>
                      <a:pt x="210" y="10085"/>
                    </a:lnTo>
                    <a:lnTo>
                      <a:pt x="210" y="10253"/>
                    </a:lnTo>
                    <a:lnTo>
                      <a:pt x="147" y="10483"/>
                    </a:lnTo>
                    <a:lnTo>
                      <a:pt x="482" y="11173"/>
                    </a:lnTo>
                    <a:lnTo>
                      <a:pt x="419" y="11278"/>
                    </a:lnTo>
                    <a:lnTo>
                      <a:pt x="252" y="11341"/>
                    </a:lnTo>
                    <a:lnTo>
                      <a:pt x="231" y="11655"/>
                    </a:lnTo>
                    <a:lnTo>
                      <a:pt x="22" y="11948"/>
                    </a:lnTo>
                    <a:lnTo>
                      <a:pt x="43" y="12157"/>
                    </a:lnTo>
                    <a:lnTo>
                      <a:pt x="147" y="12345"/>
                    </a:lnTo>
                    <a:lnTo>
                      <a:pt x="126" y="12764"/>
                    </a:lnTo>
                    <a:lnTo>
                      <a:pt x="147" y="13119"/>
                    </a:lnTo>
                    <a:lnTo>
                      <a:pt x="210" y="13391"/>
                    </a:lnTo>
                    <a:lnTo>
                      <a:pt x="315" y="13433"/>
                    </a:lnTo>
                    <a:lnTo>
                      <a:pt x="357" y="13538"/>
                    </a:lnTo>
                    <a:lnTo>
                      <a:pt x="336" y="13705"/>
                    </a:lnTo>
                    <a:lnTo>
                      <a:pt x="210" y="13789"/>
                    </a:lnTo>
                    <a:lnTo>
                      <a:pt x="231" y="14103"/>
                    </a:lnTo>
                    <a:cubicBezTo>
                      <a:pt x="252" y="14165"/>
                      <a:pt x="252" y="14270"/>
                      <a:pt x="273" y="14354"/>
                    </a:cubicBezTo>
                    <a:lnTo>
                      <a:pt x="273" y="14375"/>
                    </a:lnTo>
                    <a:lnTo>
                      <a:pt x="461" y="14437"/>
                    </a:lnTo>
                    <a:lnTo>
                      <a:pt x="461" y="14626"/>
                    </a:lnTo>
                    <a:lnTo>
                      <a:pt x="461" y="14772"/>
                    </a:lnTo>
                    <a:lnTo>
                      <a:pt x="566" y="15002"/>
                    </a:lnTo>
                    <a:lnTo>
                      <a:pt x="608" y="15274"/>
                    </a:lnTo>
                    <a:lnTo>
                      <a:pt x="712" y="15295"/>
                    </a:lnTo>
                    <a:lnTo>
                      <a:pt x="796" y="15253"/>
                    </a:lnTo>
                    <a:lnTo>
                      <a:pt x="880" y="15274"/>
                    </a:lnTo>
                    <a:lnTo>
                      <a:pt x="880" y="15400"/>
                    </a:lnTo>
                    <a:lnTo>
                      <a:pt x="754" y="15567"/>
                    </a:lnTo>
                    <a:lnTo>
                      <a:pt x="482" y="15567"/>
                    </a:lnTo>
                    <a:lnTo>
                      <a:pt x="440" y="15672"/>
                    </a:lnTo>
                    <a:lnTo>
                      <a:pt x="524" y="15735"/>
                    </a:lnTo>
                    <a:lnTo>
                      <a:pt x="545" y="15714"/>
                    </a:lnTo>
                    <a:lnTo>
                      <a:pt x="670" y="15714"/>
                    </a:lnTo>
                    <a:lnTo>
                      <a:pt x="859" y="15839"/>
                    </a:lnTo>
                    <a:lnTo>
                      <a:pt x="984" y="16049"/>
                    </a:lnTo>
                    <a:lnTo>
                      <a:pt x="984" y="16195"/>
                    </a:lnTo>
                    <a:lnTo>
                      <a:pt x="838" y="16321"/>
                    </a:lnTo>
                    <a:lnTo>
                      <a:pt x="838" y="16425"/>
                    </a:lnTo>
                    <a:lnTo>
                      <a:pt x="901" y="16572"/>
                    </a:lnTo>
                    <a:lnTo>
                      <a:pt x="963" y="16885"/>
                    </a:lnTo>
                    <a:lnTo>
                      <a:pt x="1047" y="17137"/>
                    </a:lnTo>
                    <a:lnTo>
                      <a:pt x="942" y="17241"/>
                    </a:lnTo>
                    <a:lnTo>
                      <a:pt x="901" y="17367"/>
                    </a:lnTo>
                    <a:lnTo>
                      <a:pt x="1005" y="17618"/>
                    </a:lnTo>
                    <a:lnTo>
                      <a:pt x="901" y="17764"/>
                    </a:lnTo>
                    <a:lnTo>
                      <a:pt x="859" y="18015"/>
                    </a:lnTo>
                    <a:lnTo>
                      <a:pt x="942" y="18246"/>
                    </a:lnTo>
                    <a:lnTo>
                      <a:pt x="984" y="18559"/>
                    </a:lnTo>
                    <a:lnTo>
                      <a:pt x="942" y="18852"/>
                    </a:lnTo>
                    <a:lnTo>
                      <a:pt x="733" y="19062"/>
                    </a:lnTo>
                    <a:lnTo>
                      <a:pt x="587" y="19250"/>
                    </a:lnTo>
                    <a:lnTo>
                      <a:pt x="524" y="19752"/>
                    </a:lnTo>
                    <a:cubicBezTo>
                      <a:pt x="545" y="19815"/>
                      <a:pt x="545" y="19898"/>
                      <a:pt x="566" y="19982"/>
                    </a:cubicBezTo>
                    <a:lnTo>
                      <a:pt x="796" y="20422"/>
                    </a:lnTo>
                    <a:lnTo>
                      <a:pt x="942" y="20422"/>
                    </a:lnTo>
                    <a:lnTo>
                      <a:pt x="1047" y="20317"/>
                    </a:lnTo>
                    <a:lnTo>
                      <a:pt x="1214" y="20233"/>
                    </a:lnTo>
                    <a:lnTo>
                      <a:pt x="1361" y="20233"/>
                    </a:lnTo>
                    <a:lnTo>
                      <a:pt x="1361" y="20401"/>
                    </a:lnTo>
                    <a:lnTo>
                      <a:pt x="1382" y="20735"/>
                    </a:lnTo>
                    <a:lnTo>
                      <a:pt x="1507" y="20840"/>
                    </a:lnTo>
                    <a:lnTo>
                      <a:pt x="1570" y="21049"/>
                    </a:lnTo>
                    <a:lnTo>
                      <a:pt x="1633" y="21279"/>
                    </a:lnTo>
                    <a:lnTo>
                      <a:pt x="1926" y="21321"/>
                    </a:lnTo>
                    <a:lnTo>
                      <a:pt x="2030" y="21363"/>
                    </a:lnTo>
                    <a:lnTo>
                      <a:pt x="2449" y="21279"/>
                    </a:lnTo>
                    <a:lnTo>
                      <a:pt x="3181" y="21279"/>
                    </a:lnTo>
                    <a:lnTo>
                      <a:pt x="3244" y="21342"/>
                    </a:lnTo>
                    <a:lnTo>
                      <a:pt x="3370" y="21363"/>
                    </a:lnTo>
                    <a:lnTo>
                      <a:pt x="3516" y="21489"/>
                    </a:lnTo>
                    <a:lnTo>
                      <a:pt x="3663" y="21551"/>
                    </a:lnTo>
                    <a:lnTo>
                      <a:pt x="3704" y="21551"/>
                    </a:lnTo>
                    <a:lnTo>
                      <a:pt x="3704" y="21447"/>
                    </a:lnTo>
                    <a:lnTo>
                      <a:pt x="3600" y="21363"/>
                    </a:lnTo>
                    <a:lnTo>
                      <a:pt x="3411" y="21238"/>
                    </a:lnTo>
                    <a:lnTo>
                      <a:pt x="3391" y="21133"/>
                    </a:lnTo>
                    <a:lnTo>
                      <a:pt x="3286" y="21028"/>
                    </a:lnTo>
                    <a:lnTo>
                      <a:pt x="3202" y="21049"/>
                    </a:lnTo>
                    <a:lnTo>
                      <a:pt x="3160" y="21007"/>
                    </a:lnTo>
                    <a:lnTo>
                      <a:pt x="3244" y="20945"/>
                    </a:lnTo>
                    <a:lnTo>
                      <a:pt x="3265" y="20861"/>
                    </a:lnTo>
                    <a:lnTo>
                      <a:pt x="3244" y="20840"/>
                    </a:lnTo>
                    <a:lnTo>
                      <a:pt x="3244" y="20756"/>
                    </a:lnTo>
                    <a:lnTo>
                      <a:pt x="3139" y="20505"/>
                    </a:lnTo>
                    <a:lnTo>
                      <a:pt x="3035" y="20317"/>
                    </a:lnTo>
                    <a:lnTo>
                      <a:pt x="2993" y="20129"/>
                    </a:lnTo>
                    <a:lnTo>
                      <a:pt x="3077" y="19961"/>
                    </a:lnTo>
                    <a:lnTo>
                      <a:pt x="3202" y="19857"/>
                    </a:lnTo>
                    <a:lnTo>
                      <a:pt x="3265" y="19752"/>
                    </a:lnTo>
                    <a:lnTo>
                      <a:pt x="3202" y="19689"/>
                    </a:lnTo>
                    <a:lnTo>
                      <a:pt x="3202" y="19585"/>
                    </a:lnTo>
                    <a:lnTo>
                      <a:pt x="3160" y="19501"/>
                    </a:lnTo>
                    <a:lnTo>
                      <a:pt x="3244" y="19564"/>
                    </a:lnTo>
                    <a:lnTo>
                      <a:pt x="3307" y="19647"/>
                    </a:lnTo>
                    <a:lnTo>
                      <a:pt x="3391" y="19668"/>
                    </a:lnTo>
                    <a:lnTo>
                      <a:pt x="3516" y="19564"/>
                    </a:lnTo>
                    <a:lnTo>
                      <a:pt x="3558" y="19480"/>
                    </a:lnTo>
                    <a:lnTo>
                      <a:pt x="3663" y="19354"/>
                    </a:lnTo>
                    <a:lnTo>
                      <a:pt x="3683" y="19250"/>
                    </a:lnTo>
                    <a:lnTo>
                      <a:pt x="3663" y="19062"/>
                    </a:lnTo>
                    <a:lnTo>
                      <a:pt x="3579" y="19041"/>
                    </a:lnTo>
                    <a:lnTo>
                      <a:pt x="3516" y="19082"/>
                    </a:lnTo>
                    <a:lnTo>
                      <a:pt x="3516" y="19082"/>
                    </a:lnTo>
                    <a:lnTo>
                      <a:pt x="3558" y="19020"/>
                    </a:lnTo>
                    <a:lnTo>
                      <a:pt x="3663" y="18915"/>
                    </a:lnTo>
                    <a:lnTo>
                      <a:pt x="3704" y="18769"/>
                    </a:lnTo>
                    <a:lnTo>
                      <a:pt x="3725" y="18643"/>
                    </a:lnTo>
                    <a:lnTo>
                      <a:pt x="3872" y="18518"/>
                    </a:lnTo>
                    <a:lnTo>
                      <a:pt x="3976" y="18518"/>
                    </a:lnTo>
                    <a:lnTo>
                      <a:pt x="4018" y="18392"/>
                    </a:lnTo>
                    <a:lnTo>
                      <a:pt x="4102" y="18287"/>
                    </a:lnTo>
                    <a:lnTo>
                      <a:pt x="4144" y="18246"/>
                    </a:lnTo>
                    <a:lnTo>
                      <a:pt x="4186" y="18141"/>
                    </a:lnTo>
                    <a:lnTo>
                      <a:pt x="4248" y="18099"/>
                    </a:lnTo>
                    <a:lnTo>
                      <a:pt x="4332" y="17994"/>
                    </a:lnTo>
                    <a:lnTo>
                      <a:pt x="4311" y="17932"/>
                    </a:lnTo>
                    <a:lnTo>
                      <a:pt x="4311" y="17869"/>
                    </a:lnTo>
                    <a:lnTo>
                      <a:pt x="4395" y="17806"/>
                    </a:lnTo>
                    <a:lnTo>
                      <a:pt x="4290" y="17702"/>
                    </a:lnTo>
                    <a:lnTo>
                      <a:pt x="4207" y="17702"/>
                    </a:lnTo>
                    <a:lnTo>
                      <a:pt x="4311" y="17597"/>
                    </a:lnTo>
                    <a:lnTo>
                      <a:pt x="4311" y="17492"/>
                    </a:lnTo>
                    <a:lnTo>
                      <a:pt x="4227" y="17367"/>
                    </a:lnTo>
                    <a:lnTo>
                      <a:pt x="4227" y="17423"/>
                    </a:lnTo>
                    <a:lnTo>
                      <a:pt x="4186" y="17409"/>
                    </a:lnTo>
                    <a:lnTo>
                      <a:pt x="4123" y="17429"/>
                    </a:lnTo>
                    <a:lnTo>
                      <a:pt x="4018" y="17429"/>
                    </a:lnTo>
                    <a:lnTo>
                      <a:pt x="3830" y="17471"/>
                    </a:lnTo>
                    <a:lnTo>
                      <a:pt x="3600" y="17262"/>
                    </a:lnTo>
                    <a:lnTo>
                      <a:pt x="3453" y="17137"/>
                    </a:lnTo>
                    <a:lnTo>
                      <a:pt x="3370" y="17095"/>
                    </a:lnTo>
                    <a:lnTo>
                      <a:pt x="3265" y="16990"/>
                    </a:lnTo>
                    <a:lnTo>
                      <a:pt x="3139" y="16781"/>
                    </a:lnTo>
                    <a:lnTo>
                      <a:pt x="3139" y="16655"/>
                    </a:lnTo>
                    <a:lnTo>
                      <a:pt x="3056" y="16551"/>
                    </a:lnTo>
                    <a:lnTo>
                      <a:pt x="3056" y="16467"/>
                    </a:lnTo>
                    <a:lnTo>
                      <a:pt x="3181" y="16362"/>
                    </a:lnTo>
                    <a:lnTo>
                      <a:pt x="3244" y="16258"/>
                    </a:lnTo>
                    <a:lnTo>
                      <a:pt x="3286" y="16132"/>
                    </a:lnTo>
                    <a:lnTo>
                      <a:pt x="3370" y="16111"/>
                    </a:lnTo>
                    <a:lnTo>
                      <a:pt x="3474" y="16007"/>
                    </a:lnTo>
                    <a:lnTo>
                      <a:pt x="3600" y="15986"/>
                    </a:lnTo>
                    <a:lnTo>
                      <a:pt x="3704" y="15881"/>
                    </a:lnTo>
                    <a:lnTo>
                      <a:pt x="3872" y="15839"/>
                    </a:lnTo>
                    <a:lnTo>
                      <a:pt x="3976" y="15881"/>
                    </a:lnTo>
                    <a:lnTo>
                      <a:pt x="4144" y="15839"/>
                    </a:lnTo>
                    <a:lnTo>
                      <a:pt x="4144" y="15797"/>
                    </a:lnTo>
                    <a:lnTo>
                      <a:pt x="4102" y="15735"/>
                    </a:lnTo>
                    <a:lnTo>
                      <a:pt x="3997" y="15693"/>
                    </a:lnTo>
                    <a:lnTo>
                      <a:pt x="4018" y="15630"/>
                    </a:lnTo>
                    <a:lnTo>
                      <a:pt x="4039" y="15567"/>
                    </a:lnTo>
                    <a:lnTo>
                      <a:pt x="4207" y="15463"/>
                    </a:lnTo>
                    <a:lnTo>
                      <a:pt x="4186" y="15421"/>
                    </a:lnTo>
                    <a:lnTo>
                      <a:pt x="4227" y="15358"/>
                    </a:lnTo>
                    <a:lnTo>
                      <a:pt x="4227" y="15295"/>
                    </a:lnTo>
                    <a:lnTo>
                      <a:pt x="4102" y="15128"/>
                    </a:lnTo>
                    <a:lnTo>
                      <a:pt x="4123" y="15065"/>
                    </a:lnTo>
                    <a:lnTo>
                      <a:pt x="4123" y="14981"/>
                    </a:lnTo>
                    <a:lnTo>
                      <a:pt x="4018" y="14940"/>
                    </a:lnTo>
                    <a:lnTo>
                      <a:pt x="3997" y="14772"/>
                    </a:lnTo>
                    <a:lnTo>
                      <a:pt x="4081" y="14668"/>
                    </a:lnTo>
                    <a:lnTo>
                      <a:pt x="4123" y="14563"/>
                    </a:lnTo>
                    <a:lnTo>
                      <a:pt x="4081" y="14521"/>
                    </a:lnTo>
                    <a:lnTo>
                      <a:pt x="4144" y="14437"/>
                    </a:lnTo>
                    <a:lnTo>
                      <a:pt x="4332" y="14354"/>
                    </a:lnTo>
                    <a:lnTo>
                      <a:pt x="4458" y="14249"/>
                    </a:lnTo>
                    <a:lnTo>
                      <a:pt x="4458" y="14207"/>
                    </a:lnTo>
                    <a:lnTo>
                      <a:pt x="4311" y="14144"/>
                    </a:lnTo>
                    <a:lnTo>
                      <a:pt x="4207" y="14144"/>
                    </a:lnTo>
                    <a:lnTo>
                      <a:pt x="4144" y="14061"/>
                    </a:lnTo>
                    <a:lnTo>
                      <a:pt x="4186" y="14019"/>
                    </a:lnTo>
                    <a:lnTo>
                      <a:pt x="4290" y="13935"/>
                    </a:lnTo>
                    <a:lnTo>
                      <a:pt x="4437" y="13893"/>
                    </a:lnTo>
                    <a:lnTo>
                      <a:pt x="4562" y="13956"/>
                    </a:lnTo>
                    <a:lnTo>
                      <a:pt x="4562" y="14040"/>
                    </a:lnTo>
                    <a:lnTo>
                      <a:pt x="4541" y="14082"/>
                    </a:lnTo>
                    <a:lnTo>
                      <a:pt x="4604" y="14186"/>
                    </a:lnTo>
                    <a:lnTo>
                      <a:pt x="4667" y="14228"/>
                    </a:lnTo>
                    <a:lnTo>
                      <a:pt x="4918" y="14082"/>
                    </a:lnTo>
                    <a:lnTo>
                      <a:pt x="4939" y="13998"/>
                    </a:lnTo>
                    <a:lnTo>
                      <a:pt x="4876" y="13852"/>
                    </a:lnTo>
                    <a:lnTo>
                      <a:pt x="4813" y="13747"/>
                    </a:lnTo>
                    <a:lnTo>
                      <a:pt x="4855" y="13726"/>
                    </a:lnTo>
                    <a:lnTo>
                      <a:pt x="4876" y="13621"/>
                    </a:lnTo>
                    <a:lnTo>
                      <a:pt x="4813" y="13496"/>
                    </a:lnTo>
                    <a:lnTo>
                      <a:pt x="4730" y="13496"/>
                    </a:lnTo>
                    <a:lnTo>
                      <a:pt x="4625" y="13559"/>
                    </a:lnTo>
                    <a:lnTo>
                      <a:pt x="4541" y="13559"/>
                    </a:lnTo>
                    <a:lnTo>
                      <a:pt x="4499" y="13621"/>
                    </a:lnTo>
                    <a:lnTo>
                      <a:pt x="4520" y="13642"/>
                    </a:lnTo>
                    <a:lnTo>
                      <a:pt x="4625" y="13684"/>
                    </a:lnTo>
                    <a:lnTo>
                      <a:pt x="4625" y="13726"/>
                    </a:lnTo>
                    <a:lnTo>
                      <a:pt x="4437" y="13789"/>
                    </a:lnTo>
                    <a:lnTo>
                      <a:pt x="4353" y="13747"/>
                    </a:lnTo>
                    <a:lnTo>
                      <a:pt x="4416" y="13705"/>
                    </a:lnTo>
                    <a:lnTo>
                      <a:pt x="4499" y="13684"/>
                    </a:lnTo>
                    <a:lnTo>
                      <a:pt x="4437" y="13642"/>
                    </a:lnTo>
                    <a:lnTo>
                      <a:pt x="4248" y="13642"/>
                    </a:lnTo>
                    <a:lnTo>
                      <a:pt x="4123" y="13580"/>
                    </a:lnTo>
                    <a:lnTo>
                      <a:pt x="4102" y="13475"/>
                    </a:lnTo>
                    <a:lnTo>
                      <a:pt x="4102" y="13203"/>
                    </a:lnTo>
                    <a:lnTo>
                      <a:pt x="4039" y="12994"/>
                    </a:lnTo>
                    <a:lnTo>
                      <a:pt x="3914" y="12889"/>
                    </a:lnTo>
                    <a:lnTo>
                      <a:pt x="3914" y="12680"/>
                    </a:lnTo>
                    <a:lnTo>
                      <a:pt x="4018" y="12575"/>
                    </a:lnTo>
                    <a:lnTo>
                      <a:pt x="4102" y="12575"/>
                    </a:lnTo>
                    <a:lnTo>
                      <a:pt x="4081" y="12659"/>
                    </a:lnTo>
                    <a:lnTo>
                      <a:pt x="4102" y="12680"/>
                    </a:lnTo>
                    <a:lnTo>
                      <a:pt x="4227" y="12680"/>
                    </a:lnTo>
                    <a:lnTo>
                      <a:pt x="4437" y="12764"/>
                    </a:lnTo>
                    <a:lnTo>
                      <a:pt x="4646" y="12910"/>
                    </a:lnTo>
                    <a:lnTo>
                      <a:pt x="4834" y="12973"/>
                    </a:lnTo>
                    <a:lnTo>
                      <a:pt x="5148" y="12973"/>
                    </a:lnTo>
                    <a:lnTo>
                      <a:pt x="5336" y="12847"/>
                    </a:lnTo>
                    <a:lnTo>
                      <a:pt x="5295" y="12805"/>
                    </a:lnTo>
                    <a:lnTo>
                      <a:pt x="5441" y="12701"/>
                    </a:lnTo>
                    <a:lnTo>
                      <a:pt x="5462" y="12596"/>
                    </a:lnTo>
                    <a:lnTo>
                      <a:pt x="5441" y="12533"/>
                    </a:lnTo>
                    <a:lnTo>
                      <a:pt x="5462" y="12471"/>
                    </a:lnTo>
                    <a:lnTo>
                      <a:pt x="5483" y="12366"/>
                    </a:lnTo>
                    <a:lnTo>
                      <a:pt x="5378" y="12345"/>
                    </a:lnTo>
                    <a:lnTo>
                      <a:pt x="5295" y="12220"/>
                    </a:lnTo>
                    <a:lnTo>
                      <a:pt x="5295" y="12115"/>
                    </a:lnTo>
                    <a:lnTo>
                      <a:pt x="5357" y="12031"/>
                    </a:lnTo>
                    <a:lnTo>
                      <a:pt x="5336" y="11968"/>
                    </a:lnTo>
                    <a:lnTo>
                      <a:pt x="5441" y="11864"/>
                    </a:lnTo>
                    <a:lnTo>
                      <a:pt x="5441" y="11843"/>
                    </a:lnTo>
                    <a:lnTo>
                      <a:pt x="5483" y="11843"/>
                    </a:lnTo>
                    <a:lnTo>
                      <a:pt x="5504" y="11759"/>
                    </a:lnTo>
                    <a:lnTo>
                      <a:pt x="5483" y="11655"/>
                    </a:lnTo>
                    <a:lnTo>
                      <a:pt x="5378" y="11655"/>
                    </a:lnTo>
                    <a:lnTo>
                      <a:pt x="5378" y="11613"/>
                    </a:lnTo>
                    <a:lnTo>
                      <a:pt x="5336" y="11529"/>
                    </a:lnTo>
                    <a:lnTo>
                      <a:pt x="5336" y="11320"/>
                    </a:lnTo>
                    <a:lnTo>
                      <a:pt x="5295" y="11236"/>
                    </a:lnTo>
                    <a:lnTo>
                      <a:pt x="5295" y="11131"/>
                    </a:lnTo>
                    <a:lnTo>
                      <a:pt x="5336" y="11111"/>
                    </a:lnTo>
                    <a:lnTo>
                      <a:pt x="5378" y="11194"/>
                    </a:lnTo>
                    <a:lnTo>
                      <a:pt x="5462" y="11194"/>
                    </a:lnTo>
                    <a:lnTo>
                      <a:pt x="5608" y="11236"/>
                    </a:lnTo>
                    <a:lnTo>
                      <a:pt x="5755" y="11320"/>
                    </a:lnTo>
                    <a:lnTo>
                      <a:pt x="5859" y="11320"/>
                    </a:lnTo>
                    <a:lnTo>
                      <a:pt x="6027" y="11299"/>
                    </a:lnTo>
                    <a:lnTo>
                      <a:pt x="6215" y="11320"/>
                    </a:lnTo>
                    <a:lnTo>
                      <a:pt x="6445" y="11320"/>
                    </a:lnTo>
                    <a:lnTo>
                      <a:pt x="6843" y="11215"/>
                    </a:lnTo>
                    <a:lnTo>
                      <a:pt x="7178" y="11069"/>
                    </a:lnTo>
                    <a:lnTo>
                      <a:pt x="7220" y="10985"/>
                    </a:lnTo>
                    <a:lnTo>
                      <a:pt x="7261" y="11027"/>
                    </a:lnTo>
                    <a:lnTo>
                      <a:pt x="7492" y="10964"/>
                    </a:lnTo>
                    <a:lnTo>
                      <a:pt x="7805" y="10776"/>
                    </a:lnTo>
                    <a:lnTo>
                      <a:pt x="7868" y="10671"/>
                    </a:lnTo>
                    <a:lnTo>
                      <a:pt x="7826" y="10546"/>
                    </a:lnTo>
                    <a:lnTo>
                      <a:pt x="7889" y="10357"/>
                    </a:lnTo>
                    <a:lnTo>
                      <a:pt x="7931" y="10336"/>
                    </a:lnTo>
                    <a:lnTo>
                      <a:pt x="7973" y="10378"/>
                    </a:lnTo>
                    <a:lnTo>
                      <a:pt x="8015" y="10336"/>
                    </a:lnTo>
                    <a:lnTo>
                      <a:pt x="8077" y="10148"/>
                    </a:lnTo>
                    <a:lnTo>
                      <a:pt x="8182" y="9960"/>
                    </a:lnTo>
                    <a:lnTo>
                      <a:pt x="8203" y="9855"/>
                    </a:lnTo>
                    <a:lnTo>
                      <a:pt x="8203" y="9625"/>
                    </a:lnTo>
                    <a:lnTo>
                      <a:pt x="8182" y="9520"/>
                    </a:lnTo>
                    <a:lnTo>
                      <a:pt x="8140" y="9520"/>
                    </a:lnTo>
                    <a:lnTo>
                      <a:pt x="8077" y="9604"/>
                    </a:lnTo>
                    <a:lnTo>
                      <a:pt x="7931" y="9604"/>
                    </a:lnTo>
                    <a:lnTo>
                      <a:pt x="7784" y="9499"/>
                    </a:lnTo>
                    <a:lnTo>
                      <a:pt x="7701" y="9332"/>
                    </a:lnTo>
                    <a:lnTo>
                      <a:pt x="7701" y="9248"/>
                    </a:lnTo>
                    <a:lnTo>
                      <a:pt x="7826" y="8976"/>
                    </a:lnTo>
                    <a:lnTo>
                      <a:pt x="7826" y="8872"/>
                    </a:lnTo>
                    <a:lnTo>
                      <a:pt x="7764" y="8788"/>
                    </a:lnTo>
                    <a:lnTo>
                      <a:pt x="7471" y="8558"/>
                    </a:lnTo>
                    <a:lnTo>
                      <a:pt x="7240" y="8453"/>
                    </a:lnTo>
                    <a:lnTo>
                      <a:pt x="6989" y="8265"/>
                    </a:lnTo>
                    <a:lnTo>
                      <a:pt x="6948" y="8160"/>
                    </a:lnTo>
                    <a:lnTo>
                      <a:pt x="6968" y="8139"/>
                    </a:lnTo>
                    <a:lnTo>
                      <a:pt x="6968" y="8035"/>
                    </a:lnTo>
                    <a:lnTo>
                      <a:pt x="6885" y="7951"/>
                    </a:lnTo>
                    <a:lnTo>
                      <a:pt x="6927" y="7888"/>
                    </a:lnTo>
                    <a:lnTo>
                      <a:pt x="6864" y="7679"/>
                    </a:lnTo>
                    <a:lnTo>
                      <a:pt x="6885" y="7449"/>
                    </a:lnTo>
                    <a:lnTo>
                      <a:pt x="6927" y="7240"/>
                    </a:lnTo>
                    <a:lnTo>
                      <a:pt x="7010" y="7156"/>
                    </a:lnTo>
                    <a:lnTo>
                      <a:pt x="7031" y="7093"/>
                    </a:lnTo>
                    <a:lnTo>
                      <a:pt x="6968" y="6905"/>
                    </a:lnTo>
                    <a:lnTo>
                      <a:pt x="6948" y="6633"/>
                    </a:lnTo>
                    <a:lnTo>
                      <a:pt x="7010" y="6591"/>
                    </a:lnTo>
                    <a:lnTo>
                      <a:pt x="6948" y="6403"/>
                    </a:lnTo>
                    <a:lnTo>
                      <a:pt x="7031" y="6277"/>
                    </a:lnTo>
                    <a:lnTo>
                      <a:pt x="7031" y="6173"/>
                    </a:lnTo>
                    <a:lnTo>
                      <a:pt x="7073" y="6089"/>
                    </a:lnTo>
                    <a:lnTo>
                      <a:pt x="7115" y="5838"/>
                    </a:lnTo>
                    <a:lnTo>
                      <a:pt x="7073" y="5733"/>
                    </a:lnTo>
                    <a:lnTo>
                      <a:pt x="7136" y="5650"/>
                    </a:lnTo>
                    <a:lnTo>
                      <a:pt x="7115" y="5461"/>
                    </a:lnTo>
                    <a:lnTo>
                      <a:pt x="7220" y="5336"/>
                    </a:lnTo>
                    <a:lnTo>
                      <a:pt x="7261" y="5210"/>
                    </a:lnTo>
                    <a:lnTo>
                      <a:pt x="7261" y="5168"/>
                    </a:lnTo>
                    <a:lnTo>
                      <a:pt x="7282" y="5126"/>
                    </a:lnTo>
                    <a:lnTo>
                      <a:pt x="7387" y="5043"/>
                    </a:lnTo>
                    <a:lnTo>
                      <a:pt x="7387" y="5001"/>
                    </a:lnTo>
                    <a:lnTo>
                      <a:pt x="7492" y="4833"/>
                    </a:lnTo>
                    <a:lnTo>
                      <a:pt x="7575" y="4750"/>
                    </a:lnTo>
                    <a:lnTo>
                      <a:pt x="7680" y="4541"/>
                    </a:lnTo>
                    <a:lnTo>
                      <a:pt x="7722" y="4478"/>
                    </a:lnTo>
                    <a:lnTo>
                      <a:pt x="7805" y="4436"/>
                    </a:lnTo>
                    <a:lnTo>
                      <a:pt x="7805" y="4310"/>
                    </a:lnTo>
                    <a:lnTo>
                      <a:pt x="7826" y="4227"/>
                    </a:lnTo>
                    <a:lnTo>
                      <a:pt x="8015" y="3997"/>
                    </a:lnTo>
                    <a:lnTo>
                      <a:pt x="8098" y="3997"/>
                    </a:lnTo>
                    <a:lnTo>
                      <a:pt x="8182" y="3976"/>
                    </a:lnTo>
                    <a:lnTo>
                      <a:pt x="8182" y="3850"/>
                    </a:lnTo>
                    <a:lnTo>
                      <a:pt x="8266" y="3808"/>
                    </a:lnTo>
                    <a:lnTo>
                      <a:pt x="8475" y="3641"/>
                    </a:lnTo>
                    <a:lnTo>
                      <a:pt x="8538" y="3599"/>
                    </a:lnTo>
                    <a:lnTo>
                      <a:pt x="8600" y="3536"/>
                    </a:lnTo>
                    <a:lnTo>
                      <a:pt x="8831" y="3369"/>
                    </a:lnTo>
                    <a:lnTo>
                      <a:pt x="8852" y="3390"/>
                    </a:lnTo>
                    <a:lnTo>
                      <a:pt x="8935" y="3327"/>
                    </a:lnTo>
                    <a:lnTo>
                      <a:pt x="8956" y="3264"/>
                    </a:lnTo>
                    <a:lnTo>
                      <a:pt x="9103" y="3181"/>
                    </a:lnTo>
                    <a:lnTo>
                      <a:pt x="9207" y="3181"/>
                    </a:lnTo>
                    <a:lnTo>
                      <a:pt x="9228" y="3118"/>
                    </a:lnTo>
                    <a:lnTo>
                      <a:pt x="9207" y="2909"/>
                    </a:lnTo>
                    <a:lnTo>
                      <a:pt x="9165" y="2657"/>
                    </a:lnTo>
                    <a:lnTo>
                      <a:pt x="9165" y="2490"/>
                    </a:lnTo>
                    <a:lnTo>
                      <a:pt x="9061" y="2239"/>
                    </a:lnTo>
                    <a:lnTo>
                      <a:pt x="9061" y="2134"/>
                    </a:lnTo>
                    <a:lnTo>
                      <a:pt x="8810" y="2113"/>
                    </a:lnTo>
                    <a:lnTo>
                      <a:pt x="8705" y="2197"/>
                    </a:lnTo>
                    <a:lnTo>
                      <a:pt x="8684" y="2218"/>
                    </a:lnTo>
                    <a:lnTo>
                      <a:pt x="8684" y="2385"/>
                    </a:lnTo>
                    <a:lnTo>
                      <a:pt x="8705" y="2427"/>
                    </a:lnTo>
                    <a:lnTo>
                      <a:pt x="8705" y="2637"/>
                    </a:lnTo>
                    <a:lnTo>
                      <a:pt x="8600" y="2720"/>
                    </a:lnTo>
                    <a:lnTo>
                      <a:pt x="8517" y="2846"/>
                    </a:lnTo>
                    <a:lnTo>
                      <a:pt x="8496" y="2971"/>
                    </a:lnTo>
                    <a:lnTo>
                      <a:pt x="8224" y="3160"/>
                    </a:lnTo>
                    <a:lnTo>
                      <a:pt x="8182" y="3327"/>
                    </a:lnTo>
                    <a:lnTo>
                      <a:pt x="8077" y="3453"/>
                    </a:lnTo>
                    <a:lnTo>
                      <a:pt x="7952" y="3432"/>
                    </a:lnTo>
                    <a:lnTo>
                      <a:pt x="7889" y="3453"/>
                    </a:lnTo>
                    <a:lnTo>
                      <a:pt x="7784" y="3599"/>
                    </a:lnTo>
                    <a:lnTo>
                      <a:pt x="7743" y="3557"/>
                    </a:lnTo>
                    <a:lnTo>
                      <a:pt x="7659" y="3557"/>
                    </a:lnTo>
                    <a:lnTo>
                      <a:pt x="7533" y="3599"/>
                    </a:lnTo>
                    <a:lnTo>
                      <a:pt x="7282" y="3453"/>
                    </a:lnTo>
                    <a:lnTo>
                      <a:pt x="6948" y="3348"/>
                    </a:lnTo>
                    <a:lnTo>
                      <a:pt x="6529" y="3390"/>
                    </a:lnTo>
                    <a:lnTo>
                      <a:pt x="6424" y="3390"/>
                    </a:lnTo>
                    <a:lnTo>
                      <a:pt x="6445" y="3264"/>
                    </a:lnTo>
                    <a:lnTo>
                      <a:pt x="6634" y="3076"/>
                    </a:lnTo>
                    <a:lnTo>
                      <a:pt x="6717" y="2846"/>
                    </a:lnTo>
                    <a:lnTo>
                      <a:pt x="6696" y="2720"/>
                    </a:lnTo>
                    <a:lnTo>
                      <a:pt x="6738" y="2616"/>
                    </a:lnTo>
                    <a:lnTo>
                      <a:pt x="6843" y="2532"/>
                    </a:lnTo>
                    <a:lnTo>
                      <a:pt x="6927" y="2406"/>
                    </a:lnTo>
                    <a:lnTo>
                      <a:pt x="6948" y="2281"/>
                    </a:lnTo>
                    <a:lnTo>
                      <a:pt x="6864" y="2134"/>
                    </a:lnTo>
                    <a:lnTo>
                      <a:pt x="6696" y="2009"/>
                    </a:lnTo>
                    <a:lnTo>
                      <a:pt x="6550" y="1862"/>
                    </a:lnTo>
                    <a:lnTo>
                      <a:pt x="6215" y="1800"/>
                    </a:lnTo>
                    <a:lnTo>
                      <a:pt x="5964" y="1674"/>
                    </a:lnTo>
                    <a:lnTo>
                      <a:pt x="5692" y="1465"/>
                    </a:lnTo>
                    <a:lnTo>
                      <a:pt x="5587" y="1444"/>
                    </a:lnTo>
                    <a:lnTo>
                      <a:pt x="5357" y="1339"/>
                    </a:lnTo>
                    <a:lnTo>
                      <a:pt x="5023" y="1256"/>
                    </a:lnTo>
                    <a:lnTo>
                      <a:pt x="4939" y="1088"/>
                    </a:lnTo>
                    <a:lnTo>
                      <a:pt x="4813" y="963"/>
                    </a:lnTo>
                    <a:lnTo>
                      <a:pt x="4667" y="942"/>
                    </a:lnTo>
                    <a:lnTo>
                      <a:pt x="4311" y="565"/>
                    </a:lnTo>
                    <a:lnTo>
                      <a:pt x="4186" y="314"/>
                    </a:lnTo>
                    <a:lnTo>
                      <a:pt x="4081" y="293"/>
                    </a:lnTo>
                    <a:lnTo>
                      <a:pt x="3935" y="147"/>
                    </a:lnTo>
                    <a:lnTo>
                      <a:pt x="3914" y="126"/>
                    </a:lnTo>
                    <a:lnTo>
                      <a:pt x="3809" y="21"/>
                    </a:lnTo>
                    <a:lnTo>
                      <a:pt x="3181" y="21"/>
                    </a:lnTo>
                    <a:lnTo>
                      <a:pt x="3077" y="147"/>
                    </a:lnTo>
                    <a:lnTo>
                      <a:pt x="3077" y="251"/>
                    </a:lnTo>
                    <a:lnTo>
                      <a:pt x="2993" y="356"/>
                    </a:lnTo>
                    <a:lnTo>
                      <a:pt x="2993" y="460"/>
                    </a:lnTo>
                    <a:lnTo>
                      <a:pt x="2951" y="544"/>
                    </a:lnTo>
                    <a:lnTo>
                      <a:pt x="2888" y="460"/>
                    </a:lnTo>
                    <a:lnTo>
                      <a:pt x="2826" y="230"/>
                    </a:lnTo>
                    <a:lnTo>
                      <a:pt x="2784" y="84"/>
                    </a:lnTo>
                    <a:lnTo>
                      <a:pt x="2679" y="42"/>
                    </a:lnTo>
                    <a:lnTo>
                      <a:pt x="2470" y="105"/>
                    </a:lnTo>
                    <a:lnTo>
                      <a:pt x="2344" y="84"/>
                    </a:lnTo>
                    <a:lnTo>
                      <a:pt x="2240" y="105"/>
                    </a:lnTo>
                    <a:lnTo>
                      <a:pt x="2093" y="126"/>
                    </a:lnTo>
                    <a:lnTo>
                      <a:pt x="1947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7" name="Google Shape;12121;p43">
                <a:extLst>
                  <a:ext uri="{FF2B5EF4-FFF2-40B4-BE49-F238E27FC236}">
                    <a16:creationId xmlns:a16="http://schemas.microsoft.com/office/drawing/2014/main" id="{07D595DF-DEBC-6564-0F75-1B57B56EE587}"/>
                  </a:ext>
                </a:extLst>
              </p:cNvPr>
              <p:cNvSpPr/>
              <p:nvPr/>
            </p:nvSpPr>
            <p:spPr>
              <a:xfrm>
                <a:off x="2804875" y="4134625"/>
                <a:ext cx="51800" cy="36100"/>
              </a:xfrm>
              <a:custGeom>
                <a:avLst/>
                <a:gdLst/>
                <a:ahLst/>
                <a:cxnLst/>
                <a:rect l="l" t="t" r="r" b="b"/>
                <a:pathLst>
                  <a:path w="2072" h="1444" extrusionOk="0">
                    <a:moveTo>
                      <a:pt x="0" y="0"/>
                    </a:moveTo>
                    <a:lnTo>
                      <a:pt x="272" y="1067"/>
                    </a:lnTo>
                    <a:lnTo>
                      <a:pt x="314" y="1067"/>
                    </a:lnTo>
                    <a:lnTo>
                      <a:pt x="502" y="1046"/>
                    </a:lnTo>
                    <a:lnTo>
                      <a:pt x="670" y="1046"/>
                    </a:lnTo>
                    <a:lnTo>
                      <a:pt x="816" y="1004"/>
                    </a:lnTo>
                    <a:lnTo>
                      <a:pt x="816" y="1046"/>
                    </a:lnTo>
                    <a:lnTo>
                      <a:pt x="712" y="1067"/>
                    </a:lnTo>
                    <a:lnTo>
                      <a:pt x="565" y="1130"/>
                    </a:lnTo>
                    <a:lnTo>
                      <a:pt x="293" y="1130"/>
                    </a:lnTo>
                    <a:lnTo>
                      <a:pt x="356" y="1360"/>
                    </a:lnTo>
                    <a:lnTo>
                      <a:pt x="398" y="1360"/>
                    </a:lnTo>
                    <a:lnTo>
                      <a:pt x="607" y="1276"/>
                    </a:lnTo>
                    <a:lnTo>
                      <a:pt x="837" y="1297"/>
                    </a:lnTo>
                    <a:lnTo>
                      <a:pt x="1005" y="1276"/>
                    </a:lnTo>
                    <a:lnTo>
                      <a:pt x="1235" y="1297"/>
                    </a:lnTo>
                    <a:lnTo>
                      <a:pt x="1360" y="1381"/>
                    </a:lnTo>
                    <a:lnTo>
                      <a:pt x="1507" y="1444"/>
                    </a:lnTo>
                    <a:lnTo>
                      <a:pt x="1632" y="1402"/>
                    </a:lnTo>
                    <a:lnTo>
                      <a:pt x="1737" y="1297"/>
                    </a:lnTo>
                    <a:lnTo>
                      <a:pt x="1758" y="1193"/>
                    </a:lnTo>
                    <a:lnTo>
                      <a:pt x="1883" y="1151"/>
                    </a:lnTo>
                    <a:lnTo>
                      <a:pt x="1946" y="1193"/>
                    </a:lnTo>
                    <a:lnTo>
                      <a:pt x="2072" y="1130"/>
                    </a:lnTo>
                    <a:lnTo>
                      <a:pt x="2072" y="1004"/>
                    </a:lnTo>
                    <a:lnTo>
                      <a:pt x="1967" y="983"/>
                    </a:lnTo>
                    <a:lnTo>
                      <a:pt x="1758" y="1046"/>
                    </a:lnTo>
                    <a:lnTo>
                      <a:pt x="1632" y="1004"/>
                    </a:lnTo>
                    <a:lnTo>
                      <a:pt x="1507" y="879"/>
                    </a:lnTo>
                    <a:lnTo>
                      <a:pt x="1318" y="837"/>
                    </a:lnTo>
                    <a:lnTo>
                      <a:pt x="1256" y="774"/>
                    </a:lnTo>
                    <a:lnTo>
                      <a:pt x="816" y="628"/>
                    </a:lnTo>
                    <a:lnTo>
                      <a:pt x="691" y="607"/>
                    </a:lnTo>
                    <a:lnTo>
                      <a:pt x="691" y="460"/>
                    </a:lnTo>
                    <a:lnTo>
                      <a:pt x="565" y="335"/>
                    </a:lnTo>
                    <a:lnTo>
                      <a:pt x="398" y="314"/>
                    </a:lnTo>
                    <a:lnTo>
                      <a:pt x="314" y="126"/>
                    </a:lnTo>
                    <a:lnTo>
                      <a:pt x="272" y="21"/>
                    </a:lnTo>
                    <a:lnTo>
                      <a:pt x="105" y="4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3" name="Google Shape;12122;p43">
              <a:extLst>
                <a:ext uri="{FF2B5EF4-FFF2-40B4-BE49-F238E27FC236}">
                  <a16:creationId xmlns:a16="http://schemas.microsoft.com/office/drawing/2014/main" id="{8341EE35-B6EF-F789-E233-CF62D69094E6}"/>
                </a:ext>
              </a:extLst>
            </p:cNvPr>
            <p:cNvSpPr/>
            <p:nvPr/>
          </p:nvSpPr>
          <p:spPr>
            <a:xfrm>
              <a:off x="4563295" y="2964728"/>
              <a:ext cx="12467" cy="27863"/>
            </a:xfrm>
            <a:custGeom>
              <a:avLst/>
              <a:gdLst/>
              <a:ahLst/>
              <a:cxnLst/>
              <a:rect l="l" t="t" r="r" b="b"/>
              <a:pathLst>
                <a:path w="1047" h="2450" extrusionOk="0">
                  <a:moveTo>
                    <a:pt x="691" y="1"/>
                  </a:moveTo>
                  <a:lnTo>
                    <a:pt x="628" y="43"/>
                  </a:lnTo>
                  <a:lnTo>
                    <a:pt x="628" y="127"/>
                  </a:lnTo>
                  <a:lnTo>
                    <a:pt x="524" y="147"/>
                  </a:lnTo>
                  <a:lnTo>
                    <a:pt x="398" y="315"/>
                  </a:lnTo>
                  <a:lnTo>
                    <a:pt x="294" y="482"/>
                  </a:lnTo>
                  <a:lnTo>
                    <a:pt x="315" y="545"/>
                  </a:lnTo>
                  <a:lnTo>
                    <a:pt x="294" y="629"/>
                  </a:lnTo>
                  <a:lnTo>
                    <a:pt x="231" y="671"/>
                  </a:lnTo>
                  <a:lnTo>
                    <a:pt x="105" y="880"/>
                  </a:lnTo>
                  <a:lnTo>
                    <a:pt x="63" y="1110"/>
                  </a:lnTo>
                  <a:lnTo>
                    <a:pt x="1" y="1152"/>
                  </a:lnTo>
                  <a:lnTo>
                    <a:pt x="63" y="1194"/>
                  </a:lnTo>
                  <a:lnTo>
                    <a:pt x="63" y="1424"/>
                  </a:lnTo>
                  <a:lnTo>
                    <a:pt x="84" y="1675"/>
                  </a:lnTo>
                  <a:lnTo>
                    <a:pt x="126" y="1696"/>
                  </a:lnTo>
                  <a:lnTo>
                    <a:pt x="168" y="1780"/>
                  </a:lnTo>
                  <a:lnTo>
                    <a:pt x="126" y="1780"/>
                  </a:lnTo>
                  <a:lnTo>
                    <a:pt x="105" y="1842"/>
                  </a:lnTo>
                  <a:lnTo>
                    <a:pt x="189" y="1947"/>
                  </a:lnTo>
                  <a:lnTo>
                    <a:pt x="231" y="1947"/>
                  </a:lnTo>
                  <a:lnTo>
                    <a:pt x="273" y="2031"/>
                  </a:lnTo>
                  <a:lnTo>
                    <a:pt x="419" y="2093"/>
                  </a:lnTo>
                  <a:lnTo>
                    <a:pt x="503" y="2219"/>
                  </a:lnTo>
                  <a:lnTo>
                    <a:pt x="503" y="2344"/>
                  </a:lnTo>
                  <a:lnTo>
                    <a:pt x="503" y="2449"/>
                  </a:lnTo>
                  <a:lnTo>
                    <a:pt x="587" y="2407"/>
                  </a:lnTo>
                  <a:lnTo>
                    <a:pt x="691" y="2449"/>
                  </a:lnTo>
                  <a:lnTo>
                    <a:pt x="691" y="2449"/>
                  </a:lnTo>
                  <a:lnTo>
                    <a:pt x="649" y="2324"/>
                  </a:lnTo>
                  <a:lnTo>
                    <a:pt x="691" y="2198"/>
                  </a:lnTo>
                  <a:lnTo>
                    <a:pt x="628" y="2010"/>
                  </a:lnTo>
                  <a:lnTo>
                    <a:pt x="712" y="1884"/>
                  </a:lnTo>
                  <a:lnTo>
                    <a:pt x="859" y="1675"/>
                  </a:lnTo>
                  <a:lnTo>
                    <a:pt x="859" y="1528"/>
                  </a:lnTo>
                  <a:lnTo>
                    <a:pt x="880" y="1487"/>
                  </a:lnTo>
                  <a:lnTo>
                    <a:pt x="838" y="1466"/>
                  </a:lnTo>
                  <a:lnTo>
                    <a:pt x="880" y="1256"/>
                  </a:lnTo>
                  <a:lnTo>
                    <a:pt x="880" y="1089"/>
                  </a:lnTo>
                  <a:lnTo>
                    <a:pt x="859" y="943"/>
                  </a:lnTo>
                  <a:lnTo>
                    <a:pt x="942" y="796"/>
                  </a:lnTo>
                  <a:lnTo>
                    <a:pt x="963" y="524"/>
                  </a:lnTo>
                  <a:lnTo>
                    <a:pt x="1005" y="357"/>
                  </a:lnTo>
                  <a:lnTo>
                    <a:pt x="1047" y="336"/>
                  </a:lnTo>
                  <a:lnTo>
                    <a:pt x="1026" y="252"/>
                  </a:lnTo>
                  <a:lnTo>
                    <a:pt x="921" y="168"/>
                  </a:lnTo>
                  <a:lnTo>
                    <a:pt x="880" y="168"/>
                  </a:lnTo>
                  <a:lnTo>
                    <a:pt x="817" y="43"/>
                  </a:lnTo>
                  <a:lnTo>
                    <a:pt x="69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64" name="Google Shape;12123;p43">
              <a:extLst>
                <a:ext uri="{FF2B5EF4-FFF2-40B4-BE49-F238E27FC236}">
                  <a16:creationId xmlns:a16="http://schemas.microsoft.com/office/drawing/2014/main" id="{95876AB9-BE88-F902-18D4-8FEB3C4E391E}"/>
                </a:ext>
              </a:extLst>
            </p:cNvPr>
            <p:cNvGrpSpPr/>
            <p:nvPr/>
          </p:nvGrpSpPr>
          <p:grpSpPr>
            <a:xfrm>
              <a:off x="3790439" y="2408636"/>
              <a:ext cx="73017" cy="75684"/>
              <a:chOff x="3781475" y="1624825"/>
              <a:chExt cx="153300" cy="166375"/>
            </a:xfrm>
          </p:grpSpPr>
          <p:sp>
            <p:nvSpPr>
              <p:cNvPr id="222" name="Google Shape;12124;p43">
                <a:extLst>
                  <a:ext uri="{FF2B5EF4-FFF2-40B4-BE49-F238E27FC236}">
                    <a16:creationId xmlns:a16="http://schemas.microsoft.com/office/drawing/2014/main" id="{AB3B6D5C-35F8-37B4-63A1-87D895E4B480}"/>
                  </a:ext>
                </a:extLst>
              </p:cNvPr>
              <p:cNvSpPr/>
              <p:nvPr/>
            </p:nvSpPr>
            <p:spPr>
              <a:xfrm>
                <a:off x="3845300" y="1624825"/>
                <a:ext cx="89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579" h="2428" extrusionOk="0">
                    <a:moveTo>
                      <a:pt x="1695" y="1"/>
                    </a:moveTo>
                    <a:lnTo>
                      <a:pt x="1674" y="84"/>
                    </a:lnTo>
                    <a:lnTo>
                      <a:pt x="1716" y="168"/>
                    </a:lnTo>
                    <a:lnTo>
                      <a:pt x="1758" y="252"/>
                    </a:lnTo>
                    <a:lnTo>
                      <a:pt x="1674" y="210"/>
                    </a:lnTo>
                    <a:lnTo>
                      <a:pt x="1611" y="168"/>
                    </a:lnTo>
                    <a:lnTo>
                      <a:pt x="1570" y="189"/>
                    </a:lnTo>
                    <a:lnTo>
                      <a:pt x="1570" y="293"/>
                    </a:lnTo>
                    <a:lnTo>
                      <a:pt x="1653" y="377"/>
                    </a:lnTo>
                    <a:lnTo>
                      <a:pt x="1653" y="482"/>
                    </a:lnTo>
                    <a:lnTo>
                      <a:pt x="1611" y="586"/>
                    </a:lnTo>
                    <a:lnTo>
                      <a:pt x="1611" y="712"/>
                    </a:lnTo>
                    <a:lnTo>
                      <a:pt x="1674" y="879"/>
                    </a:lnTo>
                    <a:lnTo>
                      <a:pt x="1653" y="984"/>
                    </a:lnTo>
                    <a:lnTo>
                      <a:pt x="1591" y="984"/>
                    </a:lnTo>
                    <a:lnTo>
                      <a:pt x="1570" y="879"/>
                    </a:lnTo>
                    <a:lnTo>
                      <a:pt x="1465" y="796"/>
                    </a:lnTo>
                    <a:lnTo>
                      <a:pt x="1360" y="733"/>
                    </a:lnTo>
                    <a:lnTo>
                      <a:pt x="1339" y="670"/>
                    </a:lnTo>
                    <a:lnTo>
                      <a:pt x="1381" y="586"/>
                    </a:lnTo>
                    <a:lnTo>
                      <a:pt x="1381" y="524"/>
                    </a:lnTo>
                    <a:lnTo>
                      <a:pt x="1298" y="503"/>
                    </a:lnTo>
                    <a:lnTo>
                      <a:pt x="1193" y="565"/>
                    </a:lnTo>
                    <a:lnTo>
                      <a:pt x="1151" y="565"/>
                    </a:lnTo>
                    <a:lnTo>
                      <a:pt x="1130" y="607"/>
                    </a:lnTo>
                    <a:lnTo>
                      <a:pt x="1026" y="670"/>
                    </a:lnTo>
                    <a:lnTo>
                      <a:pt x="942" y="628"/>
                    </a:lnTo>
                    <a:lnTo>
                      <a:pt x="942" y="586"/>
                    </a:lnTo>
                    <a:lnTo>
                      <a:pt x="942" y="524"/>
                    </a:lnTo>
                    <a:lnTo>
                      <a:pt x="879" y="524"/>
                    </a:lnTo>
                    <a:lnTo>
                      <a:pt x="816" y="461"/>
                    </a:lnTo>
                    <a:lnTo>
                      <a:pt x="775" y="356"/>
                    </a:lnTo>
                    <a:lnTo>
                      <a:pt x="712" y="314"/>
                    </a:lnTo>
                    <a:lnTo>
                      <a:pt x="649" y="356"/>
                    </a:lnTo>
                    <a:lnTo>
                      <a:pt x="565" y="273"/>
                    </a:lnTo>
                    <a:lnTo>
                      <a:pt x="607" y="189"/>
                    </a:lnTo>
                    <a:lnTo>
                      <a:pt x="565" y="84"/>
                    </a:lnTo>
                    <a:lnTo>
                      <a:pt x="523" y="63"/>
                    </a:lnTo>
                    <a:lnTo>
                      <a:pt x="461" y="147"/>
                    </a:lnTo>
                    <a:lnTo>
                      <a:pt x="440" y="293"/>
                    </a:lnTo>
                    <a:lnTo>
                      <a:pt x="461" y="419"/>
                    </a:lnTo>
                    <a:lnTo>
                      <a:pt x="544" y="565"/>
                    </a:lnTo>
                    <a:lnTo>
                      <a:pt x="565" y="712"/>
                    </a:lnTo>
                    <a:lnTo>
                      <a:pt x="523" y="733"/>
                    </a:lnTo>
                    <a:lnTo>
                      <a:pt x="440" y="649"/>
                    </a:lnTo>
                    <a:lnTo>
                      <a:pt x="419" y="545"/>
                    </a:lnTo>
                    <a:lnTo>
                      <a:pt x="398" y="524"/>
                    </a:lnTo>
                    <a:lnTo>
                      <a:pt x="398" y="628"/>
                    </a:lnTo>
                    <a:lnTo>
                      <a:pt x="419" y="754"/>
                    </a:lnTo>
                    <a:lnTo>
                      <a:pt x="461" y="837"/>
                    </a:lnTo>
                    <a:lnTo>
                      <a:pt x="461" y="921"/>
                    </a:lnTo>
                    <a:lnTo>
                      <a:pt x="440" y="1005"/>
                    </a:lnTo>
                    <a:lnTo>
                      <a:pt x="419" y="984"/>
                    </a:lnTo>
                    <a:lnTo>
                      <a:pt x="356" y="837"/>
                    </a:lnTo>
                    <a:lnTo>
                      <a:pt x="314" y="796"/>
                    </a:lnTo>
                    <a:lnTo>
                      <a:pt x="105" y="817"/>
                    </a:lnTo>
                    <a:lnTo>
                      <a:pt x="21" y="775"/>
                    </a:lnTo>
                    <a:lnTo>
                      <a:pt x="0" y="775"/>
                    </a:lnTo>
                    <a:lnTo>
                      <a:pt x="63" y="879"/>
                    </a:lnTo>
                    <a:lnTo>
                      <a:pt x="126" y="879"/>
                    </a:lnTo>
                    <a:lnTo>
                      <a:pt x="189" y="921"/>
                    </a:lnTo>
                    <a:lnTo>
                      <a:pt x="168" y="984"/>
                    </a:lnTo>
                    <a:lnTo>
                      <a:pt x="189" y="1026"/>
                    </a:lnTo>
                    <a:lnTo>
                      <a:pt x="293" y="1026"/>
                    </a:lnTo>
                    <a:lnTo>
                      <a:pt x="314" y="1068"/>
                    </a:lnTo>
                    <a:lnTo>
                      <a:pt x="168" y="1172"/>
                    </a:lnTo>
                    <a:lnTo>
                      <a:pt x="168" y="1235"/>
                    </a:lnTo>
                    <a:lnTo>
                      <a:pt x="293" y="1423"/>
                    </a:lnTo>
                    <a:lnTo>
                      <a:pt x="377" y="1444"/>
                    </a:lnTo>
                    <a:lnTo>
                      <a:pt x="461" y="1486"/>
                    </a:lnTo>
                    <a:lnTo>
                      <a:pt x="607" y="1486"/>
                    </a:lnTo>
                    <a:lnTo>
                      <a:pt x="691" y="1465"/>
                    </a:lnTo>
                    <a:lnTo>
                      <a:pt x="754" y="1528"/>
                    </a:lnTo>
                    <a:lnTo>
                      <a:pt x="816" y="1528"/>
                    </a:lnTo>
                    <a:lnTo>
                      <a:pt x="942" y="1444"/>
                    </a:lnTo>
                    <a:lnTo>
                      <a:pt x="1026" y="1423"/>
                    </a:lnTo>
                    <a:lnTo>
                      <a:pt x="1235" y="1381"/>
                    </a:lnTo>
                    <a:lnTo>
                      <a:pt x="1381" y="1381"/>
                    </a:lnTo>
                    <a:lnTo>
                      <a:pt x="1465" y="1340"/>
                    </a:lnTo>
                    <a:lnTo>
                      <a:pt x="1528" y="1340"/>
                    </a:lnTo>
                    <a:lnTo>
                      <a:pt x="1570" y="1361"/>
                    </a:lnTo>
                    <a:lnTo>
                      <a:pt x="1570" y="1423"/>
                    </a:lnTo>
                    <a:lnTo>
                      <a:pt x="1549" y="1465"/>
                    </a:lnTo>
                    <a:lnTo>
                      <a:pt x="1507" y="1549"/>
                    </a:lnTo>
                    <a:lnTo>
                      <a:pt x="1465" y="1570"/>
                    </a:lnTo>
                    <a:lnTo>
                      <a:pt x="1339" y="1549"/>
                    </a:lnTo>
                    <a:lnTo>
                      <a:pt x="1214" y="1549"/>
                    </a:lnTo>
                    <a:lnTo>
                      <a:pt x="1109" y="1528"/>
                    </a:lnTo>
                    <a:lnTo>
                      <a:pt x="1067" y="1570"/>
                    </a:lnTo>
                    <a:lnTo>
                      <a:pt x="1130" y="1591"/>
                    </a:lnTo>
                    <a:lnTo>
                      <a:pt x="1298" y="1653"/>
                    </a:lnTo>
                    <a:lnTo>
                      <a:pt x="1360" y="1695"/>
                    </a:lnTo>
                    <a:lnTo>
                      <a:pt x="1360" y="1758"/>
                    </a:lnTo>
                    <a:lnTo>
                      <a:pt x="1298" y="1758"/>
                    </a:lnTo>
                    <a:lnTo>
                      <a:pt x="1172" y="1695"/>
                    </a:lnTo>
                    <a:lnTo>
                      <a:pt x="1151" y="1758"/>
                    </a:lnTo>
                    <a:lnTo>
                      <a:pt x="1088" y="1758"/>
                    </a:lnTo>
                    <a:lnTo>
                      <a:pt x="984" y="1674"/>
                    </a:lnTo>
                    <a:lnTo>
                      <a:pt x="900" y="1653"/>
                    </a:lnTo>
                    <a:lnTo>
                      <a:pt x="754" y="1695"/>
                    </a:lnTo>
                    <a:lnTo>
                      <a:pt x="754" y="1758"/>
                    </a:lnTo>
                    <a:lnTo>
                      <a:pt x="837" y="1779"/>
                    </a:lnTo>
                    <a:lnTo>
                      <a:pt x="1047" y="1967"/>
                    </a:lnTo>
                    <a:lnTo>
                      <a:pt x="1130" y="1988"/>
                    </a:lnTo>
                    <a:lnTo>
                      <a:pt x="1235" y="1946"/>
                    </a:lnTo>
                    <a:lnTo>
                      <a:pt x="1277" y="1967"/>
                    </a:lnTo>
                    <a:lnTo>
                      <a:pt x="1339" y="2072"/>
                    </a:lnTo>
                    <a:lnTo>
                      <a:pt x="1339" y="2156"/>
                    </a:lnTo>
                    <a:lnTo>
                      <a:pt x="1423" y="2177"/>
                    </a:lnTo>
                    <a:lnTo>
                      <a:pt x="1507" y="2156"/>
                    </a:lnTo>
                    <a:lnTo>
                      <a:pt x="1674" y="2156"/>
                    </a:lnTo>
                    <a:lnTo>
                      <a:pt x="1842" y="2093"/>
                    </a:lnTo>
                    <a:lnTo>
                      <a:pt x="1946" y="2093"/>
                    </a:lnTo>
                    <a:lnTo>
                      <a:pt x="2093" y="2072"/>
                    </a:lnTo>
                    <a:lnTo>
                      <a:pt x="2093" y="2114"/>
                    </a:lnTo>
                    <a:lnTo>
                      <a:pt x="2072" y="2218"/>
                    </a:lnTo>
                    <a:lnTo>
                      <a:pt x="2093" y="2323"/>
                    </a:lnTo>
                    <a:lnTo>
                      <a:pt x="2218" y="2407"/>
                    </a:lnTo>
                    <a:lnTo>
                      <a:pt x="2365" y="2428"/>
                    </a:lnTo>
                    <a:lnTo>
                      <a:pt x="2532" y="2386"/>
                    </a:lnTo>
                    <a:lnTo>
                      <a:pt x="2574" y="2323"/>
                    </a:lnTo>
                    <a:lnTo>
                      <a:pt x="2532" y="2281"/>
                    </a:lnTo>
                    <a:lnTo>
                      <a:pt x="2532" y="2218"/>
                    </a:lnTo>
                    <a:lnTo>
                      <a:pt x="2595" y="2156"/>
                    </a:lnTo>
                    <a:lnTo>
                      <a:pt x="2699" y="2051"/>
                    </a:lnTo>
                    <a:lnTo>
                      <a:pt x="2783" y="2009"/>
                    </a:lnTo>
                    <a:lnTo>
                      <a:pt x="2846" y="2072"/>
                    </a:lnTo>
                    <a:lnTo>
                      <a:pt x="2930" y="2114"/>
                    </a:lnTo>
                    <a:lnTo>
                      <a:pt x="3034" y="2114"/>
                    </a:lnTo>
                    <a:lnTo>
                      <a:pt x="3160" y="2051"/>
                    </a:lnTo>
                    <a:lnTo>
                      <a:pt x="3202" y="1988"/>
                    </a:lnTo>
                    <a:lnTo>
                      <a:pt x="3160" y="1842"/>
                    </a:lnTo>
                    <a:lnTo>
                      <a:pt x="3139" y="1758"/>
                    </a:lnTo>
                    <a:lnTo>
                      <a:pt x="3181" y="1674"/>
                    </a:lnTo>
                    <a:lnTo>
                      <a:pt x="3264" y="1591"/>
                    </a:lnTo>
                    <a:lnTo>
                      <a:pt x="3348" y="1423"/>
                    </a:lnTo>
                    <a:lnTo>
                      <a:pt x="3432" y="1319"/>
                    </a:lnTo>
                    <a:lnTo>
                      <a:pt x="3557" y="1172"/>
                    </a:lnTo>
                    <a:lnTo>
                      <a:pt x="3578" y="1068"/>
                    </a:lnTo>
                    <a:lnTo>
                      <a:pt x="3578" y="1005"/>
                    </a:lnTo>
                    <a:lnTo>
                      <a:pt x="3557" y="900"/>
                    </a:lnTo>
                    <a:lnTo>
                      <a:pt x="3536" y="817"/>
                    </a:lnTo>
                    <a:lnTo>
                      <a:pt x="3557" y="754"/>
                    </a:lnTo>
                    <a:lnTo>
                      <a:pt x="3557" y="712"/>
                    </a:lnTo>
                    <a:lnTo>
                      <a:pt x="3516" y="691"/>
                    </a:lnTo>
                    <a:lnTo>
                      <a:pt x="3348" y="691"/>
                    </a:lnTo>
                    <a:lnTo>
                      <a:pt x="3264" y="607"/>
                    </a:lnTo>
                    <a:lnTo>
                      <a:pt x="3223" y="607"/>
                    </a:lnTo>
                    <a:lnTo>
                      <a:pt x="3034" y="628"/>
                    </a:lnTo>
                    <a:lnTo>
                      <a:pt x="2930" y="607"/>
                    </a:lnTo>
                    <a:lnTo>
                      <a:pt x="2846" y="545"/>
                    </a:lnTo>
                    <a:lnTo>
                      <a:pt x="2741" y="545"/>
                    </a:lnTo>
                    <a:lnTo>
                      <a:pt x="2679" y="503"/>
                    </a:lnTo>
                    <a:lnTo>
                      <a:pt x="2679" y="440"/>
                    </a:lnTo>
                    <a:lnTo>
                      <a:pt x="2637" y="419"/>
                    </a:lnTo>
                    <a:lnTo>
                      <a:pt x="2532" y="482"/>
                    </a:lnTo>
                    <a:lnTo>
                      <a:pt x="2532" y="419"/>
                    </a:lnTo>
                    <a:lnTo>
                      <a:pt x="2532" y="335"/>
                    </a:lnTo>
                    <a:lnTo>
                      <a:pt x="2532" y="293"/>
                    </a:lnTo>
                    <a:lnTo>
                      <a:pt x="2490" y="335"/>
                    </a:lnTo>
                    <a:lnTo>
                      <a:pt x="2469" y="440"/>
                    </a:lnTo>
                    <a:lnTo>
                      <a:pt x="2407" y="482"/>
                    </a:lnTo>
                    <a:lnTo>
                      <a:pt x="2386" y="335"/>
                    </a:lnTo>
                    <a:lnTo>
                      <a:pt x="2344" y="335"/>
                    </a:lnTo>
                    <a:lnTo>
                      <a:pt x="2302" y="398"/>
                    </a:lnTo>
                    <a:lnTo>
                      <a:pt x="2323" y="440"/>
                    </a:lnTo>
                    <a:lnTo>
                      <a:pt x="2302" y="503"/>
                    </a:lnTo>
                    <a:lnTo>
                      <a:pt x="2093" y="503"/>
                    </a:lnTo>
                    <a:lnTo>
                      <a:pt x="2093" y="607"/>
                    </a:lnTo>
                    <a:lnTo>
                      <a:pt x="2072" y="691"/>
                    </a:lnTo>
                    <a:lnTo>
                      <a:pt x="1988" y="670"/>
                    </a:lnTo>
                    <a:lnTo>
                      <a:pt x="1967" y="586"/>
                    </a:lnTo>
                    <a:lnTo>
                      <a:pt x="1925" y="586"/>
                    </a:lnTo>
                    <a:lnTo>
                      <a:pt x="1925" y="670"/>
                    </a:lnTo>
                    <a:lnTo>
                      <a:pt x="1904" y="733"/>
                    </a:lnTo>
                    <a:lnTo>
                      <a:pt x="1883" y="691"/>
                    </a:lnTo>
                    <a:lnTo>
                      <a:pt x="1883" y="607"/>
                    </a:lnTo>
                    <a:lnTo>
                      <a:pt x="1904" y="482"/>
                    </a:lnTo>
                    <a:lnTo>
                      <a:pt x="1904" y="252"/>
                    </a:lnTo>
                    <a:lnTo>
                      <a:pt x="1883" y="168"/>
                    </a:lnTo>
                    <a:lnTo>
                      <a:pt x="1779" y="84"/>
                    </a:lnTo>
                    <a:lnTo>
                      <a:pt x="1716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3" name="Google Shape;12125;p43">
                <a:extLst>
                  <a:ext uri="{FF2B5EF4-FFF2-40B4-BE49-F238E27FC236}">
                    <a16:creationId xmlns:a16="http://schemas.microsoft.com/office/drawing/2014/main" id="{2D627225-2562-3625-D3D1-8E49D067C474}"/>
                  </a:ext>
                </a:extLst>
              </p:cNvPr>
              <p:cNvSpPr/>
              <p:nvPr/>
            </p:nvSpPr>
            <p:spPr>
              <a:xfrm>
                <a:off x="3875625" y="1704850"/>
                <a:ext cx="21475" cy="18350"/>
              </a:xfrm>
              <a:custGeom>
                <a:avLst/>
                <a:gdLst/>
                <a:ahLst/>
                <a:cxnLst/>
                <a:rect l="l" t="t" r="r" b="b"/>
                <a:pathLst>
                  <a:path w="859" h="734" extrusionOk="0">
                    <a:moveTo>
                      <a:pt x="650" y="1"/>
                    </a:moveTo>
                    <a:lnTo>
                      <a:pt x="587" y="43"/>
                    </a:lnTo>
                    <a:lnTo>
                      <a:pt x="419" y="126"/>
                    </a:lnTo>
                    <a:lnTo>
                      <a:pt x="419" y="43"/>
                    </a:lnTo>
                    <a:lnTo>
                      <a:pt x="357" y="43"/>
                    </a:lnTo>
                    <a:lnTo>
                      <a:pt x="273" y="105"/>
                    </a:lnTo>
                    <a:lnTo>
                      <a:pt x="252" y="147"/>
                    </a:lnTo>
                    <a:lnTo>
                      <a:pt x="231" y="210"/>
                    </a:lnTo>
                    <a:lnTo>
                      <a:pt x="126" y="189"/>
                    </a:lnTo>
                    <a:lnTo>
                      <a:pt x="64" y="252"/>
                    </a:lnTo>
                    <a:lnTo>
                      <a:pt x="1" y="315"/>
                    </a:lnTo>
                    <a:lnTo>
                      <a:pt x="64" y="357"/>
                    </a:lnTo>
                    <a:lnTo>
                      <a:pt x="210" y="357"/>
                    </a:lnTo>
                    <a:lnTo>
                      <a:pt x="252" y="461"/>
                    </a:lnTo>
                    <a:lnTo>
                      <a:pt x="273" y="524"/>
                    </a:lnTo>
                    <a:lnTo>
                      <a:pt x="273" y="608"/>
                    </a:lnTo>
                    <a:lnTo>
                      <a:pt x="336" y="629"/>
                    </a:lnTo>
                    <a:lnTo>
                      <a:pt x="273" y="712"/>
                    </a:lnTo>
                    <a:lnTo>
                      <a:pt x="357" y="712"/>
                    </a:lnTo>
                    <a:lnTo>
                      <a:pt x="419" y="733"/>
                    </a:lnTo>
                    <a:lnTo>
                      <a:pt x="440" y="670"/>
                    </a:lnTo>
                    <a:lnTo>
                      <a:pt x="587" y="608"/>
                    </a:lnTo>
                    <a:lnTo>
                      <a:pt x="670" y="608"/>
                    </a:lnTo>
                    <a:lnTo>
                      <a:pt x="754" y="524"/>
                    </a:lnTo>
                    <a:lnTo>
                      <a:pt x="733" y="461"/>
                    </a:lnTo>
                    <a:lnTo>
                      <a:pt x="754" y="315"/>
                    </a:lnTo>
                    <a:lnTo>
                      <a:pt x="796" y="294"/>
                    </a:lnTo>
                    <a:lnTo>
                      <a:pt x="859" y="189"/>
                    </a:lnTo>
                    <a:lnTo>
                      <a:pt x="796" y="105"/>
                    </a:lnTo>
                    <a:lnTo>
                      <a:pt x="733" y="85"/>
                    </a:lnTo>
                    <a:lnTo>
                      <a:pt x="670" y="22"/>
                    </a:lnTo>
                    <a:lnTo>
                      <a:pt x="65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4" name="Google Shape;12126;p43">
                <a:extLst>
                  <a:ext uri="{FF2B5EF4-FFF2-40B4-BE49-F238E27FC236}">
                    <a16:creationId xmlns:a16="http://schemas.microsoft.com/office/drawing/2014/main" id="{BDD68E55-AA10-C352-7009-0F27A1267E9C}"/>
                  </a:ext>
                </a:extLst>
              </p:cNvPr>
              <p:cNvSpPr/>
              <p:nvPr/>
            </p:nvSpPr>
            <p:spPr>
              <a:xfrm>
                <a:off x="3883475" y="1716375"/>
                <a:ext cx="39275" cy="43425"/>
              </a:xfrm>
              <a:custGeom>
                <a:avLst/>
                <a:gdLst/>
                <a:ahLst/>
                <a:cxnLst/>
                <a:rect l="l" t="t" r="r" b="b"/>
                <a:pathLst>
                  <a:path w="1571" h="1737" extrusionOk="0">
                    <a:moveTo>
                      <a:pt x="796" y="0"/>
                    </a:moveTo>
                    <a:lnTo>
                      <a:pt x="649" y="105"/>
                    </a:lnTo>
                    <a:lnTo>
                      <a:pt x="482" y="251"/>
                    </a:lnTo>
                    <a:lnTo>
                      <a:pt x="377" y="251"/>
                    </a:lnTo>
                    <a:lnTo>
                      <a:pt x="147" y="293"/>
                    </a:lnTo>
                    <a:lnTo>
                      <a:pt x="43" y="398"/>
                    </a:lnTo>
                    <a:lnTo>
                      <a:pt x="1" y="502"/>
                    </a:lnTo>
                    <a:lnTo>
                      <a:pt x="105" y="565"/>
                    </a:lnTo>
                    <a:lnTo>
                      <a:pt x="168" y="670"/>
                    </a:lnTo>
                    <a:lnTo>
                      <a:pt x="273" y="670"/>
                    </a:lnTo>
                    <a:lnTo>
                      <a:pt x="315" y="712"/>
                    </a:lnTo>
                    <a:lnTo>
                      <a:pt x="273" y="795"/>
                    </a:lnTo>
                    <a:lnTo>
                      <a:pt x="273" y="900"/>
                    </a:lnTo>
                    <a:lnTo>
                      <a:pt x="168" y="1046"/>
                    </a:lnTo>
                    <a:lnTo>
                      <a:pt x="147" y="1235"/>
                    </a:lnTo>
                    <a:lnTo>
                      <a:pt x="64" y="1297"/>
                    </a:lnTo>
                    <a:lnTo>
                      <a:pt x="105" y="1402"/>
                    </a:lnTo>
                    <a:lnTo>
                      <a:pt x="43" y="1444"/>
                    </a:lnTo>
                    <a:lnTo>
                      <a:pt x="64" y="1548"/>
                    </a:lnTo>
                    <a:lnTo>
                      <a:pt x="126" y="1548"/>
                    </a:lnTo>
                    <a:lnTo>
                      <a:pt x="210" y="1507"/>
                    </a:lnTo>
                    <a:lnTo>
                      <a:pt x="315" y="1465"/>
                    </a:lnTo>
                    <a:lnTo>
                      <a:pt x="440" y="1402"/>
                    </a:lnTo>
                    <a:lnTo>
                      <a:pt x="524" y="1402"/>
                    </a:lnTo>
                    <a:lnTo>
                      <a:pt x="587" y="1318"/>
                    </a:lnTo>
                    <a:lnTo>
                      <a:pt x="649" y="1193"/>
                    </a:lnTo>
                    <a:lnTo>
                      <a:pt x="691" y="1151"/>
                    </a:lnTo>
                    <a:lnTo>
                      <a:pt x="796" y="1151"/>
                    </a:lnTo>
                    <a:lnTo>
                      <a:pt x="838" y="1130"/>
                    </a:lnTo>
                    <a:lnTo>
                      <a:pt x="838" y="1235"/>
                    </a:lnTo>
                    <a:lnTo>
                      <a:pt x="796" y="1423"/>
                    </a:lnTo>
                    <a:lnTo>
                      <a:pt x="796" y="1548"/>
                    </a:lnTo>
                    <a:lnTo>
                      <a:pt x="754" y="1632"/>
                    </a:lnTo>
                    <a:lnTo>
                      <a:pt x="775" y="1737"/>
                    </a:lnTo>
                    <a:lnTo>
                      <a:pt x="859" y="1737"/>
                    </a:lnTo>
                    <a:lnTo>
                      <a:pt x="942" y="1653"/>
                    </a:lnTo>
                    <a:lnTo>
                      <a:pt x="942" y="1569"/>
                    </a:lnTo>
                    <a:lnTo>
                      <a:pt x="984" y="1465"/>
                    </a:lnTo>
                    <a:lnTo>
                      <a:pt x="1089" y="1423"/>
                    </a:lnTo>
                    <a:lnTo>
                      <a:pt x="1193" y="1402"/>
                    </a:lnTo>
                    <a:lnTo>
                      <a:pt x="1277" y="1151"/>
                    </a:lnTo>
                    <a:lnTo>
                      <a:pt x="1277" y="1046"/>
                    </a:lnTo>
                    <a:lnTo>
                      <a:pt x="1382" y="900"/>
                    </a:lnTo>
                    <a:lnTo>
                      <a:pt x="1507" y="837"/>
                    </a:lnTo>
                    <a:lnTo>
                      <a:pt x="1570" y="795"/>
                    </a:lnTo>
                    <a:lnTo>
                      <a:pt x="1465" y="732"/>
                    </a:lnTo>
                    <a:lnTo>
                      <a:pt x="1403" y="691"/>
                    </a:lnTo>
                    <a:lnTo>
                      <a:pt x="1298" y="628"/>
                    </a:lnTo>
                    <a:lnTo>
                      <a:pt x="1172" y="712"/>
                    </a:lnTo>
                    <a:lnTo>
                      <a:pt x="1089" y="774"/>
                    </a:lnTo>
                    <a:lnTo>
                      <a:pt x="963" y="691"/>
                    </a:lnTo>
                    <a:lnTo>
                      <a:pt x="838" y="565"/>
                    </a:lnTo>
                    <a:lnTo>
                      <a:pt x="796" y="398"/>
                    </a:lnTo>
                    <a:lnTo>
                      <a:pt x="838" y="356"/>
                    </a:lnTo>
                    <a:lnTo>
                      <a:pt x="942" y="314"/>
                    </a:lnTo>
                    <a:lnTo>
                      <a:pt x="942" y="272"/>
                    </a:lnTo>
                    <a:lnTo>
                      <a:pt x="859" y="147"/>
                    </a:lnTo>
                    <a:lnTo>
                      <a:pt x="796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5" name="Google Shape;12127;p43">
                <a:extLst>
                  <a:ext uri="{FF2B5EF4-FFF2-40B4-BE49-F238E27FC236}">
                    <a16:creationId xmlns:a16="http://schemas.microsoft.com/office/drawing/2014/main" id="{556E9428-B87E-6D16-A41E-0E66155A295B}"/>
                  </a:ext>
                </a:extLst>
              </p:cNvPr>
              <p:cNvSpPr/>
              <p:nvPr/>
            </p:nvSpPr>
            <p:spPr>
              <a:xfrm>
                <a:off x="3781475" y="1649925"/>
                <a:ext cx="102550" cy="141275"/>
              </a:xfrm>
              <a:custGeom>
                <a:avLst/>
                <a:gdLst/>
                <a:ahLst/>
                <a:cxnLst/>
                <a:rect l="l" t="t" r="r" b="b"/>
                <a:pathLst>
                  <a:path w="4102" h="5651" extrusionOk="0">
                    <a:moveTo>
                      <a:pt x="1988" y="1"/>
                    </a:moveTo>
                    <a:lnTo>
                      <a:pt x="1926" y="22"/>
                    </a:lnTo>
                    <a:lnTo>
                      <a:pt x="1842" y="126"/>
                    </a:lnTo>
                    <a:lnTo>
                      <a:pt x="1884" y="315"/>
                    </a:lnTo>
                    <a:lnTo>
                      <a:pt x="1821" y="419"/>
                    </a:lnTo>
                    <a:lnTo>
                      <a:pt x="1821" y="524"/>
                    </a:lnTo>
                    <a:lnTo>
                      <a:pt x="1800" y="629"/>
                    </a:lnTo>
                    <a:lnTo>
                      <a:pt x="1842" y="649"/>
                    </a:lnTo>
                    <a:lnTo>
                      <a:pt x="1884" y="733"/>
                    </a:lnTo>
                    <a:lnTo>
                      <a:pt x="1884" y="1068"/>
                    </a:lnTo>
                    <a:lnTo>
                      <a:pt x="1884" y="1235"/>
                    </a:lnTo>
                    <a:lnTo>
                      <a:pt x="1926" y="1361"/>
                    </a:lnTo>
                    <a:lnTo>
                      <a:pt x="2030" y="1507"/>
                    </a:lnTo>
                    <a:lnTo>
                      <a:pt x="2030" y="1654"/>
                    </a:lnTo>
                    <a:lnTo>
                      <a:pt x="2135" y="1779"/>
                    </a:lnTo>
                    <a:lnTo>
                      <a:pt x="2135" y="1863"/>
                    </a:lnTo>
                    <a:lnTo>
                      <a:pt x="2051" y="1863"/>
                    </a:lnTo>
                    <a:lnTo>
                      <a:pt x="2009" y="1800"/>
                    </a:lnTo>
                    <a:lnTo>
                      <a:pt x="1926" y="1612"/>
                    </a:lnTo>
                    <a:lnTo>
                      <a:pt x="1842" y="1507"/>
                    </a:lnTo>
                    <a:lnTo>
                      <a:pt x="1800" y="1507"/>
                    </a:lnTo>
                    <a:lnTo>
                      <a:pt x="1716" y="1570"/>
                    </a:lnTo>
                    <a:lnTo>
                      <a:pt x="1675" y="1549"/>
                    </a:lnTo>
                    <a:lnTo>
                      <a:pt x="1675" y="1486"/>
                    </a:lnTo>
                    <a:lnTo>
                      <a:pt x="1737" y="1403"/>
                    </a:lnTo>
                    <a:lnTo>
                      <a:pt x="1779" y="1361"/>
                    </a:lnTo>
                    <a:lnTo>
                      <a:pt x="1779" y="1256"/>
                    </a:lnTo>
                    <a:lnTo>
                      <a:pt x="1695" y="1026"/>
                    </a:lnTo>
                    <a:lnTo>
                      <a:pt x="1695" y="817"/>
                    </a:lnTo>
                    <a:lnTo>
                      <a:pt x="1675" y="733"/>
                    </a:lnTo>
                    <a:lnTo>
                      <a:pt x="1528" y="649"/>
                    </a:lnTo>
                    <a:lnTo>
                      <a:pt x="1465" y="524"/>
                    </a:lnTo>
                    <a:lnTo>
                      <a:pt x="1382" y="503"/>
                    </a:lnTo>
                    <a:lnTo>
                      <a:pt x="1319" y="545"/>
                    </a:lnTo>
                    <a:lnTo>
                      <a:pt x="1319" y="670"/>
                    </a:lnTo>
                    <a:lnTo>
                      <a:pt x="1193" y="838"/>
                    </a:lnTo>
                    <a:lnTo>
                      <a:pt x="1172" y="963"/>
                    </a:lnTo>
                    <a:lnTo>
                      <a:pt x="1193" y="1089"/>
                    </a:lnTo>
                    <a:lnTo>
                      <a:pt x="1256" y="1235"/>
                    </a:lnTo>
                    <a:lnTo>
                      <a:pt x="1277" y="1403"/>
                    </a:lnTo>
                    <a:lnTo>
                      <a:pt x="1214" y="1382"/>
                    </a:lnTo>
                    <a:lnTo>
                      <a:pt x="1172" y="1298"/>
                    </a:lnTo>
                    <a:lnTo>
                      <a:pt x="1151" y="1173"/>
                    </a:lnTo>
                    <a:lnTo>
                      <a:pt x="1172" y="1089"/>
                    </a:lnTo>
                    <a:lnTo>
                      <a:pt x="1110" y="1068"/>
                    </a:lnTo>
                    <a:lnTo>
                      <a:pt x="1068" y="984"/>
                    </a:lnTo>
                    <a:lnTo>
                      <a:pt x="1047" y="984"/>
                    </a:lnTo>
                    <a:lnTo>
                      <a:pt x="984" y="1047"/>
                    </a:lnTo>
                    <a:lnTo>
                      <a:pt x="942" y="1026"/>
                    </a:lnTo>
                    <a:lnTo>
                      <a:pt x="942" y="942"/>
                    </a:lnTo>
                    <a:lnTo>
                      <a:pt x="1047" y="859"/>
                    </a:lnTo>
                    <a:lnTo>
                      <a:pt x="1047" y="838"/>
                    </a:lnTo>
                    <a:lnTo>
                      <a:pt x="984" y="817"/>
                    </a:lnTo>
                    <a:lnTo>
                      <a:pt x="859" y="859"/>
                    </a:lnTo>
                    <a:lnTo>
                      <a:pt x="775" y="921"/>
                    </a:lnTo>
                    <a:lnTo>
                      <a:pt x="691" y="859"/>
                    </a:lnTo>
                    <a:lnTo>
                      <a:pt x="733" y="817"/>
                    </a:lnTo>
                    <a:lnTo>
                      <a:pt x="775" y="775"/>
                    </a:lnTo>
                    <a:lnTo>
                      <a:pt x="796" y="733"/>
                    </a:lnTo>
                    <a:lnTo>
                      <a:pt x="900" y="629"/>
                    </a:lnTo>
                    <a:lnTo>
                      <a:pt x="984" y="629"/>
                    </a:lnTo>
                    <a:lnTo>
                      <a:pt x="1005" y="649"/>
                    </a:lnTo>
                    <a:lnTo>
                      <a:pt x="1089" y="670"/>
                    </a:lnTo>
                    <a:lnTo>
                      <a:pt x="1151" y="608"/>
                    </a:lnTo>
                    <a:lnTo>
                      <a:pt x="1172" y="524"/>
                    </a:lnTo>
                    <a:lnTo>
                      <a:pt x="1089" y="398"/>
                    </a:lnTo>
                    <a:lnTo>
                      <a:pt x="1047" y="336"/>
                    </a:lnTo>
                    <a:lnTo>
                      <a:pt x="900" y="357"/>
                    </a:lnTo>
                    <a:lnTo>
                      <a:pt x="670" y="545"/>
                    </a:lnTo>
                    <a:lnTo>
                      <a:pt x="587" y="566"/>
                    </a:lnTo>
                    <a:lnTo>
                      <a:pt x="545" y="545"/>
                    </a:lnTo>
                    <a:lnTo>
                      <a:pt x="545" y="461"/>
                    </a:lnTo>
                    <a:lnTo>
                      <a:pt x="461" y="419"/>
                    </a:lnTo>
                    <a:lnTo>
                      <a:pt x="419" y="440"/>
                    </a:lnTo>
                    <a:lnTo>
                      <a:pt x="419" y="566"/>
                    </a:lnTo>
                    <a:lnTo>
                      <a:pt x="545" y="712"/>
                    </a:lnTo>
                    <a:lnTo>
                      <a:pt x="524" y="754"/>
                    </a:lnTo>
                    <a:lnTo>
                      <a:pt x="419" y="754"/>
                    </a:lnTo>
                    <a:lnTo>
                      <a:pt x="377" y="649"/>
                    </a:lnTo>
                    <a:lnTo>
                      <a:pt x="315" y="503"/>
                    </a:lnTo>
                    <a:lnTo>
                      <a:pt x="231" y="503"/>
                    </a:lnTo>
                    <a:lnTo>
                      <a:pt x="126" y="608"/>
                    </a:lnTo>
                    <a:lnTo>
                      <a:pt x="147" y="733"/>
                    </a:lnTo>
                    <a:lnTo>
                      <a:pt x="168" y="775"/>
                    </a:lnTo>
                    <a:lnTo>
                      <a:pt x="168" y="880"/>
                    </a:lnTo>
                    <a:lnTo>
                      <a:pt x="147" y="880"/>
                    </a:lnTo>
                    <a:lnTo>
                      <a:pt x="43" y="963"/>
                    </a:lnTo>
                    <a:lnTo>
                      <a:pt x="1" y="984"/>
                    </a:lnTo>
                    <a:lnTo>
                      <a:pt x="1" y="1089"/>
                    </a:lnTo>
                    <a:lnTo>
                      <a:pt x="22" y="1235"/>
                    </a:lnTo>
                    <a:lnTo>
                      <a:pt x="43" y="1361"/>
                    </a:lnTo>
                    <a:lnTo>
                      <a:pt x="147" y="1549"/>
                    </a:lnTo>
                    <a:lnTo>
                      <a:pt x="147" y="1612"/>
                    </a:lnTo>
                    <a:lnTo>
                      <a:pt x="231" y="1591"/>
                    </a:lnTo>
                    <a:lnTo>
                      <a:pt x="273" y="1507"/>
                    </a:lnTo>
                    <a:lnTo>
                      <a:pt x="273" y="1403"/>
                    </a:lnTo>
                    <a:lnTo>
                      <a:pt x="273" y="1298"/>
                    </a:lnTo>
                    <a:lnTo>
                      <a:pt x="335" y="1277"/>
                    </a:lnTo>
                    <a:lnTo>
                      <a:pt x="419" y="1361"/>
                    </a:lnTo>
                    <a:lnTo>
                      <a:pt x="461" y="1298"/>
                    </a:lnTo>
                    <a:lnTo>
                      <a:pt x="482" y="1340"/>
                    </a:lnTo>
                    <a:lnTo>
                      <a:pt x="440" y="1445"/>
                    </a:lnTo>
                    <a:lnTo>
                      <a:pt x="419" y="1591"/>
                    </a:lnTo>
                    <a:lnTo>
                      <a:pt x="377" y="1612"/>
                    </a:lnTo>
                    <a:lnTo>
                      <a:pt x="377" y="1675"/>
                    </a:lnTo>
                    <a:lnTo>
                      <a:pt x="482" y="1779"/>
                    </a:lnTo>
                    <a:lnTo>
                      <a:pt x="482" y="1800"/>
                    </a:lnTo>
                    <a:lnTo>
                      <a:pt x="545" y="1821"/>
                    </a:lnTo>
                    <a:lnTo>
                      <a:pt x="628" y="1821"/>
                    </a:lnTo>
                    <a:lnTo>
                      <a:pt x="649" y="1863"/>
                    </a:lnTo>
                    <a:lnTo>
                      <a:pt x="649" y="1926"/>
                    </a:lnTo>
                    <a:lnTo>
                      <a:pt x="545" y="2010"/>
                    </a:lnTo>
                    <a:lnTo>
                      <a:pt x="482" y="2010"/>
                    </a:lnTo>
                    <a:lnTo>
                      <a:pt x="482" y="1968"/>
                    </a:lnTo>
                    <a:lnTo>
                      <a:pt x="461" y="1905"/>
                    </a:lnTo>
                    <a:lnTo>
                      <a:pt x="315" y="1800"/>
                    </a:lnTo>
                    <a:lnTo>
                      <a:pt x="273" y="1821"/>
                    </a:lnTo>
                    <a:lnTo>
                      <a:pt x="273" y="1884"/>
                    </a:lnTo>
                    <a:lnTo>
                      <a:pt x="335" y="1989"/>
                    </a:lnTo>
                    <a:lnTo>
                      <a:pt x="419" y="2030"/>
                    </a:lnTo>
                    <a:lnTo>
                      <a:pt x="482" y="2093"/>
                    </a:lnTo>
                    <a:lnTo>
                      <a:pt x="482" y="2114"/>
                    </a:lnTo>
                    <a:lnTo>
                      <a:pt x="440" y="2177"/>
                    </a:lnTo>
                    <a:lnTo>
                      <a:pt x="482" y="2240"/>
                    </a:lnTo>
                    <a:lnTo>
                      <a:pt x="587" y="2302"/>
                    </a:lnTo>
                    <a:lnTo>
                      <a:pt x="670" y="2344"/>
                    </a:lnTo>
                    <a:lnTo>
                      <a:pt x="691" y="2428"/>
                    </a:lnTo>
                    <a:lnTo>
                      <a:pt x="775" y="2449"/>
                    </a:lnTo>
                    <a:lnTo>
                      <a:pt x="900" y="2449"/>
                    </a:lnTo>
                    <a:lnTo>
                      <a:pt x="942" y="2491"/>
                    </a:lnTo>
                    <a:lnTo>
                      <a:pt x="879" y="2533"/>
                    </a:lnTo>
                    <a:lnTo>
                      <a:pt x="754" y="2533"/>
                    </a:lnTo>
                    <a:lnTo>
                      <a:pt x="754" y="2637"/>
                    </a:lnTo>
                    <a:lnTo>
                      <a:pt x="796" y="2742"/>
                    </a:lnTo>
                    <a:lnTo>
                      <a:pt x="859" y="2742"/>
                    </a:lnTo>
                    <a:lnTo>
                      <a:pt x="942" y="2763"/>
                    </a:lnTo>
                    <a:lnTo>
                      <a:pt x="1068" y="2909"/>
                    </a:lnTo>
                    <a:lnTo>
                      <a:pt x="1110" y="2972"/>
                    </a:lnTo>
                    <a:lnTo>
                      <a:pt x="1068" y="3035"/>
                    </a:lnTo>
                    <a:lnTo>
                      <a:pt x="1068" y="3077"/>
                    </a:lnTo>
                    <a:lnTo>
                      <a:pt x="1382" y="3077"/>
                    </a:lnTo>
                    <a:lnTo>
                      <a:pt x="1465" y="3014"/>
                    </a:lnTo>
                    <a:lnTo>
                      <a:pt x="1465" y="2930"/>
                    </a:lnTo>
                    <a:lnTo>
                      <a:pt x="1507" y="2805"/>
                    </a:lnTo>
                    <a:lnTo>
                      <a:pt x="1591" y="2763"/>
                    </a:lnTo>
                    <a:lnTo>
                      <a:pt x="1675" y="2805"/>
                    </a:lnTo>
                    <a:lnTo>
                      <a:pt x="1675" y="2721"/>
                    </a:lnTo>
                    <a:lnTo>
                      <a:pt x="1612" y="2616"/>
                    </a:lnTo>
                    <a:lnTo>
                      <a:pt x="1570" y="2512"/>
                    </a:lnTo>
                    <a:lnTo>
                      <a:pt x="1570" y="2386"/>
                    </a:lnTo>
                    <a:lnTo>
                      <a:pt x="1528" y="2302"/>
                    </a:lnTo>
                    <a:lnTo>
                      <a:pt x="1528" y="2219"/>
                    </a:lnTo>
                    <a:lnTo>
                      <a:pt x="1591" y="2198"/>
                    </a:lnTo>
                    <a:lnTo>
                      <a:pt x="1633" y="2219"/>
                    </a:lnTo>
                    <a:lnTo>
                      <a:pt x="1695" y="2323"/>
                    </a:lnTo>
                    <a:lnTo>
                      <a:pt x="1675" y="2344"/>
                    </a:lnTo>
                    <a:lnTo>
                      <a:pt x="1695" y="2428"/>
                    </a:lnTo>
                    <a:lnTo>
                      <a:pt x="1779" y="2344"/>
                    </a:lnTo>
                    <a:lnTo>
                      <a:pt x="1779" y="2282"/>
                    </a:lnTo>
                    <a:lnTo>
                      <a:pt x="1737" y="2093"/>
                    </a:lnTo>
                    <a:lnTo>
                      <a:pt x="1800" y="2010"/>
                    </a:lnTo>
                    <a:lnTo>
                      <a:pt x="1821" y="2010"/>
                    </a:lnTo>
                    <a:lnTo>
                      <a:pt x="1884" y="2093"/>
                    </a:lnTo>
                    <a:lnTo>
                      <a:pt x="1884" y="2219"/>
                    </a:lnTo>
                    <a:lnTo>
                      <a:pt x="1926" y="2282"/>
                    </a:lnTo>
                    <a:lnTo>
                      <a:pt x="1926" y="2344"/>
                    </a:lnTo>
                    <a:lnTo>
                      <a:pt x="1842" y="2428"/>
                    </a:lnTo>
                    <a:lnTo>
                      <a:pt x="1842" y="2491"/>
                    </a:lnTo>
                    <a:lnTo>
                      <a:pt x="1884" y="2637"/>
                    </a:lnTo>
                    <a:lnTo>
                      <a:pt x="1926" y="2658"/>
                    </a:lnTo>
                    <a:lnTo>
                      <a:pt x="2009" y="2637"/>
                    </a:lnTo>
                    <a:lnTo>
                      <a:pt x="2156" y="2491"/>
                    </a:lnTo>
                    <a:lnTo>
                      <a:pt x="2219" y="2344"/>
                    </a:lnTo>
                    <a:lnTo>
                      <a:pt x="2219" y="2240"/>
                    </a:lnTo>
                    <a:lnTo>
                      <a:pt x="2239" y="2177"/>
                    </a:lnTo>
                    <a:lnTo>
                      <a:pt x="2302" y="2198"/>
                    </a:lnTo>
                    <a:lnTo>
                      <a:pt x="2344" y="2282"/>
                    </a:lnTo>
                    <a:lnTo>
                      <a:pt x="2323" y="2407"/>
                    </a:lnTo>
                    <a:lnTo>
                      <a:pt x="2260" y="2512"/>
                    </a:lnTo>
                    <a:lnTo>
                      <a:pt x="2260" y="2595"/>
                    </a:lnTo>
                    <a:lnTo>
                      <a:pt x="2344" y="2637"/>
                    </a:lnTo>
                    <a:lnTo>
                      <a:pt x="2449" y="2616"/>
                    </a:lnTo>
                    <a:lnTo>
                      <a:pt x="2532" y="2533"/>
                    </a:lnTo>
                    <a:lnTo>
                      <a:pt x="2574" y="2533"/>
                    </a:lnTo>
                    <a:lnTo>
                      <a:pt x="2574" y="2595"/>
                    </a:lnTo>
                    <a:lnTo>
                      <a:pt x="2532" y="2637"/>
                    </a:lnTo>
                    <a:lnTo>
                      <a:pt x="2428" y="2658"/>
                    </a:lnTo>
                    <a:lnTo>
                      <a:pt x="2344" y="2763"/>
                    </a:lnTo>
                    <a:lnTo>
                      <a:pt x="2156" y="2763"/>
                    </a:lnTo>
                    <a:lnTo>
                      <a:pt x="2009" y="2826"/>
                    </a:lnTo>
                    <a:lnTo>
                      <a:pt x="1988" y="2867"/>
                    </a:lnTo>
                    <a:lnTo>
                      <a:pt x="2009" y="2951"/>
                    </a:lnTo>
                    <a:lnTo>
                      <a:pt x="1884" y="3014"/>
                    </a:lnTo>
                    <a:lnTo>
                      <a:pt x="1800" y="3118"/>
                    </a:lnTo>
                    <a:lnTo>
                      <a:pt x="1716" y="3181"/>
                    </a:lnTo>
                    <a:lnTo>
                      <a:pt x="1675" y="3181"/>
                    </a:lnTo>
                    <a:lnTo>
                      <a:pt x="1570" y="3244"/>
                    </a:lnTo>
                    <a:lnTo>
                      <a:pt x="1570" y="3328"/>
                    </a:lnTo>
                    <a:lnTo>
                      <a:pt x="1507" y="3349"/>
                    </a:lnTo>
                    <a:lnTo>
                      <a:pt x="1486" y="3265"/>
                    </a:lnTo>
                    <a:lnTo>
                      <a:pt x="1465" y="3223"/>
                    </a:lnTo>
                    <a:lnTo>
                      <a:pt x="1382" y="3265"/>
                    </a:lnTo>
                    <a:lnTo>
                      <a:pt x="1298" y="3286"/>
                    </a:lnTo>
                    <a:lnTo>
                      <a:pt x="1298" y="3349"/>
                    </a:lnTo>
                    <a:lnTo>
                      <a:pt x="1277" y="3390"/>
                    </a:lnTo>
                    <a:lnTo>
                      <a:pt x="1319" y="3579"/>
                    </a:lnTo>
                    <a:lnTo>
                      <a:pt x="1319" y="3704"/>
                    </a:lnTo>
                    <a:lnTo>
                      <a:pt x="1361" y="3746"/>
                    </a:lnTo>
                    <a:lnTo>
                      <a:pt x="1465" y="3746"/>
                    </a:lnTo>
                    <a:lnTo>
                      <a:pt x="1528" y="3704"/>
                    </a:lnTo>
                    <a:lnTo>
                      <a:pt x="1633" y="3683"/>
                    </a:lnTo>
                    <a:lnTo>
                      <a:pt x="1695" y="3662"/>
                    </a:lnTo>
                    <a:lnTo>
                      <a:pt x="1779" y="3662"/>
                    </a:lnTo>
                    <a:lnTo>
                      <a:pt x="1842" y="3642"/>
                    </a:lnTo>
                    <a:lnTo>
                      <a:pt x="1926" y="3537"/>
                    </a:lnTo>
                    <a:lnTo>
                      <a:pt x="1988" y="3537"/>
                    </a:lnTo>
                    <a:lnTo>
                      <a:pt x="2009" y="3495"/>
                    </a:lnTo>
                    <a:lnTo>
                      <a:pt x="2114" y="3495"/>
                    </a:lnTo>
                    <a:lnTo>
                      <a:pt x="2135" y="3537"/>
                    </a:lnTo>
                    <a:lnTo>
                      <a:pt x="2428" y="3537"/>
                    </a:lnTo>
                    <a:lnTo>
                      <a:pt x="2470" y="3474"/>
                    </a:lnTo>
                    <a:lnTo>
                      <a:pt x="2553" y="3432"/>
                    </a:lnTo>
                    <a:lnTo>
                      <a:pt x="2616" y="3432"/>
                    </a:lnTo>
                    <a:lnTo>
                      <a:pt x="2616" y="3495"/>
                    </a:lnTo>
                    <a:lnTo>
                      <a:pt x="2553" y="3537"/>
                    </a:lnTo>
                    <a:lnTo>
                      <a:pt x="2532" y="3600"/>
                    </a:lnTo>
                    <a:lnTo>
                      <a:pt x="2449" y="3600"/>
                    </a:lnTo>
                    <a:lnTo>
                      <a:pt x="2407" y="3642"/>
                    </a:lnTo>
                    <a:lnTo>
                      <a:pt x="2239" y="3642"/>
                    </a:lnTo>
                    <a:lnTo>
                      <a:pt x="2135" y="3683"/>
                    </a:lnTo>
                    <a:lnTo>
                      <a:pt x="1947" y="3767"/>
                    </a:lnTo>
                    <a:lnTo>
                      <a:pt x="1884" y="3767"/>
                    </a:lnTo>
                    <a:lnTo>
                      <a:pt x="1800" y="3788"/>
                    </a:lnTo>
                    <a:lnTo>
                      <a:pt x="1800" y="3809"/>
                    </a:lnTo>
                    <a:lnTo>
                      <a:pt x="1905" y="3872"/>
                    </a:lnTo>
                    <a:lnTo>
                      <a:pt x="2051" y="3893"/>
                    </a:lnTo>
                    <a:lnTo>
                      <a:pt x="2135" y="3893"/>
                    </a:lnTo>
                    <a:lnTo>
                      <a:pt x="2239" y="3976"/>
                    </a:lnTo>
                    <a:lnTo>
                      <a:pt x="2239" y="4018"/>
                    </a:lnTo>
                    <a:lnTo>
                      <a:pt x="2030" y="4018"/>
                    </a:lnTo>
                    <a:lnTo>
                      <a:pt x="1947" y="4060"/>
                    </a:lnTo>
                    <a:lnTo>
                      <a:pt x="1905" y="4018"/>
                    </a:lnTo>
                    <a:lnTo>
                      <a:pt x="1800" y="3997"/>
                    </a:lnTo>
                    <a:lnTo>
                      <a:pt x="1779" y="4060"/>
                    </a:lnTo>
                    <a:lnTo>
                      <a:pt x="1737" y="4060"/>
                    </a:lnTo>
                    <a:lnTo>
                      <a:pt x="1695" y="3997"/>
                    </a:lnTo>
                    <a:lnTo>
                      <a:pt x="1633" y="3914"/>
                    </a:lnTo>
                    <a:lnTo>
                      <a:pt x="1570" y="3893"/>
                    </a:lnTo>
                    <a:lnTo>
                      <a:pt x="1423" y="3997"/>
                    </a:lnTo>
                    <a:lnTo>
                      <a:pt x="1423" y="4018"/>
                    </a:lnTo>
                    <a:lnTo>
                      <a:pt x="1486" y="4102"/>
                    </a:lnTo>
                    <a:lnTo>
                      <a:pt x="1507" y="4165"/>
                    </a:lnTo>
                    <a:lnTo>
                      <a:pt x="1486" y="4227"/>
                    </a:lnTo>
                    <a:lnTo>
                      <a:pt x="1507" y="4227"/>
                    </a:lnTo>
                    <a:lnTo>
                      <a:pt x="1486" y="4290"/>
                    </a:lnTo>
                    <a:lnTo>
                      <a:pt x="1507" y="4332"/>
                    </a:lnTo>
                    <a:lnTo>
                      <a:pt x="1591" y="4395"/>
                    </a:lnTo>
                    <a:lnTo>
                      <a:pt x="1591" y="4437"/>
                    </a:lnTo>
                    <a:lnTo>
                      <a:pt x="1612" y="4499"/>
                    </a:lnTo>
                    <a:lnTo>
                      <a:pt x="1633" y="4478"/>
                    </a:lnTo>
                    <a:lnTo>
                      <a:pt x="1716" y="4541"/>
                    </a:lnTo>
                    <a:lnTo>
                      <a:pt x="1716" y="4604"/>
                    </a:lnTo>
                    <a:lnTo>
                      <a:pt x="1779" y="4688"/>
                    </a:lnTo>
                    <a:lnTo>
                      <a:pt x="1800" y="4646"/>
                    </a:lnTo>
                    <a:lnTo>
                      <a:pt x="1884" y="4688"/>
                    </a:lnTo>
                    <a:lnTo>
                      <a:pt x="1926" y="4751"/>
                    </a:lnTo>
                    <a:lnTo>
                      <a:pt x="1988" y="4792"/>
                    </a:lnTo>
                    <a:lnTo>
                      <a:pt x="1988" y="4855"/>
                    </a:lnTo>
                    <a:lnTo>
                      <a:pt x="2114" y="4960"/>
                    </a:lnTo>
                    <a:lnTo>
                      <a:pt x="2239" y="4918"/>
                    </a:lnTo>
                    <a:lnTo>
                      <a:pt x="2260" y="4834"/>
                    </a:lnTo>
                    <a:lnTo>
                      <a:pt x="2323" y="4834"/>
                    </a:lnTo>
                    <a:lnTo>
                      <a:pt x="2344" y="4897"/>
                    </a:lnTo>
                    <a:lnTo>
                      <a:pt x="2428" y="4855"/>
                    </a:lnTo>
                    <a:lnTo>
                      <a:pt x="2449" y="4897"/>
                    </a:lnTo>
                    <a:lnTo>
                      <a:pt x="2449" y="4960"/>
                    </a:lnTo>
                    <a:lnTo>
                      <a:pt x="2407" y="5023"/>
                    </a:lnTo>
                    <a:lnTo>
                      <a:pt x="2344" y="5023"/>
                    </a:lnTo>
                    <a:lnTo>
                      <a:pt x="2239" y="5106"/>
                    </a:lnTo>
                    <a:lnTo>
                      <a:pt x="2239" y="5148"/>
                    </a:lnTo>
                    <a:lnTo>
                      <a:pt x="2428" y="5336"/>
                    </a:lnTo>
                    <a:lnTo>
                      <a:pt x="2470" y="5357"/>
                    </a:lnTo>
                    <a:lnTo>
                      <a:pt x="2532" y="5420"/>
                    </a:lnTo>
                    <a:lnTo>
                      <a:pt x="2512" y="5567"/>
                    </a:lnTo>
                    <a:lnTo>
                      <a:pt x="2532" y="5650"/>
                    </a:lnTo>
                    <a:lnTo>
                      <a:pt x="2574" y="5650"/>
                    </a:lnTo>
                    <a:lnTo>
                      <a:pt x="2616" y="5587"/>
                    </a:lnTo>
                    <a:lnTo>
                      <a:pt x="2658" y="5567"/>
                    </a:lnTo>
                    <a:lnTo>
                      <a:pt x="2721" y="5650"/>
                    </a:lnTo>
                    <a:lnTo>
                      <a:pt x="2784" y="5629"/>
                    </a:lnTo>
                    <a:lnTo>
                      <a:pt x="2867" y="5525"/>
                    </a:lnTo>
                    <a:lnTo>
                      <a:pt x="2888" y="5420"/>
                    </a:lnTo>
                    <a:lnTo>
                      <a:pt x="2930" y="5357"/>
                    </a:lnTo>
                    <a:lnTo>
                      <a:pt x="2930" y="5315"/>
                    </a:lnTo>
                    <a:lnTo>
                      <a:pt x="2867" y="5148"/>
                    </a:lnTo>
                    <a:lnTo>
                      <a:pt x="2846" y="5023"/>
                    </a:lnTo>
                    <a:lnTo>
                      <a:pt x="2888" y="4939"/>
                    </a:lnTo>
                    <a:lnTo>
                      <a:pt x="2951" y="4855"/>
                    </a:lnTo>
                    <a:lnTo>
                      <a:pt x="2951" y="4499"/>
                    </a:lnTo>
                    <a:lnTo>
                      <a:pt x="2972" y="4395"/>
                    </a:lnTo>
                    <a:lnTo>
                      <a:pt x="2972" y="4311"/>
                    </a:lnTo>
                    <a:lnTo>
                      <a:pt x="3056" y="4227"/>
                    </a:lnTo>
                    <a:lnTo>
                      <a:pt x="3056" y="4206"/>
                    </a:lnTo>
                    <a:lnTo>
                      <a:pt x="2972" y="4165"/>
                    </a:lnTo>
                    <a:lnTo>
                      <a:pt x="3056" y="4060"/>
                    </a:lnTo>
                    <a:lnTo>
                      <a:pt x="3181" y="4081"/>
                    </a:lnTo>
                    <a:lnTo>
                      <a:pt x="3202" y="4081"/>
                    </a:lnTo>
                    <a:lnTo>
                      <a:pt x="3244" y="3976"/>
                    </a:lnTo>
                    <a:lnTo>
                      <a:pt x="3244" y="3809"/>
                    </a:lnTo>
                    <a:lnTo>
                      <a:pt x="3265" y="3683"/>
                    </a:lnTo>
                    <a:lnTo>
                      <a:pt x="3265" y="3558"/>
                    </a:lnTo>
                    <a:lnTo>
                      <a:pt x="3181" y="3432"/>
                    </a:lnTo>
                    <a:lnTo>
                      <a:pt x="3181" y="3286"/>
                    </a:lnTo>
                    <a:lnTo>
                      <a:pt x="3244" y="3265"/>
                    </a:lnTo>
                    <a:lnTo>
                      <a:pt x="3348" y="3328"/>
                    </a:lnTo>
                    <a:lnTo>
                      <a:pt x="3390" y="3223"/>
                    </a:lnTo>
                    <a:lnTo>
                      <a:pt x="3369" y="3181"/>
                    </a:lnTo>
                    <a:lnTo>
                      <a:pt x="3369" y="3056"/>
                    </a:lnTo>
                    <a:lnTo>
                      <a:pt x="3390" y="2951"/>
                    </a:lnTo>
                    <a:lnTo>
                      <a:pt x="3369" y="2742"/>
                    </a:lnTo>
                    <a:lnTo>
                      <a:pt x="3348" y="2616"/>
                    </a:lnTo>
                    <a:lnTo>
                      <a:pt x="3369" y="2554"/>
                    </a:lnTo>
                    <a:lnTo>
                      <a:pt x="3495" y="2449"/>
                    </a:lnTo>
                    <a:lnTo>
                      <a:pt x="3495" y="2386"/>
                    </a:lnTo>
                    <a:lnTo>
                      <a:pt x="3474" y="2323"/>
                    </a:lnTo>
                    <a:lnTo>
                      <a:pt x="3474" y="2282"/>
                    </a:lnTo>
                    <a:lnTo>
                      <a:pt x="3579" y="2282"/>
                    </a:lnTo>
                    <a:lnTo>
                      <a:pt x="3725" y="2135"/>
                    </a:lnTo>
                    <a:lnTo>
                      <a:pt x="3830" y="2135"/>
                    </a:lnTo>
                    <a:lnTo>
                      <a:pt x="3934" y="2114"/>
                    </a:lnTo>
                    <a:lnTo>
                      <a:pt x="3997" y="2219"/>
                    </a:lnTo>
                    <a:lnTo>
                      <a:pt x="4039" y="2198"/>
                    </a:lnTo>
                    <a:lnTo>
                      <a:pt x="4081" y="2114"/>
                    </a:lnTo>
                    <a:lnTo>
                      <a:pt x="4102" y="2072"/>
                    </a:lnTo>
                    <a:lnTo>
                      <a:pt x="4102" y="1926"/>
                    </a:lnTo>
                    <a:lnTo>
                      <a:pt x="4018" y="1905"/>
                    </a:lnTo>
                    <a:lnTo>
                      <a:pt x="3767" y="1821"/>
                    </a:lnTo>
                    <a:lnTo>
                      <a:pt x="3662" y="1779"/>
                    </a:lnTo>
                    <a:lnTo>
                      <a:pt x="3495" y="1612"/>
                    </a:lnTo>
                    <a:lnTo>
                      <a:pt x="3411" y="1570"/>
                    </a:lnTo>
                    <a:lnTo>
                      <a:pt x="3286" y="1382"/>
                    </a:lnTo>
                    <a:lnTo>
                      <a:pt x="3244" y="1361"/>
                    </a:lnTo>
                    <a:lnTo>
                      <a:pt x="3097" y="1361"/>
                    </a:lnTo>
                    <a:lnTo>
                      <a:pt x="3056" y="1277"/>
                    </a:lnTo>
                    <a:lnTo>
                      <a:pt x="3056" y="1193"/>
                    </a:lnTo>
                    <a:lnTo>
                      <a:pt x="2972" y="942"/>
                    </a:lnTo>
                    <a:lnTo>
                      <a:pt x="2888" y="733"/>
                    </a:lnTo>
                    <a:lnTo>
                      <a:pt x="2742" y="608"/>
                    </a:lnTo>
                    <a:lnTo>
                      <a:pt x="2658" y="670"/>
                    </a:lnTo>
                    <a:lnTo>
                      <a:pt x="2637" y="775"/>
                    </a:lnTo>
                    <a:lnTo>
                      <a:pt x="2658" y="984"/>
                    </a:lnTo>
                    <a:lnTo>
                      <a:pt x="2658" y="1131"/>
                    </a:lnTo>
                    <a:lnTo>
                      <a:pt x="2574" y="1193"/>
                    </a:lnTo>
                    <a:lnTo>
                      <a:pt x="2553" y="1173"/>
                    </a:lnTo>
                    <a:lnTo>
                      <a:pt x="2553" y="1131"/>
                    </a:lnTo>
                    <a:lnTo>
                      <a:pt x="2553" y="963"/>
                    </a:lnTo>
                    <a:lnTo>
                      <a:pt x="2553" y="733"/>
                    </a:lnTo>
                    <a:lnTo>
                      <a:pt x="2616" y="670"/>
                    </a:lnTo>
                    <a:lnTo>
                      <a:pt x="2616" y="545"/>
                    </a:lnTo>
                    <a:lnTo>
                      <a:pt x="2553" y="419"/>
                    </a:lnTo>
                    <a:lnTo>
                      <a:pt x="2449" y="231"/>
                    </a:lnTo>
                    <a:lnTo>
                      <a:pt x="2344" y="189"/>
                    </a:lnTo>
                    <a:lnTo>
                      <a:pt x="2260" y="231"/>
                    </a:lnTo>
                    <a:lnTo>
                      <a:pt x="2219" y="315"/>
                    </a:lnTo>
                    <a:lnTo>
                      <a:pt x="2156" y="294"/>
                    </a:lnTo>
                    <a:lnTo>
                      <a:pt x="2135" y="147"/>
                    </a:lnTo>
                    <a:lnTo>
                      <a:pt x="203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5" name="Google Shape;12128;p43">
              <a:extLst>
                <a:ext uri="{FF2B5EF4-FFF2-40B4-BE49-F238E27FC236}">
                  <a16:creationId xmlns:a16="http://schemas.microsoft.com/office/drawing/2014/main" id="{D67B2D9B-E0BF-DEC0-7AA2-34B65A523E67}"/>
                </a:ext>
              </a:extLst>
            </p:cNvPr>
            <p:cNvSpPr/>
            <p:nvPr/>
          </p:nvSpPr>
          <p:spPr>
            <a:xfrm>
              <a:off x="4614379" y="2777935"/>
              <a:ext cx="83472" cy="139700"/>
            </a:xfrm>
            <a:custGeom>
              <a:avLst/>
              <a:gdLst/>
              <a:ahLst/>
              <a:cxnLst/>
              <a:rect l="l" t="t" r="r" b="b"/>
              <a:pathLst>
                <a:path w="7010" h="12284" extrusionOk="0">
                  <a:moveTo>
                    <a:pt x="4122" y="1"/>
                  </a:moveTo>
                  <a:lnTo>
                    <a:pt x="4122" y="43"/>
                  </a:lnTo>
                  <a:lnTo>
                    <a:pt x="4080" y="126"/>
                  </a:lnTo>
                  <a:lnTo>
                    <a:pt x="4017" y="126"/>
                  </a:lnTo>
                  <a:lnTo>
                    <a:pt x="3996" y="147"/>
                  </a:lnTo>
                  <a:lnTo>
                    <a:pt x="4059" y="231"/>
                  </a:lnTo>
                  <a:lnTo>
                    <a:pt x="4080" y="357"/>
                  </a:lnTo>
                  <a:lnTo>
                    <a:pt x="4289" y="671"/>
                  </a:lnTo>
                  <a:lnTo>
                    <a:pt x="4331" y="796"/>
                  </a:lnTo>
                  <a:lnTo>
                    <a:pt x="4331" y="1005"/>
                  </a:lnTo>
                  <a:lnTo>
                    <a:pt x="4310" y="1089"/>
                  </a:lnTo>
                  <a:lnTo>
                    <a:pt x="4373" y="1277"/>
                  </a:lnTo>
                  <a:lnTo>
                    <a:pt x="4415" y="1382"/>
                  </a:lnTo>
                  <a:lnTo>
                    <a:pt x="4415" y="1424"/>
                  </a:lnTo>
                  <a:lnTo>
                    <a:pt x="4373" y="1424"/>
                  </a:lnTo>
                  <a:lnTo>
                    <a:pt x="4289" y="1528"/>
                  </a:lnTo>
                  <a:lnTo>
                    <a:pt x="4310" y="1633"/>
                  </a:lnTo>
                  <a:lnTo>
                    <a:pt x="4373" y="1738"/>
                  </a:lnTo>
                  <a:lnTo>
                    <a:pt x="4394" y="1800"/>
                  </a:lnTo>
                  <a:lnTo>
                    <a:pt x="4457" y="1821"/>
                  </a:lnTo>
                  <a:lnTo>
                    <a:pt x="4478" y="1905"/>
                  </a:lnTo>
                  <a:lnTo>
                    <a:pt x="4457" y="1926"/>
                  </a:lnTo>
                  <a:lnTo>
                    <a:pt x="4457" y="2010"/>
                  </a:lnTo>
                  <a:lnTo>
                    <a:pt x="4394" y="2051"/>
                  </a:lnTo>
                  <a:lnTo>
                    <a:pt x="4206" y="2031"/>
                  </a:lnTo>
                  <a:lnTo>
                    <a:pt x="4017" y="1926"/>
                  </a:lnTo>
                  <a:lnTo>
                    <a:pt x="3955" y="1947"/>
                  </a:lnTo>
                  <a:lnTo>
                    <a:pt x="3892" y="2031"/>
                  </a:lnTo>
                  <a:lnTo>
                    <a:pt x="3913" y="2093"/>
                  </a:lnTo>
                  <a:lnTo>
                    <a:pt x="3976" y="2093"/>
                  </a:lnTo>
                  <a:lnTo>
                    <a:pt x="4080" y="2156"/>
                  </a:lnTo>
                  <a:lnTo>
                    <a:pt x="4080" y="2219"/>
                  </a:lnTo>
                  <a:lnTo>
                    <a:pt x="4017" y="2261"/>
                  </a:lnTo>
                  <a:lnTo>
                    <a:pt x="3976" y="2365"/>
                  </a:lnTo>
                  <a:lnTo>
                    <a:pt x="3892" y="2407"/>
                  </a:lnTo>
                  <a:lnTo>
                    <a:pt x="3871" y="2449"/>
                  </a:lnTo>
                  <a:lnTo>
                    <a:pt x="3787" y="2470"/>
                  </a:lnTo>
                  <a:lnTo>
                    <a:pt x="3745" y="2575"/>
                  </a:lnTo>
                  <a:lnTo>
                    <a:pt x="3766" y="2679"/>
                  </a:lnTo>
                  <a:lnTo>
                    <a:pt x="3766" y="2847"/>
                  </a:lnTo>
                  <a:lnTo>
                    <a:pt x="3787" y="2930"/>
                  </a:lnTo>
                  <a:lnTo>
                    <a:pt x="3871" y="2930"/>
                  </a:lnTo>
                  <a:lnTo>
                    <a:pt x="3976" y="2993"/>
                  </a:lnTo>
                  <a:lnTo>
                    <a:pt x="4059" y="3077"/>
                  </a:lnTo>
                  <a:lnTo>
                    <a:pt x="4122" y="3286"/>
                  </a:lnTo>
                  <a:lnTo>
                    <a:pt x="4164" y="3495"/>
                  </a:lnTo>
                  <a:lnTo>
                    <a:pt x="4122" y="3516"/>
                  </a:lnTo>
                  <a:lnTo>
                    <a:pt x="4185" y="3621"/>
                  </a:lnTo>
                  <a:lnTo>
                    <a:pt x="4289" y="3684"/>
                  </a:lnTo>
                  <a:lnTo>
                    <a:pt x="4415" y="3516"/>
                  </a:lnTo>
                  <a:lnTo>
                    <a:pt x="4478" y="3412"/>
                  </a:lnTo>
                  <a:lnTo>
                    <a:pt x="4478" y="3349"/>
                  </a:lnTo>
                  <a:lnTo>
                    <a:pt x="4520" y="3286"/>
                  </a:lnTo>
                  <a:lnTo>
                    <a:pt x="4540" y="3286"/>
                  </a:lnTo>
                  <a:cubicBezTo>
                    <a:pt x="4624" y="3370"/>
                    <a:pt x="4708" y="3453"/>
                    <a:pt x="4729" y="3558"/>
                  </a:cubicBezTo>
                  <a:lnTo>
                    <a:pt x="4729" y="3579"/>
                  </a:lnTo>
                  <a:lnTo>
                    <a:pt x="4687" y="3704"/>
                  </a:lnTo>
                  <a:lnTo>
                    <a:pt x="4687" y="3809"/>
                  </a:lnTo>
                  <a:lnTo>
                    <a:pt x="4729" y="3872"/>
                  </a:lnTo>
                  <a:lnTo>
                    <a:pt x="4792" y="3830"/>
                  </a:lnTo>
                  <a:lnTo>
                    <a:pt x="4917" y="3725"/>
                  </a:lnTo>
                  <a:lnTo>
                    <a:pt x="4980" y="3872"/>
                  </a:lnTo>
                  <a:lnTo>
                    <a:pt x="4917" y="3976"/>
                  </a:lnTo>
                  <a:lnTo>
                    <a:pt x="4833" y="4018"/>
                  </a:lnTo>
                  <a:lnTo>
                    <a:pt x="4771" y="3976"/>
                  </a:lnTo>
                  <a:lnTo>
                    <a:pt x="4792" y="4102"/>
                  </a:lnTo>
                  <a:lnTo>
                    <a:pt x="4729" y="4144"/>
                  </a:lnTo>
                  <a:lnTo>
                    <a:pt x="4666" y="4123"/>
                  </a:lnTo>
                  <a:lnTo>
                    <a:pt x="4624" y="4018"/>
                  </a:lnTo>
                  <a:lnTo>
                    <a:pt x="4603" y="3914"/>
                  </a:lnTo>
                  <a:lnTo>
                    <a:pt x="4582" y="3872"/>
                  </a:lnTo>
                  <a:lnTo>
                    <a:pt x="4499" y="3893"/>
                  </a:lnTo>
                  <a:lnTo>
                    <a:pt x="4457" y="3872"/>
                  </a:lnTo>
                  <a:lnTo>
                    <a:pt x="4415" y="3976"/>
                  </a:lnTo>
                  <a:lnTo>
                    <a:pt x="4478" y="4123"/>
                  </a:lnTo>
                  <a:lnTo>
                    <a:pt x="4478" y="4228"/>
                  </a:lnTo>
                  <a:lnTo>
                    <a:pt x="4394" y="4248"/>
                  </a:lnTo>
                  <a:lnTo>
                    <a:pt x="4310" y="4353"/>
                  </a:lnTo>
                  <a:lnTo>
                    <a:pt x="4310" y="4416"/>
                  </a:lnTo>
                  <a:lnTo>
                    <a:pt x="4457" y="4562"/>
                  </a:lnTo>
                  <a:lnTo>
                    <a:pt x="4499" y="4646"/>
                  </a:lnTo>
                  <a:lnTo>
                    <a:pt x="4457" y="4813"/>
                  </a:lnTo>
                  <a:lnTo>
                    <a:pt x="4373" y="4855"/>
                  </a:lnTo>
                  <a:lnTo>
                    <a:pt x="4289" y="4834"/>
                  </a:lnTo>
                  <a:lnTo>
                    <a:pt x="4268" y="4876"/>
                  </a:lnTo>
                  <a:lnTo>
                    <a:pt x="4352" y="4981"/>
                  </a:lnTo>
                  <a:lnTo>
                    <a:pt x="4415" y="4960"/>
                  </a:lnTo>
                  <a:lnTo>
                    <a:pt x="4499" y="4876"/>
                  </a:lnTo>
                  <a:lnTo>
                    <a:pt x="4603" y="5148"/>
                  </a:lnTo>
                  <a:lnTo>
                    <a:pt x="4666" y="5441"/>
                  </a:lnTo>
                  <a:lnTo>
                    <a:pt x="4624" y="5588"/>
                  </a:lnTo>
                  <a:lnTo>
                    <a:pt x="4624" y="5860"/>
                  </a:lnTo>
                  <a:lnTo>
                    <a:pt x="4520" y="6236"/>
                  </a:lnTo>
                  <a:lnTo>
                    <a:pt x="4561" y="6404"/>
                  </a:lnTo>
                  <a:lnTo>
                    <a:pt x="4499" y="6592"/>
                  </a:lnTo>
                  <a:lnTo>
                    <a:pt x="4373" y="6655"/>
                  </a:lnTo>
                  <a:lnTo>
                    <a:pt x="4310" y="6843"/>
                  </a:lnTo>
                  <a:lnTo>
                    <a:pt x="4310" y="7031"/>
                  </a:lnTo>
                  <a:lnTo>
                    <a:pt x="4248" y="7136"/>
                  </a:lnTo>
                  <a:lnTo>
                    <a:pt x="4206" y="7241"/>
                  </a:lnTo>
                  <a:lnTo>
                    <a:pt x="4080" y="7366"/>
                  </a:lnTo>
                  <a:lnTo>
                    <a:pt x="3829" y="7533"/>
                  </a:lnTo>
                  <a:lnTo>
                    <a:pt x="3724" y="7554"/>
                  </a:lnTo>
                  <a:lnTo>
                    <a:pt x="3662" y="7659"/>
                  </a:lnTo>
                  <a:lnTo>
                    <a:pt x="3536" y="7575"/>
                  </a:lnTo>
                  <a:lnTo>
                    <a:pt x="3411" y="7429"/>
                  </a:lnTo>
                  <a:lnTo>
                    <a:pt x="3411" y="7345"/>
                  </a:lnTo>
                  <a:lnTo>
                    <a:pt x="3452" y="7324"/>
                  </a:lnTo>
                  <a:lnTo>
                    <a:pt x="3515" y="7220"/>
                  </a:lnTo>
                  <a:lnTo>
                    <a:pt x="3515" y="7157"/>
                  </a:lnTo>
                  <a:lnTo>
                    <a:pt x="3578" y="7073"/>
                  </a:lnTo>
                  <a:lnTo>
                    <a:pt x="3578" y="7052"/>
                  </a:lnTo>
                  <a:lnTo>
                    <a:pt x="3452" y="7073"/>
                  </a:lnTo>
                  <a:lnTo>
                    <a:pt x="3348" y="7178"/>
                  </a:lnTo>
                  <a:lnTo>
                    <a:pt x="3222" y="7241"/>
                  </a:lnTo>
                  <a:lnTo>
                    <a:pt x="3201" y="7345"/>
                  </a:lnTo>
                  <a:lnTo>
                    <a:pt x="3264" y="7471"/>
                  </a:lnTo>
                  <a:lnTo>
                    <a:pt x="3306" y="7722"/>
                  </a:lnTo>
                  <a:lnTo>
                    <a:pt x="3264" y="7868"/>
                  </a:lnTo>
                  <a:lnTo>
                    <a:pt x="3139" y="7994"/>
                  </a:lnTo>
                  <a:lnTo>
                    <a:pt x="3139" y="8077"/>
                  </a:lnTo>
                  <a:lnTo>
                    <a:pt x="3076" y="8119"/>
                  </a:lnTo>
                  <a:lnTo>
                    <a:pt x="3055" y="8329"/>
                  </a:lnTo>
                  <a:lnTo>
                    <a:pt x="3118" y="8391"/>
                  </a:lnTo>
                  <a:lnTo>
                    <a:pt x="3118" y="8475"/>
                  </a:lnTo>
                  <a:lnTo>
                    <a:pt x="3076" y="8496"/>
                  </a:lnTo>
                  <a:lnTo>
                    <a:pt x="3118" y="8517"/>
                  </a:lnTo>
                  <a:lnTo>
                    <a:pt x="3076" y="8601"/>
                  </a:lnTo>
                  <a:lnTo>
                    <a:pt x="3034" y="8601"/>
                  </a:lnTo>
                  <a:lnTo>
                    <a:pt x="3055" y="8642"/>
                  </a:lnTo>
                  <a:lnTo>
                    <a:pt x="2992" y="8684"/>
                  </a:lnTo>
                  <a:lnTo>
                    <a:pt x="2929" y="8621"/>
                  </a:lnTo>
                  <a:lnTo>
                    <a:pt x="2846" y="8684"/>
                  </a:lnTo>
                  <a:lnTo>
                    <a:pt x="2804" y="8642"/>
                  </a:lnTo>
                  <a:lnTo>
                    <a:pt x="2762" y="8517"/>
                  </a:lnTo>
                  <a:lnTo>
                    <a:pt x="2741" y="8496"/>
                  </a:lnTo>
                  <a:lnTo>
                    <a:pt x="2657" y="8538"/>
                  </a:lnTo>
                  <a:lnTo>
                    <a:pt x="2595" y="8538"/>
                  </a:lnTo>
                  <a:lnTo>
                    <a:pt x="2553" y="8517"/>
                  </a:lnTo>
                  <a:lnTo>
                    <a:pt x="2302" y="8601"/>
                  </a:lnTo>
                  <a:lnTo>
                    <a:pt x="2176" y="8642"/>
                  </a:lnTo>
                  <a:lnTo>
                    <a:pt x="2030" y="8705"/>
                  </a:lnTo>
                  <a:lnTo>
                    <a:pt x="1883" y="8705"/>
                  </a:lnTo>
                  <a:lnTo>
                    <a:pt x="1758" y="8747"/>
                  </a:lnTo>
                  <a:lnTo>
                    <a:pt x="1695" y="8726"/>
                  </a:lnTo>
                  <a:lnTo>
                    <a:pt x="1569" y="8747"/>
                  </a:lnTo>
                  <a:lnTo>
                    <a:pt x="1360" y="8914"/>
                  </a:lnTo>
                  <a:lnTo>
                    <a:pt x="1297" y="9040"/>
                  </a:lnTo>
                  <a:lnTo>
                    <a:pt x="1235" y="9082"/>
                  </a:lnTo>
                  <a:lnTo>
                    <a:pt x="1193" y="9165"/>
                  </a:lnTo>
                  <a:lnTo>
                    <a:pt x="1046" y="9354"/>
                  </a:lnTo>
                  <a:lnTo>
                    <a:pt x="942" y="9375"/>
                  </a:lnTo>
                  <a:lnTo>
                    <a:pt x="858" y="9479"/>
                  </a:lnTo>
                  <a:lnTo>
                    <a:pt x="837" y="9563"/>
                  </a:lnTo>
                  <a:lnTo>
                    <a:pt x="753" y="9647"/>
                  </a:lnTo>
                  <a:lnTo>
                    <a:pt x="607" y="9668"/>
                  </a:lnTo>
                  <a:lnTo>
                    <a:pt x="544" y="9751"/>
                  </a:lnTo>
                  <a:lnTo>
                    <a:pt x="565" y="9940"/>
                  </a:lnTo>
                  <a:lnTo>
                    <a:pt x="628" y="9961"/>
                  </a:lnTo>
                  <a:lnTo>
                    <a:pt x="649" y="10002"/>
                  </a:lnTo>
                  <a:lnTo>
                    <a:pt x="628" y="10065"/>
                  </a:lnTo>
                  <a:lnTo>
                    <a:pt x="607" y="10044"/>
                  </a:lnTo>
                  <a:lnTo>
                    <a:pt x="481" y="10149"/>
                  </a:lnTo>
                  <a:lnTo>
                    <a:pt x="439" y="10212"/>
                  </a:lnTo>
                  <a:lnTo>
                    <a:pt x="377" y="10274"/>
                  </a:lnTo>
                  <a:lnTo>
                    <a:pt x="272" y="10379"/>
                  </a:lnTo>
                  <a:lnTo>
                    <a:pt x="209" y="10463"/>
                  </a:lnTo>
                  <a:lnTo>
                    <a:pt x="105" y="10463"/>
                  </a:lnTo>
                  <a:lnTo>
                    <a:pt x="0" y="10505"/>
                  </a:lnTo>
                  <a:lnTo>
                    <a:pt x="105" y="10505"/>
                  </a:lnTo>
                  <a:lnTo>
                    <a:pt x="167" y="10609"/>
                  </a:lnTo>
                  <a:lnTo>
                    <a:pt x="209" y="10735"/>
                  </a:lnTo>
                  <a:lnTo>
                    <a:pt x="167" y="10777"/>
                  </a:lnTo>
                  <a:lnTo>
                    <a:pt x="126" y="10693"/>
                  </a:lnTo>
                  <a:lnTo>
                    <a:pt x="84" y="10609"/>
                  </a:lnTo>
                  <a:lnTo>
                    <a:pt x="63" y="10714"/>
                  </a:lnTo>
                  <a:lnTo>
                    <a:pt x="84" y="10818"/>
                  </a:lnTo>
                  <a:lnTo>
                    <a:pt x="167" y="10839"/>
                  </a:lnTo>
                  <a:lnTo>
                    <a:pt x="167" y="10923"/>
                  </a:lnTo>
                  <a:lnTo>
                    <a:pt x="126" y="11007"/>
                  </a:lnTo>
                  <a:lnTo>
                    <a:pt x="126" y="11007"/>
                  </a:lnTo>
                  <a:lnTo>
                    <a:pt x="188" y="10965"/>
                  </a:lnTo>
                  <a:lnTo>
                    <a:pt x="230" y="10902"/>
                  </a:lnTo>
                  <a:lnTo>
                    <a:pt x="314" y="10860"/>
                  </a:lnTo>
                  <a:lnTo>
                    <a:pt x="377" y="10902"/>
                  </a:lnTo>
                  <a:lnTo>
                    <a:pt x="314" y="10944"/>
                  </a:lnTo>
                  <a:lnTo>
                    <a:pt x="377" y="10965"/>
                  </a:lnTo>
                  <a:lnTo>
                    <a:pt x="439" y="10944"/>
                  </a:lnTo>
                  <a:lnTo>
                    <a:pt x="439" y="10839"/>
                  </a:lnTo>
                  <a:lnTo>
                    <a:pt x="398" y="10798"/>
                  </a:lnTo>
                  <a:lnTo>
                    <a:pt x="293" y="10818"/>
                  </a:lnTo>
                  <a:lnTo>
                    <a:pt x="293" y="10777"/>
                  </a:lnTo>
                  <a:lnTo>
                    <a:pt x="314" y="10714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439" y="10609"/>
                  </a:lnTo>
                  <a:lnTo>
                    <a:pt x="544" y="10798"/>
                  </a:lnTo>
                  <a:lnTo>
                    <a:pt x="586" y="10923"/>
                  </a:lnTo>
                  <a:lnTo>
                    <a:pt x="628" y="10986"/>
                  </a:lnTo>
                  <a:lnTo>
                    <a:pt x="628" y="11153"/>
                  </a:lnTo>
                  <a:lnTo>
                    <a:pt x="544" y="11342"/>
                  </a:lnTo>
                  <a:lnTo>
                    <a:pt x="439" y="11342"/>
                  </a:lnTo>
                  <a:lnTo>
                    <a:pt x="481" y="11383"/>
                  </a:lnTo>
                  <a:lnTo>
                    <a:pt x="544" y="11551"/>
                  </a:lnTo>
                  <a:lnTo>
                    <a:pt x="586" y="11760"/>
                  </a:lnTo>
                  <a:lnTo>
                    <a:pt x="691" y="11865"/>
                  </a:lnTo>
                  <a:lnTo>
                    <a:pt x="691" y="11969"/>
                  </a:lnTo>
                  <a:lnTo>
                    <a:pt x="628" y="12011"/>
                  </a:lnTo>
                  <a:lnTo>
                    <a:pt x="711" y="12095"/>
                  </a:lnTo>
                  <a:lnTo>
                    <a:pt x="795" y="12095"/>
                  </a:lnTo>
                  <a:lnTo>
                    <a:pt x="858" y="12158"/>
                  </a:lnTo>
                  <a:lnTo>
                    <a:pt x="900" y="12095"/>
                  </a:lnTo>
                  <a:lnTo>
                    <a:pt x="900" y="12053"/>
                  </a:lnTo>
                  <a:lnTo>
                    <a:pt x="816" y="11906"/>
                  </a:lnTo>
                  <a:lnTo>
                    <a:pt x="816" y="11739"/>
                  </a:lnTo>
                  <a:lnTo>
                    <a:pt x="858" y="11676"/>
                  </a:lnTo>
                  <a:lnTo>
                    <a:pt x="921" y="11739"/>
                  </a:lnTo>
                  <a:lnTo>
                    <a:pt x="900" y="11781"/>
                  </a:lnTo>
                  <a:lnTo>
                    <a:pt x="900" y="11844"/>
                  </a:lnTo>
                  <a:lnTo>
                    <a:pt x="963" y="11948"/>
                  </a:lnTo>
                  <a:lnTo>
                    <a:pt x="1004" y="12095"/>
                  </a:lnTo>
                  <a:lnTo>
                    <a:pt x="963" y="12199"/>
                  </a:lnTo>
                  <a:lnTo>
                    <a:pt x="1004" y="12283"/>
                  </a:lnTo>
                  <a:lnTo>
                    <a:pt x="1109" y="12220"/>
                  </a:lnTo>
                  <a:lnTo>
                    <a:pt x="1214" y="12074"/>
                  </a:lnTo>
                  <a:lnTo>
                    <a:pt x="1109" y="11969"/>
                  </a:lnTo>
                  <a:lnTo>
                    <a:pt x="1109" y="11906"/>
                  </a:lnTo>
                  <a:lnTo>
                    <a:pt x="1151" y="11886"/>
                  </a:lnTo>
                  <a:lnTo>
                    <a:pt x="1235" y="11906"/>
                  </a:lnTo>
                  <a:lnTo>
                    <a:pt x="1276" y="11948"/>
                  </a:lnTo>
                  <a:lnTo>
                    <a:pt x="1318" y="11844"/>
                  </a:lnTo>
                  <a:lnTo>
                    <a:pt x="1318" y="11655"/>
                  </a:lnTo>
                  <a:lnTo>
                    <a:pt x="1276" y="11572"/>
                  </a:lnTo>
                  <a:lnTo>
                    <a:pt x="1276" y="11237"/>
                  </a:lnTo>
                  <a:lnTo>
                    <a:pt x="1276" y="11049"/>
                  </a:lnTo>
                  <a:lnTo>
                    <a:pt x="1339" y="10944"/>
                  </a:lnTo>
                  <a:lnTo>
                    <a:pt x="1444" y="10839"/>
                  </a:lnTo>
                  <a:lnTo>
                    <a:pt x="1423" y="10777"/>
                  </a:lnTo>
                  <a:lnTo>
                    <a:pt x="1360" y="10735"/>
                  </a:lnTo>
                  <a:lnTo>
                    <a:pt x="1360" y="10630"/>
                  </a:lnTo>
                  <a:lnTo>
                    <a:pt x="1318" y="10630"/>
                  </a:lnTo>
                  <a:lnTo>
                    <a:pt x="1339" y="10567"/>
                  </a:lnTo>
                  <a:lnTo>
                    <a:pt x="1151" y="10567"/>
                  </a:lnTo>
                  <a:lnTo>
                    <a:pt x="1130" y="10505"/>
                  </a:lnTo>
                  <a:lnTo>
                    <a:pt x="1235" y="10463"/>
                  </a:lnTo>
                  <a:lnTo>
                    <a:pt x="1255" y="10379"/>
                  </a:lnTo>
                  <a:lnTo>
                    <a:pt x="1235" y="10212"/>
                  </a:lnTo>
                  <a:lnTo>
                    <a:pt x="1151" y="10170"/>
                  </a:lnTo>
                  <a:lnTo>
                    <a:pt x="1067" y="10191"/>
                  </a:lnTo>
                  <a:lnTo>
                    <a:pt x="1067" y="10212"/>
                  </a:lnTo>
                  <a:lnTo>
                    <a:pt x="1004" y="10274"/>
                  </a:lnTo>
                  <a:lnTo>
                    <a:pt x="921" y="10274"/>
                  </a:lnTo>
                  <a:lnTo>
                    <a:pt x="795" y="10149"/>
                  </a:lnTo>
                  <a:lnTo>
                    <a:pt x="816" y="10065"/>
                  </a:lnTo>
                  <a:lnTo>
                    <a:pt x="1004" y="9982"/>
                  </a:lnTo>
                  <a:lnTo>
                    <a:pt x="1151" y="9961"/>
                  </a:lnTo>
                  <a:lnTo>
                    <a:pt x="1339" y="10002"/>
                  </a:lnTo>
                  <a:lnTo>
                    <a:pt x="1423" y="10065"/>
                  </a:lnTo>
                  <a:lnTo>
                    <a:pt x="1444" y="10002"/>
                  </a:lnTo>
                  <a:lnTo>
                    <a:pt x="1444" y="9940"/>
                  </a:lnTo>
                  <a:lnTo>
                    <a:pt x="1444" y="9835"/>
                  </a:lnTo>
                  <a:lnTo>
                    <a:pt x="1423" y="9751"/>
                  </a:lnTo>
                  <a:lnTo>
                    <a:pt x="1444" y="9689"/>
                  </a:lnTo>
                  <a:lnTo>
                    <a:pt x="1527" y="9689"/>
                  </a:lnTo>
                  <a:lnTo>
                    <a:pt x="1569" y="9772"/>
                  </a:lnTo>
                  <a:lnTo>
                    <a:pt x="1653" y="9772"/>
                  </a:lnTo>
                  <a:lnTo>
                    <a:pt x="1758" y="9730"/>
                  </a:lnTo>
                  <a:lnTo>
                    <a:pt x="1946" y="9689"/>
                  </a:lnTo>
                  <a:lnTo>
                    <a:pt x="2113" y="9647"/>
                  </a:lnTo>
                  <a:lnTo>
                    <a:pt x="2218" y="9647"/>
                  </a:lnTo>
                  <a:lnTo>
                    <a:pt x="2281" y="9668"/>
                  </a:lnTo>
                  <a:lnTo>
                    <a:pt x="2323" y="9647"/>
                  </a:lnTo>
                  <a:cubicBezTo>
                    <a:pt x="2323" y="9668"/>
                    <a:pt x="2364" y="9730"/>
                    <a:pt x="2364" y="9751"/>
                  </a:cubicBezTo>
                  <a:lnTo>
                    <a:pt x="2218" y="9856"/>
                  </a:lnTo>
                  <a:lnTo>
                    <a:pt x="2218" y="9940"/>
                  </a:lnTo>
                  <a:lnTo>
                    <a:pt x="2155" y="9877"/>
                  </a:lnTo>
                  <a:lnTo>
                    <a:pt x="2051" y="9898"/>
                  </a:lnTo>
                  <a:lnTo>
                    <a:pt x="1967" y="9961"/>
                  </a:lnTo>
                  <a:lnTo>
                    <a:pt x="1904" y="9940"/>
                  </a:lnTo>
                  <a:lnTo>
                    <a:pt x="1841" y="9772"/>
                  </a:lnTo>
                  <a:lnTo>
                    <a:pt x="1779" y="9772"/>
                  </a:lnTo>
                  <a:lnTo>
                    <a:pt x="1632" y="9961"/>
                  </a:lnTo>
                  <a:lnTo>
                    <a:pt x="1632" y="10065"/>
                  </a:lnTo>
                  <a:lnTo>
                    <a:pt x="1527" y="10128"/>
                  </a:lnTo>
                  <a:lnTo>
                    <a:pt x="1486" y="10233"/>
                  </a:lnTo>
                  <a:lnTo>
                    <a:pt x="1653" y="10295"/>
                  </a:lnTo>
                  <a:lnTo>
                    <a:pt x="1674" y="10400"/>
                  </a:lnTo>
                  <a:lnTo>
                    <a:pt x="1653" y="10421"/>
                  </a:lnTo>
                  <a:lnTo>
                    <a:pt x="1653" y="10484"/>
                  </a:lnTo>
                  <a:lnTo>
                    <a:pt x="1737" y="10609"/>
                  </a:lnTo>
                  <a:lnTo>
                    <a:pt x="1862" y="10630"/>
                  </a:lnTo>
                  <a:lnTo>
                    <a:pt x="1862" y="10714"/>
                  </a:lnTo>
                  <a:lnTo>
                    <a:pt x="1904" y="10735"/>
                  </a:lnTo>
                  <a:lnTo>
                    <a:pt x="1946" y="10693"/>
                  </a:lnTo>
                  <a:lnTo>
                    <a:pt x="2009" y="10714"/>
                  </a:lnTo>
                  <a:lnTo>
                    <a:pt x="2072" y="10693"/>
                  </a:lnTo>
                  <a:lnTo>
                    <a:pt x="2072" y="10609"/>
                  </a:lnTo>
                  <a:lnTo>
                    <a:pt x="1967" y="10505"/>
                  </a:lnTo>
                  <a:lnTo>
                    <a:pt x="2009" y="10400"/>
                  </a:lnTo>
                  <a:lnTo>
                    <a:pt x="2072" y="10254"/>
                  </a:lnTo>
                  <a:lnTo>
                    <a:pt x="2197" y="10170"/>
                  </a:lnTo>
                  <a:lnTo>
                    <a:pt x="2218" y="10107"/>
                  </a:lnTo>
                  <a:lnTo>
                    <a:pt x="2364" y="10149"/>
                  </a:lnTo>
                  <a:lnTo>
                    <a:pt x="2511" y="10254"/>
                  </a:lnTo>
                  <a:lnTo>
                    <a:pt x="2574" y="10316"/>
                  </a:lnTo>
                  <a:lnTo>
                    <a:pt x="2636" y="10295"/>
                  </a:lnTo>
                  <a:lnTo>
                    <a:pt x="2699" y="10086"/>
                  </a:lnTo>
                  <a:lnTo>
                    <a:pt x="2825" y="9961"/>
                  </a:lnTo>
                  <a:lnTo>
                    <a:pt x="2825" y="9877"/>
                  </a:lnTo>
                  <a:lnTo>
                    <a:pt x="2783" y="9814"/>
                  </a:lnTo>
                  <a:lnTo>
                    <a:pt x="2741" y="9751"/>
                  </a:lnTo>
                  <a:lnTo>
                    <a:pt x="2616" y="9647"/>
                  </a:lnTo>
                  <a:lnTo>
                    <a:pt x="2532" y="9647"/>
                  </a:lnTo>
                  <a:lnTo>
                    <a:pt x="2469" y="9584"/>
                  </a:lnTo>
                  <a:lnTo>
                    <a:pt x="2302" y="9584"/>
                  </a:lnTo>
                  <a:cubicBezTo>
                    <a:pt x="2302" y="9563"/>
                    <a:pt x="2302" y="9521"/>
                    <a:pt x="2281" y="9479"/>
                  </a:cubicBezTo>
                  <a:lnTo>
                    <a:pt x="2281" y="9458"/>
                  </a:lnTo>
                  <a:lnTo>
                    <a:pt x="2406" y="9375"/>
                  </a:lnTo>
                  <a:lnTo>
                    <a:pt x="2427" y="9333"/>
                  </a:lnTo>
                  <a:lnTo>
                    <a:pt x="2574" y="9228"/>
                  </a:lnTo>
                  <a:lnTo>
                    <a:pt x="2699" y="9165"/>
                  </a:lnTo>
                  <a:lnTo>
                    <a:pt x="2888" y="9207"/>
                  </a:lnTo>
                  <a:lnTo>
                    <a:pt x="2992" y="9165"/>
                  </a:lnTo>
                  <a:lnTo>
                    <a:pt x="3034" y="9228"/>
                  </a:lnTo>
                  <a:lnTo>
                    <a:pt x="3034" y="9333"/>
                  </a:lnTo>
                  <a:lnTo>
                    <a:pt x="2950" y="9458"/>
                  </a:lnTo>
                  <a:lnTo>
                    <a:pt x="2929" y="9563"/>
                  </a:lnTo>
                  <a:lnTo>
                    <a:pt x="2992" y="9584"/>
                  </a:lnTo>
                  <a:lnTo>
                    <a:pt x="2992" y="9689"/>
                  </a:lnTo>
                  <a:lnTo>
                    <a:pt x="2992" y="9793"/>
                  </a:lnTo>
                  <a:lnTo>
                    <a:pt x="2950" y="9856"/>
                  </a:lnTo>
                  <a:lnTo>
                    <a:pt x="2992" y="9961"/>
                  </a:lnTo>
                  <a:lnTo>
                    <a:pt x="3097" y="10002"/>
                  </a:lnTo>
                  <a:lnTo>
                    <a:pt x="3243" y="10170"/>
                  </a:lnTo>
                  <a:lnTo>
                    <a:pt x="3348" y="10191"/>
                  </a:lnTo>
                  <a:lnTo>
                    <a:pt x="3432" y="10170"/>
                  </a:lnTo>
                  <a:lnTo>
                    <a:pt x="3536" y="10002"/>
                  </a:lnTo>
                  <a:lnTo>
                    <a:pt x="3536" y="9898"/>
                  </a:lnTo>
                  <a:lnTo>
                    <a:pt x="3578" y="9856"/>
                  </a:lnTo>
                  <a:lnTo>
                    <a:pt x="3620" y="9793"/>
                  </a:lnTo>
                  <a:lnTo>
                    <a:pt x="3578" y="9710"/>
                  </a:lnTo>
                  <a:lnTo>
                    <a:pt x="3662" y="9584"/>
                  </a:lnTo>
                  <a:lnTo>
                    <a:pt x="3766" y="9563"/>
                  </a:lnTo>
                  <a:lnTo>
                    <a:pt x="3850" y="9563"/>
                  </a:lnTo>
                  <a:lnTo>
                    <a:pt x="3871" y="9500"/>
                  </a:lnTo>
                  <a:lnTo>
                    <a:pt x="3850" y="9458"/>
                  </a:lnTo>
                  <a:lnTo>
                    <a:pt x="3829" y="9333"/>
                  </a:lnTo>
                  <a:lnTo>
                    <a:pt x="3620" y="9249"/>
                  </a:lnTo>
                  <a:lnTo>
                    <a:pt x="3578" y="9186"/>
                  </a:lnTo>
                  <a:lnTo>
                    <a:pt x="3641" y="9040"/>
                  </a:lnTo>
                  <a:lnTo>
                    <a:pt x="3724" y="8977"/>
                  </a:lnTo>
                  <a:lnTo>
                    <a:pt x="3766" y="8956"/>
                  </a:lnTo>
                  <a:lnTo>
                    <a:pt x="3745" y="9019"/>
                  </a:lnTo>
                  <a:lnTo>
                    <a:pt x="3745" y="9145"/>
                  </a:lnTo>
                  <a:lnTo>
                    <a:pt x="3787" y="9165"/>
                  </a:lnTo>
                  <a:lnTo>
                    <a:pt x="3850" y="9145"/>
                  </a:lnTo>
                  <a:lnTo>
                    <a:pt x="3871" y="9124"/>
                  </a:lnTo>
                  <a:lnTo>
                    <a:pt x="3955" y="9145"/>
                  </a:lnTo>
                  <a:lnTo>
                    <a:pt x="3996" y="9186"/>
                  </a:lnTo>
                  <a:lnTo>
                    <a:pt x="4059" y="9165"/>
                  </a:lnTo>
                  <a:lnTo>
                    <a:pt x="4101" y="9165"/>
                  </a:lnTo>
                  <a:lnTo>
                    <a:pt x="4080" y="9228"/>
                  </a:lnTo>
                  <a:lnTo>
                    <a:pt x="3976" y="9249"/>
                  </a:lnTo>
                  <a:lnTo>
                    <a:pt x="3976" y="9270"/>
                  </a:lnTo>
                  <a:lnTo>
                    <a:pt x="3996" y="9291"/>
                  </a:lnTo>
                  <a:lnTo>
                    <a:pt x="4080" y="9270"/>
                  </a:lnTo>
                  <a:lnTo>
                    <a:pt x="4206" y="9186"/>
                  </a:lnTo>
                  <a:lnTo>
                    <a:pt x="4499" y="9228"/>
                  </a:lnTo>
                  <a:lnTo>
                    <a:pt x="4666" y="9186"/>
                  </a:lnTo>
                  <a:lnTo>
                    <a:pt x="4603" y="9165"/>
                  </a:lnTo>
                  <a:lnTo>
                    <a:pt x="4582" y="9061"/>
                  </a:lnTo>
                  <a:lnTo>
                    <a:pt x="4603" y="8935"/>
                  </a:lnTo>
                  <a:lnTo>
                    <a:pt x="4729" y="8873"/>
                  </a:lnTo>
                  <a:lnTo>
                    <a:pt x="4833" y="8914"/>
                  </a:lnTo>
                  <a:lnTo>
                    <a:pt x="4875" y="9019"/>
                  </a:lnTo>
                  <a:lnTo>
                    <a:pt x="4833" y="9124"/>
                  </a:lnTo>
                  <a:lnTo>
                    <a:pt x="4896" y="9186"/>
                  </a:lnTo>
                  <a:lnTo>
                    <a:pt x="4980" y="9186"/>
                  </a:lnTo>
                  <a:lnTo>
                    <a:pt x="5043" y="9061"/>
                  </a:lnTo>
                  <a:lnTo>
                    <a:pt x="4980" y="8852"/>
                  </a:lnTo>
                  <a:lnTo>
                    <a:pt x="5001" y="8726"/>
                  </a:lnTo>
                  <a:lnTo>
                    <a:pt x="5126" y="8621"/>
                  </a:lnTo>
                  <a:lnTo>
                    <a:pt x="5210" y="8621"/>
                  </a:lnTo>
                  <a:lnTo>
                    <a:pt x="5231" y="8559"/>
                  </a:lnTo>
                  <a:lnTo>
                    <a:pt x="5189" y="8496"/>
                  </a:lnTo>
                  <a:lnTo>
                    <a:pt x="5210" y="8349"/>
                  </a:lnTo>
                  <a:lnTo>
                    <a:pt x="5294" y="8308"/>
                  </a:lnTo>
                  <a:lnTo>
                    <a:pt x="5398" y="8329"/>
                  </a:lnTo>
                  <a:lnTo>
                    <a:pt x="5419" y="8391"/>
                  </a:lnTo>
                  <a:lnTo>
                    <a:pt x="5357" y="8454"/>
                  </a:lnTo>
                  <a:lnTo>
                    <a:pt x="5336" y="8621"/>
                  </a:lnTo>
                  <a:lnTo>
                    <a:pt x="5357" y="8956"/>
                  </a:lnTo>
                  <a:lnTo>
                    <a:pt x="5419" y="8998"/>
                  </a:lnTo>
                  <a:lnTo>
                    <a:pt x="5503" y="8935"/>
                  </a:lnTo>
                  <a:lnTo>
                    <a:pt x="5545" y="8831"/>
                  </a:lnTo>
                  <a:lnTo>
                    <a:pt x="5649" y="8831"/>
                  </a:lnTo>
                  <a:lnTo>
                    <a:pt x="5754" y="8726"/>
                  </a:lnTo>
                  <a:lnTo>
                    <a:pt x="5817" y="8580"/>
                  </a:lnTo>
                  <a:lnTo>
                    <a:pt x="5775" y="8475"/>
                  </a:lnTo>
                  <a:lnTo>
                    <a:pt x="5921" y="8370"/>
                  </a:lnTo>
                  <a:lnTo>
                    <a:pt x="5880" y="8287"/>
                  </a:lnTo>
                  <a:lnTo>
                    <a:pt x="5838" y="8224"/>
                  </a:lnTo>
                  <a:lnTo>
                    <a:pt x="5712" y="8057"/>
                  </a:lnTo>
                  <a:lnTo>
                    <a:pt x="5649" y="7910"/>
                  </a:lnTo>
                  <a:lnTo>
                    <a:pt x="5629" y="7638"/>
                  </a:lnTo>
                  <a:lnTo>
                    <a:pt x="5670" y="7324"/>
                  </a:lnTo>
                  <a:lnTo>
                    <a:pt x="5670" y="7115"/>
                  </a:lnTo>
                  <a:lnTo>
                    <a:pt x="5566" y="6717"/>
                  </a:lnTo>
                  <a:lnTo>
                    <a:pt x="5440" y="6529"/>
                  </a:lnTo>
                  <a:lnTo>
                    <a:pt x="5440" y="6383"/>
                  </a:lnTo>
                  <a:lnTo>
                    <a:pt x="5461" y="6194"/>
                  </a:lnTo>
                  <a:lnTo>
                    <a:pt x="5649" y="6111"/>
                  </a:lnTo>
                  <a:lnTo>
                    <a:pt x="5733" y="6111"/>
                  </a:lnTo>
                  <a:lnTo>
                    <a:pt x="5775" y="6194"/>
                  </a:lnTo>
                  <a:lnTo>
                    <a:pt x="5817" y="6132"/>
                  </a:lnTo>
                  <a:lnTo>
                    <a:pt x="5775" y="6006"/>
                  </a:lnTo>
                  <a:lnTo>
                    <a:pt x="5754" y="5922"/>
                  </a:lnTo>
                  <a:lnTo>
                    <a:pt x="5733" y="5880"/>
                  </a:lnTo>
                  <a:lnTo>
                    <a:pt x="5712" y="5776"/>
                  </a:lnTo>
                  <a:lnTo>
                    <a:pt x="5712" y="5713"/>
                  </a:lnTo>
                  <a:lnTo>
                    <a:pt x="5712" y="5650"/>
                  </a:lnTo>
                  <a:lnTo>
                    <a:pt x="5754" y="5567"/>
                  </a:lnTo>
                  <a:lnTo>
                    <a:pt x="5754" y="5546"/>
                  </a:lnTo>
                  <a:lnTo>
                    <a:pt x="5754" y="5462"/>
                  </a:lnTo>
                  <a:lnTo>
                    <a:pt x="5733" y="5399"/>
                  </a:lnTo>
                  <a:lnTo>
                    <a:pt x="5733" y="5274"/>
                  </a:lnTo>
                  <a:lnTo>
                    <a:pt x="5754" y="5190"/>
                  </a:lnTo>
                  <a:lnTo>
                    <a:pt x="5712" y="5127"/>
                  </a:lnTo>
                  <a:lnTo>
                    <a:pt x="5670" y="4876"/>
                  </a:lnTo>
                  <a:lnTo>
                    <a:pt x="5566" y="4709"/>
                  </a:lnTo>
                  <a:lnTo>
                    <a:pt x="5545" y="4709"/>
                  </a:lnTo>
                  <a:lnTo>
                    <a:pt x="5503" y="4667"/>
                  </a:lnTo>
                  <a:lnTo>
                    <a:pt x="5503" y="4437"/>
                  </a:lnTo>
                  <a:lnTo>
                    <a:pt x="5398" y="4332"/>
                  </a:lnTo>
                  <a:lnTo>
                    <a:pt x="5147" y="4081"/>
                  </a:lnTo>
                  <a:lnTo>
                    <a:pt x="5105" y="3976"/>
                  </a:lnTo>
                  <a:lnTo>
                    <a:pt x="5043" y="3788"/>
                  </a:lnTo>
                  <a:lnTo>
                    <a:pt x="5043" y="3600"/>
                  </a:lnTo>
                  <a:lnTo>
                    <a:pt x="5043" y="3558"/>
                  </a:lnTo>
                  <a:lnTo>
                    <a:pt x="4980" y="3600"/>
                  </a:lnTo>
                  <a:lnTo>
                    <a:pt x="4917" y="3600"/>
                  </a:lnTo>
                  <a:lnTo>
                    <a:pt x="4896" y="3579"/>
                  </a:lnTo>
                  <a:lnTo>
                    <a:pt x="4896" y="3558"/>
                  </a:lnTo>
                  <a:cubicBezTo>
                    <a:pt x="4854" y="3474"/>
                    <a:pt x="4812" y="3412"/>
                    <a:pt x="4750" y="3349"/>
                  </a:cubicBezTo>
                  <a:lnTo>
                    <a:pt x="4792" y="3265"/>
                  </a:lnTo>
                  <a:lnTo>
                    <a:pt x="4854" y="3160"/>
                  </a:lnTo>
                  <a:lnTo>
                    <a:pt x="4812" y="3077"/>
                  </a:lnTo>
                  <a:lnTo>
                    <a:pt x="4687" y="3077"/>
                  </a:lnTo>
                  <a:lnTo>
                    <a:pt x="4540" y="3056"/>
                  </a:lnTo>
                  <a:lnTo>
                    <a:pt x="4394" y="2888"/>
                  </a:lnTo>
                  <a:lnTo>
                    <a:pt x="4268" y="2930"/>
                  </a:lnTo>
                  <a:lnTo>
                    <a:pt x="4122" y="2847"/>
                  </a:lnTo>
                  <a:lnTo>
                    <a:pt x="4101" y="2763"/>
                  </a:lnTo>
                  <a:lnTo>
                    <a:pt x="4101" y="2658"/>
                  </a:lnTo>
                  <a:lnTo>
                    <a:pt x="4185" y="2575"/>
                  </a:lnTo>
                  <a:lnTo>
                    <a:pt x="4268" y="2575"/>
                  </a:lnTo>
                  <a:lnTo>
                    <a:pt x="4415" y="2679"/>
                  </a:lnTo>
                  <a:lnTo>
                    <a:pt x="4478" y="2721"/>
                  </a:lnTo>
                  <a:lnTo>
                    <a:pt x="4603" y="2533"/>
                  </a:lnTo>
                  <a:lnTo>
                    <a:pt x="4729" y="2428"/>
                  </a:lnTo>
                  <a:lnTo>
                    <a:pt x="4833" y="2428"/>
                  </a:lnTo>
                  <a:lnTo>
                    <a:pt x="4896" y="2470"/>
                  </a:lnTo>
                  <a:lnTo>
                    <a:pt x="4959" y="2512"/>
                  </a:lnTo>
                  <a:lnTo>
                    <a:pt x="5064" y="2470"/>
                  </a:lnTo>
                  <a:lnTo>
                    <a:pt x="5168" y="2575"/>
                  </a:lnTo>
                  <a:lnTo>
                    <a:pt x="5336" y="2721"/>
                  </a:lnTo>
                  <a:lnTo>
                    <a:pt x="5524" y="2784"/>
                  </a:lnTo>
                  <a:lnTo>
                    <a:pt x="5691" y="2847"/>
                  </a:lnTo>
                  <a:lnTo>
                    <a:pt x="5754" y="2930"/>
                  </a:lnTo>
                  <a:lnTo>
                    <a:pt x="5859" y="2972"/>
                  </a:lnTo>
                  <a:lnTo>
                    <a:pt x="5859" y="2888"/>
                  </a:lnTo>
                  <a:lnTo>
                    <a:pt x="5880" y="2784"/>
                  </a:lnTo>
                  <a:lnTo>
                    <a:pt x="5859" y="2658"/>
                  </a:lnTo>
                  <a:lnTo>
                    <a:pt x="5880" y="2470"/>
                  </a:lnTo>
                  <a:lnTo>
                    <a:pt x="5942" y="2240"/>
                  </a:lnTo>
                  <a:lnTo>
                    <a:pt x="6089" y="2031"/>
                  </a:lnTo>
                  <a:lnTo>
                    <a:pt x="6193" y="2010"/>
                  </a:lnTo>
                  <a:lnTo>
                    <a:pt x="6298" y="2031"/>
                  </a:lnTo>
                  <a:lnTo>
                    <a:pt x="6465" y="2031"/>
                  </a:lnTo>
                  <a:lnTo>
                    <a:pt x="6465" y="1989"/>
                  </a:lnTo>
                  <a:lnTo>
                    <a:pt x="6528" y="1926"/>
                  </a:lnTo>
                  <a:lnTo>
                    <a:pt x="6591" y="1947"/>
                  </a:lnTo>
                  <a:lnTo>
                    <a:pt x="6675" y="1947"/>
                  </a:lnTo>
                  <a:lnTo>
                    <a:pt x="6717" y="1905"/>
                  </a:lnTo>
                  <a:lnTo>
                    <a:pt x="6737" y="1821"/>
                  </a:lnTo>
                  <a:lnTo>
                    <a:pt x="6842" y="1779"/>
                  </a:lnTo>
                  <a:lnTo>
                    <a:pt x="6926" y="1717"/>
                  </a:lnTo>
                  <a:lnTo>
                    <a:pt x="6926" y="1612"/>
                  </a:lnTo>
                  <a:lnTo>
                    <a:pt x="6989" y="1591"/>
                  </a:lnTo>
                  <a:lnTo>
                    <a:pt x="7009" y="1507"/>
                  </a:lnTo>
                  <a:lnTo>
                    <a:pt x="6926" y="1507"/>
                  </a:lnTo>
                  <a:lnTo>
                    <a:pt x="6863" y="1591"/>
                  </a:lnTo>
                  <a:lnTo>
                    <a:pt x="6800" y="1675"/>
                  </a:lnTo>
                  <a:lnTo>
                    <a:pt x="6717" y="1675"/>
                  </a:lnTo>
                  <a:lnTo>
                    <a:pt x="6717" y="1612"/>
                  </a:lnTo>
                  <a:lnTo>
                    <a:pt x="6717" y="1528"/>
                  </a:lnTo>
                  <a:lnTo>
                    <a:pt x="6612" y="1403"/>
                  </a:lnTo>
                  <a:lnTo>
                    <a:pt x="6486" y="1319"/>
                  </a:lnTo>
                  <a:lnTo>
                    <a:pt x="6445" y="1277"/>
                  </a:lnTo>
                  <a:lnTo>
                    <a:pt x="6445" y="1110"/>
                  </a:lnTo>
                  <a:lnTo>
                    <a:pt x="6486" y="943"/>
                  </a:lnTo>
                  <a:lnTo>
                    <a:pt x="6486" y="838"/>
                  </a:lnTo>
                  <a:lnTo>
                    <a:pt x="6465" y="775"/>
                  </a:lnTo>
                  <a:lnTo>
                    <a:pt x="6445" y="796"/>
                  </a:lnTo>
                  <a:lnTo>
                    <a:pt x="6403" y="901"/>
                  </a:lnTo>
                  <a:lnTo>
                    <a:pt x="6298" y="1047"/>
                  </a:lnTo>
                  <a:lnTo>
                    <a:pt x="6131" y="1173"/>
                  </a:lnTo>
                  <a:lnTo>
                    <a:pt x="5963" y="1194"/>
                  </a:lnTo>
                  <a:lnTo>
                    <a:pt x="5901" y="1173"/>
                  </a:lnTo>
                  <a:lnTo>
                    <a:pt x="5838" y="1194"/>
                  </a:lnTo>
                  <a:lnTo>
                    <a:pt x="5733" y="1089"/>
                  </a:lnTo>
                  <a:lnTo>
                    <a:pt x="5608" y="1068"/>
                  </a:lnTo>
                  <a:lnTo>
                    <a:pt x="5419" y="984"/>
                  </a:lnTo>
                  <a:lnTo>
                    <a:pt x="5315" y="880"/>
                  </a:lnTo>
                  <a:lnTo>
                    <a:pt x="5210" y="859"/>
                  </a:lnTo>
                  <a:lnTo>
                    <a:pt x="5147" y="775"/>
                  </a:lnTo>
                  <a:lnTo>
                    <a:pt x="5001" y="671"/>
                  </a:lnTo>
                  <a:lnTo>
                    <a:pt x="4729" y="419"/>
                  </a:lnTo>
                  <a:lnTo>
                    <a:pt x="4645" y="252"/>
                  </a:lnTo>
                  <a:lnTo>
                    <a:pt x="4499" y="231"/>
                  </a:lnTo>
                  <a:lnTo>
                    <a:pt x="4310" y="64"/>
                  </a:lnTo>
                  <a:lnTo>
                    <a:pt x="426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Google Shape;12129;p43">
              <a:extLst>
                <a:ext uri="{FF2B5EF4-FFF2-40B4-BE49-F238E27FC236}">
                  <a16:creationId xmlns:a16="http://schemas.microsoft.com/office/drawing/2014/main" id="{CB2EFC36-F6D9-F3B1-1E65-F7B89A0C520C}"/>
                </a:ext>
              </a:extLst>
            </p:cNvPr>
            <p:cNvSpPr/>
            <p:nvPr/>
          </p:nvSpPr>
          <p:spPr>
            <a:xfrm>
              <a:off x="4580490" y="2850992"/>
              <a:ext cx="28661" cy="38087"/>
            </a:xfrm>
            <a:custGeom>
              <a:avLst/>
              <a:gdLst/>
              <a:ahLst/>
              <a:cxnLst/>
              <a:rect l="l" t="t" r="r" b="b"/>
              <a:pathLst>
                <a:path w="2407" h="3349" extrusionOk="0">
                  <a:moveTo>
                    <a:pt x="1256" y="1"/>
                  </a:moveTo>
                  <a:lnTo>
                    <a:pt x="1005" y="126"/>
                  </a:lnTo>
                  <a:lnTo>
                    <a:pt x="628" y="189"/>
                  </a:lnTo>
                  <a:lnTo>
                    <a:pt x="419" y="377"/>
                  </a:lnTo>
                  <a:lnTo>
                    <a:pt x="210" y="419"/>
                  </a:lnTo>
                  <a:lnTo>
                    <a:pt x="21" y="586"/>
                  </a:lnTo>
                  <a:lnTo>
                    <a:pt x="0" y="712"/>
                  </a:lnTo>
                  <a:lnTo>
                    <a:pt x="0" y="733"/>
                  </a:lnTo>
                  <a:lnTo>
                    <a:pt x="105" y="649"/>
                  </a:lnTo>
                  <a:lnTo>
                    <a:pt x="293" y="691"/>
                  </a:lnTo>
                  <a:lnTo>
                    <a:pt x="210" y="712"/>
                  </a:lnTo>
                  <a:lnTo>
                    <a:pt x="419" y="921"/>
                  </a:lnTo>
                  <a:lnTo>
                    <a:pt x="565" y="1130"/>
                  </a:lnTo>
                  <a:lnTo>
                    <a:pt x="649" y="1130"/>
                  </a:lnTo>
                  <a:lnTo>
                    <a:pt x="607" y="1214"/>
                  </a:lnTo>
                  <a:lnTo>
                    <a:pt x="712" y="1319"/>
                  </a:lnTo>
                  <a:lnTo>
                    <a:pt x="733" y="1423"/>
                  </a:lnTo>
                  <a:lnTo>
                    <a:pt x="544" y="1361"/>
                  </a:lnTo>
                  <a:lnTo>
                    <a:pt x="524" y="1277"/>
                  </a:lnTo>
                  <a:lnTo>
                    <a:pt x="461" y="1381"/>
                  </a:lnTo>
                  <a:lnTo>
                    <a:pt x="398" y="1361"/>
                  </a:lnTo>
                  <a:lnTo>
                    <a:pt x="252" y="1549"/>
                  </a:lnTo>
                  <a:lnTo>
                    <a:pt x="524" y="1653"/>
                  </a:lnTo>
                  <a:lnTo>
                    <a:pt x="607" y="1633"/>
                  </a:lnTo>
                  <a:lnTo>
                    <a:pt x="649" y="1758"/>
                  </a:lnTo>
                  <a:lnTo>
                    <a:pt x="649" y="1988"/>
                  </a:lnTo>
                  <a:lnTo>
                    <a:pt x="712" y="2051"/>
                  </a:lnTo>
                  <a:lnTo>
                    <a:pt x="754" y="2009"/>
                  </a:lnTo>
                  <a:lnTo>
                    <a:pt x="858" y="2197"/>
                  </a:lnTo>
                  <a:lnTo>
                    <a:pt x="670" y="2323"/>
                  </a:lnTo>
                  <a:lnTo>
                    <a:pt x="670" y="2386"/>
                  </a:lnTo>
                  <a:lnTo>
                    <a:pt x="754" y="2469"/>
                  </a:lnTo>
                  <a:lnTo>
                    <a:pt x="754" y="2574"/>
                  </a:lnTo>
                  <a:lnTo>
                    <a:pt x="670" y="2595"/>
                  </a:lnTo>
                  <a:lnTo>
                    <a:pt x="670" y="2700"/>
                  </a:lnTo>
                  <a:lnTo>
                    <a:pt x="733" y="2804"/>
                  </a:lnTo>
                  <a:lnTo>
                    <a:pt x="670" y="2804"/>
                  </a:lnTo>
                  <a:lnTo>
                    <a:pt x="816" y="3097"/>
                  </a:lnTo>
                  <a:lnTo>
                    <a:pt x="879" y="3097"/>
                  </a:lnTo>
                  <a:lnTo>
                    <a:pt x="921" y="3223"/>
                  </a:lnTo>
                  <a:lnTo>
                    <a:pt x="963" y="3244"/>
                  </a:lnTo>
                  <a:lnTo>
                    <a:pt x="963" y="3348"/>
                  </a:lnTo>
                  <a:lnTo>
                    <a:pt x="1047" y="3306"/>
                  </a:lnTo>
                  <a:lnTo>
                    <a:pt x="1047" y="3139"/>
                  </a:lnTo>
                  <a:lnTo>
                    <a:pt x="1088" y="3223"/>
                  </a:lnTo>
                  <a:lnTo>
                    <a:pt x="1172" y="3118"/>
                  </a:lnTo>
                  <a:lnTo>
                    <a:pt x="1444" y="2888"/>
                  </a:lnTo>
                  <a:lnTo>
                    <a:pt x="1549" y="2846"/>
                  </a:lnTo>
                  <a:lnTo>
                    <a:pt x="1570" y="2909"/>
                  </a:lnTo>
                  <a:lnTo>
                    <a:pt x="1653" y="2825"/>
                  </a:lnTo>
                  <a:lnTo>
                    <a:pt x="1695" y="2825"/>
                  </a:lnTo>
                  <a:lnTo>
                    <a:pt x="1758" y="2930"/>
                  </a:lnTo>
                  <a:lnTo>
                    <a:pt x="1863" y="2909"/>
                  </a:lnTo>
                  <a:lnTo>
                    <a:pt x="1905" y="2951"/>
                  </a:lnTo>
                  <a:lnTo>
                    <a:pt x="1967" y="2909"/>
                  </a:lnTo>
                  <a:lnTo>
                    <a:pt x="1925" y="2825"/>
                  </a:lnTo>
                  <a:lnTo>
                    <a:pt x="2072" y="2741"/>
                  </a:lnTo>
                  <a:lnTo>
                    <a:pt x="2197" y="2741"/>
                  </a:lnTo>
                  <a:lnTo>
                    <a:pt x="2344" y="2532"/>
                  </a:lnTo>
                  <a:lnTo>
                    <a:pt x="2323" y="2490"/>
                  </a:lnTo>
                  <a:lnTo>
                    <a:pt x="2407" y="2428"/>
                  </a:lnTo>
                  <a:lnTo>
                    <a:pt x="2344" y="1988"/>
                  </a:lnTo>
                  <a:lnTo>
                    <a:pt x="2323" y="1988"/>
                  </a:lnTo>
                  <a:lnTo>
                    <a:pt x="2281" y="2009"/>
                  </a:lnTo>
                  <a:lnTo>
                    <a:pt x="2281" y="1884"/>
                  </a:lnTo>
                  <a:lnTo>
                    <a:pt x="2197" y="1486"/>
                  </a:lnTo>
                  <a:lnTo>
                    <a:pt x="2114" y="1381"/>
                  </a:lnTo>
                  <a:lnTo>
                    <a:pt x="2114" y="1130"/>
                  </a:lnTo>
                  <a:lnTo>
                    <a:pt x="1779" y="712"/>
                  </a:lnTo>
                  <a:lnTo>
                    <a:pt x="1465" y="398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Google Shape;12130;p43">
              <a:extLst>
                <a:ext uri="{FF2B5EF4-FFF2-40B4-BE49-F238E27FC236}">
                  <a16:creationId xmlns:a16="http://schemas.microsoft.com/office/drawing/2014/main" id="{AFA6BEF8-D749-B623-5D43-928909DE72E8}"/>
                </a:ext>
              </a:extLst>
            </p:cNvPr>
            <p:cNvSpPr/>
            <p:nvPr/>
          </p:nvSpPr>
          <p:spPr>
            <a:xfrm>
              <a:off x="4566534" y="2807208"/>
              <a:ext cx="32650" cy="53553"/>
            </a:xfrm>
            <a:custGeom>
              <a:avLst/>
              <a:gdLst/>
              <a:ahLst/>
              <a:cxnLst/>
              <a:rect l="l" t="t" r="r" b="b"/>
              <a:pathLst>
                <a:path w="2742" h="4709" extrusionOk="0">
                  <a:moveTo>
                    <a:pt x="2260" y="1"/>
                  </a:moveTo>
                  <a:lnTo>
                    <a:pt x="2177" y="42"/>
                  </a:lnTo>
                  <a:lnTo>
                    <a:pt x="2177" y="168"/>
                  </a:lnTo>
                  <a:lnTo>
                    <a:pt x="2177" y="273"/>
                  </a:lnTo>
                  <a:lnTo>
                    <a:pt x="2240" y="377"/>
                  </a:lnTo>
                  <a:lnTo>
                    <a:pt x="2177" y="482"/>
                  </a:lnTo>
                  <a:lnTo>
                    <a:pt x="2093" y="482"/>
                  </a:lnTo>
                  <a:lnTo>
                    <a:pt x="1988" y="607"/>
                  </a:lnTo>
                  <a:lnTo>
                    <a:pt x="1988" y="733"/>
                  </a:lnTo>
                  <a:lnTo>
                    <a:pt x="1737" y="921"/>
                  </a:lnTo>
                  <a:lnTo>
                    <a:pt x="1612" y="921"/>
                  </a:lnTo>
                  <a:lnTo>
                    <a:pt x="1528" y="1005"/>
                  </a:lnTo>
                  <a:lnTo>
                    <a:pt x="1633" y="1089"/>
                  </a:lnTo>
                  <a:lnTo>
                    <a:pt x="1779" y="1214"/>
                  </a:lnTo>
                  <a:lnTo>
                    <a:pt x="1779" y="1298"/>
                  </a:lnTo>
                  <a:lnTo>
                    <a:pt x="1716" y="1444"/>
                  </a:lnTo>
                  <a:lnTo>
                    <a:pt x="1570" y="1423"/>
                  </a:lnTo>
                  <a:lnTo>
                    <a:pt x="1319" y="1444"/>
                  </a:lnTo>
                  <a:lnTo>
                    <a:pt x="1193" y="1402"/>
                  </a:lnTo>
                  <a:lnTo>
                    <a:pt x="1089" y="1444"/>
                  </a:lnTo>
                  <a:lnTo>
                    <a:pt x="1005" y="1361"/>
                  </a:lnTo>
                  <a:lnTo>
                    <a:pt x="942" y="1319"/>
                  </a:lnTo>
                  <a:lnTo>
                    <a:pt x="838" y="1151"/>
                  </a:lnTo>
                  <a:lnTo>
                    <a:pt x="691" y="1298"/>
                  </a:lnTo>
                  <a:lnTo>
                    <a:pt x="691" y="1465"/>
                  </a:lnTo>
                  <a:lnTo>
                    <a:pt x="691" y="1528"/>
                  </a:lnTo>
                  <a:lnTo>
                    <a:pt x="649" y="1633"/>
                  </a:lnTo>
                  <a:lnTo>
                    <a:pt x="566" y="1926"/>
                  </a:lnTo>
                  <a:lnTo>
                    <a:pt x="461" y="1967"/>
                  </a:lnTo>
                  <a:lnTo>
                    <a:pt x="356" y="2156"/>
                  </a:lnTo>
                  <a:lnTo>
                    <a:pt x="210" y="2260"/>
                  </a:lnTo>
                  <a:lnTo>
                    <a:pt x="210" y="2365"/>
                  </a:lnTo>
                  <a:lnTo>
                    <a:pt x="147" y="2511"/>
                  </a:lnTo>
                  <a:lnTo>
                    <a:pt x="1" y="2616"/>
                  </a:lnTo>
                  <a:lnTo>
                    <a:pt x="1" y="2972"/>
                  </a:lnTo>
                  <a:lnTo>
                    <a:pt x="22" y="3014"/>
                  </a:lnTo>
                  <a:lnTo>
                    <a:pt x="43" y="2993"/>
                  </a:lnTo>
                  <a:lnTo>
                    <a:pt x="84" y="3202"/>
                  </a:lnTo>
                  <a:lnTo>
                    <a:pt x="168" y="3139"/>
                  </a:lnTo>
                  <a:lnTo>
                    <a:pt x="168" y="3034"/>
                  </a:lnTo>
                  <a:lnTo>
                    <a:pt x="315" y="3118"/>
                  </a:lnTo>
                  <a:lnTo>
                    <a:pt x="356" y="3202"/>
                  </a:lnTo>
                  <a:lnTo>
                    <a:pt x="545" y="3181"/>
                  </a:lnTo>
                  <a:lnTo>
                    <a:pt x="587" y="3097"/>
                  </a:lnTo>
                  <a:lnTo>
                    <a:pt x="670" y="3097"/>
                  </a:lnTo>
                  <a:lnTo>
                    <a:pt x="649" y="3181"/>
                  </a:lnTo>
                  <a:lnTo>
                    <a:pt x="566" y="3223"/>
                  </a:lnTo>
                  <a:lnTo>
                    <a:pt x="649" y="3348"/>
                  </a:lnTo>
                  <a:lnTo>
                    <a:pt x="524" y="3558"/>
                  </a:lnTo>
                  <a:lnTo>
                    <a:pt x="524" y="3851"/>
                  </a:lnTo>
                  <a:lnTo>
                    <a:pt x="545" y="3913"/>
                  </a:lnTo>
                  <a:lnTo>
                    <a:pt x="775" y="3913"/>
                  </a:lnTo>
                  <a:lnTo>
                    <a:pt x="880" y="3851"/>
                  </a:lnTo>
                  <a:lnTo>
                    <a:pt x="754" y="3955"/>
                  </a:lnTo>
                  <a:lnTo>
                    <a:pt x="608" y="3955"/>
                  </a:lnTo>
                  <a:lnTo>
                    <a:pt x="545" y="4143"/>
                  </a:lnTo>
                  <a:lnTo>
                    <a:pt x="524" y="4374"/>
                  </a:lnTo>
                  <a:lnTo>
                    <a:pt x="482" y="4478"/>
                  </a:lnTo>
                  <a:lnTo>
                    <a:pt x="545" y="4478"/>
                  </a:lnTo>
                  <a:lnTo>
                    <a:pt x="649" y="4436"/>
                  </a:lnTo>
                  <a:lnTo>
                    <a:pt x="775" y="4478"/>
                  </a:lnTo>
                  <a:lnTo>
                    <a:pt x="670" y="4646"/>
                  </a:lnTo>
                  <a:lnTo>
                    <a:pt x="691" y="4708"/>
                  </a:lnTo>
                  <a:lnTo>
                    <a:pt x="838" y="4604"/>
                  </a:lnTo>
                  <a:lnTo>
                    <a:pt x="900" y="4667"/>
                  </a:lnTo>
                  <a:lnTo>
                    <a:pt x="1005" y="4541"/>
                  </a:lnTo>
                  <a:lnTo>
                    <a:pt x="963" y="4478"/>
                  </a:lnTo>
                  <a:lnTo>
                    <a:pt x="1047" y="4436"/>
                  </a:lnTo>
                  <a:lnTo>
                    <a:pt x="1172" y="4562"/>
                  </a:lnTo>
                  <a:lnTo>
                    <a:pt x="1193" y="4436"/>
                  </a:lnTo>
                  <a:lnTo>
                    <a:pt x="1382" y="4269"/>
                  </a:lnTo>
                  <a:lnTo>
                    <a:pt x="1591" y="4227"/>
                  </a:lnTo>
                  <a:lnTo>
                    <a:pt x="1800" y="4039"/>
                  </a:lnTo>
                  <a:lnTo>
                    <a:pt x="2177" y="3976"/>
                  </a:lnTo>
                  <a:lnTo>
                    <a:pt x="2428" y="3851"/>
                  </a:lnTo>
                  <a:lnTo>
                    <a:pt x="2344" y="3725"/>
                  </a:lnTo>
                  <a:lnTo>
                    <a:pt x="1926" y="3495"/>
                  </a:lnTo>
                  <a:lnTo>
                    <a:pt x="1884" y="3390"/>
                  </a:lnTo>
                  <a:lnTo>
                    <a:pt x="1654" y="3348"/>
                  </a:lnTo>
                  <a:lnTo>
                    <a:pt x="1612" y="3202"/>
                  </a:lnTo>
                  <a:lnTo>
                    <a:pt x="1654" y="3118"/>
                  </a:lnTo>
                  <a:lnTo>
                    <a:pt x="1633" y="2993"/>
                  </a:lnTo>
                  <a:lnTo>
                    <a:pt x="1633" y="2867"/>
                  </a:lnTo>
                  <a:lnTo>
                    <a:pt x="1800" y="2762"/>
                  </a:lnTo>
                  <a:lnTo>
                    <a:pt x="1821" y="2616"/>
                  </a:lnTo>
                  <a:lnTo>
                    <a:pt x="1947" y="2574"/>
                  </a:lnTo>
                  <a:lnTo>
                    <a:pt x="2051" y="2574"/>
                  </a:lnTo>
                  <a:lnTo>
                    <a:pt x="2093" y="2490"/>
                  </a:lnTo>
                  <a:lnTo>
                    <a:pt x="2156" y="2449"/>
                  </a:lnTo>
                  <a:lnTo>
                    <a:pt x="2135" y="2344"/>
                  </a:lnTo>
                  <a:lnTo>
                    <a:pt x="2428" y="2051"/>
                  </a:lnTo>
                  <a:lnTo>
                    <a:pt x="2407" y="1988"/>
                  </a:lnTo>
                  <a:lnTo>
                    <a:pt x="2553" y="1863"/>
                  </a:lnTo>
                  <a:lnTo>
                    <a:pt x="2574" y="1737"/>
                  </a:lnTo>
                  <a:lnTo>
                    <a:pt x="2512" y="1654"/>
                  </a:lnTo>
                  <a:lnTo>
                    <a:pt x="2512" y="1361"/>
                  </a:lnTo>
                  <a:lnTo>
                    <a:pt x="2365" y="1256"/>
                  </a:lnTo>
                  <a:lnTo>
                    <a:pt x="2365" y="1110"/>
                  </a:lnTo>
                  <a:lnTo>
                    <a:pt x="2449" y="817"/>
                  </a:lnTo>
                  <a:lnTo>
                    <a:pt x="2449" y="691"/>
                  </a:lnTo>
                  <a:lnTo>
                    <a:pt x="2532" y="691"/>
                  </a:lnTo>
                  <a:lnTo>
                    <a:pt x="2721" y="482"/>
                  </a:lnTo>
                  <a:lnTo>
                    <a:pt x="2742" y="482"/>
                  </a:lnTo>
                  <a:lnTo>
                    <a:pt x="2637" y="356"/>
                  </a:lnTo>
                  <a:lnTo>
                    <a:pt x="2616" y="293"/>
                  </a:lnTo>
                  <a:lnTo>
                    <a:pt x="2428" y="273"/>
                  </a:lnTo>
                  <a:lnTo>
                    <a:pt x="2365" y="189"/>
                  </a:lnTo>
                  <a:lnTo>
                    <a:pt x="2365" y="84"/>
                  </a:lnTo>
                  <a:lnTo>
                    <a:pt x="226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Google Shape;12131;p43">
              <a:extLst>
                <a:ext uri="{FF2B5EF4-FFF2-40B4-BE49-F238E27FC236}">
                  <a16:creationId xmlns:a16="http://schemas.microsoft.com/office/drawing/2014/main" id="{3B05A6D7-FBC1-A961-F0F9-83A440B74CF9}"/>
                </a:ext>
              </a:extLst>
            </p:cNvPr>
            <p:cNvSpPr/>
            <p:nvPr/>
          </p:nvSpPr>
          <p:spPr>
            <a:xfrm>
              <a:off x="4301938" y="2737722"/>
              <a:ext cx="211787" cy="95438"/>
            </a:xfrm>
            <a:custGeom>
              <a:avLst/>
              <a:gdLst/>
              <a:ahLst/>
              <a:cxnLst/>
              <a:rect l="l" t="t" r="r" b="b"/>
              <a:pathLst>
                <a:path w="17786" h="8392" extrusionOk="0">
                  <a:moveTo>
                    <a:pt x="5232" y="1"/>
                  </a:moveTo>
                  <a:lnTo>
                    <a:pt x="5169" y="85"/>
                  </a:lnTo>
                  <a:lnTo>
                    <a:pt x="5169" y="147"/>
                  </a:lnTo>
                  <a:lnTo>
                    <a:pt x="5190" y="252"/>
                  </a:lnTo>
                  <a:lnTo>
                    <a:pt x="5169" y="336"/>
                  </a:lnTo>
                  <a:lnTo>
                    <a:pt x="5085" y="336"/>
                  </a:lnTo>
                  <a:lnTo>
                    <a:pt x="5002" y="357"/>
                  </a:lnTo>
                  <a:lnTo>
                    <a:pt x="4918" y="461"/>
                  </a:lnTo>
                  <a:lnTo>
                    <a:pt x="4918" y="545"/>
                  </a:lnTo>
                  <a:lnTo>
                    <a:pt x="4813" y="670"/>
                  </a:lnTo>
                  <a:lnTo>
                    <a:pt x="4813" y="963"/>
                  </a:lnTo>
                  <a:lnTo>
                    <a:pt x="4855" y="1089"/>
                  </a:lnTo>
                  <a:lnTo>
                    <a:pt x="5023" y="1152"/>
                  </a:lnTo>
                  <a:lnTo>
                    <a:pt x="5085" y="1214"/>
                  </a:lnTo>
                  <a:lnTo>
                    <a:pt x="5190" y="1256"/>
                  </a:lnTo>
                  <a:lnTo>
                    <a:pt x="5211" y="1340"/>
                  </a:lnTo>
                  <a:lnTo>
                    <a:pt x="5190" y="1507"/>
                  </a:lnTo>
                  <a:lnTo>
                    <a:pt x="5190" y="1696"/>
                  </a:lnTo>
                  <a:lnTo>
                    <a:pt x="5295" y="1779"/>
                  </a:lnTo>
                  <a:lnTo>
                    <a:pt x="5378" y="1863"/>
                  </a:lnTo>
                  <a:lnTo>
                    <a:pt x="5232" y="2010"/>
                  </a:lnTo>
                  <a:lnTo>
                    <a:pt x="5043" y="2030"/>
                  </a:lnTo>
                  <a:lnTo>
                    <a:pt x="4960" y="2010"/>
                  </a:lnTo>
                  <a:lnTo>
                    <a:pt x="4918" y="2072"/>
                  </a:lnTo>
                  <a:lnTo>
                    <a:pt x="4813" y="2072"/>
                  </a:lnTo>
                  <a:lnTo>
                    <a:pt x="4709" y="2010"/>
                  </a:lnTo>
                  <a:lnTo>
                    <a:pt x="4479" y="2010"/>
                  </a:lnTo>
                  <a:lnTo>
                    <a:pt x="4374" y="2030"/>
                  </a:lnTo>
                  <a:lnTo>
                    <a:pt x="4290" y="1989"/>
                  </a:lnTo>
                  <a:lnTo>
                    <a:pt x="4186" y="1968"/>
                  </a:lnTo>
                  <a:lnTo>
                    <a:pt x="4081" y="1968"/>
                  </a:lnTo>
                  <a:lnTo>
                    <a:pt x="3955" y="2072"/>
                  </a:lnTo>
                  <a:lnTo>
                    <a:pt x="3851" y="2093"/>
                  </a:lnTo>
                  <a:lnTo>
                    <a:pt x="3767" y="2135"/>
                  </a:lnTo>
                  <a:lnTo>
                    <a:pt x="3558" y="2030"/>
                  </a:lnTo>
                  <a:lnTo>
                    <a:pt x="3453" y="1968"/>
                  </a:lnTo>
                  <a:lnTo>
                    <a:pt x="3181" y="1800"/>
                  </a:lnTo>
                  <a:lnTo>
                    <a:pt x="3139" y="1717"/>
                  </a:lnTo>
                  <a:lnTo>
                    <a:pt x="3118" y="1612"/>
                  </a:lnTo>
                  <a:lnTo>
                    <a:pt x="3077" y="1549"/>
                  </a:lnTo>
                  <a:lnTo>
                    <a:pt x="2888" y="1549"/>
                  </a:lnTo>
                  <a:lnTo>
                    <a:pt x="2805" y="1591"/>
                  </a:lnTo>
                  <a:lnTo>
                    <a:pt x="2700" y="1591"/>
                  </a:lnTo>
                  <a:lnTo>
                    <a:pt x="2658" y="1612"/>
                  </a:lnTo>
                  <a:lnTo>
                    <a:pt x="2512" y="1612"/>
                  </a:lnTo>
                  <a:lnTo>
                    <a:pt x="2470" y="1549"/>
                  </a:lnTo>
                  <a:lnTo>
                    <a:pt x="2428" y="1486"/>
                  </a:lnTo>
                  <a:lnTo>
                    <a:pt x="2365" y="1382"/>
                  </a:lnTo>
                  <a:lnTo>
                    <a:pt x="2344" y="1382"/>
                  </a:lnTo>
                  <a:lnTo>
                    <a:pt x="2261" y="1445"/>
                  </a:lnTo>
                  <a:lnTo>
                    <a:pt x="2030" y="1445"/>
                  </a:lnTo>
                  <a:lnTo>
                    <a:pt x="1905" y="1466"/>
                  </a:lnTo>
                  <a:lnTo>
                    <a:pt x="1717" y="1486"/>
                  </a:lnTo>
                  <a:lnTo>
                    <a:pt x="1633" y="1549"/>
                  </a:lnTo>
                  <a:lnTo>
                    <a:pt x="1549" y="1675"/>
                  </a:lnTo>
                  <a:lnTo>
                    <a:pt x="1466" y="1717"/>
                  </a:lnTo>
                  <a:lnTo>
                    <a:pt x="1298" y="1675"/>
                  </a:lnTo>
                  <a:lnTo>
                    <a:pt x="1256" y="1717"/>
                  </a:lnTo>
                  <a:lnTo>
                    <a:pt x="1256" y="1800"/>
                  </a:lnTo>
                  <a:lnTo>
                    <a:pt x="1319" y="1863"/>
                  </a:lnTo>
                  <a:lnTo>
                    <a:pt x="1256" y="1884"/>
                  </a:lnTo>
                  <a:lnTo>
                    <a:pt x="1193" y="2010"/>
                  </a:lnTo>
                  <a:lnTo>
                    <a:pt x="1110" y="2030"/>
                  </a:lnTo>
                  <a:lnTo>
                    <a:pt x="1005" y="2114"/>
                  </a:lnTo>
                  <a:lnTo>
                    <a:pt x="1005" y="2198"/>
                  </a:lnTo>
                  <a:lnTo>
                    <a:pt x="838" y="2282"/>
                  </a:lnTo>
                  <a:lnTo>
                    <a:pt x="817" y="2386"/>
                  </a:lnTo>
                  <a:lnTo>
                    <a:pt x="796" y="2512"/>
                  </a:lnTo>
                  <a:lnTo>
                    <a:pt x="608" y="2554"/>
                  </a:lnTo>
                  <a:lnTo>
                    <a:pt x="503" y="2658"/>
                  </a:lnTo>
                  <a:lnTo>
                    <a:pt x="482" y="2742"/>
                  </a:lnTo>
                  <a:lnTo>
                    <a:pt x="210" y="2721"/>
                  </a:lnTo>
                  <a:lnTo>
                    <a:pt x="105" y="2763"/>
                  </a:lnTo>
                  <a:lnTo>
                    <a:pt x="1" y="2972"/>
                  </a:lnTo>
                  <a:lnTo>
                    <a:pt x="1" y="3014"/>
                  </a:lnTo>
                  <a:lnTo>
                    <a:pt x="43" y="3056"/>
                  </a:lnTo>
                  <a:lnTo>
                    <a:pt x="43" y="3181"/>
                  </a:lnTo>
                  <a:lnTo>
                    <a:pt x="64" y="3223"/>
                  </a:lnTo>
                  <a:lnTo>
                    <a:pt x="105" y="3286"/>
                  </a:lnTo>
                  <a:lnTo>
                    <a:pt x="147" y="3286"/>
                  </a:lnTo>
                  <a:lnTo>
                    <a:pt x="147" y="3244"/>
                  </a:lnTo>
                  <a:lnTo>
                    <a:pt x="168" y="3244"/>
                  </a:lnTo>
                  <a:lnTo>
                    <a:pt x="189" y="3286"/>
                  </a:lnTo>
                  <a:lnTo>
                    <a:pt x="189" y="3370"/>
                  </a:lnTo>
                  <a:lnTo>
                    <a:pt x="210" y="3453"/>
                  </a:lnTo>
                  <a:lnTo>
                    <a:pt x="294" y="3495"/>
                  </a:lnTo>
                  <a:lnTo>
                    <a:pt x="336" y="3537"/>
                  </a:lnTo>
                  <a:lnTo>
                    <a:pt x="461" y="3642"/>
                  </a:lnTo>
                  <a:lnTo>
                    <a:pt x="566" y="3704"/>
                  </a:lnTo>
                  <a:lnTo>
                    <a:pt x="629" y="3788"/>
                  </a:lnTo>
                  <a:lnTo>
                    <a:pt x="629" y="3851"/>
                  </a:lnTo>
                  <a:lnTo>
                    <a:pt x="670" y="3914"/>
                  </a:lnTo>
                  <a:lnTo>
                    <a:pt x="796" y="3997"/>
                  </a:lnTo>
                  <a:lnTo>
                    <a:pt x="838" y="3997"/>
                  </a:lnTo>
                  <a:lnTo>
                    <a:pt x="859" y="3914"/>
                  </a:lnTo>
                  <a:lnTo>
                    <a:pt x="901" y="3872"/>
                  </a:lnTo>
                  <a:lnTo>
                    <a:pt x="1026" y="3809"/>
                  </a:lnTo>
                  <a:lnTo>
                    <a:pt x="1131" y="3809"/>
                  </a:lnTo>
                  <a:lnTo>
                    <a:pt x="1152" y="3872"/>
                  </a:lnTo>
                  <a:lnTo>
                    <a:pt x="1235" y="3976"/>
                  </a:lnTo>
                  <a:lnTo>
                    <a:pt x="1319" y="3997"/>
                  </a:lnTo>
                  <a:lnTo>
                    <a:pt x="1361" y="3976"/>
                  </a:lnTo>
                  <a:lnTo>
                    <a:pt x="1424" y="3914"/>
                  </a:lnTo>
                  <a:lnTo>
                    <a:pt x="1528" y="3914"/>
                  </a:lnTo>
                  <a:lnTo>
                    <a:pt x="1612" y="3955"/>
                  </a:lnTo>
                  <a:lnTo>
                    <a:pt x="1654" y="4018"/>
                  </a:lnTo>
                  <a:lnTo>
                    <a:pt x="1738" y="4060"/>
                  </a:lnTo>
                  <a:lnTo>
                    <a:pt x="1842" y="4123"/>
                  </a:lnTo>
                  <a:lnTo>
                    <a:pt x="1884" y="4207"/>
                  </a:lnTo>
                  <a:lnTo>
                    <a:pt x="1905" y="4311"/>
                  </a:lnTo>
                  <a:lnTo>
                    <a:pt x="1947" y="4416"/>
                  </a:lnTo>
                  <a:lnTo>
                    <a:pt x="1989" y="4499"/>
                  </a:lnTo>
                  <a:lnTo>
                    <a:pt x="2051" y="4604"/>
                  </a:lnTo>
                  <a:lnTo>
                    <a:pt x="2135" y="4646"/>
                  </a:lnTo>
                  <a:lnTo>
                    <a:pt x="2198" y="4709"/>
                  </a:lnTo>
                  <a:lnTo>
                    <a:pt x="2282" y="4834"/>
                  </a:lnTo>
                  <a:lnTo>
                    <a:pt x="2344" y="4897"/>
                  </a:lnTo>
                  <a:lnTo>
                    <a:pt x="2344" y="5023"/>
                  </a:lnTo>
                  <a:lnTo>
                    <a:pt x="2302" y="5106"/>
                  </a:lnTo>
                  <a:lnTo>
                    <a:pt x="2344" y="5232"/>
                  </a:lnTo>
                  <a:lnTo>
                    <a:pt x="2407" y="5315"/>
                  </a:lnTo>
                  <a:lnTo>
                    <a:pt x="2365" y="5420"/>
                  </a:lnTo>
                  <a:lnTo>
                    <a:pt x="2282" y="5483"/>
                  </a:lnTo>
                  <a:lnTo>
                    <a:pt x="2261" y="5546"/>
                  </a:lnTo>
                  <a:lnTo>
                    <a:pt x="2261" y="5629"/>
                  </a:lnTo>
                  <a:lnTo>
                    <a:pt x="2282" y="5734"/>
                  </a:lnTo>
                  <a:lnTo>
                    <a:pt x="2407" y="5901"/>
                  </a:lnTo>
                  <a:lnTo>
                    <a:pt x="2512" y="5985"/>
                  </a:lnTo>
                  <a:lnTo>
                    <a:pt x="3098" y="6111"/>
                  </a:lnTo>
                  <a:lnTo>
                    <a:pt x="3349" y="6090"/>
                  </a:lnTo>
                  <a:lnTo>
                    <a:pt x="3516" y="6090"/>
                  </a:lnTo>
                  <a:lnTo>
                    <a:pt x="3558" y="6048"/>
                  </a:lnTo>
                  <a:lnTo>
                    <a:pt x="3600" y="6048"/>
                  </a:lnTo>
                  <a:lnTo>
                    <a:pt x="3976" y="6111"/>
                  </a:lnTo>
                  <a:lnTo>
                    <a:pt x="4165" y="6257"/>
                  </a:lnTo>
                  <a:lnTo>
                    <a:pt x="4227" y="6299"/>
                  </a:lnTo>
                  <a:lnTo>
                    <a:pt x="4332" y="6320"/>
                  </a:lnTo>
                  <a:lnTo>
                    <a:pt x="4437" y="6320"/>
                  </a:lnTo>
                  <a:lnTo>
                    <a:pt x="4646" y="6487"/>
                  </a:lnTo>
                  <a:lnTo>
                    <a:pt x="4792" y="6571"/>
                  </a:lnTo>
                  <a:lnTo>
                    <a:pt x="5023" y="6571"/>
                  </a:lnTo>
                  <a:lnTo>
                    <a:pt x="5043" y="6675"/>
                  </a:lnTo>
                  <a:lnTo>
                    <a:pt x="5085" y="6738"/>
                  </a:lnTo>
                  <a:lnTo>
                    <a:pt x="5127" y="6738"/>
                  </a:lnTo>
                  <a:lnTo>
                    <a:pt x="5211" y="6780"/>
                  </a:lnTo>
                  <a:lnTo>
                    <a:pt x="5315" y="6885"/>
                  </a:lnTo>
                  <a:lnTo>
                    <a:pt x="5315" y="6948"/>
                  </a:lnTo>
                  <a:lnTo>
                    <a:pt x="5378" y="7115"/>
                  </a:lnTo>
                  <a:lnTo>
                    <a:pt x="5483" y="7240"/>
                  </a:lnTo>
                  <a:lnTo>
                    <a:pt x="5608" y="7408"/>
                  </a:lnTo>
                  <a:lnTo>
                    <a:pt x="5650" y="7533"/>
                  </a:lnTo>
                  <a:lnTo>
                    <a:pt x="5797" y="7784"/>
                  </a:lnTo>
                  <a:lnTo>
                    <a:pt x="5901" y="7826"/>
                  </a:lnTo>
                  <a:lnTo>
                    <a:pt x="6006" y="7784"/>
                  </a:lnTo>
                  <a:lnTo>
                    <a:pt x="6236" y="7764"/>
                  </a:lnTo>
                  <a:lnTo>
                    <a:pt x="6487" y="7784"/>
                  </a:lnTo>
                  <a:lnTo>
                    <a:pt x="6843" y="7764"/>
                  </a:lnTo>
                  <a:lnTo>
                    <a:pt x="7324" y="7826"/>
                  </a:lnTo>
                  <a:lnTo>
                    <a:pt x="7596" y="7784"/>
                  </a:lnTo>
                  <a:lnTo>
                    <a:pt x="7784" y="7722"/>
                  </a:lnTo>
                  <a:lnTo>
                    <a:pt x="7826" y="7659"/>
                  </a:lnTo>
                  <a:lnTo>
                    <a:pt x="7889" y="7617"/>
                  </a:lnTo>
                  <a:lnTo>
                    <a:pt x="7952" y="7638"/>
                  </a:lnTo>
                  <a:lnTo>
                    <a:pt x="8328" y="7638"/>
                  </a:lnTo>
                  <a:lnTo>
                    <a:pt x="8747" y="7659"/>
                  </a:lnTo>
                  <a:lnTo>
                    <a:pt x="8872" y="7680"/>
                  </a:lnTo>
                  <a:lnTo>
                    <a:pt x="9082" y="7868"/>
                  </a:lnTo>
                  <a:lnTo>
                    <a:pt x="9458" y="8036"/>
                  </a:lnTo>
                  <a:lnTo>
                    <a:pt x="9814" y="8161"/>
                  </a:lnTo>
                  <a:lnTo>
                    <a:pt x="9981" y="8182"/>
                  </a:lnTo>
                  <a:lnTo>
                    <a:pt x="10191" y="8287"/>
                  </a:lnTo>
                  <a:lnTo>
                    <a:pt x="10358" y="8266"/>
                  </a:lnTo>
                  <a:lnTo>
                    <a:pt x="10630" y="8182"/>
                  </a:lnTo>
                  <a:lnTo>
                    <a:pt x="10651" y="8287"/>
                  </a:lnTo>
                  <a:lnTo>
                    <a:pt x="10651" y="8349"/>
                  </a:lnTo>
                  <a:lnTo>
                    <a:pt x="10797" y="8391"/>
                  </a:lnTo>
                  <a:lnTo>
                    <a:pt x="10944" y="8391"/>
                  </a:lnTo>
                  <a:lnTo>
                    <a:pt x="11049" y="8287"/>
                  </a:lnTo>
                  <a:lnTo>
                    <a:pt x="11300" y="8098"/>
                  </a:lnTo>
                  <a:lnTo>
                    <a:pt x="11467" y="7931"/>
                  </a:lnTo>
                  <a:lnTo>
                    <a:pt x="11781" y="7826"/>
                  </a:lnTo>
                  <a:lnTo>
                    <a:pt x="12199" y="7659"/>
                  </a:lnTo>
                  <a:lnTo>
                    <a:pt x="12367" y="7617"/>
                  </a:lnTo>
                  <a:lnTo>
                    <a:pt x="12555" y="7554"/>
                  </a:lnTo>
                  <a:lnTo>
                    <a:pt x="12806" y="7533"/>
                  </a:lnTo>
                  <a:lnTo>
                    <a:pt x="12953" y="7533"/>
                  </a:lnTo>
                  <a:lnTo>
                    <a:pt x="13120" y="7408"/>
                  </a:lnTo>
                  <a:lnTo>
                    <a:pt x="13266" y="7303"/>
                  </a:lnTo>
                  <a:lnTo>
                    <a:pt x="13392" y="7303"/>
                  </a:lnTo>
                  <a:lnTo>
                    <a:pt x="13580" y="7240"/>
                  </a:lnTo>
                  <a:lnTo>
                    <a:pt x="13685" y="7240"/>
                  </a:lnTo>
                  <a:lnTo>
                    <a:pt x="13769" y="7031"/>
                  </a:lnTo>
                  <a:lnTo>
                    <a:pt x="13894" y="6801"/>
                  </a:lnTo>
                  <a:lnTo>
                    <a:pt x="14166" y="6508"/>
                  </a:lnTo>
                  <a:lnTo>
                    <a:pt x="14229" y="6403"/>
                  </a:lnTo>
                  <a:lnTo>
                    <a:pt x="14292" y="6299"/>
                  </a:lnTo>
                  <a:lnTo>
                    <a:pt x="14292" y="6215"/>
                  </a:lnTo>
                  <a:lnTo>
                    <a:pt x="14062" y="6090"/>
                  </a:lnTo>
                  <a:lnTo>
                    <a:pt x="13790" y="5901"/>
                  </a:lnTo>
                  <a:lnTo>
                    <a:pt x="13810" y="5839"/>
                  </a:lnTo>
                  <a:lnTo>
                    <a:pt x="13790" y="5692"/>
                  </a:lnTo>
                  <a:lnTo>
                    <a:pt x="13790" y="5462"/>
                  </a:lnTo>
                  <a:lnTo>
                    <a:pt x="13894" y="5336"/>
                  </a:lnTo>
                  <a:lnTo>
                    <a:pt x="14020" y="5232"/>
                  </a:lnTo>
                  <a:lnTo>
                    <a:pt x="14229" y="5169"/>
                  </a:lnTo>
                  <a:lnTo>
                    <a:pt x="14396" y="5211"/>
                  </a:lnTo>
                  <a:lnTo>
                    <a:pt x="14522" y="5274"/>
                  </a:lnTo>
                  <a:lnTo>
                    <a:pt x="14710" y="5357"/>
                  </a:lnTo>
                  <a:lnTo>
                    <a:pt x="14836" y="5378"/>
                  </a:lnTo>
                  <a:lnTo>
                    <a:pt x="14961" y="5441"/>
                  </a:lnTo>
                  <a:lnTo>
                    <a:pt x="15024" y="5441"/>
                  </a:lnTo>
                  <a:lnTo>
                    <a:pt x="15045" y="5336"/>
                  </a:lnTo>
                  <a:lnTo>
                    <a:pt x="15129" y="5253"/>
                  </a:lnTo>
                  <a:lnTo>
                    <a:pt x="15254" y="5148"/>
                  </a:lnTo>
                  <a:lnTo>
                    <a:pt x="15359" y="5064"/>
                  </a:lnTo>
                  <a:lnTo>
                    <a:pt x="15463" y="4855"/>
                  </a:lnTo>
                  <a:lnTo>
                    <a:pt x="15547" y="4813"/>
                  </a:lnTo>
                  <a:lnTo>
                    <a:pt x="15673" y="4834"/>
                  </a:lnTo>
                  <a:lnTo>
                    <a:pt x="15840" y="4834"/>
                  </a:lnTo>
                  <a:lnTo>
                    <a:pt x="16070" y="4646"/>
                  </a:lnTo>
                  <a:lnTo>
                    <a:pt x="16196" y="4625"/>
                  </a:lnTo>
                  <a:lnTo>
                    <a:pt x="16259" y="4541"/>
                  </a:lnTo>
                  <a:lnTo>
                    <a:pt x="16259" y="4437"/>
                  </a:lnTo>
                  <a:lnTo>
                    <a:pt x="16279" y="4269"/>
                  </a:lnTo>
                  <a:lnTo>
                    <a:pt x="16384" y="4102"/>
                  </a:lnTo>
                  <a:lnTo>
                    <a:pt x="16426" y="4018"/>
                  </a:lnTo>
                  <a:lnTo>
                    <a:pt x="16489" y="4060"/>
                  </a:lnTo>
                  <a:lnTo>
                    <a:pt x="16551" y="4018"/>
                  </a:lnTo>
                  <a:lnTo>
                    <a:pt x="16614" y="3976"/>
                  </a:lnTo>
                  <a:lnTo>
                    <a:pt x="16614" y="3872"/>
                  </a:lnTo>
                  <a:lnTo>
                    <a:pt x="16677" y="3851"/>
                  </a:lnTo>
                  <a:lnTo>
                    <a:pt x="16782" y="3914"/>
                  </a:lnTo>
                  <a:lnTo>
                    <a:pt x="16844" y="3872"/>
                  </a:lnTo>
                  <a:lnTo>
                    <a:pt x="17012" y="3746"/>
                  </a:lnTo>
                  <a:lnTo>
                    <a:pt x="17116" y="3600"/>
                  </a:lnTo>
                  <a:lnTo>
                    <a:pt x="17221" y="3579"/>
                  </a:lnTo>
                  <a:lnTo>
                    <a:pt x="17367" y="3662"/>
                  </a:lnTo>
                  <a:lnTo>
                    <a:pt x="17451" y="3600"/>
                  </a:lnTo>
                  <a:lnTo>
                    <a:pt x="17556" y="3579"/>
                  </a:lnTo>
                  <a:lnTo>
                    <a:pt x="17598" y="3642"/>
                  </a:lnTo>
                  <a:lnTo>
                    <a:pt x="17723" y="3662"/>
                  </a:lnTo>
                  <a:lnTo>
                    <a:pt x="17744" y="3579"/>
                  </a:lnTo>
                  <a:lnTo>
                    <a:pt x="17744" y="3495"/>
                  </a:lnTo>
                  <a:lnTo>
                    <a:pt x="17786" y="3453"/>
                  </a:lnTo>
                  <a:lnTo>
                    <a:pt x="17786" y="3349"/>
                  </a:lnTo>
                  <a:lnTo>
                    <a:pt x="17765" y="3265"/>
                  </a:lnTo>
                  <a:lnTo>
                    <a:pt x="17744" y="3160"/>
                  </a:lnTo>
                  <a:lnTo>
                    <a:pt x="17535" y="3014"/>
                  </a:lnTo>
                  <a:lnTo>
                    <a:pt x="17367" y="2805"/>
                  </a:lnTo>
                  <a:lnTo>
                    <a:pt x="17158" y="2616"/>
                  </a:lnTo>
                  <a:lnTo>
                    <a:pt x="17012" y="2428"/>
                  </a:lnTo>
                  <a:lnTo>
                    <a:pt x="16740" y="2344"/>
                  </a:lnTo>
                  <a:lnTo>
                    <a:pt x="16698" y="2407"/>
                  </a:lnTo>
                  <a:lnTo>
                    <a:pt x="16531" y="2449"/>
                  </a:lnTo>
                  <a:lnTo>
                    <a:pt x="16531" y="2554"/>
                  </a:lnTo>
                  <a:lnTo>
                    <a:pt x="16531" y="2700"/>
                  </a:lnTo>
                  <a:lnTo>
                    <a:pt x="16405" y="2909"/>
                  </a:lnTo>
                  <a:lnTo>
                    <a:pt x="16300" y="2805"/>
                  </a:lnTo>
                  <a:lnTo>
                    <a:pt x="16028" y="2742"/>
                  </a:lnTo>
                  <a:lnTo>
                    <a:pt x="15798" y="2742"/>
                  </a:lnTo>
                  <a:lnTo>
                    <a:pt x="15631" y="2909"/>
                  </a:lnTo>
                  <a:lnTo>
                    <a:pt x="15359" y="2763"/>
                  </a:lnTo>
                  <a:lnTo>
                    <a:pt x="15254" y="2595"/>
                  </a:lnTo>
                  <a:lnTo>
                    <a:pt x="15338" y="2323"/>
                  </a:lnTo>
                  <a:lnTo>
                    <a:pt x="15317" y="2219"/>
                  </a:lnTo>
                  <a:lnTo>
                    <a:pt x="15359" y="2030"/>
                  </a:lnTo>
                  <a:lnTo>
                    <a:pt x="15338" y="1863"/>
                  </a:lnTo>
                  <a:lnTo>
                    <a:pt x="15463" y="963"/>
                  </a:lnTo>
                  <a:lnTo>
                    <a:pt x="15463" y="942"/>
                  </a:lnTo>
                  <a:lnTo>
                    <a:pt x="15422" y="880"/>
                  </a:lnTo>
                  <a:lnTo>
                    <a:pt x="15212" y="838"/>
                  </a:lnTo>
                  <a:lnTo>
                    <a:pt x="14982" y="859"/>
                  </a:lnTo>
                  <a:lnTo>
                    <a:pt x="14982" y="922"/>
                  </a:lnTo>
                  <a:lnTo>
                    <a:pt x="14857" y="984"/>
                  </a:lnTo>
                  <a:lnTo>
                    <a:pt x="14752" y="984"/>
                  </a:lnTo>
                  <a:lnTo>
                    <a:pt x="14710" y="942"/>
                  </a:lnTo>
                  <a:lnTo>
                    <a:pt x="14606" y="1026"/>
                  </a:lnTo>
                  <a:lnTo>
                    <a:pt x="14501" y="963"/>
                  </a:lnTo>
                  <a:lnTo>
                    <a:pt x="14438" y="880"/>
                  </a:lnTo>
                  <a:lnTo>
                    <a:pt x="14313" y="775"/>
                  </a:lnTo>
                  <a:lnTo>
                    <a:pt x="14208" y="775"/>
                  </a:lnTo>
                  <a:lnTo>
                    <a:pt x="14020" y="838"/>
                  </a:lnTo>
                  <a:lnTo>
                    <a:pt x="13999" y="775"/>
                  </a:lnTo>
                  <a:lnTo>
                    <a:pt x="13894" y="775"/>
                  </a:lnTo>
                  <a:lnTo>
                    <a:pt x="13790" y="859"/>
                  </a:lnTo>
                  <a:lnTo>
                    <a:pt x="13769" y="984"/>
                  </a:lnTo>
                  <a:lnTo>
                    <a:pt x="13685" y="1068"/>
                  </a:lnTo>
                  <a:lnTo>
                    <a:pt x="13559" y="1131"/>
                  </a:lnTo>
                  <a:lnTo>
                    <a:pt x="13476" y="1256"/>
                  </a:lnTo>
                  <a:lnTo>
                    <a:pt x="13476" y="1298"/>
                  </a:lnTo>
                  <a:lnTo>
                    <a:pt x="13455" y="1403"/>
                  </a:lnTo>
                  <a:lnTo>
                    <a:pt x="13350" y="1507"/>
                  </a:lnTo>
                  <a:lnTo>
                    <a:pt x="12973" y="1507"/>
                  </a:lnTo>
                  <a:lnTo>
                    <a:pt x="12869" y="1612"/>
                  </a:lnTo>
                  <a:lnTo>
                    <a:pt x="12743" y="1612"/>
                  </a:lnTo>
                  <a:lnTo>
                    <a:pt x="12534" y="1758"/>
                  </a:lnTo>
                  <a:lnTo>
                    <a:pt x="12429" y="1905"/>
                  </a:lnTo>
                  <a:lnTo>
                    <a:pt x="12367" y="1905"/>
                  </a:lnTo>
                  <a:lnTo>
                    <a:pt x="12283" y="1863"/>
                  </a:lnTo>
                  <a:lnTo>
                    <a:pt x="12137" y="1863"/>
                  </a:lnTo>
                  <a:lnTo>
                    <a:pt x="12095" y="1884"/>
                  </a:lnTo>
                  <a:lnTo>
                    <a:pt x="11927" y="1905"/>
                  </a:lnTo>
                  <a:lnTo>
                    <a:pt x="11593" y="1905"/>
                  </a:lnTo>
                  <a:lnTo>
                    <a:pt x="11362" y="1863"/>
                  </a:lnTo>
                  <a:lnTo>
                    <a:pt x="11090" y="1884"/>
                  </a:lnTo>
                  <a:lnTo>
                    <a:pt x="11028" y="1884"/>
                  </a:lnTo>
                  <a:lnTo>
                    <a:pt x="10923" y="1758"/>
                  </a:lnTo>
                  <a:lnTo>
                    <a:pt x="10839" y="1758"/>
                  </a:lnTo>
                  <a:lnTo>
                    <a:pt x="10756" y="1696"/>
                  </a:lnTo>
                  <a:lnTo>
                    <a:pt x="10651" y="1612"/>
                  </a:lnTo>
                  <a:lnTo>
                    <a:pt x="10609" y="1445"/>
                  </a:lnTo>
                  <a:lnTo>
                    <a:pt x="10525" y="1382"/>
                  </a:lnTo>
                  <a:lnTo>
                    <a:pt x="10421" y="1403"/>
                  </a:lnTo>
                  <a:lnTo>
                    <a:pt x="10232" y="1403"/>
                  </a:lnTo>
                  <a:lnTo>
                    <a:pt x="10044" y="1340"/>
                  </a:lnTo>
                  <a:lnTo>
                    <a:pt x="9919" y="1173"/>
                  </a:lnTo>
                  <a:lnTo>
                    <a:pt x="9521" y="1173"/>
                  </a:lnTo>
                  <a:lnTo>
                    <a:pt x="9396" y="1089"/>
                  </a:lnTo>
                  <a:lnTo>
                    <a:pt x="9270" y="1131"/>
                  </a:lnTo>
                  <a:lnTo>
                    <a:pt x="9103" y="1152"/>
                  </a:lnTo>
                  <a:lnTo>
                    <a:pt x="8977" y="1194"/>
                  </a:lnTo>
                  <a:lnTo>
                    <a:pt x="8768" y="1214"/>
                  </a:lnTo>
                  <a:lnTo>
                    <a:pt x="8580" y="1277"/>
                  </a:lnTo>
                  <a:lnTo>
                    <a:pt x="8517" y="1382"/>
                  </a:lnTo>
                  <a:lnTo>
                    <a:pt x="8433" y="1403"/>
                  </a:lnTo>
                  <a:lnTo>
                    <a:pt x="8349" y="1382"/>
                  </a:lnTo>
                  <a:lnTo>
                    <a:pt x="8266" y="1382"/>
                  </a:lnTo>
                  <a:lnTo>
                    <a:pt x="8182" y="1445"/>
                  </a:lnTo>
                  <a:lnTo>
                    <a:pt x="8015" y="1445"/>
                  </a:lnTo>
                  <a:lnTo>
                    <a:pt x="7952" y="1466"/>
                  </a:lnTo>
                  <a:lnTo>
                    <a:pt x="7889" y="1466"/>
                  </a:lnTo>
                  <a:lnTo>
                    <a:pt x="7722" y="1361"/>
                  </a:lnTo>
                  <a:lnTo>
                    <a:pt x="7533" y="1340"/>
                  </a:lnTo>
                  <a:lnTo>
                    <a:pt x="7512" y="1256"/>
                  </a:lnTo>
                  <a:lnTo>
                    <a:pt x="7387" y="1152"/>
                  </a:lnTo>
                  <a:lnTo>
                    <a:pt x="7324" y="1152"/>
                  </a:lnTo>
                  <a:lnTo>
                    <a:pt x="7261" y="1089"/>
                  </a:lnTo>
                  <a:lnTo>
                    <a:pt x="7261" y="984"/>
                  </a:lnTo>
                  <a:lnTo>
                    <a:pt x="7199" y="859"/>
                  </a:lnTo>
                  <a:lnTo>
                    <a:pt x="7136" y="817"/>
                  </a:lnTo>
                  <a:lnTo>
                    <a:pt x="7136" y="691"/>
                  </a:lnTo>
                  <a:lnTo>
                    <a:pt x="7094" y="629"/>
                  </a:lnTo>
                  <a:lnTo>
                    <a:pt x="7094" y="566"/>
                  </a:lnTo>
                  <a:lnTo>
                    <a:pt x="7052" y="461"/>
                  </a:lnTo>
                  <a:lnTo>
                    <a:pt x="6947" y="440"/>
                  </a:lnTo>
                  <a:lnTo>
                    <a:pt x="6696" y="440"/>
                  </a:lnTo>
                  <a:lnTo>
                    <a:pt x="6592" y="419"/>
                  </a:lnTo>
                  <a:lnTo>
                    <a:pt x="6529" y="398"/>
                  </a:lnTo>
                  <a:lnTo>
                    <a:pt x="6383" y="357"/>
                  </a:lnTo>
                  <a:lnTo>
                    <a:pt x="6341" y="315"/>
                  </a:lnTo>
                  <a:lnTo>
                    <a:pt x="6257" y="252"/>
                  </a:lnTo>
                  <a:lnTo>
                    <a:pt x="5901" y="252"/>
                  </a:lnTo>
                  <a:lnTo>
                    <a:pt x="5755" y="210"/>
                  </a:lnTo>
                  <a:lnTo>
                    <a:pt x="5734" y="168"/>
                  </a:lnTo>
                  <a:lnTo>
                    <a:pt x="5567" y="105"/>
                  </a:lnTo>
                  <a:lnTo>
                    <a:pt x="5441" y="43"/>
                  </a:lnTo>
                  <a:lnTo>
                    <a:pt x="537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Google Shape;12132;p43">
              <a:extLst>
                <a:ext uri="{FF2B5EF4-FFF2-40B4-BE49-F238E27FC236}">
                  <a16:creationId xmlns:a16="http://schemas.microsoft.com/office/drawing/2014/main" id="{3D17F9D2-ECB4-9652-8476-B09D1B654293}"/>
                </a:ext>
              </a:extLst>
            </p:cNvPr>
            <p:cNvSpPr/>
            <p:nvPr/>
          </p:nvSpPr>
          <p:spPr>
            <a:xfrm>
              <a:off x="4718522" y="3165089"/>
              <a:ext cx="67277" cy="54986"/>
            </a:xfrm>
            <a:custGeom>
              <a:avLst/>
              <a:gdLst/>
              <a:ahLst/>
              <a:cxnLst/>
              <a:rect l="l" t="t" r="r" b="b"/>
              <a:pathLst>
                <a:path w="5650" h="4835" extrusionOk="0">
                  <a:moveTo>
                    <a:pt x="126" y="1"/>
                  </a:moveTo>
                  <a:lnTo>
                    <a:pt x="42" y="2156"/>
                  </a:lnTo>
                  <a:lnTo>
                    <a:pt x="21" y="2323"/>
                  </a:lnTo>
                  <a:lnTo>
                    <a:pt x="21" y="2407"/>
                  </a:lnTo>
                  <a:lnTo>
                    <a:pt x="21" y="2470"/>
                  </a:lnTo>
                  <a:lnTo>
                    <a:pt x="0" y="3872"/>
                  </a:lnTo>
                  <a:lnTo>
                    <a:pt x="168" y="3872"/>
                  </a:lnTo>
                  <a:lnTo>
                    <a:pt x="251" y="3892"/>
                  </a:lnTo>
                  <a:lnTo>
                    <a:pt x="356" y="3872"/>
                  </a:lnTo>
                  <a:lnTo>
                    <a:pt x="732" y="3872"/>
                  </a:lnTo>
                  <a:lnTo>
                    <a:pt x="753" y="3934"/>
                  </a:lnTo>
                  <a:lnTo>
                    <a:pt x="837" y="3997"/>
                  </a:lnTo>
                  <a:lnTo>
                    <a:pt x="942" y="4039"/>
                  </a:lnTo>
                  <a:lnTo>
                    <a:pt x="1046" y="3955"/>
                  </a:lnTo>
                  <a:lnTo>
                    <a:pt x="1256" y="3892"/>
                  </a:lnTo>
                  <a:lnTo>
                    <a:pt x="1276" y="3851"/>
                  </a:lnTo>
                  <a:lnTo>
                    <a:pt x="1318" y="3892"/>
                  </a:lnTo>
                  <a:lnTo>
                    <a:pt x="1381" y="3830"/>
                  </a:lnTo>
                  <a:lnTo>
                    <a:pt x="1360" y="3662"/>
                  </a:lnTo>
                  <a:lnTo>
                    <a:pt x="1214" y="3558"/>
                  </a:lnTo>
                  <a:lnTo>
                    <a:pt x="1046" y="3474"/>
                  </a:lnTo>
                  <a:lnTo>
                    <a:pt x="900" y="3453"/>
                  </a:lnTo>
                  <a:lnTo>
                    <a:pt x="858" y="3411"/>
                  </a:lnTo>
                  <a:lnTo>
                    <a:pt x="753" y="3369"/>
                  </a:lnTo>
                  <a:lnTo>
                    <a:pt x="732" y="3369"/>
                  </a:lnTo>
                  <a:lnTo>
                    <a:pt x="670" y="3328"/>
                  </a:lnTo>
                  <a:lnTo>
                    <a:pt x="649" y="3202"/>
                  </a:lnTo>
                  <a:lnTo>
                    <a:pt x="544" y="3056"/>
                  </a:lnTo>
                  <a:lnTo>
                    <a:pt x="440" y="3014"/>
                  </a:lnTo>
                  <a:lnTo>
                    <a:pt x="419" y="2930"/>
                  </a:lnTo>
                  <a:lnTo>
                    <a:pt x="335" y="2846"/>
                  </a:lnTo>
                  <a:lnTo>
                    <a:pt x="419" y="2909"/>
                  </a:lnTo>
                  <a:lnTo>
                    <a:pt x="440" y="3014"/>
                  </a:lnTo>
                  <a:lnTo>
                    <a:pt x="523" y="3014"/>
                  </a:lnTo>
                  <a:lnTo>
                    <a:pt x="649" y="3097"/>
                  </a:lnTo>
                  <a:lnTo>
                    <a:pt x="670" y="3202"/>
                  </a:lnTo>
                  <a:lnTo>
                    <a:pt x="670" y="3328"/>
                  </a:lnTo>
                  <a:lnTo>
                    <a:pt x="732" y="3328"/>
                  </a:lnTo>
                  <a:lnTo>
                    <a:pt x="879" y="3348"/>
                  </a:lnTo>
                  <a:lnTo>
                    <a:pt x="963" y="3432"/>
                  </a:lnTo>
                  <a:lnTo>
                    <a:pt x="1151" y="3432"/>
                  </a:lnTo>
                  <a:lnTo>
                    <a:pt x="1297" y="3369"/>
                  </a:lnTo>
                  <a:lnTo>
                    <a:pt x="1423" y="3411"/>
                  </a:lnTo>
                  <a:lnTo>
                    <a:pt x="1507" y="3348"/>
                  </a:lnTo>
                  <a:lnTo>
                    <a:pt x="1486" y="3328"/>
                  </a:lnTo>
                  <a:lnTo>
                    <a:pt x="1402" y="3244"/>
                  </a:lnTo>
                  <a:lnTo>
                    <a:pt x="1360" y="3160"/>
                  </a:lnTo>
                  <a:lnTo>
                    <a:pt x="1276" y="3202"/>
                  </a:lnTo>
                  <a:lnTo>
                    <a:pt x="1256" y="3118"/>
                  </a:lnTo>
                  <a:lnTo>
                    <a:pt x="1297" y="3160"/>
                  </a:lnTo>
                  <a:lnTo>
                    <a:pt x="1423" y="3139"/>
                  </a:lnTo>
                  <a:lnTo>
                    <a:pt x="1507" y="3244"/>
                  </a:lnTo>
                  <a:lnTo>
                    <a:pt x="1611" y="3244"/>
                  </a:lnTo>
                  <a:lnTo>
                    <a:pt x="1569" y="3202"/>
                  </a:lnTo>
                  <a:lnTo>
                    <a:pt x="1569" y="3118"/>
                  </a:lnTo>
                  <a:lnTo>
                    <a:pt x="1611" y="3056"/>
                  </a:lnTo>
                  <a:lnTo>
                    <a:pt x="1611" y="3014"/>
                  </a:lnTo>
                  <a:lnTo>
                    <a:pt x="1611" y="2930"/>
                  </a:lnTo>
                  <a:lnTo>
                    <a:pt x="1528" y="2825"/>
                  </a:lnTo>
                  <a:lnTo>
                    <a:pt x="1528" y="2804"/>
                  </a:lnTo>
                  <a:lnTo>
                    <a:pt x="1632" y="2846"/>
                  </a:lnTo>
                  <a:lnTo>
                    <a:pt x="1674" y="2909"/>
                  </a:lnTo>
                  <a:lnTo>
                    <a:pt x="1779" y="3014"/>
                  </a:lnTo>
                  <a:lnTo>
                    <a:pt x="1883" y="3035"/>
                  </a:lnTo>
                  <a:lnTo>
                    <a:pt x="1883" y="2993"/>
                  </a:lnTo>
                  <a:lnTo>
                    <a:pt x="1841" y="2909"/>
                  </a:lnTo>
                  <a:lnTo>
                    <a:pt x="1883" y="2930"/>
                  </a:lnTo>
                  <a:lnTo>
                    <a:pt x="1904" y="3035"/>
                  </a:lnTo>
                  <a:lnTo>
                    <a:pt x="1946" y="3035"/>
                  </a:lnTo>
                  <a:lnTo>
                    <a:pt x="1946" y="2951"/>
                  </a:lnTo>
                  <a:lnTo>
                    <a:pt x="1925" y="2888"/>
                  </a:lnTo>
                  <a:lnTo>
                    <a:pt x="1946" y="2784"/>
                  </a:lnTo>
                  <a:lnTo>
                    <a:pt x="2009" y="2825"/>
                  </a:lnTo>
                  <a:lnTo>
                    <a:pt x="2155" y="2888"/>
                  </a:lnTo>
                  <a:lnTo>
                    <a:pt x="2197" y="2951"/>
                  </a:lnTo>
                  <a:lnTo>
                    <a:pt x="2260" y="2993"/>
                  </a:lnTo>
                  <a:lnTo>
                    <a:pt x="2323" y="2951"/>
                  </a:lnTo>
                  <a:lnTo>
                    <a:pt x="2365" y="2993"/>
                  </a:lnTo>
                  <a:lnTo>
                    <a:pt x="2427" y="2930"/>
                  </a:lnTo>
                  <a:lnTo>
                    <a:pt x="2427" y="3014"/>
                  </a:lnTo>
                  <a:lnTo>
                    <a:pt x="2427" y="3097"/>
                  </a:lnTo>
                  <a:lnTo>
                    <a:pt x="2469" y="3097"/>
                  </a:lnTo>
                  <a:lnTo>
                    <a:pt x="2553" y="3160"/>
                  </a:lnTo>
                  <a:lnTo>
                    <a:pt x="2867" y="3244"/>
                  </a:lnTo>
                  <a:lnTo>
                    <a:pt x="2950" y="3307"/>
                  </a:lnTo>
                  <a:lnTo>
                    <a:pt x="3055" y="3411"/>
                  </a:lnTo>
                  <a:lnTo>
                    <a:pt x="3076" y="3558"/>
                  </a:lnTo>
                  <a:lnTo>
                    <a:pt x="3243" y="3746"/>
                  </a:lnTo>
                  <a:lnTo>
                    <a:pt x="3264" y="3830"/>
                  </a:lnTo>
                  <a:lnTo>
                    <a:pt x="3369" y="3872"/>
                  </a:lnTo>
                  <a:lnTo>
                    <a:pt x="3453" y="3955"/>
                  </a:lnTo>
                  <a:lnTo>
                    <a:pt x="3473" y="4039"/>
                  </a:lnTo>
                  <a:lnTo>
                    <a:pt x="3725" y="4290"/>
                  </a:lnTo>
                  <a:lnTo>
                    <a:pt x="3725" y="4374"/>
                  </a:lnTo>
                  <a:lnTo>
                    <a:pt x="3829" y="4457"/>
                  </a:lnTo>
                  <a:lnTo>
                    <a:pt x="3997" y="4499"/>
                  </a:lnTo>
                  <a:lnTo>
                    <a:pt x="4080" y="4478"/>
                  </a:lnTo>
                  <a:lnTo>
                    <a:pt x="4122" y="4478"/>
                  </a:lnTo>
                  <a:lnTo>
                    <a:pt x="4206" y="4520"/>
                  </a:lnTo>
                  <a:lnTo>
                    <a:pt x="4394" y="4499"/>
                  </a:lnTo>
                  <a:lnTo>
                    <a:pt x="4520" y="4562"/>
                  </a:lnTo>
                  <a:lnTo>
                    <a:pt x="4624" y="4520"/>
                  </a:lnTo>
                  <a:lnTo>
                    <a:pt x="4771" y="4562"/>
                  </a:lnTo>
                  <a:lnTo>
                    <a:pt x="4875" y="4604"/>
                  </a:lnTo>
                  <a:lnTo>
                    <a:pt x="5022" y="4583"/>
                  </a:lnTo>
                  <a:lnTo>
                    <a:pt x="5064" y="4667"/>
                  </a:lnTo>
                  <a:lnTo>
                    <a:pt x="5168" y="4667"/>
                  </a:lnTo>
                  <a:lnTo>
                    <a:pt x="5189" y="4688"/>
                  </a:lnTo>
                  <a:lnTo>
                    <a:pt x="5126" y="4729"/>
                  </a:lnTo>
                  <a:lnTo>
                    <a:pt x="5252" y="4771"/>
                  </a:lnTo>
                  <a:lnTo>
                    <a:pt x="5378" y="4834"/>
                  </a:lnTo>
                  <a:lnTo>
                    <a:pt x="5503" y="4813"/>
                  </a:lnTo>
                  <a:lnTo>
                    <a:pt x="5545" y="4729"/>
                  </a:lnTo>
                  <a:lnTo>
                    <a:pt x="5398" y="4667"/>
                  </a:lnTo>
                  <a:lnTo>
                    <a:pt x="5357" y="4667"/>
                  </a:lnTo>
                  <a:lnTo>
                    <a:pt x="5357" y="4604"/>
                  </a:lnTo>
                  <a:lnTo>
                    <a:pt x="5461" y="4583"/>
                  </a:lnTo>
                  <a:lnTo>
                    <a:pt x="5545" y="4604"/>
                  </a:lnTo>
                  <a:lnTo>
                    <a:pt x="5650" y="4562"/>
                  </a:lnTo>
                  <a:lnTo>
                    <a:pt x="5440" y="4499"/>
                  </a:lnTo>
                  <a:lnTo>
                    <a:pt x="5168" y="4478"/>
                  </a:lnTo>
                  <a:lnTo>
                    <a:pt x="5043" y="4395"/>
                  </a:lnTo>
                  <a:lnTo>
                    <a:pt x="4980" y="4311"/>
                  </a:lnTo>
                  <a:lnTo>
                    <a:pt x="5126" y="4269"/>
                  </a:lnTo>
                  <a:lnTo>
                    <a:pt x="5189" y="4269"/>
                  </a:lnTo>
                  <a:lnTo>
                    <a:pt x="5252" y="4248"/>
                  </a:lnTo>
                  <a:lnTo>
                    <a:pt x="5168" y="4185"/>
                  </a:lnTo>
                  <a:lnTo>
                    <a:pt x="4959" y="4185"/>
                  </a:lnTo>
                  <a:lnTo>
                    <a:pt x="4771" y="4164"/>
                  </a:lnTo>
                  <a:lnTo>
                    <a:pt x="4708" y="4081"/>
                  </a:lnTo>
                  <a:lnTo>
                    <a:pt x="4708" y="3997"/>
                  </a:lnTo>
                  <a:lnTo>
                    <a:pt x="4771" y="3934"/>
                  </a:lnTo>
                  <a:lnTo>
                    <a:pt x="4813" y="3851"/>
                  </a:lnTo>
                  <a:lnTo>
                    <a:pt x="4750" y="3788"/>
                  </a:lnTo>
                  <a:lnTo>
                    <a:pt x="4666" y="3788"/>
                  </a:lnTo>
                  <a:lnTo>
                    <a:pt x="4624" y="3830"/>
                  </a:lnTo>
                  <a:lnTo>
                    <a:pt x="4541" y="3788"/>
                  </a:lnTo>
                  <a:lnTo>
                    <a:pt x="4457" y="3830"/>
                  </a:lnTo>
                  <a:lnTo>
                    <a:pt x="4352" y="3683"/>
                  </a:lnTo>
                  <a:lnTo>
                    <a:pt x="4352" y="3537"/>
                  </a:lnTo>
                  <a:lnTo>
                    <a:pt x="4248" y="3516"/>
                  </a:lnTo>
                  <a:lnTo>
                    <a:pt x="4143" y="3244"/>
                  </a:lnTo>
                  <a:lnTo>
                    <a:pt x="4101" y="3223"/>
                  </a:lnTo>
                  <a:lnTo>
                    <a:pt x="4080" y="3139"/>
                  </a:lnTo>
                  <a:lnTo>
                    <a:pt x="3934" y="3139"/>
                  </a:lnTo>
                  <a:lnTo>
                    <a:pt x="3871" y="3097"/>
                  </a:lnTo>
                  <a:lnTo>
                    <a:pt x="3808" y="2951"/>
                  </a:lnTo>
                  <a:lnTo>
                    <a:pt x="3683" y="2825"/>
                  </a:lnTo>
                  <a:lnTo>
                    <a:pt x="3662" y="2700"/>
                  </a:lnTo>
                  <a:lnTo>
                    <a:pt x="3578" y="2616"/>
                  </a:lnTo>
                  <a:lnTo>
                    <a:pt x="3494" y="2512"/>
                  </a:lnTo>
                  <a:lnTo>
                    <a:pt x="3515" y="2470"/>
                  </a:lnTo>
                  <a:lnTo>
                    <a:pt x="3766" y="2491"/>
                  </a:lnTo>
                  <a:lnTo>
                    <a:pt x="3976" y="2386"/>
                  </a:lnTo>
                  <a:lnTo>
                    <a:pt x="4017" y="2281"/>
                  </a:lnTo>
                  <a:lnTo>
                    <a:pt x="3997" y="2156"/>
                  </a:lnTo>
                  <a:lnTo>
                    <a:pt x="3829" y="1988"/>
                  </a:lnTo>
                  <a:lnTo>
                    <a:pt x="3704" y="1968"/>
                  </a:lnTo>
                  <a:lnTo>
                    <a:pt x="3662" y="1988"/>
                  </a:lnTo>
                  <a:lnTo>
                    <a:pt x="3557" y="1947"/>
                  </a:lnTo>
                  <a:lnTo>
                    <a:pt x="3348" y="1842"/>
                  </a:lnTo>
                  <a:lnTo>
                    <a:pt x="3243" y="1737"/>
                  </a:lnTo>
                  <a:lnTo>
                    <a:pt x="3097" y="1758"/>
                  </a:lnTo>
                  <a:lnTo>
                    <a:pt x="2846" y="1654"/>
                  </a:lnTo>
                  <a:lnTo>
                    <a:pt x="2825" y="1570"/>
                  </a:lnTo>
                  <a:lnTo>
                    <a:pt x="2867" y="1444"/>
                  </a:lnTo>
                  <a:lnTo>
                    <a:pt x="2888" y="1340"/>
                  </a:lnTo>
                  <a:lnTo>
                    <a:pt x="2825" y="1235"/>
                  </a:lnTo>
                  <a:lnTo>
                    <a:pt x="2616" y="1026"/>
                  </a:lnTo>
                  <a:lnTo>
                    <a:pt x="2553" y="1026"/>
                  </a:lnTo>
                  <a:lnTo>
                    <a:pt x="2511" y="1047"/>
                  </a:lnTo>
                  <a:lnTo>
                    <a:pt x="2448" y="963"/>
                  </a:lnTo>
                  <a:lnTo>
                    <a:pt x="2344" y="900"/>
                  </a:lnTo>
                  <a:lnTo>
                    <a:pt x="2323" y="817"/>
                  </a:lnTo>
                  <a:lnTo>
                    <a:pt x="2197" y="796"/>
                  </a:lnTo>
                  <a:lnTo>
                    <a:pt x="2134" y="712"/>
                  </a:lnTo>
                  <a:lnTo>
                    <a:pt x="2092" y="712"/>
                  </a:lnTo>
                  <a:lnTo>
                    <a:pt x="1988" y="649"/>
                  </a:lnTo>
                  <a:lnTo>
                    <a:pt x="1841" y="649"/>
                  </a:lnTo>
                  <a:lnTo>
                    <a:pt x="1716" y="545"/>
                  </a:lnTo>
                  <a:lnTo>
                    <a:pt x="1590" y="524"/>
                  </a:lnTo>
                  <a:lnTo>
                    <a:pt x="1381" y="398"/>
                  </a:lnTo>
                  <a:lnTo>
                    <a:pt x="1067" y="377"/>
                  </a:lnTo>
                  <a:lnTo>
                    <a:pt x="963" y="315"/>
                  </a:lnTo>
                  <a:lnTo>
                    <a:pt x="879" y="231"/>
                  </a:lnTo>
                  <a:lnTo>
                    <a:pt x="837" y="231"/>
                  </a:lnTo>
                  <a:lnTo>
                    <a:pt x="795" y="273"/>
                  </a:lnTo>
                  <a:lnTo>
                    <a:pt x="565" y="189"/>
                  </a:lnTo>
                  <a:lnTo>
                    <a:pt x="523" y="126"/>
                  </a:lnTo>
                  <a:lnTo>
                    <a:pt x="419" y="84"/>
                  </a:lnTo>
                  <a:lnTo>
                    <a:pt x="23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Google Shape;12133;p43">
              <a:extLst>
                <a:ext uri="{FF2B5EF4-FFF2-40B4-BE49-F238E27FC236}">
                  <a16:creationId xmlns:a16="http://schemas.microsoft.com/office/drawing/2014/main" id="{916C0CDC-40A0-9A06-2702-38E61D4B85A0}"/>
                </a:ext>
              </a:extLst>
            </p:cNvPr>
            <p:cNvSpPr/>
            <p:nvPr/>
          </p:nvSpPr>
          <p:spPr>
            <a:xfrm>
              <a:off x="4567785" y="3016610"/>
              <a:ext cx="54822" cy="91389"/>
            </a:xfrm>
            <a:custGeom>
              <a:avLst/>
              <a:gdLst/>
              <a:ahLst/>
              <a:cxnLst/>
              <a:rect l="l" t="t" r="r" b="b"/>
              <a:pathLst>
                <a:path w="4604" h="8036" extrusionOk="0">
                  <a:moveTo>
                    <a:pt x="586" y="0"/>
                  </a:moveTo>
                  <a:lnTo>
                    <a:pt x="440" y="63"/>
                  </a:lnTo>
                  <a:lnTo>
                    <a:pt x="419" y="189"/>
                  </a:lnTo>
                  <a:lnTo>
                    <a:pt x="314" y="419"/>
                  </a:lnTo>
                  <a:lnTo>
                    <a:pt x="335" y="565"/>
                  </a:lnTo>
                  <a:lnTo>
                    <a:pt x="335" y="795"/>
                  </a:lnTo>
                  <a:lnTo>
                    <a:pt x="251" y="1088"/>
                  </a:lnTo>
                  <a:lnTo>
                    <a:pt x="210" y="1214"/>
                  </a:lnTo>
                  <a:lnTo>
                    <a:pt x="272" y="1402"/>
                  </a:lnTo>
                  <a:lnTo>
                    <a:pt x="272" y="1465"/>
                  </a:lnTo>
                  <a:lnTo>
                    <a:pt x="210" y="1528"/>
                  </a:lnTo>
                  <a:lnTo>
                    <a:pt x="105" y="1507"/>
                  </a:lnTo>
                  <a:lnTo>
                    <a:pt x="21" y="1402"/>
                  </a:lnTo>
                  <a:lnTo>
                    <a:pt x="0" y="1528"/>
                  </a:lnTo>
                  <a:lnTo>
                    <a:pt x="21" y="1653"/>
                  </a:lnTo>
                  <a:lnTo>
                    <a:pt x="105" y="1653"/>
                  </a:lnTo>
                  <a:lnTo>
                    <a:pt x="126" y="1716"/>
                  </a:lnTo>
                  <a:lnTo>
                    <a:pt x="63" y="1779"/>
                  </a:lnTo>
                  <a:lnTo>
                    <a:pt x="126" y="1946"/>
                  </a:lnTo>
                  <a:lnTo>
                    <a:pt x="210" y="2093"/>
                  </a:lnTo>
                  <a:lnTo>
                    <a:pt x="210" y="2302"/>
                  </a:lnTo>
                  <a:lnTo>
                    <a:pt x="251" y="2344"/>
                  </a:lnTo>
                  <a:lnTo>
                    <a:pt x="314" y="2302"/>
                  </a:lnTo>
                  <a:lnTo>
                    <a:pt x="356" y="2344"/>
                  </a:lnTo>
                  <a:lnTo>
                    <a:pt x="356" y="2448"/>
                  </a:lnTo>
                  <a:lnTo>
                    <a:pt x="461" y="2595"/>
                  </a:lnTo>
                  <a:lnTo>
                    <a:pt x="544" y="2595"/>
                  </a:lnTo>
                  <a:lnTo>
                    <a:pt x="628" y="2511"/>
                  </a:lnTo>
                  <a:lnTo>
                    <a:pt x="565" y="2448"/>
                  </a:lnTo>
                  <a:lnTo>
                    <a:pt x="565" y="2365"/>
                  </a:lnTo>
                  <a:lnTo>
                    <a:pt x="691" y="2365"/>
                  </a:lnTo>
                  <a:lnTo>
                    <a:pt x="795" y="2448"/>
                  </a:lnTo>
                  <a:lnTo>
                    <a:pt x="670" y="2595"/>
                  </a:lnTo>
                  <a:lnTo>
                    <a:pt x="628" y="2679"/>
                  </a:lnTo>
                  <a:lnTo>
                    <a:pt x="628" y="2762"/>
                  </a:lnTo>
                  <a:lnTo>
                    <a:pt x="628" y="2888"/>
                  </a:lnTo>
                  <a:lnTo>
                    <a:pt x="691" y="3013"/>
                  </a:lnTo>
                  <a:lnTo>
                    <a:pt x="733" y="2909"/>
                  </a:lnTo>
                  <a:lnTo>
                    <a:pt x="795" y="2888"/>
                  </a:lnTo>
                  <a:lnTo>
                    <a:pt x="858" y="2992"/>
                  </a:lnTo>
                  <a:lnTo>
                    <a:pt x="795" y="3097"/>
                  </a:lnTo>
                  <a:lnTo>
                    <a:pt x="795" y="3097"/>
                  </a:lnTo>
                  <a:lnTo>
                    <a:pt x="879" y="3076"/>
                  </a:lnTo>
                  <a:lnTo>
                    <a:pt x="963" y="3013"/>
                  </a:lnTo>
                  <a:cubicBezTo>
                    <a:pt x="963" y="3097"/>
                    <a:pt x="963" y="3181"/>
                    <a:pt x="984" y="3244"/>
                  </a:cubicBezTo>
                  <a:lnTo>
                    <a:pt x="900" y="3181"/>
                  </a:lnTo>
                  <a:lnTo>
                    <a:pt x="775" y="3202"/>
                  </a:lnTo>
                  <a:lnTo>
                    <a:pt x="649" y="3139"/>
                  </a:lnTo>
                  <a:lnTo>
                    <a:pt x="544" y="3202"/>
                  </a:lnTo>
                  <a:lnTo>
                    <a:pt x="565" y="3244"/>
                  </a:lnTo>
                  <a:lnTo>
                    <a:pt x="649" y="3244"/>
                  </a:lnTo>
                  <a:lnTo>
                    <a:pt x="670" y="3390"/>
                  </a:lnTo>
                  <a:lnTo>
                    <a:pt x="754" y="3411"/>
                  </a:lnTo>
                  <a:lnTo>
                    <a:pt x="816" y="3516"/>
                  </a:lnTo>
                  <a:lnTo>
                    <a:pt x="816" y="3704"/>
                  </a:lnTo>
                  <a:lnTo>
                    <a:pt x="900" y="3746"/>
                  </a:lnTo>
                  <a:lnTo>
                    <a:pt x="900" y="3850"/>
                  </a:lnTo>
                  <a:lnTo>
                    <a:pt x="1005" y="3976"/>
                  </a:lnTo>
                  <a:lnTo>
                    <a:pt x="1109" y="4018"/>
                  </a:lnTo>
                  <a:lnTo>
                    <a:pt x="1214" y="3934"/>
                  </a:lnTo>
                  <a:lnTo>
                    <a:pt x="1214" y="3850"/>
                  </a:lnTo>
                  <a:lnTo>
                    <a:pt x="1277" y="3829"/>
                  </a:lnTo>
                  <a:lnTo>
                    <a:pt x="1277" y="3725"/>
                  </a:lnTo>
                  <a:lnTo>
                    <a:pt x="1214" y="3641"/>
                  </a:lnTo>
                  <a:lnTo>
                    <a:pt x="1277" y="3557"/>
                  </a:lnTo>
                  <a:lnTo>
                    <a:pt x="1277" y="3453"/>
                  </a:lnTo>
                  <a:lnTo>
                    <a:pt x="1172" y="3411"/>
                  </a:lnTo>
                  <a:lnTo>
                    <a:pt x="1109" y="3348"/>
                  </a:lnTo>
                  <a:cubicBezTo>
                    <a:pt x="1130" y="3306"/>
                    <a:pt x="1130" y="3223"/>
                    <a:pt x="1130" y="3181"/>
                  </a:cubicBezTo>
                  <a:lnTo>
                    <a:pt x="1235" y="3097"/>
                  </a:lnTo>
                  <a:lnTo>
                    <a:pt x="1214" y="3013"/>
                  </a:lnTo>
                  <a:lnTo>
                    <a:pt x="1277" y="2930"/>
                  </a:lnTo>
                  <a:lnTo>
                    <a:pt x="1402" y="2930"/>
                  </a:lnTo>
                  <a:lnTo>
                    <a:pt x="1632" y="3034"/>
                  </a:lnTo>
                  <a:lnTo>
                    <a:pt x="1695" y="3118"/>
                  </a:lnTo>
                  <a:lnTo>
                    <a:pt x="1821" y="3202"/>
                  </a:lnTo>
                  <a:lnTo>
                    <a:pt x="1904" y="3327"/>
                  </a:lnTo>
                  <a:lnTo>
                    <a:pt x="1863" y="3306"/>
                  </a:lnTo>
                  <a:cubicBezTo>
                    <a:pt x="1800" y="3264"/>
                    <a:pt x="1716" y="3264"/>
                    <a:pt x="1632" y="3264"/>
                  </a:cubicBezTo>
                  <a:lnTo>
                    <a:pt x="1653" y="3244"/>
                  </a:lnTo>
                  <a:lnTo>
                    <a:pt x="1611" y="3139"/>
                  </a:lnTo>
                  <a:lnTo>
                    <a:pt x="1507" y="3097"/>
                  </a:lnTo>
                  <a:lnTo>
                    <a:pt x="1444" y="3181"/>
                  </a:lnTo>
                  <a:lnTo>
                    <a:pt x="1486" y="3244"/>
                  </a:lnTo>
                  <a:lnTo>
                    <a:pt x="1528" y="3285"/>
                  </a:lnTo>
                  <a:cubicBezTo>
                    <a:pt x="1507" y="3285"/>
                    <a:pt x="1486" y="3306"/>
                    <a:pt x="1444" y="3306"/>
                  </a:cubicBezTo>
                  <a:lnTo>
                    <a:pt x="1444" y="3327"/>
                  </a:lnTo>
                  <a:lnTo>
                    <a:pt x="1591" y="3327"/>
                  </a:lnTo>
                  <a:lnTo>
                    <a:pt x="1611" y="3348"/>
                  </a:lnTo>
                  <a:lnTo>
                    <a:pt x="1611" y="3327"/>
                  </a:lnTo>
                  <a:cubicBezTo>
                    <a:pt x="1695" y="3327"/>
                    <a:pt x="1758" y="3348"/>
                    <a:pt x="1842" y="3390"/>
                  </a:cubicBezTo>
                  <a:cubicBezTo>
                    <a:pt x="1850" y="3393"/>
                    <a:pt x="1858" y="3394"/>
                    <a:pt x="1866" y="3394"/>
                  </a:cubicBezTo>
                  <a:cubicBezTo>
                    <a:pt x="1915" y="3394"/>
                    <a:pt x="1946" y="3342"/>
                    <a:pt x="1946" y="3306"/>
                  </a:cubicBezTo>
                  <a:lnTo>
                    <a:pt x="1967" y="3327"/>
                  </a:lnTo>
                  <a:lnTo>
                    <a:pt x="2030" y="3327"/>
                  </a:lnTo>
                  <a:lnTo>
                    <a:pt x="2009" y="3139"/>
                  </a:lnTo>
                  <a:lnTo>
                    <a:pt x="1863" y="2930"/>
                  </a:lnTo>
                  <a:lnTo>
                    <a:pt x="1904" y="2888"/>
                  </a:lnTo>
                  <a:lnTo>
                    <a:pt x="1946" y="2888"/>
                  </a:lnTo>
                  <a:lnTo>
                    <a:pt x="2030" y="2971"/>
                  </a:lnTo>
                  <a:lnTo>
                    <a:pt x="2114" y="2992"/>
                  </a:lnTo>
                  <a:lnTo>
                    <a:pt x="2176" y="3118"/>
                  </a:lnTo>
                  <a:lnTo>
                    <a:pt x="2344" y="3181"/>
                  </a:lnTo>
                  <a:lnTo>
                    <a:pt x="2386" y="3285"/>
                  </a:lnTo>
                  <a:lnTo>
                    <a:pt x="2386" y="3411"/>
                  </a:lnTo>
                  <a:lnTo>
                    <a:pt x="2469" y="3432"/>
                  </a:lnTo>
                  <a:lnTo>
                    <a:pt x="2595" y="3599"/>
                  </a:lnTo>
                  <a:lnTo>
                    <a:pt x="2699" y="3557"/>
                  </a:lnTo>
                  <a:lnTo>
                    <a:pt x="2699" y="3516"/>
                  </a:lnTo>
                  <a:lnTo>
                    <a:pt x="2804" y="3536"/>
                  </a:lnTo>
                  <a:lnTo>
                    <a:pt x="2804" y="3599"/>
                  </a:lnTo>
                  <a:lnTo>
                    <a:pt x="2741" y="3641"/>
                  </a:lnTo>
                  <a:cubicBezTo>
                    <a:pt x="2741" y="3641"/>
                    <a:pt x="2699" y="3641"/>
                    <a:pt x="2699" y="3662"/>
                  </a:cubicBezTo>
                  <a:cubicBezTo>
                    <a:pt x="2783" y="3913"/>
                    <a:pt x="2992" y="4060"/>
                    <a:pt x="3223" y="4122"/>
                  </a:cubicBezTo>
                  <a:lnTo>
                    <a:pt x="3285" y="4122"/>
                  </a:lnTo>
                  <a:lnTo>
                    <a:pt x="3411" y="4269"/>
                  </a:lnTo>
                  <a:lnTo>
                    <a:pt x="3432" y="4290"/>
                  </a:lnTo>
                  <a:lnTo>
                    <a:pt x="3432" y="4332"/>
                  </a:lnTo>
                  <a:cubicBezTo>
                    <a:pt x="3432" y="4352"/>
                    <a:pt x="3411" y="4394"/>
                    <a:pt x="3411" y="4436"/>
                  </a:cubicBezTo>
                  <a:lnTo>
                    <a:pt x="3411" y="4436"/>
                  </a:lnTo>
                  <a:cubicBezTo>
                    <a:pt x="3411" y="4436"/>
                    <a:pt x="3411" y="4394"/>
                    <a:pt x="3453" y="4394"/>
                  </a:cubicBezTo>
                  <a:lnTo>
                    <a:pt x="3495" y="4436"/>
                  </a:lnTo>
                  <a:lnTo>
                    <a:pt x="3599" y="4478"/>
                  </a:lnTo>
                  <a:lnTo>
                    <a:pt x="3620" y="4562"/>
                  </a:lnTo>
                  <a:lnTo>
                    <a:pt x="3808" y="4562"/>
                  </a:lnTo>
                  <a:lnTo>
                    <a:pt x="3829" y="4583"/>
                  </a:lnTo>
                  <a:lnTo>
                    <a:pt x="3871" y="4562"/>
                  </a:lnTo>
                  <a:lnTo>
                    <a:pt x="3913" y="4583"/>
                  </a:lnTo>
                  <a:lnTo>
                    <a:pt x="3871" y="4499"/>
                  </a:lnTo>
                  <a:lnTo>
                    <a:pt x="3829" y="4394"/>
                  </a:lnTo>
                  <a:lnTo>
                    <a:pt x="3788" y="4352"/>
                  </a:lnTo>
                  <a:lnTo>
                    <a:pt x="3788" y="4185"/>
                  </a:lnTo>
                  <a:lnTo>
                    <a:pt x="3767" y="3976"/>
                  </a:lnTo>
                  <a:lnTo>
                    <a:pt x="3767" y="3934"/>
                  </a:lnTo>
                  <a:lnTo>
                    <a:pt x="3704" y="3913"/>
                  </a:lnTo>
                  <a:lnTo>
                    <a:pt x="3599" y="3767"/>
                  </a:lnTo>
                  <a:lnTo>
                    <a:pt x="3557" y="3662"/>
                  </a:lnTo>
                  <a:lnTo>
                    <a:pt x="3474" y="3662"/>
                  </a:lnTo>
                  <a:lnTo>
                    <a:pt x="3453" y="3704"/>
                  </a:lnTo>
                  <a:lnTo>
                    <a:pt x="3390" y="3662"/>
                  </a:lnTo>
                  <a:lnTo>
                    <a:pt x="3348" y="3662"/>
                  </a:lnTo>
                  <a:lnTo>
                    <a:pt x="3285" y="3725"/>
                  </a:lnTo>
                  <a:lnTo>
                    <a:pt x="3097" y="3725"/>
                  </a:lnTo>
                  <a:lnTo>
                    <a:pt x="3055" y="3704"/>
                  </a:lnTo>
                  <a:lnTo>
                    <a:pt x="3055" y="3767"/>
                  </a:lnTo>
                  <a:lnTo>
                    <a:pt x="3055" y="3808"/>
                  </a:lnTo>
                  <a:cubicBezTo>
                    <a:pt x="2992" y="3767"/>
                    <a:pt x="2972" y="3746"/>
                    <a:pt x="2930" y="3725"/>
                  </a:cubicBezTo>
                  <a:lnTo>
                    <a:pt x="2951" y="3620"/>
                  </a:lnTo>
                  <a:lnTo>
                    <a:pt x="2951" y="3536"/>
                  </a:lnTo>
                  <a:lnTo>
                    <a:pt x="2992" y="3495"/>
                  </a:lnTo>
                  <a:lnTo>
                    <a:pt x="2951" y="3432"/>
                  </a:lnTo>
                  <a:lnTo>
                    <a:pt x="2846" y="3432"/>
                  </a:lnTo>
                  <a:lnTo>
                    <a:pt x="2762" y="3390"/>
                  </a:lnTo>
                  <a:lnTo>
                    <a:pt x="2658" y="3390"/>
                  </a:lnTo>
                  <a:lnTo>
                    <a:pt x="2658" y="3306"/>
                  </a:lnTo>
                  <a:lnTo>
                    <a:pt x="2574" y="3097"/>
                  </a:lnTo>
                  <a:lnTo>
                    <a:pt x="2553" y="2992"/>
                  </a:lnTo>
                  <a:lnTo>
                    <a:pt x="2616" y="2971"/>
                  </a:lnTo>
                  <a:lnTo>
                    <a:pt x="2658" y="2992"/>
                  </a:lnTo>
                  <a:lnTo>
                    <a:pt x="2741" y="2992"/>
                  </a:lnTo>
                  <a:lnTo>
                    <a:pt x="2720" y="2971"/>
                  </a:lnTo>
                  <a:lnTo>
                    <a:pt x="2616" y="2888"/>
                  </a:lnTo>
                  <a:lnTo>
                    <a:pt x="2469" y="2888"/>
                  </a:lnTo>
                  <a:lnTo>
                    <a:pt x="2427" y="2783"/>
                  </a:lnTo>
                  <a:lnTo>
                    <a:pt x="2365" y="2825"/>
                  </a:lnTo>
                  <a:lnTo>
                    <a:pt x="2365" y="2930"/>
                  </a:lnTo>
                  <a:lnTo>
                    <a:pt x="2302" y="2992"/>
                  </a:lnTo>
                  <a:lnTo>
                    <a:pt x="2239" y="2930"/>
                  </a:lnTo>
                  <a:lnTo>
                    <a:pt x="2260" y="2804"/>
                  </a:lnTo>
                  <a:lnTo>
                    <a:pt x="2197" y="2679"/>
                  </a:lnTo>
                  <a:lnTo>
                    <a:pt x="2009" y="2574"/>
                  </a:lnTo>
                  <a:lnTo>
                    <a:pt x="1904" y="2574"/>
                  </a:lnTo>
                  <a:lnTo>
                    <a:pt x="1737" y="2699"/>
                  </a:lnTo>
                  <a:lnTo>
                    <a:pt x="1716" y="2783"/>
                  </a:lnTo>
                  <a:lnTo>
                    <a:pt x="1632" y="2804"/>
                  </a:lnTo>
                  <a:lnTo>
                    <a:pt x="1507" y="2762"/>
                  </a:lnTo>
                  <a:lnTo>
                    <a:pt x="1465" y="2658"/>
                  </a:lnTo>
                  <a:lnTo>
                    <a:pt x="1381" y="2574"/>
                  </a:lnTo>
                  <a:lnTo>
                    <a:pt x="1381" y="2448"/>
                  </a:lnTo>
                  <a:lnTo>
                    <a:pt x="1423" y="2365"/>
                  </a:lnTo>
                  <a:lnTo>
                    <a:pt x="1360" y="2281"/>
                  </a:lnTo>
                  <a:lnTo>
                    <a:pt x="1088" y="2239"/>
                  </a:lnTo>
                  <a:lnTo>
                    <a:pt x="1026" y="2176"/>
                  </a:lnTo>
                  <a:lnTo>
                    <a:pt x="1067" y="2051"/>
                  </a:lnTo>
                  <a:lnTo>
                    <a:pt x="1109" y="1967"/>
                  </a:lnTo>
                  <a:lnTo>
                    <a:pt x="1109" y="1842"/>
                  </a:lnTo>
                  <a:lnTo>
                    <a:pt x="1172" y="1737"/>
                  </a:lnTo>
                  <a:lnTo>
                    <a:pt x="1360" y="1549"/>
                  </a:lnTo>
                  <a:lnTo>
                    <a:pt x="1423" y="1507"/>
                  </a:lnTo>
                  <a:lnTo>
                    <a:pt x="1402" y="1570"/>
                  </a:lnTo>
                  <a:lnTo>
                    <a:pt x="1402" y="1632"/>
                  </a:lnTo>
                  <a:lnTo>
                    <a:pt x="1507" y="1465"/>
                  </a:lnTo>
                  <a:lnTo>
                    <a:pt x="1486" y="1339"/>
                  </a:lnTo>
                  <a:lnTo>
                    <a:pt x="1549" y="1193"/>
                  </a:lnTo>
                  <a:lnTo>
                    <a:pt x="1611" y="921"/>
                  </a:lnTo>
                  <a:lnTo>
                    <a:pt x="1549" y="837"/>
                  </a:lnTo>
                  <a:lnTo>
                    <a:pt x="1528" y="691"/>
                  </a:lnTo>
                  <a:lnTo>
                    <a:pt x="1465" y="649"/>
                  </a:lnTo>
                  <a:lnTo>
                    <a:pt x="1360" y="482"/>
                  </a:lnTo>
                  <a:lnTo>
                    <a:pt x="1381" y="251"/>
                  </a:lnTo>
                  <a:lnTo>
                    <a:pt x="1381" y="189"/>
                  </a:lnTo>
                  <a:lnTo>
                    <a:pt x="1381" y="105"/>
                  </a:lnTo>
                  <a:lnTo>
                    <a:pt x="1298" y="0"/>
                  </a:lnTo>
                  <a:lnTo>
                    <a:pt x="1256" y="42"/>
                  </a:lnTo>
                  <a:lnTo>
                    <a:pt x="1256" y="84"/>
                  </a:lnTo>
                  <a:lnTo>
                    <a:pt x="1172" y="168"/>
                  </a:lnTo>
                  <a:lnTo>
                    <a:pt x="1005" y="168"/>
                  </a:lnTo>
                  <a:lnTo>
                    <a:pt x="984" y="210"/>
                  </a:lnTo>
                  <a:lnTo>
                    <a:pt x="900" y="168"/>
                  </a:lnTo>
                  <a:lnTo>
                    <a:pt x="795" y="63"/>
                  </a:lnTo>
                  <a:lnTo>
                    <a:pt x="586" y="0"/>
                  </a:lnTo>
                  <a:close/>
                  <a:moveTo>
                    <a:pt x="1842" y="4060"/>
                  </a:moveTo>
                  <a:lnTo>
                    <a:pt x="1716" y="4080"/>
                  </a:lnTo>
                  <a:lnTo>
                    <a:pt x="1695" y="4164"/>
                  </a:lnTo>
                  <a:lnTo>
                    <a:pt x="1821" y="4227"/>
                  </a:lnTo>
                  <a:lnTo>
                    <a:pt x="1883" y="4248"/>
                  </a:lnTo>
                  <a:lnTo>
                    <a:pt x="1883" y="4352"/>
                  </a:lnTo>
                  <a:lnTo>
                    <a:pt x="1842" y="4457"/>
                  </a:lnTo>
                  <a:lnTo>
                    <a:pt x="1842" y="4666"/>
                  </a:lnTo>
                  <a:lnTo>
                    <a:pt x="1800" y="4792"/>
                  </a:lnTo>
                  <a:lnTo>
                    <a:pt x="1842" y="4980"/>
                  </a:lnTo>
                  <a:lnTo>
                    <a:pt x="1904" y="4959"/>
                  </a:lnTo>
                  <a:lnTo>
                    <a:pt x="1925" y="4896"/>
                  </a:lnTo>
                  <a:lnTo>
                    <a:pt x="2051" y="4813"/>
                  </a:lnTo>
                  <a:cubicBezTo>
                    <a:pt x="2093" y="4813"/>
                    <a:pt x="2114" y="4855"/>
                    <a:pt x="2135" y="4855"/>
                  </a:cubicBezTo>
                  <a:lnTo>
                    <a:pt x="2114" y="4959"/>
                  </a:lnTo>
                  <a:lnTo>
                    <a:pt x="2197" y="5001"/>
                  </a:lnTo>
                  <a:lnTo>
                    <a:pt x="2260" y="4917"/>
                  </a:lnTo>
                  <a:cubicBezTo>
                    <a:pt x="2323" y="4959"/>
                    <a:pt x="2344" y="5001"/>
                    <a:pt x="2407" y="5022"/>
                  </a:cubicBezTo>
                  <a:lnTo>
                    <a:pt x="2407" y="5106"/>
                  </a:lnTo>
                  <a:lnTo>
                    <a:pt x="2344" y="5231"/>
                  </a:lnTo>
                  <a:lnTo>
                    <a:pt x="2155" y="5294"/>
                  </a:lnTo>
                  <a:lnTo>
                    <a:pt x="2114" y="5378"/>
                  </a:lnTo>
                  <a:lnTo>
                    <a:pt x="2135" y="5545"/>
                  </a:lnTo>
                  <a:lnTo>
                    <a:pt x="2218" y="5545"/>
                  </a:lnTo>
                  <a:lnTo>
                    <a:pt x="2344" y="5629"/>
                  </a:lnTo>
                  <a:lnTo>
                    <a:pt x="2448" y="5629"/>
                  </a:lnTo>
                  <a:lnTo>
                    <a:pt x="2448" y="5754"/>
                  </a:lnTo>
                  <a:lnTo>
                    <a:pt x="2532" y="5817"/>
                  </a:lnTo>
                  <a:lnTo>
                    <a:pt x="2637" y="5754"/>
                  </a:lnTo>
                  <a:lnTo>
                    <a:pt x="2637" y="5650"/>
                  </a:lnTo>
                  <a:lnTo>
                    <a:pt x="2574" y="5587"/>
                  </a:lnTo>
                  <a:cubicBezTo>
                    <a:pt x="2616" y="5545"/>
                    <a:pt x="2637" y="5545"/>
                    <a:pt x="2658" y="5524"/>
                  </a:cubicBezTo>
                  <a:lnTo>
                    <a:pt x="2658" y="5503"/>
                  </a:lnTo>
                  <a:lnTo>
                    <a:pt x="2679" y="5587"/>
                  </a:lnTo>
                  <a:lnTo>
                    <a:pt x="2762" y="5482"/>
                  </a:lnTo>
                  <a:lnTo>
                    <a:pt x="2804" y="5231"/>
                  </a:lnTo>
                  <a:lnTo>
                    <a:pt x="2972" y="5064"/>
                  </a:lnTo>
                  <a:lnTo>
                    <a:pt x="2992" y="4959"/>
                  </a:lnTo>
                  <a:lnTo>
                    <a:pt x="2972" y="4855"/>
                  </a:lnTo>
                  <a:lnTo>
                    <a:pt x="3034" y="4771"/>
                  </a:lnTo>
                  <a:lnTo>
                    <a:pt x="3034" y="4750"/>
                  </a:lnTo>
                  <a:cubicBezTo>
                    <a:pt x="3087" y="4760"/>
                    <a:pt x="3128" y="4766"/>
                    <a:pt x="3170" y="4766"/>
                  </a:cubicBezTo>
                  <a:cubicBezTo>
                    <a:pt x="3212" y="4766"/>
                    <a:pt x="3254" y="4760"/>
                    <a:pt x="3306" y="4750"/>
                  </a:cubicBezTo>
                  <a:cubicBezTo>
                    <a:pt x="3348" y="4750"/>
                    <a:pt x="3369" y="4708"/>
                    <a:pt x="3369" y="4687"/>
                  </a:cubicBezTo>
                  <a:lnTo>
                    <a:pt x="3411" y="4750"/>
                  </a:lnTo>
                  <a:lnTo>
                    <a:pt x="3411" y="4896"/>
                  </a:lnTo>
                  <a:lnTo>
                    <a:pt x="3411" y="4917"/>
                  </a:lnTo>
                  <a:cubicBezTo>
                    <a:pt x="3390" y="4959"/>
                    <a:pt x="3390" y="4980"/>
                    <a:pt x="3411" y="4980"/>
                  </a:cubicBezTo>
                  <a:cubicBezTo>
                    <a:pt x="3453" y="5001"/>
                    <a:pt x="3453" y="5022"/>
                    <a:pt x="3474" y="5085"/>
                  </a:cubicBezTo>
                  <a:lnTo>
                    <a:pt x="3474" y="5189"/>
                  </a:lnTo>
                  <a:lnTo>
                    <a:pt x="3557" y="5231"/>
                  </a:lnTo>
                  <a:cubicBezTo>
                    <a:pt x="3599" y="5336"/>
                    <a:pt x="3683" y="5482"/>
                    <a:pt x="3704" y="5608"/>
                  </a:cubicBezTo>
                  <a:cubicBezTo>
                    <a:pt x="3716" y="5632"/>
                    <a:pt x="3750" y="5643"/>
                    <a:pt x="3780" y="5643"/>
                  </a:cubicBezTo>
                  <a:cubicBezTo>
                    <a:pt x="3801" y="5643"/>
                    <a:pt x="3821" y="5637"/>
                    <a:pt x="3829" y="5629"/>
                  </a:cubicBezTo>
                  <a:lnTo>
                    <a:pt x="3871" y="5754"/>
                  </a:lnTo>
                  <a:lnTo>
                    <a:pt x="3871" y="5838"/>
                  </a:lnTo>
                  <a:lnTo>
                    <a:pt x="3788" y="5733"/>
                  </a:lnTo>
                  <a:lnTo>
                    <a:pt x="3725" y="5733"/>
                  </a:lnTo>
                  <a:lnTo>
                    <a:pt x="3725" y="5901"/>
                  </a:lnTo>
                  <a:lnTo>
                    <a:pt x="3704" y="5943"/>
                  </a:lnTo>
                  <a:lnTo>
                    <a:pt x="3620" y="5901"/>
                  </a:lnTo>
                  <a:lnTo>
                    <a:pt x="3495" y="5838"/>
                  </a:lnTo>
                  <a:lnTo>
                    <a:pt x="3453" y="6068"/>
                  </a:lnTo>
                  <a:lnTo>
                    <a:pt x="3495" y="6110"/>
                  </a:lnTo>
                  <a:lnTo>
                    <a:pt x="3495" y="6173"/>
                  </a:lnTo>
                  <a:lnTo>
                    <a:pt x="3411" y="6215"/>
                  </a:lnTo>
                  <a:lnTo>
                    <a:pt x="3369" y="6068"/>
                  </a:lnTo>
                  <a:lnTo>
                    <a:pt x="3244" y="6131"/>
                  </a:lnTo>
                  <a:lnTo>
                    <a:pt x="3181" y="6340"/>
                  </a:lnTo>
                  <a:lnTo>
                    <a:pt x="3055" y="6424"/>
                  </a:lnTo>
                  <a:lnTo>
                    <a:pt x="2951" y="6445"/>
                  </a:lnTo>
                  <a:lnTo>
                    <a:pt x="2846" y="6549"/>
                  </a:lnTo>
                  <a:lnTo>
                    <a:pt x="2972" y="6361"/>
                  </a:lnTo>
                  <a:lnTo>
                    <a:pt x="2972" y="6173"/>
                  </a:lnTo>
                  <a:lnTo>
                    <a:pt x="2825" y="6047"/>
                  </a:lnTo>
                  <a:lnTo>
                    <a:pt x="2741" y="6047"/>
                  </a:lnTo>
                  <a:lnTo>
                    <a:pt x="2658" y="6152"/>
                  </a:lnTo>
                  <a:lnTo>
                    <a:pt x="2532" y="6215"/>
                  </a:lnTo>
                  <a:lnTo>
                    <a:pt x="2469" y="6319"/>
                  </a:lnTo>
                  <a:lnTo>
                    <a:pt x="2532" y="6424"/>
                  </a:lnTo>
                  <a:lnTo>
                    <a:pt x="2365" y="6445"/>
                  </a:lnTo>
                  <a:lnTo>
                    <a:pt x="2260" y="6424"/>
                  </a:lnTo>
                  <a:lnTo>
                    <a:pt x="2197" y="6487"/>
                  </a:lnTo>
                  <a:lnTo>
                    <a:pt x="2093" y="6529"/>
                  </a:lnTo>
                  <a:lnTo>
                    <a:pt x="1988" y="6654"/>
                  </a:lnTo>
                  <a:lnTo>
                    <a:pt x="2009" y="6738"/>
                  </a:lnTo>
                  <a:lnTo>
                    <a:pt x="1988" y="6884"/>
                  </a:lnTo>
                  <a:lnTo>
                    <a:pt x="1904" y="7052"/>
                  </a:lnTo>
                  <a:lnTo>
                    <a:pt x="2030" y="7177"/>
                  </a:lnTo>
                  <a:lnTo>
                    <a:pt x="2093" y="7093"/>
                  </a:lnTo>
                  <a:lnTo>
                    <a:pt x="2155" y="6863"/>
                  </a:lnTo>
                  <a:lnTo>
                    <a:pt x="2239" y="6801"/>
                  </a:lnTo>
                  <a:lnTo>
                    <a:pt x="2302" y="6675"/>
                  </a:lnTo>
                  <a:lnTo>
                    <a:pt x="2344" y="6654"/>
                  </a:lnTo>
                  <a:lnTo>
                    <a:pt x="2427" y="6738"/>
                  </a:lnTo>
                  <a:lnTo>
                    <a:pt x="2407" y="6863"/>
                  </a:lnTo>
                  <a:lnTo>
                    <a:pt x="2427" y="6884"/>
                  </a:lnTo>
                  <a:lnTo>
                    <a:pt x="2469" y="6863"/>
                  </a:lnTo>
                  <a:lnTo>
                    <a:pt x="2532" y="6884"/>
                  </a:lnTo>
                  <a:lnTo>
                    <a:pt x="2532" y="6780"/>
                  </a:lnTo>
                  <a:lnTo>
                    <a:pt x="2574" y="6759"/>
                  </a:lnTo>
                  <a:lnTo>
                    <a:pt x="2637" y="6780"/>
                  </a:lnTo>
                  <a:lnTo>
                    <a:pt x="2616" y="6863"/>
                  </a:lnTo>
                  <a:lnTo>
                    <a:pt x="2658" y="6863"/>
                  </a:lnTo>
                  <a:lnTo>
                    <a:pt x="2762" y="6947"/>
                  </a:lnTo>
                  <a:lnTo>
                    <a:pt x="2825" y="6947"/>
                  </a:lnTo>
                  <a:lnTo>
                    <a:pt x="2762" y="6863"/>
                  </a:lnTo>
                  <a:lnTo>
                    <a:pt x="2783" y="6801"/>
                  </a:lnTo>
                  <a:lnTo>
                    <a:pt x="2762" y="6759"/>
                  </a:lnTo>
                  <a:lnTo>
                    <a:pt x="2825" y="6696"/>
                  </a:lnTo>
                  <a:lnTo>
                    <a:pt x="2867" y="6696"/>
                  </a:lnTo>
                  <a:lnTo>
                    <a:pt x="2972" y="6801"/>
                  </a:lnTo>
                  <a:lnTo>
                    <a:pt x="3076" y="6842"/>
                  </a:lnTo>
                  <a:lnTo>
                    <a:pt x="3181" y="6905"/>
                  </a:lnTo>
                  <a:lnTo>
                    <a:pt x="3202" y="7010"/>
                  </a:lnTo>
                  <a:lnTo>
                    <a:pt x="3306" y="7093"/>
                  </a:lnTo>
                  <a:lnTo>
                    <a:pt x="3202" y="7073"/>
                  </a:lnTo>
                  <a:lnTo>
                    <a:pt x="3160" y="7093"/>
                  </a:lnTo>
                  <a:lnTo>
                    <a:pt x="3160" y="7156"/>
                  </a:lnTo>
                  <a:lnTo>
                    <a:pt x="3097" y="7219"/>
                  </a:lnTo>
                  <a:lnTo>
                    <a:pt x="3160" y="7282"/>
                  </a:lnTo>
                  <a:lnTo>
                    <a:pt x="3160" y="7365"/>
                  </a:lnTo>
                  <a:lnTo>
                    <a:pt x="3139" y="7428"/>
                  </a:lnTo>
                  <a:lnTo>
                    <a:pt x="3202" y="7533"/>
                  </a:lnTo>
                  <a:lnTo>
                    <a:pt x="3244" y="7637"/>
                  </a:lnTo>
                  <a:lnTo>
                    <a:pt x="3348" y="7784"/>
                  </a:lnTo>
                  <a:lnTo>
                    <a:pt x="3474" y="7784"/>
                  </a:lnTo>
                  <a:lnTo>
                    <a:pt x="3578" y="7847"/>
                  </a:lnTo>
                  <a:lnTo>
                    <a:pt x="3704" y="7909"/>
                  </a:lnTo>
                  <a:lnTo>
                    <a:pt x="3808" y="7847"/>
                  </a:lnTo>
                  <a:lnTo>
                    <a:pt x="3829" y="7805"/>
                  </a:lnTo>
                  <a:lnTo>
                    <a:pt x="3892" y="7742"/>
                  </a:lnTo>
                  <a:lnTo>
                    <a:pt x="3913" y="7805"/>
                  </a:lnTo>
                  <a:lnTo>
                    <a:pt x="3871" y="7889"/>
                  </a:lnTo>
                  <a:lnTo>
                    <a:pt x="3892" y="7993"/>
                  </a:lnTo>
                  <a:lnTo>
                    <a:pt x="3913" y="8035"/>
                  </a:lnTo>
                  <a:lnTo>
                    <a:pt x="3997" y="7993"/>
                  </a:lnTo>
                  <a:lnTo>
                    <a:pt x="4143" y="7784"/>
                  </a:lnTo>
                  <a:lnTo>
                    <a:pt x="4143" y="7637"/>
                  </a:lnTo>
                  <a:lnTo>
                    <a:pt x="4101" y="7575"/>
                  </a:lnTo>
                  <a:lnTo>
                    <a:pt x="4039" y="7407"/>
                  </a:lnTo>
                  <a:lnTo>
                    <a:pt x="3934" y="7324"/>
                  </a:lnTo>
                  <a:lnTo>
                    <a:pt x="3976" y="7219"/>
                  </a:lnTo>
                  <a:lnTo>
                    <a:pt x="4101" y="6989"/>
                  </a:lnTo>
                  <a:lnTo>
                    <a:pt x="4185" y="6947"/>
                  </a:lnTo>
                  <a:lnTo>
                    <a:pt x="4248" y="7052"/>
                  </a:lnTo>
                  <a:lnTo>
                    <a:pt x="4290" y="7156"/>
                  </a:lnTo>
                  <a:lnTo>
                    <a:pt x="4332" y="7219"/>
                  </a:lnTo>
                  <a:lnTo>
                    <a:pt x="4332" y="7324"/>
                  </a:lnTo>
                  <a:lnTo>
                    <a:pt x="4394" y="7512"/>
                  </a:lnTo>
                  <a:lnTo>
                    <a:pt x="4415" y="7596"/>
                  </a:lnTo>
                  <a:lnTo>
                    <a:pt x="4415" y="7512"/>
                  </a:lnTo>
                  <a:lnTo>
                    <a:pt x="4415" y="7386"/>
                  </a:lnTo>
                  <a:lnTo>
                    <a:pt x="4352" y="7219"/>
                  </a:lnTo>
                  <a:lnTo>
                    <a:pt x="4394" y="7156"/>
                  </a:lnTo>
                  <a:lnTo>
                    <a:pt x="4436" y="7156"/>
                  </a:lnTo>
                  <a:lnTo>
                    <a:pt x="4499" y="7219"/>
                  </a:lnTo>
                  <a:lnTo>
                    <a:pt x="4499" y="7156"/>
                  </a:lnTo>
                  <a:lnTo>
                    <a:pt x="4541" y="7156"/>
                  </a:lnTo>
                  <a:lnTo>
                    <a:pt x="4604" y="6989"/>
                  </a:lnTo>
                  <a:lnTo>
                    <a:pt x="4562" y="6801"/>
                  </a:lnTo>
                  <a:lnTo>
                    <a:pt x="4499" y="6696"/>
                  </a:lnTo>
                  <a:lnTo>
                    <a:pt x="4436" y="6591"/>
                  </a:lnTo>
                  <a:lnTo>
                    <a:pt x="4436" y="6466"/>
                  </a:lnTo>
                  <a:lnTo>
                    <a:pt x="4415" y="6340"/>
                  </a:lnTo>
                  <a:lnTo>
                    <a:pt x="4352" y="6424"/>
                  </a:lnTo>
                  <a:lnTo>
                    <a:pt x="4352" y="6277"/>
                  </a:lnTo>
                  <a:lnTo>
                    <a:pt x="4352" y="6215"/>
                  </a:lnTo>
                  <a:lnTo>
                    <a:pt x="4311" y="6215"/>
                  </a:lnTo>
                  <a:lnTo>
                    <a:pt x="4227" y="6131"/>
                  </a:lnTo>
                  <a:lnTo>
                    <a:pt x="4248" y="6068"/>
                  </a:lnTo>
                  <a:lnTo>
                    <a:pt x="4332" y="6068"/>
                  </a:lnTo>
                  <a:lnTo>
                    <a:pt x="4332" y="5922"/>
                  </a:lnTo>
                  <a:lnTo>
                    <a:pt x="4248" y="5796"/>
                  </a:lnTo>
                  <a:lnTo>
                    <a:pt x="4248" y="5712"/>
                  </a:lnTo>
                  <a:lnTo>
                    <a:pt x="4185" y="5796"/>
                  </a:lnTo>
                  <a:lnTo>
                    <a:pt x="4080" y="5692"/>
                  </a:lnTo>
                  <a:lnTo>
                    <a:pt x="3913" y="5545"/>
                  </a:lnTo>
                  <a:lnTo>
                    <a:pt x="3892" y="5440"/>
                  </a:lnTo>
                  <a:lnTo>
                    <a:pt x="3871" y="5440"/>
                  </a:lnTo>
                  <a:lnTo>
                    <a:pt x="3767" y="5420"/>
                  </a:lnTo>
                  <a:lnTo>
                    <a:pt x="3767" y="5503"/>
                  </a:lnTo>
                  <a:cubicBezTo>
                    <a:pt x="3725" y="5482"/>
                    <a:pt x="3725" y="5420"/>
                    <a:pt x="3704" y="5399"/>
                  </a:cubicBezTo>
                  <a:lnTo>
                    <a:pt x="3704" y="5315"/>
                  </a:lnTo>
                  <a:lnTo>
                    <a:pt x="3662" y="5210"/>
                  </a:lnTo>
                  <a:lnTo>
                    <a:pt x="3662" y="5273"/>
                  </a:lnTo>
                  <a:cubicBezTo>
                    <a:pt x="3620" y="5231"/>
                    <a:pt x="3620" y="5210"/>
                    <a:pt x="3599" y="5189"/>
                  </a:cubicBezTo>
                  <a:lnTo>
                    <a:pt x="3683" y="5168"/>
                  </a:lnTo>
                  <a:lnTo>
                    <a:pt x="3683" y="5085"/>
                  </a:lnTo>
                  <a:lnTo>
                    <a:pt x="3578" y="4896"/>
                  </a:lnTo>
                  <a:lnTo>
                    <a:pt x="3495" y="4855"/>
                  </a:lnTo>
                  <a:lnTo>
                    <a:pt x="3474" y="4666"/>
                  </a:lnTo>
                  <a:lnTo>
                    <a:pt x="3411" y="4562"/>
                  </a:lnTo>
                  <a:cubicBezTo>
                    <a:pt x="3411" y="4541"/>
                    <a:pt x="3411" y="4541"/>
                    <a:pt x="3453" y="4499"/>
                  </a:cubicBezTo>
                  <a:cubicBezTo>
                    <a:pt x="3474" y="4478"/>
                    <a:pt x="3453" y="4457"/>
                    <a:pt x="3411" y="4436"/>
                  </a:cubicBezTo>
                  <a:lnTo>
                    <a:pt x="3390" y="4457"/>
                  </a:lnTo>
                  <a:lnTo>
                    <a:pt x="3411" y="4457"/>
                  </a:lnTo>
                  <a:lnTo>
                    <a:pt x="3411" y="4478"/>
                  </a:lnTo>
                  <a:cubicBezTo>
                    <a:pt x="3411" y="4478"/>
                    <a:pt x="3390" y="4478"/>
                    <a:pt x="3390" y="4499"/>
                  </a:cubicBezTo>
                  <a:lnTo>
                    <a:pt x="3390" y="4541"/>
                  </a:lnTo>
                  <a:lnTo>
                    <a:pt x="3306" y="4562"/>
                  </a:lnTo>
                  <a:lnTo>
                    <a:pt x="3202" y="4499"/>
                  </a:lnTo>
                  <a:lnTo>
                    <a:pt x="3139" y="4499"/>
                  </a:lnTo>
                  <a:lnTo>
                    <a:pt x="3181" y="4604"/>
                  </a:lnTo>
                  <a:lnTo>
                    <a:pt x="3181" y="4666"/>
                  </a:lnTo>
                  <a:cubicBezTo>
                    <a:pt x="3097" y="4687"/>
                    <a:pt x="3055" y="4708"/>
                    <a:pt x="2972" y="4750"/>
                  </a:cubicBezTo>
                  <a:lnTo>
                    <a:pt x="2972" y="4583"/>
                  </a:lnTo>
                  <a:lnTo>
                    <a:pt x="2930" y="4604"/>
                  </a:lnTo>
                  <a:lnTo>
                    <a:pt x="2888" y="4750"/>
                  </a:lnTo>
                  <a:lnTo>
                    <a:pt x="2888" y="4792"/>
                  </a:lnTo>
                  <a:lnTo>
                    <a:pt x="2783" y="4980"/>
                  </a:lnTo>
                  <a:lnTo>
                    <a:pt x="2783" y="5106"/>
                  </a:lnTo>
                  <a:lnTo>
                    <a:pt x="2741" y="5273"/>
                  </a:lnTo>
                  <a:lnTo>
                    <a:pt x="2658" y="5378"/>
                  </a:lnTo>
                  <a:lnTo>
                    <a:pt x="2658" y="5482"/>
                  </a:lnTo>
                  <a:cubicBezTo>
                    <a:pt x="2646" y="5459"/>
                    <a:pt x="2622" y="5443"/>
                    <a:pt x="2599" y="5443"/>
                  </a:cubicBezTo>
                  <a:cubicBezTo>
                    <a:pt x="2580" y="5443"/>
                    <a:pt x="2562" y="5454"/>
                    <a:pt x="2553" y="5482"/>
                  </a:cubicBezTo>
                  <a:lnTo>
                    <a:pt x="2553" y="5315"/>
                  </a:lnTo>
                  <a:lnTo>
                    <a:pt x="2637" y="4980"/>
                  </a:lnTo>
                  <a:lnTo>
                    <a:pt x="2741" y="4876"/>
                  </a:lnTo>
                  <a:lnTo>
                    <a:pt x="2741" y="4771"/>
                  </a:lnTo>
                  <a:lnTo>
                    <a:pt x="2658" y="4687"/>
                  </a:lnTo>
                  <a:lnTo>
                    <a:pt x="2616" y="4708"/>
                  </a:lnTo>
                  <a:lnTo>
                    <a:pt x="2532" y="4687"/>
                  </a:lnTo>
                  <a:lnTo>
                    <a:pt x="2448" y="4750"/>
                  </a:lnTo>
                  <a:lnTo>
                    <a:pt x="2448" y="4855"/>
                  </a:lnTo>
                  <a:cubicBezTo>
                    <a:pt x="2427" y="4792"/>
                    <a:pt x="2365" y="4708"/>
                    <a:pt x="2323" y="4666"/>
                  </a:cubicBezTo>
                  <a:lnTo>
                    <a:pt x="2427" y="4583"/>
                  </a:lnTo>
                  <a:lnTo>
                    <a:pt x="2469" y="4457"/>
                  </a:lnTo>
                  <a:lnTo>
                    <a:pt x="2532" y="4394"/>
                  </a:lnTo>
                  <a:lnTo>
                    <a:pt x="2553" y="4290"/>
                  </a:lnTo>
                  <a:lnTo>
                    <a:pt x="2511" y="4227"/>
                  </a:lnTo>
                  <a:lnTo>
                    <a:pt x="2427" y="4269"/>
                  </a:lnTo>
                  <a:lnTo>
                    <a:pt x="2344" y="4373"/>
                  </a:lnTo>
                  <a:lnTo>
                    <a:pt x="2260" y="4269"/>
                  </a:lnTo>
                  <a:lnTo>
                    <a:pt x="2197" y="4248"/>
                  </a:lnTo>
                  <a:lnTo>
                    <a:pt x="2009" y="4248"/>
                  </a:lnTo>
                  <a:lnTo>
                    <a:pt x="2030" y="4185"/>
                  </a:lnTo>
                  <a:lnTo>
                    <a:pt x="1946" y="4164"/>
                  </a:lnTo>
                  <a:lnTo>
                    <a:pt x="1842" y="406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Google Shape;12134;p43">
              <a:extLst>
                <a:ext uri="{FF2B5EF4-FFF2-40B4-BE49-F238E27FC236}">
                  <a16:creationId xmlns:a16="http://schemas.microsoft.com/office/drawing/2014/main" id="{8DC00477-999A-362F-B81D-E57FB5828B37}"/>
                </a:ext>
              </a:extLst>
            </p:cNvPr>
            <p:cNvSpPr/>
            <p:nvPr/>
          </p:nvSpPr>
          <p:spPr>
            <a:xfrm>
              <a:off x="4595934" y="3205063"/>
              <a:ext cx="26673" cy="13340"/>
            </a:xfrm>
            <a:custGeom>
              <a:avLst/>
              <a:gdLst/>
              <a:ahLst/>
              <a:cxnLst/>
              <a:rect l="l" t="t" r="r" b="b"/>
              <a:pathLst>
                <a:path w="2240" h="1173" extrusionOk="0">
                  <a:moveTo>
                    <a:pt x="2177" y="1"/>
                  </a:moveTo>
                  <a:lnTo>
                    <a:pt x="1968" y="43"/>
                  </a:lnTo>
                  <a:lnTo>
                    <a:pt x="1821" y="43"/>
                  </a:lnTo>
                  <a:lnTo>
                    <a:pt x="1675" y="64"/>
                  </a:lnTo>
                  <a:lnTo>
                    <a:pt x="1570" y="64"/>
                  </a:lnTo>
                  <a:lnTo>
                    <a:pt x="1424" y="105"/>
                  </a:lnTo>
                  <a:lnTo>
                    <a:pt x="1193" y="105"/>
                  </a:lnTo>
                  <a:lnTo>
                    <a:pt x="1005" y="252"/>
                  </a:lnTo>
                  <a:lnTo>
                    <a:pt x="880" y="315"/>
                  </a:lnTo>
                  <a:lnTo>
                    <a:pt x="817" y="336"/>
                  </a:lnTo>
                  <a:lnTo>
                    <a:pt x="712" y="357"/>
                  </a:lnTo>
                  <a:lnTo>
                    <a:pt x="628" y="377"/>
                  </a:lnTo>
                  <a:lnTo>
                    <a:pt x="482" y="419"/>
                  </a:lnTo>
                  <a:lnTo>
                    <a:pt x="398" y="482"/>
                  </a:lnTo>
                  <a:lnTo>
                    <a:pt x="377" y="524"/>
                  </a:lnTo>
                  <a:lnTo>
                    <a:pt x="252" y="587"/>
                  </a:lnTo>
                  <a:lnTo>
                    <a:pt x="210" y="733"/>
                  </a:lnTo>
                  <a:lnTo>
                    <a:pt x="105" y="880"/>
                  </a:lnTo>
                  <a:lnTo>
                    <a:pt x="84" y="942"/>
                  </a:lnTo>
                  <a:lnTo>
                    <a:pt x="147" y="984"/>
                  </a:lnTo>
                  <a:lnTo>
                    <a:pt x="147" y="1047"/>
                  </a:lnTo>
                  <a:lnTo>
                    <a:pt x="84" y="1047"/>
                  </a:lnTo>
                  <a:lnTo>
                    <a:pt x="43" y="1005"/>
                  </a:lnTo>
                  <a:lnTo>
                    <a:pt x="1" y="1110"/>
                  </a:lnTo>
                  <a:lnTo>
                    <a:pt x="63" y="1173"/>
                  </a:lnTo>
                  <a:lnTo>
                    <a:pt x="252" y="1152"/>
                  </a:lnTo>
                  <a:lnTo>
                    <a:pt x="419" y="1047"/>
                  </a:lnTo>
                  <a:lnTo>
                    <a:pt x="503" y="1005"/>
                  </a:lnTo>
                  <a:lnTo>
                    <a:pt x="608" y="1005"/>
                  </a:lnTo>
                  <a:lnTo>
                    <a:pt x="712" y="942"/>
                  </a:lnTo>
                  <a:lnTo>
                    <a:pt x="796" y="838"/>
                  </a:lnTo>
                  <a:lnTo>
                    <a:pt x="1005" y="670"/>
                  </a:lnTo>
                  <a:lnTo>
                    <a:pt x="1047" y="587"/>
                  </a:lnTo>
                  <a:lnTo>
                    <a:pt x="1110" y="566"/>
                  </a:lnTo>
                  <a:lnTo>
                    <a:pt x="1131" y="566"/>
                  </a:lnTo>
                  <a:lnTo>
                    <a:pt x="1235" y="461"/>
                  </a:lnTo>
                  <a:lnTo>
                    <a:pt x="1340" y="440"/>
                  </a:lnTo>
                  <a:lnTo>
                    <a:pt x="1444" y="440"/>
                  </a:lnTo>
                  <a:lnTo>
                    <a:pt x="1675" y="419"/>
                  </a:lnTo>
                  <a:lnTo>
                    <a:pt x="1842" y="315"/>
                  </a:lnTo>
                  <a:lnTo>
                    <a:pt x="2030" y="252"/>
                  </a:lnTo>
                  <a:lnTo>
                    <a:pt x="2051" y="168"/>
                  </a:lnTo>
                  <a:lnTo>
                    <a:pt x="2135" y="168"/>
                  </a:lnTo>
                  <a:lnTo>
                    <a:pt x="2240" y="105"/>
                  </a:lnTo>
                  <a:lnTo>
                    <a:pt x="2240" y="43"/>
                  </a:lnTo>
                  <a:lnTo>
                    <a:pt x="217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72" name="Google Shape;12135;p43">
              <a:extLst>
                <a:ext uri="{FF2B5EF4-FFF2-40B4-BE49-F238E27FC236}">
                  <a16:creationId xmlns:a16="http://schemas.microsoft.com/office/drawing/2014/main" id="{BBFD4944-1D9F-6DC9-D4B2-5A215BF0DD5C}"/>
                </a:ext>
              </a:extLst>
            </p:cNvPr>
            <p:cNvGrpSpPr/>
            <p:nvPr/>
          </p:nvGrpSpPr>
          <p:grpSpPr>
            <a:xfrm>
              <a:off x="4403342" y="3107749"/>
              <a:ext cx="316680" cy="101374"/>
              <a:chOff x="5068275" y="3161675"/>
              <a:chExt cx="664875" cy="222850"/>
            </a:xfrm>
          </p:grpSpPr>
          <p:sp>
            <p:nvSpPr>
              <p:cNvPr id="218" name="Google Shape;12136;p43">
                <a:extLst>
                  <a:ext uri="{FF2B5EF4-FFF2-40B4-BE49-F238E27FC236}">
                    <a16:creationId xmlns:a16="http://schemas.microsoft.com/office/drawing/2014/main" id="{15672CE9-F858-D5AC-A099-E2591A1C5457}"/>
                  </a:ext>
                </a:extLst>
              </p:cNvPr>
              <p:cNvSpPr/>
              <p:nvPr/>
            </p:nvSpPr>
            <p:spPr>
              <a:xfrm>
                <a:off x="5408300" y="3224425"/>
                <a:ext cx="96775" cy="107800"/>
              </a:xfrm>
              <a:custGeom>
                <a:avLst/>
                <a:gdLst/>
                <a:ahLst/>
                <a:cxnLst/>
                <a:rect l="l" t="t" r="r" b="b"/>
                <a:pathLst>
                  <a:path w="3871" h="4312" extrusionOk="0">
                    <a:moveTo>
                      <a:pt x="3620" y="1"/>
                    </a:moveTo>
                    <a:lnTo>
                      <a:pt x="3515" y="43"/>
                    </a:lnTo>
                    <a:lnTo>
                      <a:pt x="3494" y="147"/>
                    </a:lnTo>
                    <a:lnTo>
                      <a:pt x="3390" y="231"/>
                    </a:lnTo>
                    <a:lnTo>
                      <a:pt x="3390" y="294"/>
                    </a:lnTo>
                    <a:lnTo>
                      <a:pt x="3285" y="357"/>
                    </a:lnTo>
                    <a:lnTo>
                      <a:pt x="3181" y="398"/>
                    </a:lnTo>
                    <a:lnTo>
                      <a:pt x="3139" y="461"/>
                    </a:lnTo>
                    <a:lnTo>
                      <a:pt x="2992" y="503"/>
                    </a:lnTo>
                    <a:lnTo>
                      <a:pt x="2720" y="440"/>
                    </a:lnTo>
                    <a:lnTo>
                      <a:pt x="2469" y="419"/>
                    </a:lnTo>
                    <a:lnTo>
                      <a:pt x="2448" y="503"/>
                    </a:lnTo>
                    <a:lnTo>
                      <a:pt x="2406" y="503"/>
                    </a:lnTo>
                    <a:lnTo>
                      <a:pt x="2260" y="398"/>
                    </a:lnTo>
                    <a:lnTo>
                      <a:pt x="2092" y="398"/>
                    </a:lnTo>
                    <a:lnTo>
                      <a:pt x="1988" y="357"/>
                    </a:lnTo>
                    <a:lnTo>
                      <a:pt x="1820" y="336"/>
                    </a:lnTo>
                    <a:lnTo>
                      <a:pt x="1737" y="398"/>
                    </a:lnTo>
                    <a:lnTo>
                      <a:pt x="1674" y="336"/>
                    </a:lnTo>
                    <a:lnTo>
                      <a:pt x="1569" y="231"/>
                    </a:lnTo>
                    <a:lnTo>
                      <a:pt x="1381" y="210"/>
                    </a:lnTo>
                    <a:lnTo>
                      <a:pt x="1276" y="210"/>
                    </a:lnTo>
                    <a:lnTo>
                      <a:pt x="1276" y="336"/>
                    </a:lnTo>
                    <a:lnTo>
                      <a:pt x="1193" y="398"/>
                    </a:lnTo>
                    <a:lnTo>
                      <a:pt x="1151" y="503"/>
                    </a:lnTo>
                    <a:lnTo>
                      <a:pt x="1067" y="566"/>
                    </a:lnTo>
                    <a:lnTo>
                      <a:pt x="900" y="524"/>
                    </a:lnTo>
                    <a:lnTo>
                      <a:pt x="774" y="545"/>
                    </a:lnTo>
                    <a:lnTo>
                      <a:pt x="712" y="608"/>
                    </a:lnTo>
                    <a:lnTo>
                      <a:pt x="753" y="650"/>
                    </a:lnTo>
                    <a:lnTo>
                      <a:pt x="586" y="775"/>
                    </a:lnTo>
                    <a:lnTo>
                      <a:pt x="586" y="942"/>
                    </a:lnTo>
                    <a:lnTo>
                      <a:pt x="628" y="1047"/>
                    </a:lnTo>
                    <a:lnTo>
                      <a:pt x="628" y="1235"/>
                    </a:lnTo>
                    <a:lnTo>
                      <a:pt x="586" y="1298"/>
                    </a:lnTo>
                    <a:lnTo>
                      <a:pt x="649" y="1445"/>
                    </a:lnTo>
                    <a:lnTo>
                      <a:pt x="670" y="1549"/>
                    </a:lnTo>
                    <a:lnTo>
                      <a:pt x="628" y="1486"/>
                    </a:lnTo>
                    <a:lnTo>
                      <a:pt x="565" y="1403"/>
                    </a:lnTo>
                    <a:lnTo>
                      <a:pt x="523" y="1445"/>
                    </a:lnTo>
                    <a:lnTo>
                      <a:pt x="440" y="1507"/>
                    </a:lnTo>
                    <a:lnTo>
                      <a:pt x="335" y="1570"/>
                    </a:lnTo>
                    <a:lnTo>
                      <a:pt x="314" y="1675"/>
                    </a:lnTo>
                    <a:lnTo>
                      <a:pt x="335" y="1800"/>
                    </a:lnTo>
                    <a:lnTo>
                      <a:pt x="314" y="1905"/>
                    </a:lnTo>
                    <a:lnTo>
                      <a:pt x="335" y="2135"/>
                    </a:lnTo>
                    <a:lnTo>
                      <a:pt x="314" y="2198"/>
                    </a:lnTo>
                    <a:lnTo>
                      <a:pt x="272" y="2303"/>
                    </a:lnTo>
                    <a:lnTo>
                      <a:pt x="188" y="2323"/>
                    </a:lnTo>
                    <a:lnTo>
                      <a:pt x="188" y="2449"/>
                    </a:lnTo>
                    <a:lnTo>
                      <a:pt x="63" y="2554"/>
                    </a:lnTo>
                    <a:lnTo>
                      <a:pt x="42" y="2721"/>
                    </a:lnTo>
                    <a:lnTo>
                      <a:pt x="42" y="2763"/>
                    </a:lnTo>
                    <a:lnTo>
                      <a:pt x="0" y="2826"/>
                    </a:lnTo>
                    <a:lnTo>
                      <a:pt x="63" y="3035"/>
                    </a:lnTo>
                    <a:lnTo>
                      <a:pt x="126" y="3139"/>
                    </a:lnTo>
                    <a:lnTo>
                      <a:pt x="168" y="3119"/>
                    </a:lnTo>
                    <a:lnTo>
                      <a:pt x="251" y="3119"/>
                    </a:lnTo>
                    <a:lnTo>
                      <a:pt x="335" y="3056"/>
                    </a:lnTo>
                    <a:lnTo>
                      <a:pt x="377" y="3077"/>
                    </a:lnTo>
                    <a:lnTo>
                      <a:pt x="419" y="3223"/>
                    </a:lnTo>
                    <a:lnTo>
                      <a:pt x="523" y="3495"/>
                    </a:lnTo>
                    <a:lnTo>
                      <a:pt x="481" y="3558"/>
                    </a:lnTo>
                    <a:lnTo>
                      <a:pt x="440" y="3704"/>
                    </a:lnTo>
                    <a:lnTo>
                      <a:pt x="356" y="3851"/>
                    </a:lnTo>
                    <a:lnTo>
                      <a:pt x="356" y="4081"/>
                    </a:lnTo>
                    <a:lnTo>
                      <a:pt x="356" y="4269"/>
                    </a:lnTo>
                    <a:lnTo>
                      <a:pt x="440" y="4269"/>
                    </a:lnTo>
                    <a:lnTo>
                      <a:pt x="523" y="4311"/>
                    </a:lnTo>
                    <a:lnTo>
                      <a:pt x="628" y="4311"/>
                    </a:lnTo>
                    <a:lnTo>
                      <a:pt x="670" y="4269"/>
                    </a:lnTo>
                    <a:lnTo>
                      <a:pt x="774" y="4290"/>
                    </a:lnTo>
                    <a:lnTo>
                      <a:pt x="879" y="4269"/>
                    </a:lnTo>
                    <a:lnTo>
                      <a:pt x="963" y="4311"/>
                    </a:lnTo>
                    <a:lnTo>
                      <a:pt x="984" y="4227"/>
                    </a:lnTo>
                    <a:lnTo>
                      <a:pt x="963" y="4102"/>
                    </a:lnTo>
                    <a:lnTo>
                      <a:pt x="879" y="4060"/>
                    </a:lnTo>
                    <a:lnTo>
                      <a:pt x="858" y="3914"/>
                    </a:lnTo>
                    <a:lnTo>
                      <a:pt x="942" y="3809"/>
                    </a:lnTo>
                    <a:lnTo>
                      <a:pt x="963" y="3600"/>
                    </a:lnTo>
                    <a:lnTo>
                      <a:pt x="942" y="3432"/>
                    </a:lnTo>
                    <a:lnTo>
                      <a:pt x="879" y="3391"/>
                    </a:lnTo>
                    <a:lnTo>
                      <a:pt x="1004" y="3223"/>
                    </a:lnTo>
                    <a:lnTo>
                      <a:pt x="1046" y="3056"/>
                    </a:lnTo>
                    <a:lnTo>
                      <a:pt x="1004" y="2909"/>
                    </a:lnTo>
                    <a:lnTo>
                      <a:pt x="942" y="2826"/>
                    </a:lnTo>
                    <a:lnTo>
                      <a:pt x="942" y="2763"/>
                    </a:lnTo>
                    <a:lnTo>
                      <a:pt x="1067" y="2700"/>
                    </a:lnTo>
                    <a:lnTo>
                      <a:pt x="1088" y="2616"/>
                    </a:lnTo>
                    <a:lnTo>
                      <a:pt x="1214" y="2595"/>
                    </a:lnTo>
                    <a:lnTo>
                      <a:pt x="1318" y="2637"/>
                    </a:lnTo>
                    <a:lnTo>
                      <a:pt x="1318" y="2700"/>
                    </a:lnTo>
                    <a:lnTo>
                      <a:pt x="1381" y="2763"/>
                    </a:lnTo>
                    <a:lnTo>
                      <a:pt x="1381" y="2909"/>
                    </a:lnTo>
                    <a:lnTo>
                      <a:pt x="1276" y="3014"/>
                    </a:lnTo>
                    <a:lnTo>
                      <a:pt x="1276" y="3119"/>
                    </a:lnTo>
                    <a:lnTo>
                      <a:pt x="1318" y="3223"/>
                    </a:lnTo>
                    <a:lnTo>
                      <a:pt x="1402" y="3244"/>
                    </a:lnTo>
                    <a:lnTo>
                      <a:pt x="1486" y="3328"/>
                    </a:lnTo>
                    <a:lnTo>
                      <a:pt x="1611" y="3391"/>
                    </a:lnTo>
                    <a:lnTo>
                      <a:pt x="1632" y="3495"/>
                    </a:lnTo>
                    <a:lnTo>
                      <a:pt x="1590" y="3495"/>
                    </a:lnTo>
                    <a:lnTo>
                      <a:pt x="1569" y="3704"/>
                    </a:lnTo>
                    <a:lnTo>
                      <a:pt x="1590" y="3851"/>
                    </a:lnTo>
                    <a:lnTo>
                      <a:pt x="1674" y="3872"/>
                    </a:lnTo>
                    <a:lnTo>
                      <a:pt x="1737" y="3851"/>
                    </a:lnTo>
                    <a:lnTo>
                      <a:pt x="1883" y="3893"/>
                    </a:lnTo>
                    <a:lnTo>
                      <a:pt x="1946" y="3872"/>
                    </a:lnTo>
                    <a:lnTo>
                      <a:pt x="1946" y="3851"/>
                    </a:lnTo>
                    <a:lnTo>
                      <a:pt x="1925" y="3746"/>
                    </a:lnTo>
                    <a:lnTo>
                      <a:pt x="2030" y="3663"/>
                    </a:lnTo>
                    <a:lnTo>
                      <a:pt x="2113" y="3642"/>
                    </a:lnTo>
                    <a:lnTo>
                      <a:pt x="2260" y="3558"/>
                    </a:lnTo>
                    <a:lnTo>
                      <a:pt x="2427" y="3579"/>
                    </a:lnTo>
                    <a:lnTo>
                      <a:pt x="2511" y="3495"/>
                    </a:lnTo>
                    <a:lnTo>
                      <a:pt x="2532" y="3537"/>
                    </a:lnTo>
                    <a:lnTo>
                      <a:pt x="2616" y="3537"/>
                    </a:lnTo>
                    <a:lnTo>
                      <a:pt x="2657" y="3453"/>
                    </a:lnTo>
                    <a:lnTo>
                      <a:pt x="2657" y="3391"/>
                    </a:lnTo>
                    <a:lnTo>
                      <a:pt x="2511" y="3370"/>
                    </a:lnTo>
                    <a:lnTo>
                      <a:pt x="2448" y="3391"/>
                    </a:lnTo>
                    <a:lnTo>
                      <a:pt x="2281" y="3391"/>
                    </a:lnTo>
                    <a:lnTo>
                      <a:pt x="2281" y="3328"/>
                    </a:lnTo>
                    <a:lnTo>
                      <a:pt x="2239" y="3328"/>
                    </a:lnTo>
                    <a:lnTo>
                      <a:pt x="2239" y="3244"/>
                    </a:lnTo>
                    <a:lnTo>
                      <a:pt x="2197" y="3244"/>
                    </a:lnTo>
                    <a:lnTo>
                      <a:pt x="2134" y="3265"/>
                    </a:lnTo>
                    <a:lnTo>
                      <a:pt x="2134" y="3223"/>
                    </a:lnTo>
                    <a:lnTo>
                      <a:pt x="2030" y="3181"/>
                    </a:lnTo>
                    <a:lnTo>
                      <a:pt x="2009" y="3119"/>
                    </a:lnTo>
                    <a:lnTo>
                      <a:pt x="2051" y="3035"/>
                    </a:lnTo>
                    <a:lnTo>
                      <a:pt x="2092" y="2972"/>
                    </a:lnTo>
                    <a:lnTo>
                      <a:pt x="2134" y="3014"/>
                    </a:lnTo>
                    <a:lnTo>
                      <a:pt x="2134" y="3014"/>
                    </a:lnTo>
                    <a:lnTo>
                      <a:pt x="2113" y="2930"/>
                    </a:lnTo>
                    <a:lnTo>
                      <a:pt x="2155" y="2930"/>
                    </a:lnTo>
                    <a:lnTo>
                      <a:pt x="2197" y="2867"/>
                    </a:lnTo>
                    <a:lnTo>
                      <a:pt x="2134" y="2826"/>
                    </a:lnTo>
                    <a:lnTo>
                      <a:pt x="2051" y="2805"/>
                    </a:lnTo>
                    <a:lnTo>
                      <a:pt x="2092" y="2742"/>
                    </a:lnTo>
                    <a:lnTo>
                      <a:pt x="2051" y="2658"/>
                    </a:lnTo>
                    <a:lnTo>
                      <a:pt x="1988" y="2616"/>
                    </a:lnTo>
                    <a:lnTo>
                      <a:pt x="1904" y="2616"/>
                    </a:lnTo>
                    <a:lnTo>
                      <a:pt x="1883" y="2491"/>
                    </a:lnTo>
                    <a:lnTo>
                      <a:pt x="1716" y="2323"/>
                    </a:lnTo>
                    <a:lnTo>
                      <a:pt x="1611" y="2240"/>
                    </a:lnTo>
                    <a:lnTo>
                      <a:pt x="1569" y="2135"/>
                    </a:lnTo>
                    <a:lnTo>
                      <a:pt x="1569" y="2093"/>
                    </a:lnTo>
                    <a:lnTo>
                      <a:pt x="1611" y="2093"/>
                    </a:lnTo>
                    <a:lnTo>
                      <a:pt x="1632" y="2177"/>
                    </a:lnTo>
                    <a:lnTo>
                      <a:pt x="1737" y="2177"/>
                    </a:lnTo>
                    <a:lnTo>
                      <a:pt x="1841" y="2093"/>
                    </a:lnTo>
                    <a:lnTo>
                      <a:pt x="1883" y="2010"/>
                    </a:lnTo>
                    <a:lnTo>
                      <a:pt x="2092" y="1926"/>
                    </a:lnTo>
                    <a:lnTo>
                      <a:pt x="2260" y="1800"/>
                    </a:lnTo>
                    <a:lnTo>
                      <a:pt x="2344" y="1675"/>
                    </a:lnTo>
                    <a:lnTo>
                      <a:pt x="2448" y="1612"/>
                    </a:lnTo>
                    <a:lnTo>
                      <a:pt x="2448" y="1549"/>
                    </a:lnTo>
                    <a:lnTo>
                      <a:pt x="2574" y="1507"/>
                    </a:lnTo>
                    <a:lnTo>
                      <a:pt x="2678" y="1570"/>
                    </a:lnTo>
                    <a:lnTo>
                      <a:pt x="2762" y="1591"/>
                    </a:lnTo>
                    <a:lnTo>
                      <a:pt x="2867" y="1445"/>
                    </a:lnTo>
                    <a:lnTo>
                      <a:pt x="2867" y="1361"/>
                    </a:lnTo>
                    <a:lnTo>
                      <a:pt x="2741" y="1298"/>
                    </a:lnTo>
                    <a:lnTo>
                      <a:pt x="2469" y="1340"/>
                    </a:lnTo>
                    <a:lnTo>
                      <a:pt x="2364" y="1403"/>
                    </a:lnTo>
                    <a:lnTo>
                      <a:pt x="2197" y="1403"/>
                    </a:lnTo>
                    <a:lnTo>
                      <a:pt x="2113" y="1445"/>
                    </a:lnTo>
                    <a:lnTo>
                      <a:pt x="2009" y="1549"/>
                    </a:lnTo>
                    <a:lnTo>
                      <a:pt x="1820" y="1549"/>
                    </a:lnTo>
                    <a:lnTo>
                      <a:pt x="1716" y="1486"/>
                    </a:lnTo>
                    <a:lnTo>
                      <a:pt x="1611" y="1466"/>
                    </a:lnTo>
                    <a:lnTo>
                      <a:pt x="1507" y="1591"/>
                    </a:lnTo>
                    <a:lnTo>
                      <a:pt x="1423" y="1800"/>
                    </a:lnTo>
                    <a:lnTo>
                      <a:pt x="1297" y="1863"/>
                    </a:lnTo>
                    <a:lnTo>
                      <a:pt x="1193" y="1821"/>
                    </a:lnTo>
                    <a:lnTo>
                      <a:pt x="1172" y="1779"/>
                    </a:lnTo>
                    <a:lnTo>
                      <a:pt x="1004" y="1612"/>
                    </a:lnTo>
                    <a:lnTo>
                      <a:pt x="858" y="1486"/>
                    </a:lnTo>
                    <a:lnTo>
                      <a:pt x="774" y="1277"/>
                    </a:lnTo>
                    <a:lnTo>
                      <a:pt x="795" y="1047"/>
                    </a:lnTo>
                    <a:lnTo>
                      <a:pt x="879" y="838"/>
                    </a:lnTo>
                    <a:lnTo>
                      <a:pt x="984" y="733"/>
                    </a:lnTo>
                    <a:lnTo>
                      <a:pt x="1109" y="670"/>
                    </a:lnTo>
                    <a:lnTo>
                      <a:pt x="1276" y="754"/>
                    </a:lnTo>
                    <a:lnTo>
                      <a:pt x="1465" y="775"/>
                    </a:lnTo>
                    <a:lnTo>
                      <a:pt x="1674" y="670"/>
                    </a:lnTo>
                    <a:lnTo>
                      <a:pt x="1820" y="670"/>
                    </a:lnTo>
                    <a:lnTo>
                      <a:pt x="1883" y="754"/>
                    </a:lnTo>
                    <a:lnTo>
                      <a:pt x="1988" y="754"/>
                    </a:lnTo>
                    <a:lnTo>
                      <a:pt x="2051" y="712"/>
                    </a:lnTo>
                    <a:lnTo>
                      <a:pt x="2281" y="733"/>
                    </a:lnTo>
                    <a:lnTo>
                      <a:pt x="2427" y="733"/>
                    </a:lnTo>
                    <a:lnTo>
                      <a:pt x="2448" y="712"/>
                    </a:lnTo>
                    <a:lnTo>
                      <a:pt x="2574" y="712"/>
                    </a:lnTo>
                    <a:lnTo>
                      <a:pt x="2678" y="754"/>
                    </a:lnTo>
                    <a:lnTo>
                      <a:pt x="2720" y="817"/>
                    </a:lnTo>
                    <a:lnTo>
                      <a:pt x="2825" y="859"/>
                    </a:lnTo>
                    <a:lnTo>
                      <a:pt x="3264" y="754"/>
                    </a:lnTo>
                    <a:lnTo>
                      <a:pt x="3453" y="629"/>
                    </a:lnTo>
                    <a:lnTo>
                      <a:pt x="3494" y="524"/>
                    </a:lnTo>
                    <a:lnTo>
                      <a:pt x="3578" y="524"/>
                    </a:lnTo>
                    <a:lnTo>
                      <a:pt x="3620" y="440"/>
                    </a:lnTo>
                    <a:lnTo>
                      <a:pt x="3704" y="398"/>
                    </a:lnTo>
                    <a:lnTo>
                      <a:pt x="3766" y="294"/>
                    </a:lnTo>
                    <a:lnTo>
                      <a:pt x="3808" y="210"/>
                    </a:lnTo>
                    <a:lnTo>
                      <a:pt x="3871" y="147"/>
                    </a:lnTo>
                    <a:lnTo>
                      <a:pt x="3808" y="106"/>
                    </a:lnTo>
                    <a:lnTo>
                      <a:pt x="3787" y="43"/>
                    </a:lnTo>
                    <a:lnTo>
                      <a:pt x="3620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9" name="Google Shape;12137;p43">
                <a:extLst>
                  <a:ext uri="{FF2B5EF4-FFF2-40B4-BE49-F238E27FC236}">
                    <a16:creationId xmlns:a16="http://schemas.microsoft.com/office/drawing/2014/main" id="{5863886E-E521-D4B6-FDD0-61F4B5C1595B}"/>
                  </a:ext>
                </a:extLst>
              </p:cNvPr>
              <p:cNvSpPr/>
              <p:nvPr/>
            </p:nvSpPr>
            <p:spPr>
              <a:xfrm>
                <a:off x="5587700" y="3253200"/>
                <a:ext cx="145450" cy="1313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253" extrusionOk="0">
                    <a:moveTo>
                      <a:pt x="922" y="1"/>
                    </a:moveTo>
                    <a:lnTo>
                      <a:pt x="775" y="22"/>
                    </a:lnTo>
                    <a:lnTo>
                      <a:pt x="712" y="84"/>
                    </a:lnTo>
                    <a:lnTo>
                      <a:pt x="566" y="189"/>
                    </a:lnTo>
                    <a:lnTo>
                      <a:pt x="482" y="210"/>
                    </a:lnTo>
                    <a:lnTo>
                      <a:pt x="398" y="294"/>
                    </a:lnTo>
                    <a:lnTo>
                      <a:pt x="252" y="294"/>
                    </a:lnTo>
                    <a:lnTo>
                      <a:pt x="147" y="356"/>
                    </a:lnTo>
                    <a:lnTo>
                      <a:pt x="189" y="440"/>
                    </a:lnTo>
                    <a:lnTo>
                      <a:pt x="168" y="524"/>
                    </a:lnTo>
                    <a:lnTo>
                      <a:pt x="43" y="608"/>
                    </a:lnTo>
                    <a:lnTo>
                      <a:pt x="1" y="670"/>
                    </a:lnTo>
                    <a:lnTo>
                      <a:pt x="147" y="712"/>
                    </a:lnTo>
                    <a:lnTo>
                      <a:pt x="252" y="649"/>
                    </a:lnTo>
                    <a:lnTo>
                      <a:pt x="273" y="608"/>
                    </a:lnTo>
                    <a:lnTo>
                      <a:pt x="315" y="670"/>
                    </a:lnTo>
                    <a:lnTo>
                      <a:pt x="503" y="754"/>
                    </a:lnTo>
                    <a:lnTo>
                      <a:pt x="566" y="859"/>
                    </a:lnTo>
                    <a:lnTo>
                      <a:pt x="524" y="921"/>
                    </a:lnTo>
                    <a:lnTo>
                      <a:pt x="566" y="1047"/>
                    </a:lnTo>
                    <a:lnTo>
                      <a:pt x="691" y="1131"/>
                    </a:lnTo>
                    <a:lnTo>
                      <a:pt x="796" y="1152"/>
                    </a:lnTo>
                    <a:lnTo>
                      <a:pt x="901" y="1131"/>
                    </a:lnTo>
                    <a:lnTo>
                      <a:pt x="984" y="1172"/>
                    </a:lnTo>
                    <a:lnTo>
                      <a:pt x="1026" y="1131"/>
                    </a:lnTo>
                    <a:lnTo>
                      <a:pt x="1110" y="1152"/>
                    </a:lnTo>
                    <a:lnTo>
                      <a:pt x="1298" y="1131"/>
                    </a:lnTo>
                    <a:lnTo>
                      <a:pt x="1340" y="1152"/>
                    </a:lnTo>
                    <a:lnTo>
                      <a:pt x="1424" y="1131"/>
                    </a:lnTo>
                    <a:lnTo>
                      <a:pt x="1361" y="1068"/>
                    </a:lnTo>
                    <a:lnTo>
                      <a:pt x="1654" y="1089"/>
                    </a:lnTo>
                    <a:lnTo>
                      <a:pt x="1717" y="1172"/>
                    </a:lnTo>
                    <a:lnTo>
                      <a:pt x="1675" y="1298"/>
                    </a:lnTo>
                    <a:lnTo>
                      <a:pt x="1633" y="1277"/>
                    </a:lnTo>
                    <a:lnTo>
                      <a:pt x="1549" y="1361"/>
                    </a:lnTo>
                    <a:lnTo>
                      <a:pt x="1507" y="1465"/>
                    </a:lnTo>
                    <a:lnTo>
                      <a:pt x="1445" y="1361"/>
                    </a:lnTo>
                    <a:lnTo>
                      <a:pt x="1256" y="1277"/>
                    </a:lnTo>
                    <a:lnTo>
                      <a:pt x="1194" y="1298"/>
                    </a:lnTo>
                    <a:lnTo>
                      <a:pt x="1131" y="1465"/>
                    </a:lnTo>
                    <a:lnTo>
                      <a:pt x="1026" y="1507"/>
                    </a:lnTo>
                    <a:lnTo>
                      <a:pt x="922" y="1465"/>
                    </a:lnTo>
                    <a:lnTo>
                      <a:pt x="817" y="1465"/>
                    </a:lnTo>
                    <a:lnTo>
                      <a:pt x="775" y="1403"/>
                    </a:lnTo>
                    <a:lnTo>
                      <a:pt x="629" y="1444"/>
                    </a:lnTo>
                    <a:lnTo>
                      <a:pt x="566" y="1507"/>
                    </a:lnTo>
                    <a:lnTo>
                      <a:pt x="608" y="1570"/>
                    </a:lnTo>
                    <a:lnTo>
                      <a:pt x="733" y="1591"/>
                    </a:lnTo>
                    <a:lnTo>
                      <a:pt x="838" y="1654"/>
                    </a:lnTo>
                    <a:lnTo>
                      <a:pt x="901" y="1779"/>
                    </a:lnTo>
                    <a:lnTo>
                      <a:pt x="942" y="1821"/>
                    </a:lnTo>
                    <a:lnTo>
                      <a:pt x="1005" y="1800"/>
                    </a:lnTo>
                    <a:lnTo>
                      <a:pt x="1026" y="1884"/>
                    </a:lnTo>
                    <a:lnTo>
                      <a:pt x="1026" y="1968"/>
                    </a:lnTo>
                    <a:lnTo>
                      <a:pt x="984" y="1988"/>
                    </a:lnTo>
                    <a:lnTo>
                      <a:pt x="942" y="2072"/>
                    </a:lnTo>
                    <a:lnTo>
                      <a:pt x="1047" y="2240"/>
                    </a:lnTo>
                    <a:lnTo>
                      <a:pt x="1152" y="2281"/>
                    </a:lnTo>
                    <a:lnTo>
                      <a:pt x="1256" y="2240"/>
                    </a:lnTo>
                    <a:lnTo>
                      <a:pt x="1403" y="2114"/>
                    </a:lnTo>
                    <a:lnTo>
                      <a:pt x="1361" y="2009"/>
                    </a:lnTo>
                    <a:lnTo>
                      <a:pt x="1466" y="1863"/>
                    </a:lnTo>
                    <a:lnTo>
                      <a:pt x="1507" y="1821"/>
                    </a:lnTo>
                    <a:lnTo>
                      <a:pt x="1528" y="1758"/>
                    </a:lnTo>
                    <a:lnTo>
                      <a:pt x="1570" y="1612"/>
                    </a:lnTo>
                    <a:lnTo>
                      <a:pt x="1633" y="1507"/>
                    </a:lnTo>
                    <a:lnTo>
                      <a:pt x="1633" y="1654"/>
                    </a:lnTo>
                    <a:lnTo>
                      <a:pt x="1549" y="1716"/>
                    </a:lnTo>
                    <a:lnTo>
                      <a:pt x="1612" y="1863"/>
                    </a:lnTo>
                    <a:lnTo>
                      <a:pt x="1654" y="1988"/>
                    </a:lnTo>
                    <a:lnTo>
                      <a:pt x="1717" y="2072"/>
                    </a:lnTo>
                    <a:lnTo>
                      <a:pt x="1738" y="2009"/>
                    </a:lnTo>
                    <a:lnTo>
                      <a:pt x="1779" y="2009"/>
                    </a:lnTo>
                    <a:lnTo>
                      <a:pt x="1842" y="2030"/>
                    </a:lnTo>
                    <a:lnTo>
                      <a:pt x="1842" y="2135"/>
                    </a:lnTo>
                    <a:lnTo>
                      <a:pt x="1884" y="2093"/>
                    </a:lnTo>
                    <a:lnTo>
                      <a:pt x="1947" y="2093"/>
                    </a:lnTo>
                    <a:lnTo>
                      <a:pt x="1968" y="2135"/>
                    </a:lnTo>
                    <a:lnTo>
                      <a:pt x="2051" y="2177"/>
                    </a:lnTo>
                    <a:lnTo>
                      <a:pt x="2156" y="2135"/>
                    </a:lnTo>
                    <a:lnTo>
                      <a:pt x="2240" y="2135"/>
                    </a:lnTo>
                    <a:lnTo>
                      <a:pt x="2240" y="2177"/>
                    </a:lnTo>
                    <a:lnTo>
                      <a:pt x="2093" y="2177"/>
                    </a:lnTo>
                    <a:lnTo>
                      <a:pt x="2093" y="2281"/>
                    </a:lnTo>
                    <a:lnTo>
                      <a:pt x="2240" y="2302"/>
                    </a:lnTo>
                    <a:lnTo>
                      <a:pt x="2240" y="2323"/>
                    </a:lnTo>
                    <a:lnTo>
                      <a:pt x="2261" y="2386"/>
                    </a:lnTo>
                    <a:lnTo>
                      <a:pt x="2407" y="2449"/>
                    </a:lnTo>
                    <a:lnTo>
                      <a:pt x="2575" y="2449"/>
                    </a:lnTo>
                    <a:lnTo>
                      <a:pt x="2930" y="2553"/>
                    </a:lnTo>
                    <a:lnTo>
                      <a:pt x="3286" y="2658"/>
                    </a:lnTo>
                    <a:lnTo>
                      <a:pt x="3391" y="2658"/>
                    </a:lnTo>
                    <a:lnTo>
                      <a:pt x="3537" y="2721"/>
                    </a:lnTo>
                    <a:lnTo>
                      <a:pt x="3558" y="2825"/>
                    </a:lnTo>
                    <a:lnTo>
                      <a:pt x="3725" y="2867"/>
                    </a:lnTo>
                    <a:lnTo>
                      <a:pt x="3830" y="2867"/>
                    </a:lnTo>
                    <a:lnTo>
                      <a:pt x="3914" y="2825"/>
                    </a:lnTo>
                    <a:lnTo>
                      <a:pt x="3914" y="2825"/>
                    </a:lnTo>
                    <a:lnTo>
                      <a:pt x="3830" y="2951"/>
                    </a:lnTo>
                    <a:lnTo>
                      <a:pt x="3851" y="2972"/>
                    </a:lnTo>
                    <a:lnTo>
                      <a:pt x="3935" y="2951"/>
                    </a:lnTo>
                    <a:lnTo>
                      <a:pt x="3955" y="3014"/>
                    </a:lnTo>
                    <a:lnTo>
                      <a:pt x="4081" y="2972"/>
                    </a:lnTo>
                    <a:lnTo>
                      <a:pt x="4018" y="3035"/>
                    </a:lnTo>
                    <a:lnTo>
                      <a:pt x="4060" y="3076"/>
                    </a:lnTo>
                    <a:lnTo>
                      <a:pt x="4039" y="3139"/>
                    </a:lnTo>
                    <a:lnTo>
                      <a:pt x="4081" y="3181"/>
                    </a:lnTo>
                    <a:lnTo>
                      <a:pt x="4186" y="3160"/>
                    </a:lnTo>
                    <a:lnTo>
                      <a:pt x="4081" y="3265"/>
                    </a:lnTo>
                    <a:lnTo>
                      <a:pt x="4081" y="3328"/>
                    </a:lnTo>
                    <a:lnTo>
                      <a:pt x="4227" y="3453"/>
                    </a:lnTo>
                    <a:lnTo>
                      <a:pt x="4186" y="3558"/>
                    </a:lnTo>
                    <a:lnTo>
                      <a:pt x="4227" y="3641"/>
                    </a:lnTo>
                    <a:lnTo>
                      <a:pt x="4332" y="3704"/>
                    </a:lnTo>
                    <a:lnTo>
                      <a:pt x="4479" y="3809"/>
                    </a:lnTo>
                    <a:lnTo>
                      <a:pt x="4499" y="3872"/>
                    </a:lnTo>
                    <a:lnTo>
                      <a:pt x="4374" y="3872"/>
                    </a:lnTo>
                    <a:lnTo>
                      <a:pt x="4353" y="3955"/>
                    </a:lnTo>
                    <a:lnTo>
                      <a:pt x="4437" y="4018"/>
                    </a:lnTo>
                    <a:lnTo>
                      <a:pt x="4541" y="4081"/>
                    </a:lnTo>
                    <a:lnTo>
                      <a:pt x="4667" y="4060"/>
                    </a:lnTo>
                    <a:lnTo>
                      <a:pt x="4751" y="4081"/>
                    </a:lnTo>
                    <a:lnTo>
                      <a:pt x="4688" y="4081"/>
                    </a:lnTo>
                    <a:lnTo>
                      <a:pt x="4562" y="4123"/>
                    </a:lnTo>
                    <a:lnTo>
                      <a:pt x="4499" y="4102"/>
                    </a:lnTo>
                    <a:lnTo>
                      <a:pt x="4458" y="4123"/>
                    </a:lnTo>
                    <a:lnTo>
                      <a:pt x="4499" y="4206"/>
                    </a:lnTo>
                    <a:lnTo>
                      <a:pt x="4583" y="4227"/>
                    </a:lnTo>
                    <a:lnTo>
                      <a:pt x="4562" y="4395"/>
                    </a:lnTo>
                    <a:lnTo>
                      <a:pt x="4541" y="4416"/>
                    </a:lnTo>
                    <a:lnTo>
                      <a:pt x="4541" y="4499"/>
                    </a:lnTo>
                    <a:lnTo>
                      <a:pt x="4499" y="4583"/>
                    </a:lnTo>
                    <a:lnTo>
                      <a:pt x="4458" y="4604"/>
                    </a:lnTo>
                    <a:lnTo>
                      <a:pt x="4541" y="4709"/>
                    </a:lnTo>
                    <a:lnTo>
                      <a:pt x="4667" y="4625"/>
                    </a:lnTo>
                    <a:lnTo>
                      <a:pt x="4709" y="4688"/>
                    </a:lnTo>
                    <a:lnTo>
                      <a:pt x="4792" y="4688"/>
                    </a:lnTo>
                    <a:lnTo>
                      <a:pt x="4897" y="4625"/>
                    </a:lnTo>
                    <a:lnTo>
                      <a:pt x="5064" y="4625"/>
                    </a:lnTo>
                    <a:lnTo>
                      <a:pt x="5127" y="4583"/>
                    </a:lnTo>
                    <a:lnTo>
                      <a:pt x="5169" y="4478"/>
                    </a:lnTo>
                    <a:lnTo>
                      <a:pt x="5169" y="4583"/>
                    </a:lnTo>
                    <a:lnTo>
                      <a:pt x="5106" y="4688"/>
                    </a:lnTo>
                    <a:lnTo>
                      <a:pt x="5127" y="4750"/>
                    </a:lnTo>
                    <a:lnTo>
                      <a:pt x="5190" y="4792"/>
                    </a:lnTo>
                    <a:lnTo>
                      <a:pt x="5316" y="4897"/>
                    </a:lnTo>
                    <a:lnTo>
                      <a:pt x="5295" y="4939"/>
                    </a:lnTo>
                    <a:lnTo>
                      <a:pt x="5336" y="5022"/>
                    </a:lnTo>
                    <a:lnTo>
                      <a:pt x="5504" y="5211"/>
                    </a:lnTo>
                    <a:lnTo>
                      <a:pt x="5629" y="5232"/>
                    </a:lnTo>
                    <a:lnTo>
                      <a:pt x="5692" y="5253"/>
                    </a:lnTo>
                    <a:lnTo>
                      <a:pt x="5713" y="3851"/>
                    </a:lnTo>
                    <a:lnTo>
                      <a:pt x="5713" y="3788"/>
                    </a:lnTo>
                    <a:lnTo>
                      <a:pt x="5713" y="3704"/>
                    </a:lnTo>
                    <a:lnTo>
                      <a:pt x="5734" y="3537"/>
                    </a:lnTo>
                    <a:lnTo>
                      <a:pt x="5818" y="1382"/>
                    </a:lnTo>
                    <a:lnTo>
                      <a:pt x="5713" y="1403"/>
                    </a:lnTo>
                    <a:lnTo>
                      <a:pt x="5629" y="1382"/>
                    </a:lnTo>
                    <a:lnTo>
                      <a:pt x="5629" y="1298"/>
                    </a:lnTo>
                    <a:lnTo>
                      <a:pt x="5650" y="1256"/>
                    </a:lnTo>
                    <a:lnTo>
                      <a:pt x="5546" y="1193"/>
                    </a:lnTo>
                    <a:lnTo>
                      <a:pt x="5441" y="1193"/>
                    </a:lnTo>
                    <a:lnTo>
                      <a:pt x="5316" y="1172"/>
                    </a:lnTo>
                    <a:lnTo>
                      <a:pt x="5232" y="1152"/>
                    </a:lnTo>
                    <a:lnTo>
                      <a:pt x="5169" y="1172"/>
                    </a:lnTo>
                    <a:lnTo>
                      <a:pt x="4813" y="1026"/>
                    </a:lnTo>
                    <a:lnTo>
                      <a:pt x="4667" y="984"/>
                    </a:lnTo>
                    <a:lnTo>
                      <a:pt x="4562" y="963"/>
                    </a:lnTo>
                    <a:lnTo>
                      <a:pt x="4458" y="880"/>
                    </a:lnTo>
                    <a:lnTo>
                      <a:pt x="4248" y="838"/>
                    </a:lnTo>
                    <a:lnTo>
                      <a:pt x="4060" y="754"/>
                    </a:lnTo>
                    <a:lnTo>
                      <a:pt x="3976" y="670"/>
                    </a:lnTo>
                    <a:lnTo>
                      <a:pt x="3830" y="649"/>
                    </a:lnTo>
                    <a:lnTo>
                      <a:pt x="3537" y="838"/>
                    </a:lnTo>
                    <a:lnTo>
                      <a:pt x="3537" y="880"/>
                    </a:lnTo>
                    <a:lnTo>
                      <a:pt x="3600" y="984"/>
                    </a:lnTo>
                    <a:lnTo>
                      <a:pt x="3558" y="1068"/>
                    </a:lnTo>
                    <a:lnTo>
                      <a:pt x="3391" y="1089"/>
                    </a:lnTo>
                    <a:lnTo>
                      <a:pt x="3286" y="1131"/>
                    </a:lnTo>
                    <a:lnTo>
                      <a:pt x="3223" y="1131"/>
                    </a:lnTo>
                    <a:lnTo>
                      <a:pt x="3181" y="1089"/>
                    </a:lnTo>
                    <a:lnTo>
                      <a:pt x="3119" y="1172"/>
                    </a:lnTo>
                    <a:lnTo>
                      <a:pt x="3119" y="1277"/>
                    </a:lnTo>
                    <a:lnTo>
                      <a:pt x="2993" y="1340"/>
                    </a:lnTo>
                    <a:lnTo>
                      <a:pt x="2888" y="1361"/>
                    </a:lnTo>
                    <a:lnTo>
                      <a:pt x="2805" y="1465"/>
                    </a:lnTo>
                    <a:lnTo>
                      <a:pt x="2805" y="1612"/>
                    </a:lnTo>
                    <a:lnTo>
                      <a:pt x="2763" y="1654"/>
                    </a:lnTo>
                    <a:lnTo>
                      <a:pt x="2700" y="1696"/>
                    </a:lnTo>
                    <a:lnTo>
                      <a:pt x="2658" y="1800"/>
                    </a:lnTo>
                    <a:lnTo>
                      <a:pt x="2554" y="1821"/>
                    </a:lnTo>
                    <a:lnTo>
                      <a:pt x="2449" y="1821"/>
                    </a:lnTo>
                    <a:lnTo>
                      <a:pt x="2386" y="1779"/>
                    </a:lnTo>
                    <a:lnTo>
                      <a:pt x="2261" y="1675"/>
                    </a:lnTo>
                    <a:lnTo>
                      <a:pt x="2240" y="1570"/>
                    </a:lnTo>
                    <a:lnTo>
                      <a:pt x="2177" y="1591"/>
                    </a:lnTo>
                    <a:lnTo>
                      <a:pt x="2156" y="1465"/>
                    </a:lnTo>
                    <a:lnTo>
                      <a:pt x="2156" y="1361"/>
                    </a:lnTo>
                    <a:lnTo>
                      <a:pt x="2072" y="1298"/>
                    </a:lnTo>
                    <a:lnTo>
                      <a:pt x="2031" y="1382"/>
                    </a:lnTo>
                    <a:lnTo>
                      <a:pt x="2051" y="1507"/>
                    </a:lnTo>
                    <a:lnTo>
                      <a:pt x="1989" y="1507"/>
                    </a:lnTo>
                    <a:lnTo>
                      <a:pt x="1926" y="1444"/>
                    </a:lnTo>
                    <a:lnTo>
                      <a:pt x="1863" y="1298"/>
                    </a:lnTo>
                    <a:lnTo>
                      <a:pt x="1842" y="1047"/>
                    </a:lnTo>
                    <a:lnTo>
                      <a:pt x="1821" y="880"/>
                    </a:lnTo>
                    <a:lnTo>
                      <a:pt x="1863" y="775"/>
                    </a:lnTo>
                    <a:lnTo>
                      <a:pt x="1947" y="670"/>
                    </a:lnTo>
                    <a:lnTo>
                      <a:pt x="1884" y="566"/>
                    </a:lnTo>
                    <a:lnTo>
                      <a:pt x="1821" y="503"/>
                    </a:lnTo>
                    <a:lnTo>
                      <a:pt x="1821" y="335"/>
                    </a:lnTo>
                    <a:lnTo>
                      <a:pt x="1842" y="294"/>
                    </a:lnTo>
                    <a:lnTo>
                      <a:pt x="1779" y="231"/>
                    </a:lnTo>
                    <a:lnTo>
                      <a:pt x="1612" y="210"/>
                    </a:lnTo>
                    <a:lnTo>
                      <a:pt x="1424" y="231"/>
                    </a:lnTo>
                    <a:lnTo>
                      <a:pt x="1235" y="105"/>
                    </a:lnTo>
                    <a:lnTo>
                      <a:pt x="92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0" name="Google Shape;12138;p43">
                <a:extLst>
                  <a:ext uri="{FF2B5EF4-FFF2-40B4-BE49-F238E27FC236}">
                    <a16:creationId xmlns:a16="http://schemas.microsoft.com/office/drawing/2014/main" id="{E22AC3F5-27E6-D8A9-2B35-3DC028AAB36F}"/>
                  </a:ext>
                </a:extLst>
              </p:cNvPr>
              <p:cNvSpPr/>
              <p:nvPr/>
            </p:nvSpPr>
            <p:spPr>
              <a:xfrm>
                <a:off x="5268100" y="3181025"/>
                <a:ext cx="143350" cy="129750"/>
              </a:xfrm>
              <a:custGeom>
                <a:avLst/>
                <a:gdLst/>
                <a:ahLst/>
                <a:cxnLst/>
                <a:rect l="l" t="t" r="r" b="b"/>
                <a:pathLst>
                  <a:path w="5734" h="5190" extrusionOk="0">
                    <a:moveTo>
                      <a:pt x="4060" y="0"/>
                    </a:moveTo>
                    <a:lnTo>
                      <a:pt x="3955" y="147"/>
                    </a:lnTo>
                    <a:lnTo>
                      <a:pt x="3955" y="209"/>
                    </a:lnTo>
                    <a:lnTo>
                      <a:pt x="3892" y="314"/>
                    </a:lnTo>
                    <a:lnTo>
                      <a:pt x="3892" y="398"/>
                    </a:lnTo>
                    <a:lnTo>
                      <a:pt x="3767" y="837"/>
                    </a:lnTo>
                    <a:lnTo>
                      <a:pt x="3579" y="1109"/>
                    </a:lnTo>
                    <a:lnTo>
                      <a:pt x="3516" y="1360"/>
                    </a:lnTo>
                    <a:lnTo>
                      <a:pt x="3265" y="1716"/>
                    </a:lnTo>
                    <a:lnTo>
                      <a:pt x="3307" y="1779"/>
                    </a:lnTo>
                    <a:lnTo>
                      <a:pt x="3014" y="1842"/>
                    </a:lnTo>
                    <a:lnTo>
                      <a:pt x="2783" y="1967"/>
                    </a:lnTo>
                    <a:lnTo>
                      <a:pt x="2637" y="1967"/>
                    </a:lnTo>
                    <a:lnTo>
                      <a:pt x="2595" y="1883"/>
                    </a:lnTo>
                    <a:lnTo>
                      <a:pt x="2470" y="1842"/>
                    </a:lnTo>
                    <a:lnTo>
                      <a:pt x="2177" y="1842"/>
                    </a:lnTo>
                    <a:lnTo>
                      <a:pt x="2093" y="1925"/>
                    </a:lnTo>
                    <a:lnTo>
                      <a:pt x="1758" y="2051"/>
                    </a:lnTo>
                    <a:lnTo>
                      <a:pt x="1444" y="2030"/>
                    </a:lnTo>
                    <a:lnTo>
                      <a:pt x="1361" y="2072"/>
                    </a:lnTo>
                    <a:lnTo>
                      <a:pt x="1235" y="2051"/>
                    </a:lnTo>
                    <a:lnTo>
                      <a:pt x="1214" y="2134"/>
                    </a:lnTo>
                    <a:lnTo>
                      <a:pt x="1047" y="2176"/>
                    </a:lnTo>
                    <a:lnTo>
                      <a:pt x="942" y="2155"/>
                    </a:lnTo>
                    <a:lnTo>
                      <a:pt x="921" y="2051"/>
                    </a:lnTo>
                    <a:lnTo>
                      <a:pt x="796" y="1946"/>
                    </a:lnTo>
                    <a:lnTo>
                      <a:pt x="754" y="1883"/>
                    </a:lnTo>
                    <a:lnTo>
                      <a:pt x="566" y="1758"/>
                    </a:lnTo>
                    <a:lnTo>
                      <a:pt x="440" y="1549"/>
                    </a:lnTo>
                    <a:lnTo>
                      <a:pt x="377" y="1570"/>
                    </a:lnTo>
                    <a:lnTo>
                      <a:pt x="314" y="1653"/>
                    </a:lnTo>
                    <a:lnTo>
                      <a:pt x="168" y="1842"/>
                    </a:lnTo>
                    <a:lnTo>
                      <a:pt x="84" y="1988"/>
                    </a:lnTo>
                    <a:lnTo>
                      <a:pt x="84" y="2072"/>
                    </a:lnTo>
                    <a:lnTo>
                      <a:pt x="105" y="2155"/>
                    </a:lnTo>
                    <a:lnTo>
                      <a:pt x="84" y="2239"/>
                    </a:lnTo>
                    <a:lnTo>
                      <a:pt x="1" y="2281"/>
                    </a:lnTo>
                    <a:lnTo>
                      <a:pt x="22" y="2490"/>
                    </a:lnTo>
                    <a:lnTo>
                      <a:pt x="210" y="2699"/>
                    </a:lnTo>
                    <a:lnTo>
                      <a:pt x="231" y="2804"/>
                    </a:lnTo>
                    <a:lnTo>
                      <a:pt x="189" y="2762"/>
                    </a:lnTo>
                    <a:lnTo>
                      <a:pt x="168" y="2804"/>
                    </a:lnTo>
                    <a:lnTo>
                      <a:pt x="210" y="2930"/>
                    </a:lnTo>
                    <a:lnTo>
                      <a:pt x="335" y="2971"/>
                    </a:lnTo>
                    <a:lnTo>
                      <a:pt x="419" y="2971"/>
                    </a:lnTo>
                    <a:lnTo>
                      <a:pt x="607" y="2909"/>
                    </a:lnTo>
                    <a:lnTo>
                      <a:pt x="733" y="2825"/>
                    </a:lnTo>
                    <a:lnTo>
                      <a:pt x="838" y="2867"/>
                    </a:lnTo>
                    <a:lnTo>
                      <a:pt x="733" y="2867"/>
                    </a:lnTo>
                    <a:lnTo>
                      <a:pt x="607" y="2971"/>
                    </a:lnTo>
                    <a:lnTo>
                      <a:pt x="398" y="3013"/>
                    </a:lnTo>
                    <a:lnTo>
                      <a:pt x="314" y="3097"/>
                    </a:lnTo>
                    <a:lnTo>
                      <a:pt x="210" y="3097"/>
                    </a:lnTo>
                    <a:lnTo>
                      <a:pt x="210" y="3139"/>
                    </a:lnTo>
                    <a:lnTo>
                      <a:pt x="335" y="3181"/>
                    </a:lnTo>
                    <a:lnTo>
                      <a:pt x="503" y="3243"/>
                    </a:lnTo>
                    <a:lnTo>
                      <a:pt x="649" y="3411"/>
                    </a:lnTo>
                    <a:lnTo>
                      <a:pt x="712" y="3515"/>
                    </a:lnTo>
                    <a:lnTo>
                      <a:pt x="733" y="3620"/>
                    </a:lnTo>
                    <a:lnTo>
                      <a:pt x="649" y="3746"/>
                    </a:lnTo>
                    <a:lnTo>
                      <a:pt x="566" y="3829"/>
                    </a:lnTo>
                    <a:lnTo>
                      <a:pt x="607" y="3871"/>
                    </a:lnTo>
                    <a:lnTo>
                      <a:pt x="712" y="3955"/>
                    </a:lnTo>
                    <a:lnTo>
                      <a:pt x="733" y="4227"/>
                    </a:lnTo>
                    <a:lnTo>
                      <a:pt x="733" y="4352"/>
                    </a:lnTo>
                    <a:lnTo>
                      <a:pt x="817" y="4499"/>
                    </a:lnTo>
                    <a:lnTo>
                      <a:pt x="858" y="4499"/>
                    </a:lnTo>
                    <a:lnTo>
                      <a:pt x="963" y="4436"/>
                    </a:lnTo>
                    <a:lnTo>
                      <a:pt x="1005" y="4499"/>
                    </a:lnTo>
                    <a:lnTo>
                      <a:pt x="1130" y="4499"/>
                    </a:lnTo>
                    <a:lnTo>
                      <a:pt x="1214" y="4541"/>
                    </a:lnTo>
                    <a:lnTo>
                      <a:pt x="1361" y="4541"/>
                    </a:lnTo>
                    <a:lnTo>
                      <a:pt x="1444" y="4457"/>
                    </a:lnTo>
                    <a:lnTo>
                      <a:pt x="1528" y="4499"/>
                    </a:lnTo>
                    <a:lnTo>
                      <a:pt x="1591" y="4457"/>
                    </a:lnTo>
                    <a:lnTo>
                      <a:pt x="1654" y="4352"/>
                    </a:lnTo>
                    <a:lnTo>
                      <a:pt x="1654" y="4290"/>
                    </a:lnTo>
                    <a:lnTo>
                      <a:pt x="1674" y="4373"/>
                    </a:lnTo>
                    <a:lnTo>
                      <a:pt x="1654" y="4478"/>
                    </a:lnTo>
                    <a:lnTo>
                      <a:pt x="1695" y="4603"/>
                    </a:lnTo>
                    <a:lnTo>
                      <a:pt x="1737" y="4792"/>
                    </a:lnTo>
                    <a:lnTo>
                      <a:pt x="1695" y="4896"/>
                    </a:lnTo>
                    <a:lnTo>
                      <a:pt x="1779" y="4896"/>
                    </a:lnTo>
                    <a:lnTo>
                      <a:pt x="1905" y="4750"/>
                    </a:lnTo>
                    <a:lnTo>
                      <a:pt x="1988" y="4708"/>
                    </a:lnTo>
                    <a:lnTo>
                      <a:pt x="2051" y="4771"/>
                    </a:lnTo>
                    <a:lnTo>
                      <a:pt x="2114" y="4750"/>
                    </a:lnTo>
                    <a:lnTo>
                      <a:pt x="2135" y="4687"/>
                    </a:lnTo>
                    <a:lnTo>
                      <a:pt x="2302" y="4687"/>
                    </a:lnTo>
                    <a:lnTo>
                      <a:pt x="2386" y="4583"/>
                    </a:lnTo>
                    <a:lnTo>
                      <a:pt x="2428" y="4583"/>
                    </a:lnTo>
                    <a:lnTo>
                      <a:pt x="2532" y="4645"/>
                    </a:lnTo>
                    <a:lnTo>
                      <a:pt x="2616" y="4583"/>
                    </a:lnTo>
                    <a:lnTo>
                      <a:pt x="2658" y="4645"/>
                    </a:lnTo>
                    <a:lnTo>
                      <a:pt x="2658" y="4750"/>
                    </a:lnTo>
                    <a:lnTo>
                      <a:pt x="2721" y="4792"/>
                    </a:lnTo>
                    <a:lnTo>
                      <a:pt x="2825" y="4813"/>
                    </a:lnTo>
                    <a:lnTo>
                      <a:pt x="2804" y="4750"/>
                    </a:lnTo>
                    <a:lnTo>
                      <a:pt x="2825" y="4666"/>
                    </a:lnTo>
                    <a:lnTo>
                      <a:pt x="2888" y="4750"/>
                    </a:lnTo>
                    <a:lnTo>
                      <a:pt x="2993" y="4771"/>
                    </a:lnTo>
                    <a:lnTo>
                      <a:pt x="3035" y="4750"/>
                    </a:lnTo>
                    <a:lnTo>
                      <a:pt x="3097" y="4813"/>
                    </a:lnTo>
                    <a:lnTo>
                      <a:pt x="3139" y="4792"/>
                    </a:lnTo>
                    <a:lnTo>
                      <a:pt x="3160" y="4855"/>
                    </a:lnTo>
                    <a:lnTo>
                      <a:pt x="3223" y="4917"/>
                    </a:lnTo>
                    <a:lnTo>
                      <a:pt x="3181" y="5022"/>
                    </a:lnTo>
                    <a:lnTo>
                      <a:pt x="3244" y="5189"/>
                    </a:lnTo>
                    <a:lnTo>
                      <a:pt x="3348" y="5168"/>
                    </a:lnTo>
                    <a:lnTo>
                      <a:pt x="3579" y="5064"/>
                    </a:lnTo>
                    <a:lnTo>
                      <a:pt x="3746" y="5022"/>
                    </a:lnTo>
                    <a:lnTo>
                      <a:pt x="3955" y="4896"/>
                    </a:lnTo>
                    <a:lnTo>
                      <a:pt x="4060" y="4666"/>
                    </a:lnTo>
                    <a:lnTo>
                      <a:pt x="4060" y="4583"/>
                    </a:lnTo>
                    <a:lnTo>
                      <a:pt x="4102" y="4457"/>
                    </a:lnTo>
                    <a:lnTo>
                      <a:pt x="4143" y="4478"/>
                    </a:lnTo>
                    <a:lnTo>
                      <a:pt x="4185" y="4478"/>
                    </a:lnTo>
                    <a:lnTo>
                      <a:pt x="4269" y="4290"/>
                    </a:lnTo>
                    <a:lnTo>
                      <a:pt x="4227" y="4269"/>
                    </a:lnTo>
                    <a:lnTo>
                      <a:pt x="4185" y="4227"/>
                    </a:lnTo>
                    <a:lnTo>
                      <a:pt x="4185" y="4164"/>
                    </a:lnTo>
                    <a:lnTo>
                      <a:pt x="4206" y="4185"/>
                    </a:lnTo>
                    <a:lnTo>
                      <a:pt x="4290" y="4227"/>
                    </a:lnTo>
                    <a:lnTo>
                      <a:pt x="4353" y="4143"/>
                    </a:lnTo>
                    <a:lnTo>
                      <a:pt x="4311" y="4059"/>
                    </a:lnTo>
                    <a:lnTo>
                      <a:pt x="4269" y="4059"/>
                    </a:lnTo>
                    <a:lnTo>
                      <a:pt x="4206" y="4039"/>
                    </a:lnTo>
                    <a:lnTo>
                      <a:pt x="4290" y="3976"/>
                    </a:lnTo>
                    <a:lnTo>
                      <a:pt x="4290" y="3871"/>
                    </a:lnTo>
                    <a:lnTo>
                      <a:pt x="4143" y="3871"/>
                    </a:lnTo>
                    <a:lnTo>
                      <a:pt x="4185" y="3808"/>
                    </a:lnTo>
                    <a:lnTo>
                      <a:pt x="4164" y="3746"/>
                    </a:lnTo>
                    <a:lnTo>
                      <a:pt x="4164" y="3746"/>
                    </a:lnTo>
                    <a:lnTo>
                      <a:pt x="4227" y="3767"/>
                    </a:lnTo>
                    <a:lnTo>
                      <a:pt x="4353" y="3725"/>
                    </a:lnTo>
                    <a:lnTo>
                      <a:pt x="4374" y="3620"/>
                    </a:lnTo>
                    <a:lnTo>
                      <a:pt x="4457" y="3515"/>
                    </a:lnTo>
                    <a:lnTo>
                      <a:pt x="4478" y="3390"/>
                    </a:lnTo>
                    <a:lnTo>
                      <a:pt x="4457" y="3306"/>
                    </a:lnTo>
                    <a:lnTo>
                      <a:pt x="4499" y="3348"/>
                    </a:lnTo>
                    <a:lnTo>
                      <a:pt x="4562" y="3453"/>
                    </a:lnTo>
                    <a:lnTo>
                      <a:pt x="4625" y="3348"/>
                    </a:lnTo>
                    <a:lnTo>
                      <a:pt x="4708" y="3243"/>
                    </a:lnTo>
                    <a:lnTo>
                      <a:pt x="4667" y="3097"/>
                    </a:lnTo>
                    <a:lnTo>
                      <a:pt x="4813" y="2971"/>
                    </a:lnTo>
                    <a:lnTo>
                      <a:pt x="4834" y="2783"/>
                    </a:lnTo>
                    <a:lnTo>
                      <a:pt x="4897" y="2699"/>
                    </a:lnTo>
                    <a:lnTo>
                      <a:pt x="4918" y="2469"/>
                    </a:lnTo>
                    <a:lnTo>
                      <a:pt x="4980" y="2406"/>
                    </a:lnTo>
                    <a:lnTo>
                      <a:pt x="4980" y="2344"/>
                    </a:lnTo>
                    <a:lnTo>
                      <a:pt x="5106" y="2197"/>
                    </a:lnTo>
                    <a:lnTo>
                      <a:pt x="5148" y="2281"/>
                    </a:lnTo>
                    <a:lnTo>
                      <a:pt x="5190" y="2239"/>
                    </a:lnTo>
                    <a:lnTo>
                      <a:pt x="5148" y="2072"/>
                    </a:lnTo>
                    <a:lnTo>
                      <a:pt x="5148" y="2072"/>
                    </a:lnTo>
                    <a:lnTo>
                      <a:pt x="5336" y="2260"/>
                    </a:lnTo>
                    <a:lnTo>
                      <a:pt x="5462" y="2260"/>
                    </a:lnTo>
                    <a:lnTo>
                      <a:pt x="5545" y="2197"/>
                    </a:lnTo>
                    <a:lnTo>
                      <a:pt x="5629" y="2239"/>
                    </a:lnTo>
                    <a:lnTo>
                      <a:pt x="5713" y="2197"/>
                    </a:lnTo>
                    <a:lnTo>
                      <a:pt x="5734" y="2093"/>
                    </a:lnTo>
                    <a:lnTo>
                      <a:pt x="5629" y="2072"/>
                    </a:lnTo>
                    <a:lnTo>
                      <a:pt x="5608" y="2030"/>
                    </a:lnTo>
                    <a:lnTo>
                      <a:pt x="5503" y="1883"/>
                    </a:lnTo>
                    <a:lnTo>
                      <a:pt x="5420" y="1883"/>
                    </a:lnTo>
                    <a:lnTo>
                      <a:pt x="5190" y="1674"/>
                    </a:lnTo>
                    <a:lnTo>
                      <a:pt x="5106" y="1632"/>
                    </a:lnTo>
                    <a:lnTo>
                      <a:pt x="5085" y="1528"/>
                    </a:lnTo>
                    <a:lnTo>
                      <a:pt x="5022" y="1465"/>
                    </a:lnTo>
                    <a:lnTo>
                      <a:pt x="5043" y="1423"/>
                    </a:lnTo>
                    <a:lnTo>
                      <a:pt x="5190" y="1360"/>
                    </a:lnTo>
                    <a:lnTo>
                      <a:pt x="5231" y="1256"/>
                    </a:lnTo>
                    <a:lnTo>
                      <a:pt x="5148" y="1193"/>
                    </a:lnTo>
                    <a:lnTo>
                      <a:pt x="4980" y="1005"/>
                    </a:lnTo>
                    <a:lnTo>
                      <a:pt x="4918" y="879"/>
                    </a:lnTo>
                    <a:lnTo>
                      <a:pt x="4834" y="795"/>
                    </a:lnTo>
                    <a:lnTo>
                      <a:pt x="4876" y="712"/>
                    </a:lnTo>
                    <a:lnTo>
                      <a:pt x="4918" y="691"/>
                    </a:lnTo>
                    <a:lnTo>
                      <a:pt x="4918" y="628"/>
                    </a:lnTo>
                    <a:lnTo>
                      <a:pt x="4876" y="607"/>
                    </a:lnTo>
                    <a:lnTo>
                      <a:pt x="4750" y="482"/>
                    </a:lnTo>
                    <a:lnTo>
                      <a:pt x="4813" y="461"/>
                    </a:lnTo>
                    <a:lnTo>
                      <a:pt x="4939" y="482"/>
                    </a:lnTo>
                    <a:lnTo>
                      <a:pt x="5085" y="461"/>
                    </a:lnTo>
                    <a:lnTo>
                      <a:pt x="4980" y="314"/>
                    </a:lnTo>
                    <a:lnTo>
                      <a:pt x="4834" y="272"/>
                    </a:lnTo>
                    <a:lnTo>
                      <a:pt x="4897" y="209"/>
                    </a:lnTo>
                    <a:lnTo>
                      <a:pt x="4876" y="168"/>
                    </a:lnTo>
                    <a:lnTo>
                      <a:pt x="4939" y="147"/>
                    </a:lnTo>
                    <a:lnTo>
                      <a:pt x="4939" y="105"/>
                    </a:lnTo>
                    <a:lnTo>
                      <a:pt x="4813" y="84"/>
                    </a:lnTo>
                    <a:lnTo>
                      <a:pt x="4667" y="84"/>
                    </a:lnTo>
                    <a:lnTo>
                      <a:pt x="4604" y="42"/>
                    </a:lnTo>
                    <a:lnTo>
                      <a:pt x="4164" y="42"/>
                    </a:lnTo>
                    <a:lnTo>
                      <a:pt x="406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1" name="Google Shape;12139;p43">
                <a:extLst>
                  <a:ext uri="{FF2B5EF4-FFF2-40B4-BE49-F238E27FC236}">
                    <a16:creationId xmlns:a16="http://schemas.microsoft.com/office/drawing/2014/main" id="{CCCB7795-9DED-6B57-6910-E3B22EA85C1F}"/>
                  </a:ext>
                </a:extLst>
              </p:cNvPr>
              <p:cNvSpPr/>
              <p:nvPr/>
            </p:nvSpPr>
            <p:spPr>
              <a:xfrm>
                <a:off x="5068275" y="3161675"/>
                <a:ext cx="431050" cy="221800"/>
              </a:xfrm>
              <a:custGeom>
                <a:avLst/>
                <a:gdLst/>
                <a:ahLst/>
                <a:cxnLst/>
                <a:rect l="l" t="t" r="r" b="b"/>
                <a:pathLst>
                  <a:path w="17242" h="8872" extrusionOk="0">
                    <a:moveTo>
                      <a:pt x="16991" y="8202"/>
                    </a:moveTo>
                    <a:lnTo>
                      <a:pt x="16886" y="8265"/>
                    </a:lnTo>
                    <a:lnTo>
                      <a:pt x="16928" y="8286"/>
                    </a:lnTo>
                    <a:lnTo>
                      <a:pt x="16907" y="8307"/>
                    </a:lnTo>
                    <a:cubicBezTo>
                      <a:pt x="16886" y="8307"/>
                      <a:pt x="16823" y="8349"/>
                      <a:pt x="16802" y="8349"/>
                    </a:cubicBezTo>
                    <a:lnTo>
                      <a:pt x="16802" y="8307"/>
                    </a:lnTo>
                    <a:lnTo>
                      <a:pt x="16782" y="8349"/>
                    </a:lnTo>
                    <a:cubicBezTo>
                      <a:pt x="16677" y="8370"/>
                      <a:pt x="16572" y="8370"/>
                      <a:pt x="16489" y="8390"/>
                    </a:cubicBezTo>
                    <a:lnTo>
                      <a:pt x="16593" y="8286"/>
                    </a:lnTo>
                    <a:lnTo>
                      <a:pt x="16551" y="8265"/>
                    </a:lnTo>
                    <a:lnTo>
                      <a:pt x="16468" y="8307"/>
                    </a:lnTo>
                    <a:lnTo>
                      <a:pt x="16384" y="8307"/>
                    </a:lnTo>
                    <a:lnTo>
                      <a:pt x="16342" y="8349"/>
                    </a:lnTo>
                    <a:lnTo>
                      <a:pt x="16363" y="8390"/>
                    </a:lnTo>
                    <a:lnTo>
                      <a:pt x="16300" y="8453"/>
                    </a:lnTo>
                    <a:lnTo>
                      <a:pt x="16196" y="8453"/>
                    </a:lnTo>
                    <a:lnTo>
                      <a:pt x="16258" y="8495"/>
                    </a:lnTo>
                    <a:lnTo>
                      <a:pt x="16384" y="8474"/>
                    </a:lnTo>
                    <a:lnTo>
                      <a:pt x="16447" y="8411"/>
                    </a:lnTo>
                    <a:cubicBezTo>
                      <a:pt x="16489" y="8411"/>
                      <a:pt x="16551" y="8411"/>
                      <a:pt x="16614" y="8390"/>
                    </a:cubicBezTo>
                    <a:lnTo>
                      <a:pt x="16614" y="8390"/>
                    </a:lnTo>
                    <a:lnTo>
                      <a:pt x="16593" y="8411"/>
                    </a:lnTo>
                    <a:lnTo>
                      <a:pt x="16677" y="8411"/>
                    </a:lnTo>
                    <a:lnTo>
                      <a:pt x="16719" y="8474"/>
                    </a:lnTo>
                    <a:lnTo>
                      <a:pt x="16802" y="8370"/>
                    </a:lnTo>
                    <a:cubicBezTo>
                      <a:pt x="16823" y="8370"/>
                      <a:pt x="16886" y="8349"/>
                      <a:pt x="16907" y="8349"/>
                    </a:cubicBezTo>
                    <a:lnTo>
                      <a:pt x="16907" y="8370"/>
                    </a:lnTo>
                    <a:lnTo>
                      <a:pt x="17012" y="8390"/>
                    </a:lnTo>
                    <a:lnTo>
                      <a:pt x="17200" y="8307"/>
                    </a:lnTo>
                    <a:lnTo>
                      <a:pt x="17242" y="8244"/>
                    </a:lnTo>
                    <a:lnTo>
                      <a:pt x="17200" y="8202"/>
                    </a:lnTo>
                    <a:lnTo>
                      <a:pt x="17033" y="8244"/>
                    </a:lnTo>
                    <a:lnTo>
                      <a:pt x="16991" y="8202"/>
                    </a:lnTo>
                    <a:close/>
                    <a:moveTo>
                      <a:pt x="16070" y="8411"/>
                    </a:move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26" y="8475"/>
                      <a:pt x="16037" y="8501"/>
                      <a:pt x="16036" y="8525"/>
                    </a:cubicBezTo>
                    <a:lnTo>
                      <a:pt x="16036" y="8525"/>
                    </a:lnTo>
                    <a:lnTo>
                      <a:pt x="16049" y="8474"/>
                    </a:lnTo>
                    <a:lnTo>
                      <a:pt x="16133" y="8453"/>
                    </a:lnTo>
                    <a:lnTo>
                      <a:pt x="16196" y="8453"/>
                    </a:lnTo>
                    <a:lnTo>
                      <a:pt x="16237" y="8411"/>
                    </a:lnTo>
                    <a:close/>
                    <a:moveTo>
                      <a:pt x="16036" y="8525"/>
                    </a:moveTo>
                    <a:lnTo>
                      <a:pt x="16028" y="8558"/>
                    </a:lnTo>
                    <a:cubicBezTo>
                      <a:pt x="16034" y="8547"/>
                      <a:pt x="16036" y="8536"/>
                      <a:pt x="16036" y="8525"/>
                    </a:cubicBezTo>
                    <a:close/>
                    <a:moveTo>
                      <a:pt x="105" y="0"/>
                    </a:moveTo>
                    <a:lnTo>
                      <a:pt x="22" y="42"/>
                    </a:lnTo>
                    <a:lnTo>
                      <a:pt x="1" y="105"/>
                    </a:lnTo>
                    <a:lnTo>
                      <a:pt x="22" y="251"/>
                    </a:lnTo>
                    <a:lnTo>
                      <a:pt x="168" y="565"/>
                    </a:lnTo>
                    <a:lnTo>
                      <a:pt x="252" y="628"/>
                    </a:lnTo>
                    <a:lnTo>
                      <a:pt x="524" y="879"/>
                    </a:lnTo>
                    <a:lnTo>
                      <a:pt x="587" y="879"/>
                    </a:lnTo>
                    <a:lnTo>
                      <a:pt x="754" y="1067"/>
                    </a:lnTo>
                    <a:lnTo>
                      <a:pt x="838" y="1088"/>
                    </a:lnTo>
                    <a:lnTo>
                      <a:pt x="900" y="1067"/>
                    </a:lnTo>
                    <a:lnTo>
                      <a:pt x="1089" y="1214"/>
                    </a:lnTo>
                    <a:lnTo>
                      <a:pt x="1298" y="1528"/>
                    </a:lnTo>
                    <a:lnTo>
                      <a:pt x="1507" y="1716"/>
                    </a:lnTo>
                    <a:lnTo>
                      <a:pt x="1570" y="1716"/>
                    </a:lnTo>
                    <a:lnTo>
                      <a:pt x="1570" y="1883"/>
                    </a:lnTo>
                    <a:lnTo>
                      <a:pt x="1612" y="1925"/>
                    </a:lnTo>
                    <a:lnTo>
                      <a:pt x="1633" y="2092"/>
                    </a:lnTo>
                    <a:lnTo>
                      <a:pt x="1716" y="2155"/>
                    </a:lnTo>
                    <a:lnTo>
                      <a:pt x="1842" y="2155"/>
                    </a:lnTo>
                    <a:lnTo>
                      <a:pt x="2009" y="2344"/>
                    </a:lnTo>
                    <a:lnTo>
                      <a:pt x="2093" y="2406"/>
                    </a:lnTo>
                    <a:lnTo>
                      <a:pt x="2156" y="2406"/>
                    </a:lnTo>
                    <a:lnTo>
                      <a:pt x="2198" y="2448"/>
                    </a:lnTo>
                    <a:lnTo>
                      <a:pt x="2135" y="2532"/>
                    </a:lnTo>
                    <a:lnTo>
                      <a:pt x="2219" y="2616"/>
                    </a:lnTo>
                    <a:lnTo>
                      <a:pt x="2261" y="2762"/>
                    </a:lnTo>
                    <a:lnTo>
                      <a:pt x="2261" y="2783"/>
                    </a:lnTo>
                    <a:lnTo>
                      <a:pt x="2365" y="3097"/>
                    </a:lnTo>
                    <a:lnTo>
                      <a:pt x="2428" y="3264"/>
                    </a:lnTo>
                    <a:lnTo>
                      <a:pt x="2574" y="3306"/>
                    </a:lnTo>
                    <a:lnTo>
                      <a:pt x="2763" y="3411"/>
                    </a:lnTo>
                    <a:lnTo>
                      <a:pt x="2763" y="3515"/>
                    </a:lnTo>
                    <a:lnTo>
                      <a:pt x="2888" y="3787"/>
                    </a:lnTo>
                    <a:lnTo>
                      <a:pt x="3035" y="3892"/>
                    </a:lnTo>
                    <a:lnTo>
                      <a:pt x="3056" y="4185"/>
                    </a:lnTo>
                    <a:lnTo>
                      <a:pt x="3265" y="4561"/>
                    </a:lnTo>
                    <a:lnTo>
                      <a:pt x="3265" y="4729"/>
                    </a:lnTo>
                    <a:lnTo>
                      <a:pt x="3307" y="4875"/>
                    </a:lnTo>
                    <a:lnTo>
                      <a:pt x="3516" y="5043"/>
                    </a:lnTo>
                    <a:lnTo>
                      <a:pt x="3725" y="5294"/>
                    </a:lnTo>
                    <a:lnTo>
                      <a:pt x="3788" y="5440"/>
                    </a:lnTo>
                    <a:lnTo>
                      <a:pt x="3934" y="5461"/>
                    </a:lnTo>
                    <a:lnTo>
                      <a:pt x="3997" y="5545"/>
                    </a:lnTo>
                    <a:lnTo>
                      <a:pt x="4123" y="5608"/>
                    </a:lnTo>
                    <a:lnTo>
                      <a:pt x="4144" y="5775"/>
                    </a:lnTo>
                    <a:lnTo>
                      <a:pt x="4290" y="5859"/>
                    </a:lnTo>
                    <a:lnTo>
                      <a:pt x="4437" y="6005"/>
                    </a:lnTo>
                    <a:lnTo>
                      <a:pt x="4709" y="6173"/>
                    </a:lnTo>
                    <a:lnTo>
                      <a:pt x="4750" y="6298"/>
                    </a:lnTo>
                    <a:lnTo>
                      <a:pt x="4918" y="6361"/>
                    </a:lnTo>
                    <a:lnTo>
                      <a:pt x="5253" y="6633"/>
                    </a:lnTo>
                    <a:lnTo>
                      <a:pt x="5274" y="6779"/>
                    </a:lnTo>
                    <a:lnTo>
                      <a:pt x="5357" y="6800"/>
                    </a:lnTo>
                    <a:lnTo>
                      <a:pt x="5441" y="6926"/>
                    </a:lnTo>
                    <a:lnTo>
                      <a:pt x="5483" y="6884"/>
                    </a:lnTo>
                    <a:lnTo>
                      <a:pt x="5483" y="6779"/>
                    </a:lnTo>
                    <a:lnTo>
                      <a:pt x="5462" y="6717"/>
                    </a:lnTo>
                    <a:lnTo>
                      <a:pt x="5462" y="6675"/>
                    </a:lnTo>
                    <a:lnTo>
                      <a:pt x="5566" y="6696"/>
                    </a:lnTo>
                    <a:lnTo>
                      <a:pt x="5797" y="6905"/>
                    </a:lnTo>
                    <a:lnTo>
                      <a:pt x="5859" y="6884"/>
                    </a:lnTo>
                    <a:lnTo>
                      <a:pt x="5859" y="6717"/>
                    </a:lnTo>
                    <a:lnTo>
                      <a:pt x="5901" y="6633"/>
                    </a:lnTo>
                    <a:lnTo>
                      <a:pt x="5985" y="6675"/>
                    </a:lnTo>
                    <a:cubicBezTo>
                      <a:pt x="5985" y="6696"/>
                      <a:pt x="6006" y="6696"/>
                      <a:pt x="6006" y="6717"/>
                    </a:cubicBezTo>
                    <a:lnTo>
                      <a:pt x="6090" y="6842"/>
                    </a:lnTo>
                    <a:lnTo>
                      <a:pt x="6110" y="6842"/>
                    </a:lnTo>
                    <a:cubicBezTo>
                      <a:pt x="6173" y="6905"/>
                      <a:pt x="6215" y="6989"/>
                      <a:pt x="6278" y="7030"/>
                    </a:cubicBezTo>
                    <a:lnTo>
                      <a:pt x="6236" y="7051"/>
                    </a:lnTo>
                    <a:lnTo>
                      <a:pt x="6236" y="7198"/>
                    </a:lnTo>
                    <a:lnTo>
                      <a:pt x="6194" y="7323"/>
                    </a:lnTo>
                    <a:lnTo>
                      <a:pt x="6069" y="7344"/>
                    </a:lnTo>
                    <a:lnTo>
                      <a:pt x="6069" y="7449"/>
                    </a:lnTo>
                    <a:lnTo>
                      <a:pt x="5985" y="7470"/>
                    </a:lnTo>
                    <a:lnTo>
                      <a:pt x="5922" y="7428"/>
                    </a:lnTo>
                    <a:lnTo>
                      <a:pt x="5880" y="7428"/>
                    </a:lnTo>
                    <a:lnTo>
                      <a:pt x="5880" y="7512"/>
                    </a:lnTo>
                    <a:lnTo>
                      <a:pt x="5964" y="7554"/>
                    </a:lnTo>
                    <a:lnTo>
                      <a:pt x="6194" y="7554"/>
                    </a:lnTo>
                    <a:lnTo>
                      <a:pt x="6320" y="7512"/>
                    </a:lnTo>
                    <a:lnTo>
                      <a:pt x="6382" y="7616"/>
                    </a:lnTo>
                    <a:lnTo>
                      <a:pt x="6445" y="7658"/>
                    </a:lnTo>
                    <a:lnTo>
                      <a:pt x="6529" y="7637"/>
                    </a:lnTo>
                    <a:lnTo>
                      <a:pt x="6613" y="7637"/>
                    </a:lnTo>
                    <a:lnTo>
                      <a:pt x="6550" y="7679"/>
                    </a:lnTo>
                    <a:lnTo>
                      <a:pt x="6466" y="7826"/>
                    </a:lnTo>
                    <a:lnTo>
                      <a:pt x="6529" y="7867"/>
                    </a:lnTo>
                    <a:lnTo>
                      <a:pt x="6696" y="7888"/>
                    </a:lnTo>
                    <a:lnTo>
                      <a:pt x="6822" y="7951"/>
                    </a:lnTo>
                    <a:lnTo>
                      <a:pt x="6926" y="7888"/>
                    </a:lnTo>
                    <a:lnTo>
                      <a:pt x="6989" y="7951"/>
                    </a:lnTo>
                    <a:lnTo>
                      <a:pt x="7178" y="7951"/>
                    </a:lnTo>
                    <a:lnTo>
                      <a:pt x="7366" y="8077"/>
                    </a:lnTo>
                    <a:lnTo>
                      <a:pt x="7638" y="8160"/>
                    </a:lnTo>
                    <a:lnTo>
                      <a:pt x="7743" y="8035"/>
                    </a:lnTo>
                    <a:lnTo>
                      <a:pt x="7805" y="8035"/>
                    </a:lnTo>
                    <a:lnTo>
                      <a:pt x="7889" y="8139"/>
                    </a:lnTo>
                    <a:lnTo>
                      <a:pt x="7994" y="8160"/>
                    </a:lnTo>
                    <a:lnTo>
                      <a:pt x="8077" y="8077"/>
                    </a:lnTo>
                    <a:lnTo>
                      <a:pt x="8140" y="8077"/>
                    </a:lnTo>
                    <a:lnTo>
                      <a:pt x="8287" y="8181"/>
                    </a:lnTo>
                    <a:lnTo>
                      <a:pt x="8454" y="8181"/>
                    </a:lnTo>
                    <a:lnTo>
                      <a:pt x="8747" y="8370"/>
                    </a:lnTo>
                    <a:lnTo>
                      <a:pt x="9061" y="8474"/>
                    </a:lnTo>
                    <a:lnTo>
                      <a:pt x="9186" y="8390"/>
                    </a:lnTo>
                    <a:lnTo>
                      <a:pt x="9395" y="8390"/>
                    </a:lnTo>
                    <a:lnTo>
                      <a:pt x="9521" y="8495"/>
                    </a:lnTo>
                    <a:lnTo>
                      <a:pt x="9647" y="8390"/>
                    </a:lnTo>
                    <a:lnTo>
                      <a:pt x="9793" y="8411"/>
                    </a:lnTo>
                    <a:lnTo>
                      <a:pt x="9960" y="8495"/>
                    </a:lnTo>
                    <a:lnTo>
                      <a:pt x="10149" y="8495"/>
                    </a:lnTo>
                    <a:lnTo>
                      <a:pt x="10295" y="8411"/>
                    </a:lnTo>
                    <a:lnTo>
                      <a:pt x="10379" y="8411"/>
                    </a:lnTo>
                    <a:lnTo>
                      <a:pt x="10483" y="8516"/>
                    </a:lnTo>
                    <a:lnTo>
                      <a:pt x="10609" y="8558"/>
                    </a:lnTo>
                    <a:lnTo>
                      <a:pt x="10776" y="8683"/>
                    </a:lnTo>
                    <a:lnTo>
                      <a:pt x="10902" y="8662"/>
                    </a:lnTo>
                    <a:lnTo>
                      <a:pt x="10986" y="8725"/>
                    </a:lnTo>
                    <a:lnTo>
                      <a:pt x="11048" y="8704"/>
                    </a:lnTo>
                    <a:lnTo>
                      <a:pt x="11028" y="8516"/>
                    </a:lnTo>
                    <a:lnTo>
                      <a:pt x="10965" y="8474"/>
                    </a:lnTo>
                    <a:lnTo>
                      <a:pt x="11007" y="8453"/>
                    </a:lnTo>
                    <a:cubicBezTo>
                      <a:pt x="11132" y="8453"/>
                      <a:pt x="11237" y="8474"/>
                      <a:pt x="11341" y="8495"/>
                    </a:cubicBezTo>
                    <a:lnTo>
                      <a:pt x="11467" y="8579"/>
                    </a:lnTo>
                    <a:lnTo>
                      <a:pt x="11488" y="8662"/>
                    </a:lnTo>
                    <a:lnTo>
                      <a:pt x="11551" y="8579"/>
                    </a:lnTo>
                    <a:lnTo>
                      <a:pt x="11634" y="8516"/>
                    </a:lnTo>
                    <a:cubicBezTo>
                      <a:pt x="11697" y="8579"/>
                      <a:pt x="11781" y="8600"/>
                      <a:pt x="11864" y="8621"/>
                    </a:cubicBezTo>
                    <a:lnTo>
                      <a:pt x="11844" y="8662"/>
                    </a:lnTo>
                    <a:lnTo>
                      <a:pt x="11864" y="8704"/>
                    </a:lnTo>
                    <a:lnTo>
                      <a:pt x="12053" y="8767"/>
                    </a:lnTo>
                    <a:lnTo>
                      <a:pt x="12157" y="8704"/>
                    </a:lnTo>
                    <a:lnTo>
                      <a:pt x="12220" y="8725"/>
                    </a:lnTo>
                    <a:lnTo>
                      <a:pt x="12220" y="8704"/>
                    </a:lnTo>
                    <a:cubicBezTo>
                      <a:pt x="12262" y="8725"/>
                      <a:pt x="12304" y="8725"/>
                      <a:pt x="12325" y="8767"/>
                    </a:cubicBezTo>
                    <a:lnTo>
                      <a:pt x="12388" y="8809"/>
                    </a:lnTo>
                    <a:lnTo>
                      <a:pt x="12492" y="8872"/>
                    </a:lnTo>
                    <a:lnTo>
                      <a:pt x="12597" y="8830"/>
                    </a:lnTo>
                    <a:lnTo>
                      <a:pt x="12680" y="8830"/>
                    </a:lnTo>
                    <a:lnTo>
                      <a:pt x="12722" y="8872"/>
                    </a:lnTo>
                    <a:lnTo>
                      <a:pt x="12848" y="8809"/>
                    </a:lnTo>
                    <a:lnTo>
                      <a:pt x="12911" y="8725"/>
                    </a:lnTo>
                    <a:lnTo>
                      <a:pt x="13015" y="8767"/>
                    </a:lnTo>
                    <a:lnTo>
                      <a:pt x="13141" y="8704"/>
                    </a:lnTo>
                    <a:lnTo>
                      <a:pt x="13245" y="8725"/>
                    </a:lnTo>
                    <a:lnTo>
                      <a:pt x="13371" y="8621"/>
                    </a:lnTo>
                    <a:lnTo>
                      <a:pt x="13413" y="8704"/>
                    </a:lnTo>
                    <a:lnTo>
                      <a:pt x="13517" y="8683"/>
                    </a:lnTo>
                    <a:lnTo>
                      <a:pt x="13664" y="8704"/>
                    </a:lnTo>
                    <a:lnTo>
                      <a:pt x="13580" y="8662"/>
                    </a:lnTo>
                    <a:lnTo>
                      <a:pt x="13894" y="8662"/>
                    </a:lnTo>
                    <a:lnTo>
                      <a:pt x="13936" y="8683"/>
                    </a:lnTo>
                    <a:lnTo>
                      <a:pt x="13936" y="8662"/>
                    </a:lnTo>
                    <a:lnTo>
                      <a:pt x="14166" y="8662"/>
                    </a:lnTo>
                    <a:lnTo>
                      <a:pt x="14250" y="8683"/>
                    </a:lnTo>
                    <a:lnTo>
                      <a:pt x="14313" y="8683"/>
                    </a:lnTo>
                    <a:lnTo>
                      <a:pt x="14396" y="8704"/>
                    </a:lnTo>
                    <a:lnTo>
                      <a:pt x="14480" y="8683"/>
                    </a:lnTo>
                    <a:lnTo>
                      <a:pt x="14564" y="8683"/>
                    </a:lnTo>
                    <a:lnTo>
                      <a:pt x="14626" y="8725"/>
                    </a:lnTo>
                    <a:lnTo>
                      <a:pt x="14731" y="8683"/>
                    </a:lnTo>
                    <a:lnTo>
                      <a:pt x="14794" y="8704"/>
                    </a:lnTo>
                    <a:lnTo>
                      <a:pt x="14877" y="8704"/>
                    </a:lnTo>
                    <a:lnTo>
                      <a:pt x="14898" y="8683"/>
                    </a:lnTo>
                    <a:lnTo>
                      <a:pt x="15024" y="8621"/>
                    </a:lnTo>
                    <a:lnTo>
                      <a:pt x="15212" y="8662"/>
                    </a:lnTo>
                    <a:lnTo>
                      <a:pt x="15359" y="8579"/>
                    </a:lnTo>
                    <a:lnTo>
                      <a:pt x="15547" y="8579"/>
                    </a:lnTo>
                    <a:lnTo>
                      <a:pt x="15631" y="8600"/>
                    </a:lnTo>
                    <a:lnTo>
                      <a:pt x="15652" y="8579"/>
                    </a:lnTo>
                    <a:cubicBezTo>
                      <a:pt x="15683" y="8589"/>
                      <a:pt x="15714" y="8594"/>
                      <a:pt x="15748" y="8594"/>
                    </a:cubicBezTo>
                    <a:cubicBezTo>
                      <a:pt x="15782" y="8594"/>
                      <a:pt x="15819" y="8589"/>
                      <a:pt x="15861" y="8579"/>
                    </a:cubicBezTo>
                    <a:cubicBezTo>
                      <a:pt x="15882" y="8579"/>
                      <a:pt x="15924" y="8558"/>
                      <a:pt x="15945" y="8516"/>
                    </a:cubicBezTo>
                    <a:lnTo>
                      <a:pt x="15986" y="8453"/>
                    </a:lnTo>
                    <a:lnTo>
                      <a:pt x="16007" y="8443"/>
                    </a:lnTo>
                    <a:lnTo>
                      <a:pt x="16007" y="8443"/>
                    </a:lnTo>
                    <a:cubicBezTo>
                      <a:pt x="16001" y="8433"/>
                      <a:pt x="15994" y="8423"/>
                      <a:pt x="15986" y="8411"/>
                    </a:cubicBezTo>
                    <a:lnTo>
                      <a:pt x="16049" y="8390"/>
                    </a:lnTo>
                    <a:lnTo>
                      <a:pt x="16091" y="8286"/>
                    </a:lnTo>
                    <a:lnTo>
                      <a:pt x="16091" y="8181"/>
                    </a:lnTo>
                    <a:lnTo>
                      <a:pt x="15965" y="8139"/>
                    </a:lnTo>
                    <a:lnTo>
                      <a:pt x="15861" y="8202"/>
                    </a:lnTo>
                    <a:lnTo>
                      <a:pt x="15924" y="8244"/>
                    </a:lnTo>
                    <a:lnTo>
                      <a:pt x="15840" y="8349"/>
                    </a:lnTo>
                    <a:lnTo>
                      <a:pt x="15735" y="8370"/>
                    </a:lnTo>
                    <a:lnTo>
                      <a:pt x="15714" y="8390"/>
                    </a:lnTo>
                    <a:lnTo>
                      <a:pt x="15673" y="8390"/>
                    </a:lnTo>
                    <a:cubicBezTo>
                      <a:pt x="15652" y="8390"/>
                      <a:pt x="15631" y="8411"/>
                      <a:pt x="15610" y="8453"/>
                    </a:cubicBezTo>
                    <a:lnTo>
                      <a:pt x="15526" y="8453"/>
                    </a:lnTo>
                    <a:lnTo>
                      <a:pt x="15442" y="8390"/>
                    </a:lnTo>
                    <a:lnTo>
                      <a:pt x="15296" y="8390"/>
                    </a:lnTo>
                    <a:lnTo>
                      <a:pt x="15149" y="8453"/>
                    </a:lnTo>
                    <a:lnTo>
                      <a:pt x="15003" y="8349"/>
                    </a:lnTo>
                    <a:lnTo>
                      <a:pt x="14836" y="8307"/>
                    </a:lnTo>
                    <a:lnTo>
                      <a:pt x="14773" y="8349"/>
                    </a:lnTo>
                    <a:lnTo>
                      <a:pt x="14626" y="8265"/>
                    </a:lnTo>
                    <a:lnTo>
                      <a:pt x="14354" y="8307"/>
                    </a:lnTo>
                    <a:lnTo>
                      <a:pt x="14166" y="8411"/>
                    </a:lnTo>
                    <a:lnTo>
                      <a:pt x="14166" y="8453"/>
                    </a:lnTo>
                    <a:lnTo>
                      <a:pt x="13999" y="8453"/>
                    </a:lnTo>
                    <a:lnTo>
                      <a:pt x="13894" y="8411"/>
                    </a:lnTo>
                    <a:lnTo>
                      <a:pt x="13894" y="8474"/>
                    </a:lnTo>
                    <a:cubicBezTo>
                      <a:pt x="13852" y="8474"/>
                      <a:pt x="13769" y="8474"/>
                      <a:pt x="13727" y="8495"/>
                    </a:cubicBezTo>
                    <a:lnTo>
                      <a:pt x="13685" y="8453"/>
                    </a:lnTo>
                    <a:lnTo>
                      <a:pt x="13685" y="8370"/>
                    </a:lnTo>
                    <a:lnTo>
                      <a:pt x="13559" y="8349"/>
                    </a:lnTo>
                    <a:lnTo>
                      <a:pt x="13580" y="8453"/>
                    </a:lnTo>
                    <a:lnTo>
                      <a:pt x="13538" y="8474"/>
                    </a:lnTo>
                    <a:lnTo>
                      <a:pt x="13538" y="8370"/>
                    </a:lnTo>
                    <a:lnTo>
                      <a:pt x="13434" y="8286"/>
                    </a:lnTo>
                    <a:lnTo>
                      <a:pt x="13329" y="8349"/>
                    </a:lnTo>
                    <a:lnTo>
                      <a:pt x="13224" y="8265"/>
                    </a:lnTo>
                    <a:lnTo>
                      <a:pt x="13120" y="8202"/>
                    </a:lnTo>
                    <a:lnTo>
                      <a:pt x="12994" y="8286"/>
                    </a:lnTo>
                    <a:lnTo>
                      <a:pt x="12994" y="8349"/>
                    </a:lnTo>
                    <a:lnTo>
                      <a:pt x="13224" y="8411"/>
                    </a:lnTo>
                    <a:lnTo>
                      <a:pt x="13308" y="8495"/>
                    </a:lnTo>
                    <a:lnTo>
                      <a:pt x="13162" y="8495"/>
                    </a:lnTo>
                    <a:lnTo>
                      <a:pt x="13162" y="8516"/>
                    </a:lnTo>
                    <a:lnTo>
                      <a:pt x="13099" y="8579"/>
                    </a:lnTo>
                    <a:lnTo>
                      <a:pt x="13057" y="8579"/>
                    </a:lnTo>
                    <a:cubicBezTo>
                      <a:pt x="13094" y="8560"/>
                      <a:pt x="13098" y="8492"/>
                      <a:pt x="13055" y="8492"/>
                    </a:cubicBezTo>
                    <a:cubicBezTo>
                      <a:pt x="13049" y="8492"/>
                      <a:pt x="13043" y="8493"/>
                      <a:pt x="13036" y="8495"/>
                    </a:cubicBezTo>
                    <a:lnTo>
                      <a:pt x="12952" y="8495"/>
                    </a:lnTo>
                    <a:lnTo>
                      <a:pt x="12932" y="8390"/>
                    </a:lnTo>
                    <a:lnTo>
                      <a:pt x="12848" y="8370"/>
                    </a:lnTo>
                    <a:lnTo>
                      <a:pt x="12743" y="8390"/>
                    </a:lnTo>
                    <a:lnTo>
                      <a:pt x="12639" y="8370"/>
                    </a:lnTo>
                    <a:lnTo>
                      <a:pt x="12492" y="8411"/>
                    </a:lnTo>
                    <a:lnTo>
                      <a:pt x="12408" y="8516"/>
                    </a:lnTo>
                    <a:lnTo>
                      <a:pt x="12388" y="8600"/>
                    </a:lnTo>
                    <a:lnTo>
                      <a:pt x="12283" y="8600"/>
                    </a:lnTo>
                    <a:lnTo>
                      <a:pt x="12283" y="8579"/>
                    </a:lnTo>
                    <a:lnTo>
                      <a:pt x="12283" y="8558"/>
                    </a:lnTo>
                    <a:lnTo>
                      <a:pt x="12304" y="8558"/>
                    </a:lnTo>
                    <a:cubicBezTo>
                      <a:pt x="12325" y="8558"/>
                      <a:pt x="12304" y="8516"/>
                      <a:pt x="12304" y="8516"/>
                    </a:cubicBezTo>
                    <a:lnTo>
                      <a:pt x="12325" y="8495"/>
                    </a:lnTo>
                    <a:lnTo>
                      <a:pt x="12367" y="8370"/>
                    </a:lnTo>
                    <a:lnTo>
                      <a:pt x="12178" y="8307"/>
                    </a:lnTo>
                    <a:lnTo>
                      <a:pt x="12053" y="8390"/>
                    </a:lnTo>
                    <a:lnTo>
                      <a:pt x="12011" y="8516"/>
                    </a:lnTo>
                    <a:cubicBezTo>
                      <a:pt x="11885" y="8495"/>
                      <a:pt x="11781" y="8474"/>
                      <a:pt x="11676" y="8453"/>
                    </a:cubicBezTo>
                    <a:lnTo>
                      <a:pt x="11781" y="8411"/>
                    </a:lnTo>
                    <a:lnTo>
                      <a:pt x="11802" y="8349"/>
                    </a:lnTo>
                    <a:lnTo>
                      <a:pt x="11676" y="8181"/>
                    </a:lnTo>
                    <a:lnTo>
                      <a:pt x="11530" y="8160"/>
                    </a:lnTo>
                    <a:lnTo>
                      <a:pt x="11362" y="8202"/>
                    </a:lnTo>
                    <a:lnTo>
                      <a:pt x="11237" y="8181"/>
                    </a:lnTo>
                    <a:lnTo>
                      <a:pt x="11111" y="8202"/>
                    </a:lnTo>
                    <a:lnTo>
                      <a:pt x="11111" y="8244"/>
                    </a:lnTo>
                    <a:cubicBezTo>
                      <a:pt x="11069" y="8244"/>
                      <a:pt x="11069" y="8244"/>
                      <a:pt x="11048" y="8202"/>
                    </a:cubicBezTo>
                    <a:lnTo>
                      <a:pt x="11069" y="8056"/>
                    </a:lnTo>
                    <a:lnTo>
                      <a:pt x="11028" y="7972"/>
                    </a:lnTo>
                    <a:lnTo>
                      <a:pt x="10923" y="7951"/>
                    </a:lnTo>
                    <a:lnTo>
                      <a:pt x="10902" y="7930"/>
                    </a:lnTo>
                    <a:lnTo>
                      <a:pt x="10797" y="7930"/>
                    </a:lnTo>
                    <a:lnTo>
                      <a:pt x="10714" y="7972"/>
                    </a:lnTo>
                    <a:lnTo>
                      <a:pt x="10609" y="7972"/>
                    </a:lnTo>
                    <a:lnTo>
                      <a:pt x="10525" y="7930"/>
                    </a:lnTo>
                    <a:lnTo>
                      <a:pt x="10400" y="7972"/>
                    </a:lnTo>
                    <a:lnTo>
                      <a:pt x="10274" y="7930"/>
                    </a:lnTo>
                    <a:lnTo>
                      <a:pt x="10191" y="7846"/>
                    </a:lnTo>
                    <a:lnTo>
                      <a:pt x="10191" y="7763"/>
                    </a:lnTo>
                    <a:lnTo>
                      <a:pt x="10086" y="7595"/>
                    </a:lnTo>
                    <a:lnTo>
                      <a:pt x="10086" y="7449"/>
                    </a:lnTo>
                    <a:lnTo>
                      <a:pt x="9939" y="7449"/>
                    </a:lnTo>
                    <a:lnTo>
                      <a:pt x="9856" y="7470"/>
                    </a:lnTo>
                    <a:lnTo>
                      <a:pt x="9772" y="7386"/>
                    </a:lnTo>
                    <a:lnTo>
                      <a:pt x="9667" y="7386"/>
                    </a:lnTo>
                    <a:lnTo>
                      <a:pt x="9542" y="7282"/>
                    </a:lnTo>
                    <a:lnTo>
                      <a:pt x="9458" y="7240"/>
                    </a:lnTo>
                    <a:lnTo>
                      <a:pt x="9354" y="7261"/>
                    </a:lnTo>
                    <a:lnTo>
                      <a:pt x="9270" y="7261"/>
                    </a:lnTo>
                    <a:lnTo>
                      <a:pt x="9144" y="7114"/>
                    </a:lnTo>
                    <a:lnTo>
                      <a:pt x="9040" y="7114"/>
                    </a:lnTo>
                    <a:lnTo>
                      <a:pt x="9019" y="7344"/>
                    </a:lnTo>
                    <a:lnTo>
                      <a:pt x="8935" y="7449"/>
                    </a:lnTo>
                    <a:lnTo>
                      <a:pt x="8684" y="7491"/>
                    </a:lnTo>
                    <a:lnTo>
                      <a:pt x="8370" y="7449"/>
                    </a:lnTo>
                    <a:lnTo>
                      <a:pt x="8015" y="7449"/>
                    </a:lnTo>
                    <a:lnTo>
                      <a:pt x="7805" y="7365"/>
                    </a:lnTo>
                    <a:lnTo>
                      <a:pt x="7763" y="7323"/>
                    </a:lnTo>
                    <a:lnTo>
                      <a:pt x="7784" y="7219"/>
                    </a:lnTo>
                    <a:lnTo>
                      <a:pt x="7701" y="7072"/>
                    </a:lnTo>
                    <a:lnTo>
                      <a:pt x="7450" y="7051"/>
                    </a:lnTo>
                    <a:lnTo>
                      <a:pt x="7240" y="7010"/>
                    </a:lnTo>
                    <a:lnTo>
                      <a:pt x="7136" y="6926"/>
                    </a:lnTo>
                    <a:lnTo>
                      <a:pt x="6947" y="6926"/>
                    </a:lnTo>
                    <a:lnTo>
                      <a:pt x="6906" y="6968"/>
                    </a:lnTo>
                    <a:lnTo>
                      <a:pt x="6843" y="7030"/>
                    </a:lnTo>
                    <a:lnTo>
                      <a:pt x="6759" y="6947"/>
                    </a:lnTo>
                    <a:lnTo>
                      <a:pt x="6592" y="6926"/>
                    </a:lnTo>
                    <a:lnTo>
                      <a:pt x="6487" y="6926"/>
                    </a:lnTo>
                    <a:cubicBezTo>
                      <a:pt x="6403" y="6842"/>
                      <a:pt x="6320" y="6758"/>
                      <a:pt x="6278" y="6654"/>
                    </a:cubicBezTo>
                    <a:lnTo>
                      <a:pt x="6278" y="6486"/>
                    </a:lnTo>
                    <a:lnTo>
                      <a:pt x="6320" y="6173"/>
                    </a:lnTo>
                    <a:lnTo>
                      <a:pt x="6278" y="5963"/>
                    </a:lnTo>
                    <a:lnTo>
                      <a:pt x="6382" y="5712"/>
                    </a:lnTo>
                    <a:lnTo>
                      <a:pt x="6320" y="5649"/>
                    </a:lnTo>
                    <a:lnTo>
                      <a:pt x="6320" y="5461"/>
                    </a:lnTo>
                    <a:lnTo>
                      <a:pt x="6424" y="5398"/>
                    </a:lnTo>
                    <a:lnTo>
                      <a:pt x="6487" y="5336"/>
                    </a:lnTo>
                    <a:lnTo>
                      <a:pt x="6445" y="5231"/>
                    </a:lnTo>
                    <a:lnTo>
                      <a:pt x="6382" y="5168"/>
                    </a:lnTo>
                    <a:lnTo>
                      <a:pt x="6278" y="5085"/>
                    </a:lnTo>
                    <a:lnTo>
                      <a:pt x="6215" y="4959"/>
                    </a:lnTo>
                    <a:lnTo>
                      <a:pt x="6131" y="4938"/>
                    </a:lnTo>
                    <a:lnTo>
                      <a:pt x="6110" y="4854"/>
                    </a:lnTo>
                    <a:lnTo>
                      <a:pt x="6006" y="4813"/>
                    </a:lnTo>
                    <a:lnTo>
                      <a:pt x="5818" y="4833"/>
                    </a:lnTo>
                    <a:lnTo>
                      <a:pt x="5713" y="4813"/>
                    </a:lnTo>
                    <a:lnTo>
                      <a:pt x="5692" y="4624"/>
                    </a:lnTo>
                    <a:lnTo>
                      <a:pt x="5608" y="4520"/>
                    </a:lnTo>
                    <a:lnTo>
                      <a:pt x="5546" y="4561"/>
                    </a:lnTo>
                    <a:lnTo>
                      <a:pt x="5587" y="4457"/>
                    </a:lnTo>
                    <a:lnTo>
                      <a:pt x="5483" y="4415"/>
                    </a:lnTo>
                    <a:lnTo>
                      <a:pt x="5462" y="4122"/>
                    </a:lnTo>
                    <a:lnTo>
                      <a:pt x="5336" y="4185"/>
                    </a:lnTo>
                    <a:lnTo>
                      <a:pt x="5274" y="4122"/>
                    </a:lnTo>
                    <a:lnTo>
                      <a:pt x="5043" y="4122"/>
                    </a:lnTo>
                    <a:lnTo>
                      <a:pt x="4855" y="3996"/>
                    </a:lnTo>
                    <a:lnTo>
                      <a:pt x="4855" y="3892"/>
                    </a:lnTo>
                    <a:lnTo>
                      <a:pt x="4960" y="3850"/>
                    </a:lnTo>
                    <a:lnTo>
                      <a:pt x="5085" y="3766"/>
                    </a:lnTo>
                    <a:lnTo>
                      <a:pt x="5002" y="3704"/>
                    </a:lnTo>
                    <a:lnTo>
                      <a:pt x="4876" y="3745"/>
                    </a:lnTo>
                    <a:lnTo>
                      <a:pt x="4813" y="3704"/>
                    </a:lnTo>
                    <a:lnTo>
                      <a:pt x="4667" y="3766"/>
                    </a:lnTo>
                    <a:lnTo>
                      <a:pt x="4750" y="3683"/>
                    </a:lnTo>
                    <a:lnTo>
                      <a:pt x="4876" y="3578"/>
                    </a:lnTo>
                    <a:lnTo>
                      <a:pt x="5064" y="3557"/>
                    </a:lnTo>
                    <a:lnTo>
                      <a:pt x="5043" y="3432"/>
                    </a:lnTo>
                    <a:lnTo>
                      <a:pt x="4855" y="3222"/>
                    </a:lnTo>
                    <a:lnTo>
                      <a:pt x="4750" y="3222"/>
                    </a:lnTo>
                    <a:lnTo>
                      <a:pt x="4625" y="3285"/>
                    </a:lnTo>
                    <a:lnTo>
                      <a:pt x="4478" y="3369"/>
                    </a:lnTo>
                    <a:lnTo>
                      <a:pt x="4332" y="3369"/>
                    </a:lnTo>
                    <a:lnTo>
                      <a:pt x="4416" y="3348"/>
                    </a:lnTo>
                    <a:lnTo>
                      <a:pt x="4457" y="3285"/>
                    </a:lnTo>
                    <a:lnTo>
                      <a:pt x="4520" y="3264"/>
                    </a:lnTo>
                    <a:lnTo>
                      <a:pt x="4562" y="3180"/>
                    </a:lnTo>
                    <a:lnTo>
                      <a:pt x="4541" y="3097"/>
                    </a:lnTo>
                    <a:lnTo>
                      <a:pt x="4416" y="3055"/>
                    </a:lnTo>
                    <a:lnTo>
                      <a:pt x="4206" y="3055"/>
                    </a:lnTo>
                    <a:lnTo>
                      <a:pt x="4081" y="2929"/>
                    </a:lnTo>
                    <a:lnTo>
                      <a:pt x="4081" y="2846"/>
                    </a:lnTo>
                    <a:lnTo>
                      <a:pt x="4039" y="2678"/>
                    </a:lnTo>
                    <a:lnTo>
                      <a:pt x="3809" y="2448"/>
                    </a:lnTo>
                    <a:lnTo>
                      <a:pt x="3725" y="2427"/>
                    </a:lnTo>
                    <a:lnTo>
                      <a:pt x="3662" y="2448"/>
                    </a:lnTo>
                    <a:lnTo>
                      <a:pt x="3558" y="2364"/>
                    </a:lnTo>
                    <a:lnTo>
                      <a:pt x="3516" y="2155"/>
                    </a:lnTo>
                    <a:lnTo>
                      <a:pt x="3369" y="2009"/>
                    </a:lnTo>
                    <a:lnTo>
                      <a:pt x="3160" y="1883"/>
                    </a:lnTo>
                    <a:lnTo>
                      <a:pt x="3035" y="1883"/>
                    </a:lnTo>
                    <a:lnTo>
                      <a:pt x="2993" y="1925"/>
                    </a:lnTo>
                    <a:lnTo>
                      <a:pt x="2930" y="1883"/>
                    </a:lnTo>
                    <a:lnTo>
                      <a:pt x="2888" y="1716"/>
                    </a:lnTo>
                    <a:lnTo>
                      <a:pt x="2825" y="1800"/>
                    </a:lnTo>
                    <a:lnTo>
                      <a:pt x="2763" y="1716"/>
                    </a:lnTo>
                    <a:lnTo>
                      <a:pt x="2763" y="1528"/>
                    </a:lnTo>
                    <a:lnTo>
                      <a:pt x="2658" y="1402"/>
                    </a:lnTo>
                    <a:lnTo>
                      <a:pt x="2533" y="1381"/>
                    </a:lnTo>
                    <a:lnTo>
                      <a:pt x="2470" y="1297"/>
                    </a:lnTo>
                    <a:lnTo>
                      <a:pt x="2135" y="1088"/>
                    </a:lnTo>
                    <a:lnTo>
                      <a:pt x="2030" y="1088"/>
                    </a:lnTo>
                    <a:lnTo>
                      <a:pt x="1905" y="942"/>
                    </a:lnTo>
                    <a:lnTo>
                      <a:pt x="1779" y="900"/>
                    </a:lnTo>
                    <a:lnTo>
                      <a:pt x="1737" y="837"/>
                    </a:lnTo>
                    <a:lnTo>
                      <a:pt x="1716" y="649"/>
                    </a:lnTo>
                    <a:lnTo>
                      <a:pt x="1612" y="586"/>
                    </a:lnTo>
                    <a:lnTo>
                      <a:pt x="1528" y="460"/>
                    </a:lnTo>
                    <a:lnTo>
                      <a:pt x="1486" y="439"/>
                    </a:lnTo>
                    <a:lnTo>
                      <a:pt x="1403" y="272"/>
                    </a:lnTo>
                    <a:lnTo>
                      <a:pt x="1277" y="230"/>
                    </a:lnTo>
                    <a:lnTo>
                      <a:pt x="1152" y="230"/>
                    </a:lnTo>
                    <a:lnTo>
                      <a:pt x="1068" y="251"/>
                    </a:lnTo>
                    <a:lnTo>
                      <a:pt x="1005" y="209"/>
                    </a:lnTo>
                    <a:lnTo>
                      <a:pt x="859" y="209"/>
                    </a:lnTo>
                    <a:lnTo>
                      <a:pt x="670" y="251"/>
                    </a:lnTo>
                    <a:lnTo>
                      <a:pt x="587" y="209"/>
                    </a:lnTo>
                    <a:lnTo>
                      <a:pt x="336" y="21"/>
                    </a:lnTo>
                    <a:lnTo>
                      <a:pt x="105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73" name="Google Shape;12140;p43">
              <a:extLst>
                <a:ext uri="{FF2B5EF4-FFF2-40B4-BE49-F238E27FC236}">
                  <a16:creationId xmlns:a16="http://schemas.microsoft.com/office/drawing/2014/main" id="{77F1D38B-6B32-09D4-E093-A626CE1EF212}"/>
                </a:ext>
              </a:extLst>
            </p:cNvPr>
            <p:cNvSpPr/>
            <p:nvPr/>
          </p:nvSpPr>
          <p:spPr>
            <a:xfrm>
              <a:off x="4437231" y="3100607"/>
              <a:ext cx="29912" cy="37370"/>
            </a:xfrm>
            <a:custGeom>
              <a:avLst/>
              <a:gdLst/>
              <a:ahLst/>
              <a:cxnLst/>
              <a:rect l="l" t="t" r="r" b="b"/>
              <a:pathLst>
                <a:path w="2512" h="3286" extrusionOk="0">
                  <a:moveTo>
                    <a:pt x="126" y="0"/>
                  </a:moveTo>
                  <a:lnTo>
                    <a:pt x="42" y="84"/>
                  </a:lnTo>
                  <a:lnTo>
                    <a:pt x="0" y="210"/>
                  </a:lnTo>
                  <a:lnTo>
                    <a:pt x="126" y="419"/>
                  </a:lnTo>
                  <a:lnTo>
                    <a:pt x="189" y="879"/>
                  </a:lnTo>
                  <a:lnTo>
                    <a:pt x="251" y="1047"/>
                  </a:lnTo>
                  <a:lnTo>
                    <a:pt x="314" y="1172"/>
                  </a:lnTo>
                  <a:lnTo>
                    <a:pt x="314" y="1360"/>
                  </a:lnTo>
                  <a:lnTo>
                    <a:pt x="251" y="1402"/>
                  </a:lnTo>
                  <a:lnTo>
                    <a:pt x="293" y="1507"/>
                  </a:lnTo>
                  <a:lnTo>
                    <a:pt x="356" y="1611"/>
                  </a:lnTo>
                  <a:lnTo>
                    <a:pt x="335" y="1674"/>
                  </a:lnTo>
                  <a:lnTo>
                    <a:pt x="419" y="1758"/>
                  </a:lnTo>
                  <a:lnTo>
                    <a:pt x="565" y="1863"/>
                  </a:lnTo>
                  <a:lnTo>
                    <a:pt x="649" y="2009"/>
                  </a:lnTo>
                  <a:lnTo>
                    <a:pt x="754" y="2072"/>
                  </a:lnTo>
                  <a:lnTo>
                    <a:pt x="837" y="2176"/>
                  </a:lnTo>
                  <a:lnTo>
                    <a:pt x="754" y="2281"/>
                  </a:lnTo>
                  <a:lnTo>
                    <a:pt x="733" y="2344"/>
                  </a:lnTo>
                  <a:lnTo>
                    <a:pt x="816" y="2407"/>
                  </a:lnTo>
                  <a:lnTo>
                    <a:pt x="1005" y="2490"/>
                  </a:lnTo>
                  <a:lnTo>
                    <a:pt x="1193" y="2616"/>
                  </a:lnTo>
                  <a:lnTo>
                    <a:pt x="1172" y="2720"/>
                  </a:lnTo>
                  <a:lnTo>
                    <a:pt x="1339" y="2867"/>
                  </a:lnTo>
                  <a:lnTo>
                    <a:pt x="1486" y="2867"/>
                  </a:lnTo>
                  <a:lnTo>
                    <a:pt x="1528" y="2909"/>
                  </a:lnTo>
                  <a:lnTo>
                    <a:pt x="1611" y="3013"/>
                  </a:lnTo>
                  <a:lnTo>
                    <a:pt x="1800" y="3118"/>
                  </a:lnTo>
                  <a:lnTo>
                    <a:pt x="1988" y="3139"/>
                  </a:lnTo>
                  <a:lnTo>
                    <a:pt x="2051" y="3223"/>
                  </a:lnTo>
                  <a:lnTo>
                    <a:pt x="2197" y="3264"/>
                  </a:lnTo>
                  <a:lnTo>
                    <a:pt x="2218" y="3244"/>
                  </a:lnTo>
                  <a:lnTo>
                    <a:pt x="2281" y="3285"/>
                  </a:lnTo>
                  <a:lnTo>
                    <a:pt x="2386" y="3223"/>
                  </a:lnTo>
                  <a:lnTo>
                    <a:pt x="2386" y="3181"/>
                  </a:lnTo>
                  <a:lnTo>
                    <a:pt x="2344" y="3181"/>
                  </a:lnTo>
                  <a:lnTo>
                    <a:pt x="2386" y="3118"/>
                  </a:lnTo>
                  <a:lnTo>
                    <a:pt x="2323" y="3076"/>
                  </a:lnTo>
                  <a:lnTo>
                    <a:pt x="2407" y="3118"/>
                  </a:lnTo>
                  <a:lnTo>
                    <a:pt x="2407" y="3181"/>
                  </a:lnTo>
                  <a:lnTo>
                    <a:pt x="2407" y="3223"/>
                  </a:lnTo>
                  <a:lnTo>
                    <a:pt x="2511" y="3244"/>
                  </a:lnTo>
                  <a:lnTo>
                    <a:pt x="2511" y="3118"/>
                  </a:lnTo>
                  <a:lnTo>
                    <a:pt x="2386" y="2846"/>
                  </a:lnTo>
                  <a:lnTo>
                    <a:pt x="2344" y="2846"/>
                  </a:lnTo>
                  <a:lnTo>
                    <a:pt x="2344" y="2804"/>
                  </a:lnTo>
                  <a:lnTo>
                    <a:pt x="2323" y="2762"/>
                  </a:lnTo>
                  <a:lnTo>
                    <a:pt x="2281" y="2741"/>
                  </a:lnTo>
                  <a:lnTo>
                    <a:pt x="2239" y="2553"/>
                  </a:lnTo>
                  <a:lnTo>
                    <a:pt x="2281" y="2511"/>
                  </a:lnTo>
                  <a:lnTo>
                    <a:pt x="2239" y="2448"/>
                  </a:lnTo>
                  <a:lnTo>
                    <a:pt x="2176" y="2448"/>
                  </a:lnTo>
                  <a:lnTo>
                    <a:pt x="2009" y="2344"/>
                  </a:lnTo>
                  <a:lnTo>
                    <a:pt x="1967" y="2197"/>
                  </a:lnTo>
                  <a:lnTo>
                    <a:pt x="1967" y="1904"/>
                  </a:lnTo>
                  <a:lnTo>
                    <a:pt x="1904" y="1821"/>
                  </a:lnTo>
                  <a:lnTo>
                    <a:pt x="1904" y="1716"/>
                  </a:lnTo>
                  <a:lnTo>
                    <a:pt x="1925" y="1674"/>
                  </a:lnTo>
                  <a:lnTo>
                    <a:pt x="1904" y="1381"/>
                  </a:lnTo>
                  <a:lnTo>
                    <a:pt x="1967" y="1339"/>
                  </a:lnTo>
                  <a:lnTo>
                    <a:pt x="1904" y="1088"/>
                  </a:lnTo>
                  <a:lnTo>
                    <a:pt x="1779" y="879"/>
                  </a:lnTo>
                  <a:lnTo>
                    <a:pt x="1360" y="461"/>
                  </a:lnTo>
                  <a:lnTo>
                    <a:pt x="1277" y="314"/>
                  </a:lnTo>
                  <a:lnTo>
                    <a:pt x="1235" y="335"/>
                  </a:lnTo>
                  <a:lnTo>
                    <a:pt x="1172" y="398"/>
                  </a:lnTo>
                  <a:lnTo>
                    <a:pt x="1088" y="398"/>
                  </a:lnTo>
                  <a:lnTo>
                    <a:pt x="1067" y="419"/>
                  </a:lnTo>
                  <a:lnTo>
                    <a:pt x="1067" y="523"/>
                  </a:lnTo>
                  <a:lnTo>
                    <a:pt x="984" y="565"/>
                  </a:lnTo>
                  <a:lnTo>
                    <a:pt x="921" y="523"/>
                  </a:lnTo>
                  <a:lnTo>
                    <a:pt x="816" y="523"/>
                  </a:lnTo>
                  <a:lnTo>
                    <a:pt x="670" y="628"/>
                  </a:lnTo>
                  <a:lnTo>
                    <a:pt x="523" y="607"/>
                  </a:lnTo>
                  <a:lnTo>
                    <a:pt x="523" y="523"/>
                  </a:lnTo>
                  <a:lnTo>
                    <a:pt x="607" y="440"/>
                  </a:lnTo>
                  <a:lnTo>
                    <a:pt x="607" y="251"/>
                  </a:lnTo>
                  <a:lnTo>
                    <a:pt x="544" y="189"/>
                  </a:lnTo>
                  <a:lnTo>
                    <a:pt x="419" y="189"/>
                  </a:lnTo>
                  <a:lnTo>
                    <a:pt x="398" y="126"/>
                  </a:lnTo>
                  <a:lnTo>
                    <a:pt x="231" y="84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Google Shape;12141;p43">
              <a:extLst>
                <a:ext uri="{FF2B5EF4-FFF2-40B4-BE49-F238E27FC236}">
                  <a16:creationId xmlns:a16="http://schemas.microsoft.com/office/drawing/2014/main" id="{50DD6ADF-58E0-52AE-E27A-5A80BC6EDBC1}"/>
                </a:ext>
              </a:extLst>
            </p:cNvPr>
            <p:cNvSpPr/>
            <p:nvPr/>
          </p:nvSpPr>
          <p:spPr>
            <a:xfrm>
              <a:off x="4503746" y="3099174"/>
              <a:ext cx="65289" cy="42135"/>
            </a:xfrm>
            <a:custGeom>
              <a:avLst/>
              <a:gdLst/>
              <a:ahLst/>
              <a:cxnLst/>
              <a:rect l="l" t="t" r="r" b="b"/>
              <a:pathLst>
                <a:path w="5483" h="3705" extrusionOk="0">
                  <a:moveTo>
                    <a:pt x="4186" y="1"/>
                  </a:moveTo>
                  <a:lnTo>
                    <a:pt x="4144" y="22"/>
                  </a:lnTo>
                  <a:lnTo>
                    <a:pt x="4165" y="126"/>
                  </a:lnTo>
                  <a:lnTo>
                    <a:pt x="4039" y="252"/>
                  </a:lnTo>
                  <a:lnTo>
                    <a:pt x="3976" y="231"/>
                  </a:lnTo>
                  <a:lnTo>
                    <a:pt x="4039" y="126"/>
                  </a:lnTo>
                  <a:lnTo>
                    <a:pt x="4018" y="43"/>
                  </a:lnTo>
                  <a:lnTo>
                    <a:pt x="3935" y="43"/>
                  </a:lnTo>
                  <a:lnTo>
                    <a:pt x="3851" y="273"/>
                  </a:lnTo>
                  <a:lnTo>
                    <a:pt x="3767" y="315"/>
                  </a:lnTo>
                  <a:lnTo>
                    <a:pt x="3642" y="587"/>
                  </a:lnTo>
                  <a:lnTo>
                    <a:pt x="3642" y="754"/>
                  </a:lnTo>
                  <a:lnTo>
                    <a:pt x="3432" y="963"/>
                  </a:lnTo>
                  <a:lnTo>
                    <a:pt x="3328" y="963"/>
                  </a:lnTo>
                  <a:lnTo>
                    <a:pt x="3140" y="1005"/>
                  </a:lnTo>
                  <a:lnTo>
                    <a:pt x="3098" y="1089"/>
                  </a:lnTo>
                  <a:lnTo>
                    <a:pt x="3181" y="1089"/>
                  </a:lnTo>
                  <a:lnTo>
                    <a:pt x="3119" y="1152"/>
                  </a:lnTo>
                  <a:lnTo>
                    <a:pt x="3181" y="1173"/>
                  </a:lnTo>
                  <a:lnTo>
                    <a:pt x="3307" y="1152"/>
                  </a:lnTo>
                  <a:lnTo>
                    <a:pt x="3244" y="1214"/>
                  </a:lnTo>
                  <a:lnTo>
                    <a:pt x="3181" y="1277"/>
                  </a:lnTo>
                  <a:lnTo>
                    <a:pt x="3140" y="1298"/>
                  </a:lnTo>
                  <a:lnTo>
                    <a:pt x="3140" y="1319"/>
                  </a:lnTo>
                  <a:lnTo>
                    <a:pt x="3223" y="1528"/>
                  </a:lnTo>
                  <a:lnTo>
                    <a:pt x="3181" y="1633"/>
                  </a:lnTo>
                  <a:lnTo>
                    <a:pt x="3098" y="1591"/>
                  </a:lnTo>
                  <a:lnTo>
                    <a:pt x="3098" y="1465"/>
                  </a:lnTo>
                  <a:lnTo>
                    <a:pt x="3077" y="1361"/>
                  </a:lnTo>
                  <a:lnTo>
                    <a:pt x="3035" y="1361"/>
                  </a:lnTo>
                  <a:lnTo>
                    <a:pt x="3035" y="1319"/>
                  </a:lnTo>
                  <a:lnTo>
                    <a:pt x="2993" y="1319"/>
                  </a:lnTo>
                  <a:lnTo>
                    <a:pt x="2930" y="1424"/>
                  </a:lnTo>
                  <a:lnTo>
                    <a:pt x="2972" y="1675"/>
                  </a:lnTo>
                  <a:lnTo>
                    <a:pt x="2909" y="1717"/>
                  </a:lnTo>
                  <a:lnTo>
                    <a:pt x="2805" y="1612"/>
                  </a:lnTo>
                  <a:lnTo>
                    <a:pt x="2700" y="1465"/>
                  </a:lnTo>
                  <a:lnTo>
                    <a:pt x="2658" y="1465"/>
                  </a:lnTo>
                  <a:lnTo>
                    <a:pt x="2554" y="1403"/>
                  </a:lnTo>
                  <a:lnTo>
                    <a:pt x="2470" y="1507"/>
                  </a:lnTo>
                  <a:lnTo>
                    <a:pt x="2470" y="1633"/>
                  </a:lnTo>
                  <a:lnTo>
                    <a:pt x="2344" y="1779"/>
                  </a:lnTo>
                  <a:lnTo>
                    <a:pt x="2261" y="1884"/>
                  </a:lnTo>
                  <a:lnTo>
                    <a:pt x="2093" y="2030"/>
                  </a:lnTo>
                  <a:lnTo>
                    <a:pt x="2072" y="2135"/>
                  </a:lnTo>
                  <a:lnTo>
                    <a:pt x="1926" y="2323"/>
                  </a:lnTo>
                  <a:lnTo>
                    <a:pt x="1779" y="2449"/>
                  </a:lnTo>
                  <a:lnTo>
                    <a:pt x="1319" y="2554"/>
                  </a:lnTo>
                  <a:lnTo>
                    <a:pt x="1256" y="2574"/>
                  </a:lnTo>
                  <a:lnTo>
                    <a:pt x="1298" y="2742"/>
                  </a:lnTo>
                  <a:lnTo>
                    <a:pt x="1340" y="2784"/>
                  </a:lnTo>
                  <a:lnTo>
                    <a:pt x="1256" y="2763"/>
                  </a:lnTo>
                  <a:lnTo>
                    <a:pt x="1173" y="2826"/>
                  </a:lnTo>
                  <a:lnTo>
                    <a:pt x="1047" y="2846"/>
                  </a:lnTo>
                  <a:lnTo>
                    <a:pt x="984" y="2888"/>
                  </a:lnTo>
                  <a:lnTo>
                    <a:pt x="943" y="3035"/>
                  </a:lnTo>
                  <a:lnTo>
                    <a:pt x="943" y="3181"/>
                  </a:lnTo>
                  <a:lnTo>
                    <a:pt x="838" y="3349"/>
                  </a:lnTo>
                  <a:lnTo>
                    <a:pt x="838" y="3370"/>
                  </a:lnTo>
                  <a:lnTo>
                    <a:pt x="629" y="3349"/>
                  </a:lnTo>
                  <a:lnTo>
                    <a:pt x="399" y="3265"/>
                  </a:lnTo>
                  <a:lnTo>
                    <a:pt x="210" y="3265"/>
                  </a:lnTo>
                  <a:lnTo>
                    <a:pt x="168" y="3181"/>
                  </a:lnTo>
                  <a:lnTo>
                    <a:pt x="64" y="3056"/>
                  </a:lnTo>
                  <a:lnTo>
                    <a:pt x="1" y="3077"/>
                  </a:lnTo>
                  <a:lnTo>
                    <a:pt x="127" y="3286"/>
                  </a:lnTo>
                  <a:lnTo>
                    <a:pt x="315" y="3411"/>
                  </a:lnTo>
                  <a:lnTo>
                    <a:pt x="357" y="3474"/>
                  </a:lnTo>
                  <a:lnTo>
                    <a:pt x="482" y="3579"/>
                  </a:lnTo>
                  <a:lnTo>
                    <a:pt x="503" y="3683"/>
                  </a:lnTo>
                  <a:lnTo>
                    <a:pt x="608" y="3704"/>
                  </a:lnTo>
                  <a:lnTo>
                    <a:pt x="775" y="3662"/>
                  </a:lnTo>
                  <a:lnTo>
                    <a:pt x="796" y="3579"/>
                  </a:lnTo>
                  <a:lnTo>
                    <a:pt x="922" y="3600"/>
                  </a:lnTo>
                  <a:lnTo>
                    <a:pt x="1005" y="3558"/>
                  </a:lnTo>
                  <a:lnTo>
                    <a:pt x="1319" y="3579"/>
                  </a:lnTo>
                  <a:lnTo>
                    <a:pt x="1654" y="3453"/>
                  </a:lnTo>
                  <a:lnTo>
                    <a:pt x="1738" y="3370"/>
                  </a:lnTo>
                  <a:lnTo>
                    <a:pt x="2031" y="3370"/>
                  </a:lnTo>
                  <a:lnTo>
                    <a:pt x="2156" y="3411"/>
                  </a:lnTo>
                  <a:lnTo>
                    <a:pt x="2198" y="3495"/>
                  </a:lnTo>
                  <a:lnTo>
                    <a:pt x="2344" y="3495"/>
                  </a:lnTo>
                  <a:lnTo>
                    <a:pt x="2575" y="3370"/>
                  </a:lnTo>
                  <a:lnTo>
                    <a:pt x="2868" y="3307"/>
                  </a:lnTo>
                  <a:lnTo>
                    <a:pt x="2826" y="3244"/>
                  </a:lnTo>
                  <a:lnTo>
                    <a:pt x="3077" y="2888"/>
                  </a:lnTo>
                  <a:lnTo>
                    <a:pt x="3140" y="2637"/>
                  </a:lnTo>
                  <a:lnTo>
                    <a:pt x="3328" y="2365"/>
                  </a:lnTo>
                  <a:lnTo>
                    <a:pt x="3453" y="1926"/>
                  </a:lnTo>
                  <a:lnTo>
                    <a:pt x="3453" y="1842"/>
                  </a:lnTo>
                  <a:lnTo>
                    <a:pt x="3516" y="1737"/>
                  </a:lnTo>
                  <a:lnTo>
                    <a:pt x="3516" y="1675"/>
                  </a:lnTo>
                  <a:lnTo>
                    <a:pt x="3621" y="1528"/>
                  </a:lnTo>
                  <a:lnTo>
                    <a:pt x="3725" y="1570"/>
                  </a:lnTo>
                  <a:lnTo>
                    <a:pt x="4165" y="1570"/>
                  </a:lnTo>
                  <a:lnTo>
                    <a:pt x="4228" y="1612"/>
                  </a:lnTo>
                  <a:lnTo>
                    <a:pt x="4374" y="1612"/>
                  </a:lnTo>
                  <a:lnTo>
                    <a:pt x="4500" y="1633"/>
                  </a:lnTo>
                  <a:lnTo>
                    <a:pt x="4500" y="1591"/>
                  </a:lnTo>
                  <a:lnTo>
                    <a:pt x="4667" y="1675"/>
                  </a:lnTo>
                  <a:lnTo>
                    <a:pt x="4751" y="1696"/>
                  </a:lnTo>
                  <a:lnTo>
                    <a:pt x="4876" y="1633"/>
                  </a:lnTo>
                  <a:lnTo>
                    <a:pt x="5023" y="1612"/>
                  </a:lnTo>
                  <a:lnTo>
                    <a:pt x="5023" y="1528"/>
                  </a:lnTo>
                  <a:lnTo>
                    <a:pt x="4876" y="1403"/>
                  </a:lnTo>
                  <a:lnTo>
                    <a:pt x="4876" y="1277"/>
                  </a:lnTo>
                  <a:lnTo>
                    <a:pt x="4918" y="1214"/>
                  </a:lnTo>
                  <a:lnTo>
                    <a:pt x="5169" y="1256"/>
                  </a:lnTo>
                  <a:lnTo>
                    <a:pt x="5357" y="1193"/>
                  </a:lnTo>
                  <a:lnTo>
                    <a:pt x="5483" y="1089"/>
                  </a:lnTo>
                  <a:lnTo>
                    <a:pt x="5441" y="1005"/>
                  </a:lnTo>
                  <a:lnTo>
                    <a:pt x="5357" y="1005"/>
                  </a:lnTo>
                  <a:lnTo>
                    <a:pt x="5232" y="984"/>
                  </a:lnTo>
                  <a:lnTo>
                    <a:pt x="5127" y="880"/>
                  </a:lnTo>
                  <a:lnTo>
                    <a:pt x="5023" y="901"/>
                  </a:lnTo>
                  <a:lnTo>
                    <a:pt x="4897" y="775"/>
                  </a:lnTo>
                  <a:lnTo>
                    <a:pt x="4813" y="775"/>
                  </a:lnTo>
                  <a:lnTo>
                    <a:pt x="4709" y="859"/>
                  </a:lnTo>
                  <a:lnTo>
                    <a:pt x="4667" y="796"/>
                  </a:lnTo>
                  <a:lnTo>
                    <a:pt x="4792" y="691"/>
                  </a:lnTo>
                  <a:lnTo>
                    <a:pt x="4709" y="629"/>
                  </a:lnTo>
                  <a:lnTo>
                    <a:pt x="4688" y="649"/>
                  </a:lnTo>
                  <a:lnTo>
                    <a:pt x="4604" y="754"/>
                  </a:lnTo>
                  <a:lnTo>
                    <a:pt x="4562" y="670"/>
                  </a:lnTo>
                  <a:lnTo>
                    <a:pt x="4500" y="670"/>
                  </a:lnTo>
                  <a:lnTo>
                    <a:pt x="4500" y="482"/>
                  </a:lnTo>
                  <a:lnTo>
                    <a:pt x="4604" y="461"/>
                  </a:lnTo>
                  <a:lnTo>
                    <a:pt x="4604" y="377"/>
                  </a:lnTo>
                  <a:lnTo>
                    <a:pt x="4458" y="273"/>
                  </a:lnTo>
                  <a:lnTo>
                    <a:pt x="4437" y="336"/>
                  </a:lnTo>
                  <a:lnTo>
                    <a:pt x="4290" y="231"/>
                  </a:lnTo>
                  <a:lnTo>
                    <a:pt x="4290" y="64"/>
                  </a:lnTo>
                  <a:lnTo>
                    <a:pt x="418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Google Shape;12142;p43">
              <a:extLst>
                <a:ext uri="{FF2B5EF4-FFF2-40B4-BE49-F238E27FC236}">
                  <a16:creationId xmlns:a16="http://schemas.microsoft.com/office/drawing/2014/main" id="{C660328F-03EE-B137-37AD-1AB09ED96603}"/>
                </a:ext>
              </a:extLst>
            </p:cNvPr>
            <p:cNvSpPr/>
            <p:nvPr/>
          </p:nvSpPr>
          <p:spPr>
            <a:xfrm>
              <a:off x="4442708" y="2983061"/>
              <a:ext cx="56823" cy="104945"/>
            </a:xfrm>
            <a:custGeom>
              <a:avLst/>
              <a:gdLst/>
              <a:ahLst/>
              <a:cxnLst/>
              <a:rect l="l" t="t" r="r" b="b"/>
              <a:pathLst>
                <a:path w="4772" h="9228" extrusionOk="0">
                  <a:moveTo>
                    <a:pt x="1821" y="0"/>
                  </a:moveTo>
                  <a:lnTo>
                    <a:pt x="1737" y="84"/>
                  </a:lnTo>
                  <a:lnTo>
                    <a:pt x="1591" y="84"/>
                  </a:lnTo>
                  <a:lnTo>
                    <a:pt x="1465" y="126"/>
                  </a:lnTo>
                  <a:lnTo>
                    <a:pt x="1507" y="314"/>
                  </a:lnTo>
                  <a:lnTo>
                    <a:pt x="1298" y="398"/>
                  </a:lnTo>
                  <a:lnTo>
                    <a:pt x="1193" y="314"/>
                  </a:lnTo>
                  <a:lnTo>
                    <a:pt x="1026" y="377"/>
                  </a:lnTo>
                  <a:lnTo>
                    <a:pt x="1026" y="440"/>
                  </a:lnTo>
                  <a:lnTo>
                    <a:pt x="900" y="502"/>
                  </a:lnTo>
                  <a:lnTo>
                    <a:pt x="879" y="419"/>
                  </a:lnTo>
                  <a:lnTo>
                    <a:pt x="796" y="419"/>
                  </a:lnTo>
                  <a:lnTo>
                    <a:pt x="733" y="502"/>
                  </a:lnTo>
                  <a:lnTo>
                    <a:pt x="607" y="398"/>
                  </a:lnTo>
                  <a:lnTo>
                    <a:pt x="524" y="440"/>
                  </a:lnTo>
                  <a:lnTo>
                    <a:pt x="503" y="544"/>
                  </a:lnTo>
                  <a:lnTo>
                    <a:pt x="419" y="544"/>
                  </a:lnTo>
                  <a:lnTo>
                    <a:pt x="377" y="523"/>
                  </a:lnTo>
                  <a:lnTo>
                    <a:pt x="398" y="440"/>
                  </a:lnTo>
                  <a:lnTo>
                    <a:pt x="315" y="419"/>
                  </a:lnTo>
                  <a:lnTo>
                    <a:pt x="189" y="481"/>
                  </a:lnTo>
                  <a:lnTo>
                    <a:pt x="147" y="523"/>
                  </a:lnTo>
                  <a:lnTo>
                    <a:pt x="105" y="586"/>
                  </a:lnTo>
                  <a:lnTo>
                    <a:pt x="63" y="607"/>
                  </a:lnTo>
                  <a:lnTo>
                    <a:pt x="1" y="628"/>
                  </a:lnTo>
                  <a:lnTo>
                    <a:pt x="63" y="712"/>
                  </a:lnTo>
                  <a:lnTo>
                    <a:pt x="252" y="795"/>
                  </a:lnTo>
                  <a:lnTo>
                    <a:pt x="356" y="942"/>
                  </a:lnTo>
                  <a:lnTo>
                    <a:pt x="461" y="1025"/>
                  </a:lnTo>
                  <a:lnTo>
                    <a:pt x="482" y="1151"/>
                  </a:lnTo>
                  <a:lnTo>
                    <a:pt x="419" y="1235"/>
                  </a:lnTo>
                  <a:lnTo>
                    <a:pt x="628" y="1423"/>
                  </a:lnTo>
                  <a:lnTo>
                    <a:pt x="733" y="1632"/>
                  </a:lnTo>
                  <a:lnTo>
                    <a:pt x="984" y="1632"/>
                  </a:lnTo>
                  <a:lnTo>
                    <a:pt x="1131" y="1674"/>
                  </a:lnTo>
                  <a:lnTo>
                    <a:pt x="1256" y="1590"/>
                  </a:lnTo>
                  <a:lnTo>
                    <a:pt x="1423" y="1590"/>
                  </a:lnTo>
                  <a:lnTo>
                    <a:pt x="1507" y="1695"/>
                  </a:lnTo>
                  <a:lnTo>
                    <a:pt x="1654" y="1737"/>
                  </a:lnTo>
                  <a:lnTo>
                    <a:pt x="1675" y="1841"/>
                  </a:lnTo>
                  <a:lnTo>
                    <a:pt x="1654" y="1946"/>
                  </a:lnTo>
                  <a:lnTo>
                    <a:pt x="1842" y="1988"/>
                  </a:lnTo>
                  <a:lnTo>
                    <a:pt x="1842" y="2072"/>
                  </a:lnTo>
                  <a:lnTo>
                    <a:pt x="1758" y="2092"/>
                  </a:lnTo>
                  <a:lnTo>
                    <a:pt x="1675" y="2302"/>
                  </a:lnTo>
                  <a:lnTo>
                    <a:pt x="1633" y="2385"/>
                  </a:lnTo>
                  <a:lnTo>
                    <a:pt x="1507" y="2385"/>
                  </a:lnTo>
                  <a:lnTo>
                    <a:pt x="1340" y="2469"/>
                  </a:lnTo>
                  <a:lnTo>
                    <a:pt x="1256" y="2469"/>
                  </a:lnTo>
                  <a:lnTo>
                    <a:pt x="1256" y="2532"/>
                  </a:lnTo>
                  <a:lnTo>
                    <a:pt x="1403" y="2699"/>
                  </a:lnTo>
                  <a:lnTo>
                    <a:pt x="1319" y="2783"/>
                  </a:lnTo>
                  <a:lnTo>
                    <a:pt x="1340" y="2846"/>
                  </a:lnTo>
                  <a:lnTo>
                    <a:pt x="1423" y="2846"/>
                  </a:lnTo>
                  <a:lnTo>
                    <a:pt x="1507" y="3013"/>
                  </a:lnTo>
                  <a:lnTo>
                    <a:pt x="1675" y="3013"/>
                  </a:lnTo>
                  <a:lnTo>
                    <a:pt x="1863" y="3118"/>
                  </a:lnTo>
                  <a:lnTo>
                    <a:pt x="1968" y="3118"/>
                  </a:lnTo>
                  <a:lnTo>
                    <a:pt x="2114" y="3327"/>
                  </a:lnTo>
                  <a:lnTo>
                    <a:pt x="2281" y="3411"/>
                  </a:lnTo>
                  <a:lnTo>
                    <a:pt x="2407" y="3557"/>
                  </a:lnTo>
                  <a:lnTo>
                    <a:pt x="2386" y="3641"/>
                  </a:lnTo>
                  <a:lnTo>
                    <a:pt x="2574" y="3850"/>
                  </a:lnTo>
                  <a:lnTo>
                    <a:pt x="2616" y="3976"/>
                  </a:lnTo>
                  <a:lnTo>
                    <a:pt x="2700" y="4038"/>
                  </a:lnTo>
                  <a:lnTo>
                    <a:pt x="2825" y="4038"/>
                  </a:lnTo>
                  <a:lnTo>
                    <a:pt x="2909" y="4143"/>
                  </a:lnTo>
                  <a:lnTo>
                    <a:pt x="2909" y="4206"/>
                  </a:lnTo>
                  <a:lnTo>
                    <a:pt x="2993" y="4289"/>
                  </a:lnTo>
                  <a:lnTo>
                    <a:pt x="3035" y="4289"/>
                  </a:lnTo>
                  <a:lnTo>
                    <a:pt x="3118" y="4310"/>
                  </a:lnTo>
                  <a:lnTo>
                    <a:pt x="3097" y="4415"/>
                  </a:lnTo>
                  <a:lnTo>
                    <a:pt x="3139" y="4478"/>
                  </a:lnTo>
                  <a:lnTo>
                    <a:pt x="3286" y="4478"/>
                  </a:lnTo>
                  <a:lnTo>
                    <a:pt x="3348" y="4582"/>
                  </a:lnTo>
                  <a:lnTo>
                    <a:pt x="3411" y="4603"/>
                  </a:lnTo>
                  <a:lnTo>
                    <a:pt x="3516" y="4561"/>
                  </a:lnTo>
                  <a:lnTo>
                    <a:pt x="3558" y="4624"/>
                  </a:lnTo>
                  <a:lnTo>
                    <a:pt x="3495" y="4708"/>
                  </a:lnTo>
                  <a:lnTo>
                    <a:pt x="3453" y="4875"/>
                  </a:lnTo>
                  <a:lnTo>
                    <a:pt x="3516" y="4938"/>
                  </a:lnTo>
                  <a:lnTo>
                    <a:pt x="3600" y="4938"/>
                  </a:lnTo>
                  <a:lnTo>
                    <a:pt x="3600" y="5105"/>
                  </a:lnTo>
                  <a:lnTo>
                    <a:pt x="3432" y="5231"/>
                  </a:lnTo>
                  <a:lnTo>
                    <a:pt x="3453" y="5357"/>
                  </a:lnTo>
                  <a:lnTo>
                    <a:pt x="3495" y="5440"/>
                  </a:lnTo>
                  <a:lnTo>
                    <a:pt x="3516" y="5629"/>
                  </a:lnTo>
                  <a:lnTo>
                    <a:pt x="3411" y="5670"/>
                  </a:lnTo>
                  <a:lnTo>
                    <a:pt x="3390" y="5670"/>
                  </a:lnTo>
                  <a:lnTo>
                    <a:pt x="3453" y="5859"/>
                  </a:lnTo>
                  <a:lnTo>
                    <a:pt x="3558" y="5921"/>
                  </a:lnTo>
                  <a:lnTo>
                    <a:pt x="3662" y="6152"/>
                  </a:lnTo>
                  <a:lnTo>
                    <a:pt x="3641" y="6340"/>
                  </a:lnTo>
                  <a:lnTo>
                    <a:pt x="3662" y="6445"/>
                  </a:lnTo>
                  <a:lnTo>
                    <a:pt x="3641" y="6591"/>
                  </a:lnTo>
                  <a:lnTo>
                    <a:pt x="3662" y="6717"/>
                  </a:lnTo>
                  <a:lnTo>
                    <a:pt x="3558" y="6905"/>
                  </a:lnTo>
                  <a:lnTo>
                    <a:pt x="3495" y="6926"/>
                  </a:lnTo>
                  <a:lnTo>
                    <a:pt x="3453" y="7010"/>
                  </a:lnTo>
                  <a:lnTo>
                    <a:pt x="3307" y="7072"/>
                  </a:lnTo>
                  <a:lnTo>
                    <a:pt x="3139" y="7177"/>
                  </a:lnTo>
                  <a:lnTo>
                    <a:pt x="3076" y="7282"/>
                  </a:lnTo>
                  <a:lnTo>
                    <a:pt x="2867" y="7282"/>
                  </a:lnTo>
                  <a:lnTo>
                    <a:pt x="2763" y="7344"/>
                  </a:lnTo>
                  <a:lnTo>
                    <a:pt x="2784" y="7554"/>
                  </a:lnTo>
                  <a:lnTo>
                    <a:pt x="2909" y="7595"/>
                  </a:lnTo>
                  <a:lnTo>
                    <a:pt x="3014" y="7700"/>
                  </a:lnTo>
                  <a:lnTo>
                    <a:pt x="2993" y="7763"/>
                  </a:lnTo>
                  <a:lnTo>
                    <a:pt x="3035" y="7909"/>
                  </a:lnTo>
                  <a:lnTo>
                    <a:pt x="2867" y="7909"/>
                  </a:lnTo>
                  <a:lnTo>
                    <a:pt x="2825" y="7826"/>
                  </a:lnTo>
                  <a:lnTo>
                    <a:pt x="2721" y="7763"/>
                  </a:lnTo>
                  <a:lnTo>
                    <a:pt x="2449" y="7826"/>
                  </a:lnTo>
                  <a:lnTo>
                    <a:pt x="2386" y="7805"/>
                  </a:lnTo>
                  <a:lnTo>
                    <a:pt x="2260" y="7805"/>
                  </a:lnTo>
                  <a:lnTo>
                    <a:pt x="2198" y="7951"/>
                  </a:lnTo>
                  <a:lnTo>
                    <a:pt x="2072" y="7972"/>
                  </a:lnTo>
                  <a:lnTo>
                    <a:pt x="1968" y="8118"/>
                  </a:lnTo>
                  <a:lnTo>
                    <a:pt x="1988" y="8139"/>
                  </a:lnTo>
                  <a:lnTo>
                    <a:pt x="1988" y="8244"/>
                  </a:lnTo>
                  <a:lnTo>
                    <a:pt x="1988" y="8265"/>
                  </a:lnTo>
                  <a:lnTo>
                    <a:pt x="2093" y="8286"/>
                  </a:lnTo>
                  <a:lnTo>
                    <a:pt x="2156" y="8265"/>
                  </a:lnTo>
                  <a:lnTo>
                    <a:pt x="2198" y="8286"/>
                  </a:lnTo>
                  <a:lnTo>
                    <a:pt x="2281" y="8265"/>
                  </a:lnTo>
                  <a:lnTo>
                    <a:pt x="2407" y="8286"/>
                  </a:lnTo>
                  <a:lnTo>
                    <a:pt x="2491" y="8265"/>
                  </a:lnTo>
                  <a:lnTo>
                    <a:pt x="2449" y="8328"/>
                  </a:lnTo>
                  <a:lnTo>
                    <a:pt x="2281" y="8453"/>
                  </a:lnTo>
                  <a:lnTo>
                    <a:pt x="2198" y="8579"/>
                  </a:lnTo>
                  <a:lnTo>
                    <a:pt x="2198" y="8767"/>
                  </a:lnTo>
                  <a:lnTo>
                    <a:pt x="2177" y="8851"/>
                  </a:lnTo>
                  <a:lnTo>
                    <a:pt x="2240" y="8851"/>
                  </a:lnTo>
                  <a:lnTo>
                    <a:pt x="2198" y="8872"/>
                  </a:lnTo>
                  <a:lnTo>
                    <a:pt x="2198" y="9018"/>
                  </a:lnTo>
                  <a:lnTo>
                    <a:pt x="2281" y="9081"/>
                  </a:lnTo>
                  <a:lnTo>
                    <a:pt x="2344" y="9060"/>
                  </a:lnTo>
                  <a:lnTo>
                    <a:pt x="2344" y="9060"/>
                  </a:lnTo>
                  <a:lnTo>
                    <a:pt x="2281" y="9123"/>
                  </a:lnTo>
                  <a:lnTo>
                    <a:pt x="2177" y="9165"/>
                  </a:lnTo>
                  <a:lnTo>
                    <a:pt x="2072" y="9227"/>
                  </a:lnTo>
                  <a:lnTo>
                    <a:pt x="2240" y="9227"/>
                  </a:lnTo>
                  <a:lnTo>
                    <a:pt x="2470" y="9123"/>
                  </a:lnTo>
                  <a:lnTo>
                    <a:pt x="2470" y="9102"/>
                  </a:lnTo>
                  <a:lnTo>
                    <a:pt x="2491" y="9102"/>
                  </a:lnTo>
                  <a:lnTo>
                    <a:pt x="2574" y="9018"/>
                  </a:lnTo>
                  <a:lnTo>
                    <a:pt x="2595" y="8914"/>
                  </a:lnTo>
                  <a:lnTo>
                    <a:pt x="2616" y="8851"/>
                  </a:lnTo>
                  <a:lnTo>
                    <a:pt x="2700" y="8872"/>
                  </a:lnTo>
                  <a:lnTo>
                    <a:pt x="2721" y="8851"/>
                  </a:lnTo>
                  <a:lnTo>
                    <a:pt x="2867" y="8746"/>
                  </a:lnTo>
                  <a:lnTo>
                    <a:pt x="2909" y="8746"/>
                  </a:lnTo>
                  <a:lnTo>
                    <a:pt x="2930" y="8683"/>
                  </a:lnTo>
                  <a:lnTo>
                    <a:pt x="2993" y="8662"/>
                  </a:lnTo>
                  <a:lnTo>
                    <a:pt x="2972" y="8600"/>
                  </a:lnTo>
                  <a:lnTo>
                    <a:pt x="2972" y="8579"/>
                  </a:lnTo>
                  <a:lnTo>
                    <a:pt x="2930" y="8495"/>
                  </a:lnTo>
                  <a:lnTo>
                    <a:pt x="2993" y="8495"/>
                  </a:lnTo>
                  <a:lnTo>
                    <a:pt x="3035" y="8558"/>
                  </a:lnTo>
                  <a:lnTo>
                    <a:pt x="3097" y="8579"/>
                  </a:lnTo>
                  <a:lnTo>
                    <a:pt x="3139" y="8537"/>
                  </a:lnTo>
                  <a:lnTo>
                    <a:pt x="3139" y="8453"/>
                  </a:lnTo>
                  <a:lnTo>
                    <a:pt x="3035" y="8349"/>
                  </a:lnTo>
                  <a:lnTo>
                    <a:pt x="3160" y="8453"/>
                  </a:lnTo>
                  <a:lnTo>
                    <a:pt x="3244" y="8390"/>
                  </a:lnTo>
                  <a:lnTo>
                    <a:pt x="3223" y="8286"/>
                  </a:lnTo>
                  <a:lnTo>
                    <a:pt x="3244" y="8244"/>
                  </a:lnTo>
                  <a:lnTo>
                    <a:pt x="3097" y="8181"/>
                  </a:lnTo>
                  <a:lnTo>
                    <a:pt x="3160" y="8181"/>
                  </a:lnTo>
                  <a:lnTo>
                    <a:pt x="3223" y="8160"/>
                  </a:lnTo>
                  <a:lnTo>
                    <a:pt x="3223" y="8139"/>
                  </a:lnTo>
                  <a:lnTo>
                    <a:pt x="3139" y="8077"/>
                  </a:lnTo>
                  <a:lnTo>
                    <a:pt x="3244" y="8118"/>
                  </a:lnTo>
                  <a:lnTo>
                    <a:pt x="3286" y="8077"/>
                  </a:lnTo>
                  <a:lnTo>
                    <a:pt x="3307" y="8014"/>
                  </a:lnTo>
                  <a:lnTo>
                    <a:pt x="3307" y="8077"/>
                  </a:lnTo>
                  <a:lnTo>
                    <a:pt x="3286" y="8160"/>
                  </a:lnTo>
                  <a:lnTo>
                    <a:pt x="3307" y="8160"/>
                  </a:lnTo>
                  <a:lnTo>
                    <a:pt x="3411" y="8139"/>
                  </a:lnTo>
                  <a:lnTo>
                    <a:pt x="3495" y="8181"/>
                  </a:lnTo>
                  <a:lnTo>
                    <a:pt x="3620" y="8160"/>
                  </a:lnTo>
                  <a:lnTo>
                    <a:pt x="3872" y="8014"/>
                  </a:lnTo>
                  <a:lnTo>
                    <a:pt x="3955" y="7951"/>
                  </a:lnTo>
                  <a:lnTo>
                    <a:pt x="4060" y="7951"/>
                  </a:lnTo>
                  <a:lnTo>
                    <a:pt x="4060" y="7846"/>
                  </a:lnTo>
                  <a:lnTo>
                    <a:pt x="4164" y="7763"/>
                  </a:lnTo>
                  <a:lnTo>
                    <a:pt x="4269" y="7721"/>
                  </a:lnTo>
                  <a:lnTo>
                    <a:pt x="4395" y="7595"/>
                  </a:lnTo>
                  <a:lnTo>
                    <a:pt x="4457" y="7554"/>
                  </a:lnTo>
                  <a:lnTo>
                    <a:pt x="4478" y="7428"/>
                  </a:lnTo>
                  <a:lnTo>
                    <a:pt x="4541" y="7407"/>
                  </a:lnTo>
                  <a:lnTo>
                    <a:pt x="4604" y="7323"/>
                  </a:lnTo>
                  <a:lnTo>
                    <a:pt x="4583" y="7282"/>
                  </a:lnTo>
                  <a:lnTo>
                    <a:pt x="4604" y="7177"/>
                  </a:lnTo>
                  <a:lnTo>
                    <a:pt x="4541" y="7072"/>
                  </a:lnTo>
                  <a:lnTo>
                    <a:pt x="4646" y="6989"/>
                  </a:lnTo>
                  <a:lnTo>
                    <a:pt x="4646" y="6905"/>
                  </a:lnTo>
                  <a:lnTo>
                    <a:pt x="4688" y="6884"/>
                  </a:lnTo>
                  <a:lnTo>
                    <a:pt x="4688" y="6821"/>
                  </a:lnTo>
                  <a:lnTo>
                    <a:pt x="4646" y="6758"/>
                  </a:lnTo>
                  <a:lnTo>
                    <a:pt x="4646" y="6675"/>
                  </a:lnTo>
                  <a:lnTo>
                    <a:pt x="4688" y="6654"/>
                  </a:lnTo>
                  <a:lnTo>
                    <a:pt x="4709" y="6696"/>
                  </a:lnTo>
                  <a:lnTo>
                    <a:pt x="4709" y="6717"/>
                  </a:lnTo>
                  <a:lnTo>
                    <a:pt x="4729" y="6717"/>
                  </a:lnTo>
                  <a:lnTo>
                    <a:pt x="4771" y="6654"/>
                  </a:lnTo>
                  <a:lnTo>
                    <a:pt x="4688" y="6507"/>
                  </a:lnTo>
                  <a:lnTo>
                    <a:pt x="4667" y="6445"/>
                  </a:lnTo>
                  <a:lnTo>
                    <a:pt x="4604" y="6403"/>
                  </a:lnTo>
                  <a:lnTo>
                    <a:pt x="4604" y="6361"/>
                  </a:lnTo>
                  <a:lnTo>
                    <a:pt x="4583" y="6194"/>
                  </a:lnTo>
                  <a:lnTo>
                    <a:pt x="4604" y="6173"/>
                  </a:lnTo>
                  <a:lnTo>
                    <a:pt x="4562" y="6068"/>
                  </a:lnTo>
                  <a:lnTo>
                    <a:pt x="4583" y="6026"/>
                  </a:lnTo>
                  <a:lnTo>
                    <a:pt x="4583" y="5921"/>
                  </a:lnTo>
                  <a:lnTo>
                    <a:pt x="4541" y="5859"/>
                  </a:lnTo>
                  <a:lnTo>
                    <a:pt x="4499" y="5670"/>
                  </a:lnTo>
                  <a:lnTo>
                    <a:pt x="4457" y="5649"/>
                  </a:lnTo>
                  <a:lnTo>
                    <a:pt x="4437" y="5440"/>
                  </a:lnTo>
                  <a:lnTo>
                    <a:pt x="4332" y="5315"/>
                  </a:lnTo>
                  <a:lnTo>
                    <a:pt x="4353" y="5252"/>
                  </a:lnTo>
                  <a:lnTo>
                    <a:pt x="4332" y="5210"/>
                  </a:lnTo>
                  <a:lnTo>
                    <a:pt x="4332" y="5147"/>
                  </a:lnTo>
                  <a:lnTo>
                    <a:pt x="4185" y="5022"/>
                  </a:lnTo>
                  <a:lnTo>
                    <a:pt x="4185" y="4938"/>
                  </a:lnTo>
                  <a:lnTo>
                    <a:pt x="4164" y="4938"/>
                  </a:lnTo>
                  <a:lnTo>
                    <a:pt x="4144" y="4833"/>
                  </a:lnTo>
                  <a:lnTo>
                    <a:pt x="4060" y="4708"/>
                  </a:lnTo>
                  <a:lnTo>
                    <a:pt x="3809" y="4499"/>
                  </a:lnTo>
                  <a:lnTo>
                    <a:pt x="3746" y="4394"/>
                  </a:lnTo>
                  <a:lnTo>
                    <a:pt x="3453" y="4185"/>
                  </a:lnTo>
                  <a:lnTo>
                    <a:pt x="3139" y="4038"/>
                  </a:lnTo>
                  <a:lnTo>
                    <a:pt x="3139" y="3976"/>
                  </a:lnTo>
                  <a:lnTo>
                    <a:pt x="3014" y="3934"/>
                  </a:lnTo>
                  <a:lnTo>
                    <a:pt x="2784" y="3745"/>
                  </a:lnTo>
                  <a:lnTo>
                    <a:pt x="2763" y="3662"/>
                  </a:lnTo>
                  <a:lnTo>
                    <a:pt x="2721" y="3536"/>
                  </a:lnTo>
                  <a:lnTo>
                    <a:pt x="2721" y="3473"/>
                  </a:lnTo>
                  <a:lnTo>
                    <a:pt x="2721" y="3432"/>
                  </a:lnTo>
                  <a:lnTo>
                    <a:pt x="2679" y="3306"/>
                  </a:lnTo>
                  <a:lnTo>
                    <a:pt x="2595" y="3306"/>
                  </a:lnTo>
                  <a:lnTo>
                    <a:pt x="2470" y="3139"/>
                  </a:lnTo>
                  <a:lnTo>
                    <a:pt x="2281" y="3055"/>
                  </a:lnTo>
                  <a:lnTo>
                    <a:pt x="2177" y="3034"/>
                  </a:lnTo>
                  <a:lnTo>
                    <a:pt x="2281" y="2992"/>
                  </a:lnTo>
                  <a:lnTo>
                    <a:pt x="2281" y="2929"/>
                  </a:lnTo>
                  <a:lnTo>
                    <a:pt x="2177" y="2825"/>
                  </a:lnTo>
                  <a:lnTo>
                    <a:pt x="2240" y="2720"/>
                  </a:lnTo>
                  <a:lnTo>
                    <a:pt x="2281" y="2532"/>
                  </a:lnTo>
                  <a:lnTo>
                    <a:pt x="2260" y="2490"/>
                  </a:lnTo>
                  <a:lnTo>
                    <a:pt x="2198" y="2490"/>
                  </a:lnTo>
                  <a:lnTo>
                    <a:pt x="2198" y="2385"/>
                  </a:lnTo>
                  <a:lnTo>
                    <a:pt x="2260" y="2323"/>
                  </a:lnTo>
                  <a:lnTo>
                    <a:pt x="2281" y="2218"/>
                  </a:lnTo>
                  <a:lnTo>
                    <a:pt x="2344" y="2197"/>
                  </a:lnTo>
                  <a:lnTo>
                    <a:pt x="2365" y="2155"/>
                  </a:lnTo>
                  <a:lnTo>
                    <a:pt x="2386" y="2176"/>
                  </a:lnTo>
                  <a:lnTo>
                    <a:pt x="2449" y="2176"/>
                  </a:lnTo>
                  <a:lnTo>
                    <a:pt x="2553" y="2051"/>
                  </a:lnTo>
                  <a:lnTo>
                    <a:pt x="2574" y="2051"/>
                  </a:lnTo>
                  <a:lnTo>
                    <a:pt x="2616" y="1988"/>
                  </a:lnTo>
                  <a:lnTo>
                    <a:pt x="2574" y="1904"/>
                  </a:lnTo>
                  <a:lnTo>
                    <a:pt x="2595" y="1883"/>
                  </a:lnTo>
                  <a:lnTo>
                    <a:pt x="2595" y="1800"/>
                  </a:lnTo>
                  <a:lnTo>
                    <a:pt x="2595" y="1737"/>
                  </a:lnTo>
                  <a:lnTo>
                    <a:pt x="2574" y="1674"/>
                  </a:lnTo>
                  <a:lnTo>
                    <a:pt x="2616" y="1632"/>
                  </a:lnTo>
                  <a:lnTo>
                    <a:pt x="2616" y="1548"/>
                  </a:lnTo>
                  <a:lnTo>
                    <a:pt x="2679" y="1548"/>
                  </a:lnTo>
                  <a:lnTo>
                    <a:pt x="2700" y="1590"/>
                  </a:lnTo>
                  <a:lnTo>
                    <a:pt x="2721" y="1590"/>
                  </a:lnTo>
                  <a:lnTo>
                    <a:pt x="2804" y="1548"/>
                  </a:lnTo>
                  <a:lnTo>
                    <a:pt x="2888" y="1528"/>
                  </a:lnTo>
                  <a:lnTo>
                    <a:pt x="2930" y="1548"/>
                  </a:lnTo>
                  <a:lnTo>
                    <a:pt x="2972" y="1528"/>
                  </a:lnTo>
                  <a:lnTo>
                    <a:pt x="3014" y="1465"/>
                  </a:lnTo>
                  <a:lnTo>
                    <a:pt x="2993" y="1381"/>
                  </a:lnTo>
                  <a:lnTo>
                    <a:pt x="3014" y="1339"/>
                  </a:lnTo>
                  <a:lnTo>
                    <a:pt x="3118" y="1318"/>
                  </a:lnTo>
                  <a:lnTo>
                    <a:pt x="3223" y="1339"/>
                  </a:lnTo>
                  <a:lnTo>
                    <a:pt x="3328" y="1256"/>
                  </a:lnTo>
                  <a:lnTo>
                    <a:pt x="3390" y="1256"/>
                  </a:lnTo>
                  <a:lnTo>
                    <a:pt x="3432" y="1235"/>
                  </a:lnTo>
                  <a:lnTo>
                    <a:pt x="3495" y="1172"/>
                  </a:lnTo>
                  <a:lnTo>
                    <a:pt x="3453" y="1130"/>
                  </a:lnTo>
                  <a:lnTo>
                    <a:pt x="3348" y="1067"/>
                  </a:lnTo>
                  <a:lnTo>
                    <a:pt x="3286" y="1109"/>
                  </a:lnTo>
                  <a:lnTo>
                    <a:pt x="3223" y="1046"/>
                  </a:lnTo>
                  <a:lnTo>
                    <a:pt x="3118" y="1109"/>
                  </a:lnTo>
                  <a:lnTo>
                    <a:pt x="3014" y="1025"/>
                  </a:lnTo>
                  <a:lnTo>
                    <a:pt x="2888" y="1004"/>
                  </a:lnTo>
                  <a:lnTo>
                    <a:pt x="2867" y="900"/>
                  </a:lnTo>
                  <a:lnTo>
                    <a:pt x="2616" y="816"/>
                  </a:lnTo>
                  <a:lnTo>
                    <a:pt x="2595" y="712"/>
                  </a:lnTo>
                  <a:lnTo>
                    <a:pt x="2512" y="691"/>
                  </a:lnTo>
                  <a:lnTo>
                    <a:pt x="2574" y="481"/>
                  </a:lnTo>
                  <a:lnTo>
                    <a:pt x="2679" y="440"/>
                  </a:lnTo>
                  <a:lnTo>
                    <a:pt x="2679" y="335"/>
                  </a:lnTo>
                  <a:lnTo>
                    <a:pt x="2595" y="272"/>
                  </a:lnTo>
                  <a:lnTo>
                    <a:pt x="2449" y="314"/>
                  </a:lnTo>
                  <a:lnTo>
                    <a:pt x="2386" y="272"/>
                  </a:lnTo>
                  <a:lnTo>
                    <a:pt x="2114" y="272"/>
                  </a:lnTo>
                  <a:lnTo>
                    <a:pt x="2072" y="188"/>
                  </a:lnTo>
                  <a:lnTo>
                    <a:pt x="1947" y="168"/>
                  </a:lnTo>
                  <a:lnTo>
                    <a:pt x="1947" y="84"/>
                  </a:lnTo>
                  <a:lnTo>
                    <a:pt x="182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Google Shape;12143;p43">
              <a:extLst>
                <a:ext uri="{FF2B5EF4-FFF2-40B4-BE49-F238E27FC236}">
                  <a16:creationId xmlns:a16="http://schemas.microsoft.com/office/drawing/2014/main" id="{89CA7D00-B306-5F26-5843-8B94056CB2B3}"/>
                </a:ext>
              </a:extLst>
            </p:cNvPr>
            <p:cNvSpPr/>
            <p:nvPr/>
          </p:nvSpPr>
          <p:spPr>
            <a:xfrm>
              <a:off x="4450186" y="3045644"/>
              <a:ext cx="36139" cy="29750"/>
            </a:xfrm>
            <a:custGeom>
              <a:avLst/>
              <a:gdLst/>
              <a:ahLst/>
              <a:cxnLst/>
              <a:rect l="l" t="t" r="r" b="b"/>
              <a:pathLst>
                <a:path w="3035" h="2616" extrusionOk="0">
                  <a:moveTo>
                    <a:pt x="2407" y="0"/>
                  </a:moveTo>
                  <a:lnTo>
                    <a:pt x="2239" y="42"/>
                  </a:lnTo>
                  <a:lnTo>
                    <a:pt x="2135" y="126"/>
                  </a:lnTo>
                  <a:lnTo>
                    <a:pt x="2260" y="251"/>
                  </a:lnTo>
                  <a:lnTo>
                    <a:pt x="2239" y="356"/>
                  </a:lnTo>
                  <a:lnTo>
                    <a:pt x="2260" y="460"/>
                  </a:lnTo>
                  <a:lnTo>
                    <a:pt x="2260" y="544"/>
                  </a:lnTo>
                  <a:lnTo>
                    <a:pt x="2072" y="481"/>
                  </a:lnTo>
                  <a:lnTo>
                    <a:pt x="1967" y="314"/>
                  </a:lnTo>
                  <a:lnTo>
                    <a:pt x="1821" y="314"/>
                  </a:lnTo>
                  <a:lnTo>
                    <a:pt x="1758" y="230"/>
                  </a:lnTo>
                  <a:lnTo>
                    <a:pt x="1632" y="126"/>
                  </a:lnTo>
                  <a:lnTo>
                    <a:pt x="1549" y="167"/>
                  </a:lnTo>
                  <a:lnTo>
                    <a:pt x="1444" y="105"/>
                  </a:lnTo>
                  <a:lnTo>
                    <a:pt x="1298" y="126"/>
                  </a:lnTo>
                  <a:lnTo>
                    <a:pt x="1151" y="63"/>
                  </a:lnTo>
                  <a:lnTo>
                    <a:pt x="1026" y="63"/>
                  </a:lnTo>
                  <a:lnTo>
                    <a:pt x="879" y="146"/>
                  </a:lnTo>
                  <a:lnTo>
                    <a:pt x="816" y="105"/>
                  </a:lnTo>
                  <a:lnTo>
                    <a:pt x="670" y="105"/>
                  </a:lnTo>
                  <a:lnTo>
                    <a:pt x="398" y="167"/>
                  </a:lnTo>
                  <a:lnTo>
                    <a:pt x="272" y="167"/>
                  </a:lnTo>
                  <a:lnTo>
                    <a:pt x="168" y="335"/>
                  </a:lnTo>
                  <a:lnTo>
                    <a:pt x="105" y="523"/>
                  </a:lnTo>
                  <a:lnTo>
                    <a:pt x="42" y="649"/>
                  </a:lnTo>
                  <a:lnTo>
                    <a:pt x="0" y="858"/>
                  </a:lnTo>
                  <a:lnTo>
                    <a:pt x="63" y="1088"/>
                  </a:lnTo>
                  <a:lnTo>
                    <a:pt x="168" y="1151"/>
                  </a:lnTo>
                  <a:lnTo>
                    <a:pt x="210" y="1255"/>
                  </a:lnTo>
                  <a:lnTo>
                    <a:pt x="189" y="1486"/>
                  </a:lnTo>
                  <a:lnTo>
                    <a:pt x="189" y="1569"/>
                  </a:lnTo>
                  <a:lnTo>
                    <a:pt x="272" y="1632"/>
                  </a:lnTo>
                  <a:lnTo>
                    <a:pt x="272" y="1779"/>
                  </a:lnTo>
                  <a:lnTo>
                    <a:pt x="356" y="1820"/>
                  </a:lnTo>
                  <a:lnTo>
                    <a:pt x="356" y="1925"/>
                  </a:lnTo>
                  <a:lnTo>
                    <a:pt x="419" y="2051"/>
                  </a:lnTo>
                  <a:lnTo>
                    <a:pt x="482" y="2030"/>
                  </a:lnTo>
                  <a:lnTo>
                    <a:pt x="523" y="2113"/>
                  </a:lnTo>
                  <a:lnTo>
                    <a:pt x="503" y="2218"/>
                  </a:lnTo>
                  <a:lnTo>
                    <a:pt x="565" y="2260"/>
                  </a:lnTo>
                  <a:lnTo>
                    <a:pt x="565" y="2364"/>
                  </a:lnTo>
                  <a:lnTo>
                    <a:pt x="733" y="2364"/>
                  </a:lnTo>
                  <a:lnTo>
                    <a:pt x="733" y="2260"/>
                  </a:lnTo>
                  <a:lnTo>
                    <a:pt x="795" y="2218"/>
                  </a:lnTo>
                  <a:lnTo>
                    <a:pt x="837" y="2155"/>
                  </a:lnTo>
                  <a:lnTo>
                    <a:pt x="837" y="2239"/>
                  </a:lnTo>
                  <a:lnTo>
                    <a:pt x="900" y="2323"/>
                  </a:lnTo>
                  <a:lnTo>
                    <a:pt x="879" y="2406"/>
                  </a:lnTo>
                  <a:lnTo>
                    <a:pt x="816" y="2469"/>
                  </a:lnTo>
                  <a:lnTo>
                    <a:pt x="837" y="2553"/>
                  </a:lnTo>
                  <a:lnTo>
                    <a:pt x="879" y="2574"/>
                  </a:lnTo>
                  <a:lnTo>
                    <a:pt x="921" y="2574"/>
                  </a:lnTo>
                  <a:lnTo>
                    <a:pt x="1026" y="2511"/>
                  </a:lnTo>
                  <a:lnTo>
                    <a:pt x="1026" y="2469"/>
                  </a:lnTo>
                  <a:lnTo>
                    <a:pt x="1088" y="2532"/>
                  </a:lnTo>
                  <a:lnTo>
                    <a:pt x="1214" y="2553"/>
                  </a:lnTo>
                  <a:lnTo>
                    <a:pt x="1235" y="2532"/>
                  </a:lnTo>
                  <a:lnTo>
                    <a:pt x="1340" y="2615"/>
                  </a:lnTo>
                  <a:lnTo>
                    <a:pt x="1444" y="2469"/>
                  </a:lnTo>
                  <a:lnTo>
                    <a:pt x="1570" y="2448"/>
                  </a:lnTo>
                  <a:lnTo>
                    <a:pt x="1632" y="2302"/>
                  </a:lnTo>
                  <a:lnTo>
                    <a:pt x="1758" y="2302"/>
                  </a:lnTo>
                  <a:lnTo>
                    <a:pt x="1821" y="2323"/>
                  </a:lnTo>
                  <a:lnTo>
                    <a:pt x="2093" y="2260"/>
                  </a:lnTo>
                  <a:lnTo>
                    <a:pt x="2197" y="2323"/>
                  </a:lnTo>
                  <a:lnTo>
                    <a:pt x="2239" y="2406"/>
                  </a:lnTo>
                  <a:lnTo>
                    <a:pt x="2407" y="2406"/>
                  </a:lnTo>
                  <a:lnTo>
                    <a:pt x="2365" y="2260"/>
                  </a:lnTo>
                  <a:lnTo>
                    <a:pt x="2386" y="2197"/>
                  </a:lnTo>
                  <a:lnTo>
                    <a:pt x="2281" y="2092"/>
                  </a:lnTo>
                  <a:lnTo>
                    <a:pt x="2156" y="2051"/>
                  </a:lnTo>
                  <a:lnTo>
                    <a:pt x="2135" y="1841"/>
                  </a:lnTo>
                  <a:lnTo>
                    <a:pt x="2239" y="1779"/>
                  </a:lnTo>
                  <a:lnTo>
                    <a:pt x="2448" y="1779"/>
                  </a:lnTo>
                  <a:lnTo>
                    <a:pt x="2511" y="1674"/>
                  </a:lnTo>
                  <a:lnTo>
                    <a:pt x="2679" y="1569"/>
                  </a:lnTo>
                  <a:lnTo>
                    <a:pt x="2825" y="1507"/>
                  </a:lnTo>
                  <a:lnTo>
                    <a:pt x="2867" y="1423"/>
                  </a:lnTo>
                  <a:lnTo>
                    <a:pt x="2930" y="1402"/>
                  </a:lnTo>
                  <a:lnTo>
                    <a:pt x="3034" y="1214"/>
                  </a:lnTo>
                  <a:lnTo>
                    <a:pt x="3013" y="1088"/>
                  </a:lnTo>
                  <a:lnTo>
                    <a:pt x="3034" y="942"/>
                  </a:lnTo>
                  <a:lnTo>
                    <a:pt x="3013" y="837"/>
                  </a:lnTo>
                  <a:lnTo>
                    <a:pt x="3034" y="649"/>
                  </a:lnTo>
                  <a:lnTo>
                    <a:pt x="2930" y="418"/>
                  </a:lnTo>
                  <a:lnTo>
                    <a:pt x="2825" y="356"/>
                  </a:lnTo>
                  <a:lnTo>
                    <a:pt x="2762" y="167"/>
                  </a:lnTo>
                  <a:lnTo>
                    <a:pt x="2679" y="167"/>
                  </a:lnTo>
                  <a:lnTo>
                    <a:pt x="2574" y="126"/>
                  </a:lnTo>
                  <a:lnTo>
                    <a:pt x="2469" y="105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Google Shape;12144;p43">
              <a:extLst>
                <a:ext uri="{FF2B5EF4-FFF2-40B4-BE49-F238E27FC236}">
                  <a16:creationId xmlns:a16="http://schemas.microsoft.com/office/drawing/2014/main" id="{BA5C9289-159D-FF35-E0B7-B2154739B8C6}"/>
                </a:ext>
              </a:extLst>
            </p:cNvPr>
            <p:cNvSpPr/>
            <p:nvPr/>
          </p:nvSpPr>
          <p:spPr>
            <a:xfrm>
              <a:off x="4429753" y="2990191"/>
              <a:ext cx="55822" cy="61650"/>
            </a:xfrm>
            <a:custGeom>
              <a:avLst/>
              <a:gdLst/>
              <a:ahLst/>
              <a:cxnLst/>
              <a:rect l="l" t="t" r="r" b="b"/>
              <a:pathLst>
                <a:path w="4688" h="5421" extrusionOk="0">
                  <a:moveTo>
                    <a:pt x="879" y="1"/>
                  </a:moveTo>
                  <a:lnTo>
                    <a:pt x="879" y="85"/>
                  </a:lnTo>
                  <a:lnTo>
                    <a:pt x="817" y="126"/>
                  </a:lnTo>
                  <a:lnTo>
                    <a:pt x="817" y="336"/>
                  </a:lnTo>
                  <a:lnTo>
                    <a:pt x="859" y="440"/>
                  </a:lnTo>
                  <a:lnTo>
                    <a:pt x="859" y="587"/>
                  </a:lnTo>
                  <a:lnTo>
                    <a:pt x="879" y="733"/>
                  </a:lnTo>
                  <a:lnTo>
                    <a:pt x="775" y="712"/>
                  </a:lnTo>
                  <a:lnTo>
                    <a:pt x="649" y="754"/>
                  </a:lnTo>
                  <a:lnTo>
                    <a:pt x="587" y="649"/>
                  </a:lnTo>
                  <a:lnTo>
                    <a:pt x="524" y="608"/>
                  </a:lnTo>
                  <a:lnTo>
                    <a:pt x="419" y="712"/>
                  </a:lnTo>
                  <a:lnTo>
                    <a:pt x="252" y="733"/>
                  </a:lnTo>
                  <a:lnTo>
                    <a:pt x="231" y="838"/>
                  </a:lnTo>
                  <a:lnTo>
                    <a:pt x="189" y="942"/>
                  </a:lnTo>
                  <a:lnTo>
                    <a:pt x="231" y="1026"/>
                  </a:lnTo>
                  <a:lnTo>
                    <a:pt x="105" y="1110"/>
                  </a:lnTo>
                  <a:lnTo>
                    <a:pt x="43" y="1110"/>
                  </a:lnTo>
                  <a:lnTo>
                    <a:pt x="1" y="1256"/>
                  </a:lnTo>
                  <a:lnTo>
                    <a:pt x="43" y="1382"/>
                  </a:lnTo>
                  <a:lnTo>
                    <a:pt x="210" y="1361"/>
                  </a:lnTo>
                  <a:lnTo>
                    <a:pt x="315" y="1486"/>
                  </a:lnTo>
                  <a:lnTo>
                    <a:pt x="335" y="1675"/>
                  </a:lnTo>
                  <a:lnTo>
                    <a:pt x="252" y="1758"/>
                  </a:lnTo>
                  <a:lnTo>
                    <a:pt x="335" y="1884"/>
                  </a:lnTo>
                  <a:lnTo>
                    <a:pt x="440" y="1947"/>
                  </a:lnTo>
                  <a:lnTo>
                    <a:pt x="524" y="1863"/>
                  </a:lnTo>
                  <a:lnTo>
                    <a:pt x="733" y="1863"/>
                  </a:lnTo>
                  <a:lnTo>
                    <a:pt x="754" y="1968"/>
                  </a:lnTo>
                  <a:lnTo>
                    <a:pt x="670" y="2093"/>
                  </a:lnTo>
                  <a:lnTo>
                    <a:pt x="754" y="2198"/>
                  </a:lnTo>
                  <a:lnTo>
                    <a:pt x="733" y="2281"/>
                  </a:lnTo>
                  <a:lnTo>
                    <a:pt x="670" y="2386"/>
                  </a:lnTo>
                  <a:lnTo>
                    <a:pt x="733" y="2512"/>
                  </a:lnTo>
                  <a:lnTo>
                    <a:pt x="733" y="2721"/>
                  </a:lnTo>
                  <a:lnTo>
                    <a:pt x="733" y="3014"/>
                  </a:lnTo>
                  <a:lnTo>
                    <a:pt x="879" y="2930"/>
                  </a:lnTo>
                  <a:lnTo>
                    <a:pt x="1047" y="2909"/>
                  </a:lnTo>
                  <a:lnTo>
                    <a:pt x="1047" y="2784"/>
                  </a:lnTo>
                  <a:lnTo>
                    <a:pt x="1235" y="2700"/>
                  </a:lnTo>
                  <a:lnTo>
                    <a:pt x="1444" y="2805"/>
                  </a:lnTo>
                  <a:lnTo>
                    <a:pt x="1549" y="2805"/>
                  </a:lnTo>
                  <a:lnTo>
                    <a:pt x="1633" y="2930"/>
                  </a:lnTo>
                  <a:lnTo>
                    <a:pt x="1884" y="2909"/>
                  </a:lnTo>
                  <a:lnTo>
                    <a:pt x="2009" y="2637"/>
                  </a:lnTo>
                  <a:lnTo>
                    <a:pt x="2198" y="2595"/>
                  </a:lnTo>
                  <a:lnTo>
                    <a:pt x="2449" y="2679"/>
                  </a:lnTo>
                  <a:lnTo>
                    <a:pt x="2532" y="2826"/>
                  </a:lnTo>
                  <a:lnTo>
                    <a:pt x="2804" y="3014"/>
                  </a:lnTo>
                  <a:lnTo>
                    <a:pt x="2930" y="3118"/>
                  </a:lnTo>
                  <a:lnTo>
                    <a:pt x="2972" y="3244"/>
                  </a:lnTo>
                  <a:lnTo>
                    <a:pt x="2972" y="3328"/>
                  </a:lnTo>
                  <a:lnTo>
                    <a:pt x="2930" y="3411"/>
                  </a:lnTo>
                  <a:lnTo>
                    <a:pt x="2972" y="3537"/>
                  </a:lnTo>
                  <a:lnTo>
                    <a:pt x="2972" y="3725"/>
                  </a:lnTo>
                  <a:lnTo>
                    <a:pt x="2951" y="3788"/>
                  </a:lnTo>
                  <a:lnTo>
                    <a:pt x="3056" y="3872"/>
                  </a:lnTo>
                  <a:lnTo>
                    <a:pt x="3160" y="3997"/>
                  </a:lnTo>
                  <a:lnTo>
                    <a:pt x="3286" y="3997"/>
                  </a:lnTo>
                  <a:lnTo>
                    <a:pt x="3369" y="4060"/>
                  </a:lnTo>
                  <a:lnTo>
                    <a:pt x="3348" y="4102"/>
                  </a:lnTo>
                  <a:lnTo>
                    <a:pt x="3495" y="4206"/>
                  </a:lnTo>
                  <a:lnTo>
                    <a:pt x="3495" y="4290"/>
                  </a:lnTo>
                  <a:lnTo>
                    <a:pt x="3474" y="4416"/>
                  </a:lnTo>
                  <a:lnTo>
                    <a:pt x="3474" y="4499"/>
                  </a:lnTo>
                  <a:lnTo>
                    <a:pt x="3453" y="4604"/>
                  </a:lnTo>
                  <a:lnTo>
                    <a:pt x="3474" y="4688"/>
                  </a:lnTo>
                  <a:lnTo>
                    <a:pt x="3474" y="4897"/>
                  </a:lnTo>
                  <a:lnTo>
                    <a:pt x="3390" y="4981"/>
                  </a:lnTo>
                  <a:lnTo>
                    <a:pt x="3348" y="5002"/>
                  </a:lnTo>
                  <a:lnTo>
                    <a:pt x="3474" y="5106"/>
                  </a:lnTo>
                  <a:lnTo>
                    <a:pt x="3537" y="5190"/>
                  </a:lnTo>
                  <a:lnTo>
                    <a:pt x="3683" y="5190"/>
                  </a:lnTo>
                  <a:lnTo>
                    <a:pt x="3788" y="5357"/>
                  </a:lnTo>
                  <a:lnTo>
                    <a:pt x="3976" y="5420"/>
                  </a:lnTo>
                  <a:lnTo>
                    <a:pt x="3976" y="5336"/>
                  </a:lnTo>
                  <a:lnTo>
                    <a:pt x="3955" y="5232"/>
                  </a:lnTo>
                  <a:lnTo>
                    <a:pt x="3976" y="5127"/>
                  </a:lnTo>
                  <a:lnTo>
                    <a:pt x="3851" y="5002"/>
                  </a:lnTo>
                  <a:lnTo>
                    <a:pt x="3955" y="4918"/>
                  </a:lnTo>
                  <a:lnTo>
                    <a:pt x="4123" y="4876"/>
                  </a:lnTo>
                  <a:lnTo>
                    <a:pt x="4185" y="4981"/>
                  </a:lnTo>
                  <a:lnTo>
                    <a:pt x="4290" y="5002"/>
                  </a:lnTo>
                  <a:lnTo>
                    <a:pt x="4395" y="5043"/>
                  </a:lnTo>
                  <a:lnTo>
                    <a:pt x="4499" y="5043"/>
                  </a:lnTo>
                  <a:lnTo>
                    <a:pt x="4604" y="5002"/>
                  </a:lnTo>
                  <a:lnTo>
                    <a:pt x="4583" y="4813"/>
                  </a:lnTo>
                  <a:lnTo>
                    <a:pt x="4541" y="4730"/>
                  </a:lnTo>
                  <a:lnTo>
                    <a:pt x="4520" y="4604"/>
                  </a:lnTo>
                  <a:lnTo>
                    <a:pt x="4688" y="4478"/>
                  </a:lnTo>
                  <a:lnTo>
                    <a:pt x="4688" y="4311"/>
                  </a:lnTo>
                  <a:lnTo>
                    <a:pt x="4604" y="4311"/>
                  </a:lnTo>
                  <a:lnTo>
                    <a:pt x="4541" y="4248"/>
                  </a:lnTo>
                  <a:lnTo>
                    <a:pt x="4583" y="4081"/>
                  </a:lnTo>
                  <a:lnTo>
                    <a:pt x="4646" y="3997"/>
                  </a:lnTo>
                  <a:lnTo>
                    <a:pt x="4604" y="3934"/>
                  </a:lnTo>
                  <a:lnTo>
                    <a:pt x="4499" y="3976"/>
                  </a:lnTo>
                  <a:lnTo>
                    <a:pt x="4436" y="3955"/>
                  </a:lnTo>
                  <a:lnTo>
                    <a:pt x="4374" y="3851"/>
                  </a:lnTo>
                  <a:lnTo>
                    <a:pt x="4227" y="3851"/>
                  </a:lnTo>
                  <a:lnTo>
                    <a:pt x="4185" y="3788"/>
                  </a:lnTo>
                  <a:lnTo>
                    <a:pt x="4206" y="3683"/>
                  </a:lnTo>
                  <a:lnTo>
                    <a:pt x="4123" y="3662"/>
                  </a:lnTo>
                  <a:lnTo>
                    <a:pt x="4081" y="3662"/>
                  </a:lnTo>
                  <a:lnTo>
                    <a:pt x="3997" y="3579"/>
                  </a:lnTo>
                  <a:lnTo>
                    <a:pt x="3997" y="3516"/>
                  </a:lnTo>
                  <a:lnTo>
                    <a:pt x="3913" y="3411"/>
                  </a:lnTo>
                  <a:lnTo>
                    <a:pt x="3788" y="3411"/>
                  </a:lnTo>
                  <a:lnTo>
                    <a:pt x="3704" y="3349"/>
                  </a:lnTo>
                  <a:lnTo>
                    <a:pt x="3662" y="3223"/>
                  </a:lnTo>
                  <a:lnTo>
                    <a:pt x="3474" y="3014"/>
                  </a:lnTo>
                  <a:lnTo>
                    <a:pt x="3495" y="2930"/>
                  </a:lnTo>
                  <a:lnTo>
                    <a:pt x="3369" y="2784"/>
                  </a:lnTo>
                  <a:lnTo>
                    <a:pt x="3202" y="2700"/>
                  </a:lnTo>
                  <a:lnTo>
                    <a:pt x="3056" y="2491"/>
                  </a:lnTo>
                  <a:lnTo>
                    <a:pt x="2951" y="2491"/>
                  </a:lnTo>
                  <a:lnTo>
                    <a:pt x="2763" y="2386"/>
                  </a:lnTo>
                  <a:lnTo>
                    <a:pt x="2595" y="2386"/>
                  </a:lnTo>
                  <a:lnTo>
                    <a:pt x="2511" y="2219"/>
                  </a:lnTo>
                  <a:lnTo>
                    <a:pt x="2428" y="2219"/>
                  </a:lnTo>
                  <a:lnTo>
                    <a:pt x="2407" y="2156"/>
                  </a:lnTo>
                  <a:lnTo>
                    <a:pt x="2491" y="2072"/>
                  </a:lnTo>
                  <a:lnTo>
                    <a:pt x="2344" y="1905"/>
                  </a:lnTo>
                  <a:lnTo>
                    <a:pt x="2344" y="1842"/>
                  </a:lnTo>
                  <a:lnTo>
                    <a:pt x="2428" y="1842"/>
                  </a:lnTo>
                  <a:lnTo>
                    <a:pt x="2595" y="1758"/>
                  </a:lnTo>
                  <a:lnTo>
                    <a:pt x="2721" y="1758"/>
                  </a:lnTo>
                  <a:lnTo>
                    <a:pt x="2763" y="1675"/>
                  </a:lnTo>
                  <a:lnTo>
                    <a:pt x="2846" y="1465"/>
                  </a:lnTo>
                  <a:lnTo>
                    <a:pt x="2930" y="1445"/>
                  </a:lnTo>
                  <a:lnTo>
                    <a:pt x="2930" y="1361"/>
                  </a:lnTo>
                  <a:lnTo>
                    <a:pt x="2742" y="1319"/>
                  </a:lnTo>
                  <a:lnTo>
                    <a:pt x="2763" y="1214"/>
                  </a:lnTo>
                  <a:lnTo>
                    <a:pt x="2742" y="1110"/>
                  </a:lnTo>
                  <a:lnTo>
                    <a:pt x="2595" y="1068"/>
                  </a:lnTo>
                  <a:lnTo>
                    <a:pt x="2511" y="963"/>
                  </a:lnTo>
                  <a:lnTo>
                    <a:pt x="2344" y="963"/>
                  </a:lnTo>
                  <a:lnTo>
                    <a:pt x="2219" y="1047"/>
                  </a:lnTo>
                  <a:lnTo>
                    <a:pt x="2072" y="1005"/>
                  </a:lnTo>
                  <a:lnTo>
                    <a:pt x="1821" y="1005"/>
                  </a:lnTo>
                  <a:lnTo>
                    <a:pt x="1716" y="796"/>
                  </a:lnTo>
                  <a:lnTo>
                    <a:pt x="1507" y="608"/>
                  </a:lnTo>
                  <a:lnTo>
                    <a:pt x="1570" y="524"/>
                  </a:lnTo>
                  <a:lnTo>
                    <a:pt x="1549" y="398"/>
                  </a:lnTo>
                  <a:lnTo>
                    <a:pt x="1444" y="315"/>
                  </a:lnTo>
                  <a:lnTo>
                    <a:pt x="1340" y="168"/>
                  </a:lnTo>
                  <a:lnTo>
                    <a:pt x="1151" y="85"/>
                  </a:lnTo>
                  <a:lnTo>
                    <a:pt x="10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Google Shape;12145;p43">
              <a:extLst>
                <a:ext uri="{FF2B5EF4-FFF2-40B4-BE49-F238E27FC236}">
                  <a16:creationId xmlns:a16="http://schemas.microsoft.com/office/drawing/2014/main" id="{8F14E787-A37A-43CE-2BFC-7B58F4493ABA}"/>
                </a:ext>
              </a:extLst>
            </p:cNvPr>
            <p:cNvSpPr/>
            <p:nvPr/>
          </p:nvSpPr>
          <p:spPr>
            <a:xfrm>
              <a:off x="4413309" y="3004475"/>
              <a:ext cx="58061" cy="103285"/>
            </a:xfrm>
            <a:custGeom>
              <a:avLst/>
              <a:gdLst/>
              <a:ahLst/>
              <a:cxnLst/>
              <a:rect l="l" t="t" r="r" b="b"/>
              <a:pathLst>
                <a:path w="4876" h="9082" extrusionOk="0">
                  <a:moveTo>
                    <a:pt x="1361" y="0"/>
                  </a:moveTo>
                  <a:lnTo>
                    <a:pt x="1193" y="21"/>
                  </a:lnTo>
                  <a:lnTo>
                    <a:pt x="1068" y="63"/>
                  </a:lnTo>
                  <a:lnTo>
                    <a:pt x="1068" y="126"/>
                  </a:lnTo>
                  <a:lnTo>
                    <a:pt x="1110" y="209"/>
                  </a:lnTo>
                  <a:lnTo>
                    <a:pt x="1089" y="293"/>
                  </a:lnTo>
                  <a:lnTo>
                    <a:pt x="921" y="272"/>
                  </a:lnTo>
                  <a:lnTo>
                    <a:pt x="859" y="314"/>
                  </a:lnTo>
                  <a:lnTo>
                    <a:pt x="859" y="481"/>
                  </a:lnTo>
                  <a:lnTo>
                    <a:pt x="838" y="523"/>
                  </a:lnTo>
                  <a:lnTo>
                    <a:pt x="691" y="523"/>
                  </a:lnTo>
                  <a:lnTo>
                    <a:pt x="566" y="628"/>
                  </a:lnTo>
                  <a:lnTo>
                    <a:pt x="335" y="544"/>
                  </a:lnTo>
                  <a:lnTo>
                    <a:pt x="252" y="691"/>
                  </a:lnTo>
                  <a:lnTo>
                    <a:pt x="273" y="858"/>
                  </a:lnTo>
                  <a:lnTo>
                    <a:pt x="210" y="942"/>
                  </a:lnTo>
                  <a:lnTo>
                    <a:pt x="210" y="1130"/>
                  </a:lnTo>
                  <a:lnTo>
                    <a:pt x="231" y="1214"/>
                  </a:lnTo>
                  <a:lnTo>
                    <a:pt x="126" y="1277"/>
                  </a:lnTo>
                  <a:lnTo>
                    <a:pt x="1" y="1360"/>
                  </a:lnTo>
                  <a:lnTo>
                    <a:pt x="1" y="1444"/>
                  </a:lnTo>
                  <a:lnTo>
                    <a:pt x="63" y="1465"/>
                  </a:lnTo>
                  <a:lnTo>
                    <a:pt x="168" y="1653"/>
                  </a:lnTo>
                  <a:lnTo>
                    <a:pt x="252" y="1737"/>
                  </a:lnTo>
                  <a:lnTo>
                    <a:pt x="315" y="1800"/>
                  </a:lnTo>
                  <a:lnTo>
                    <a:pt x="440" y="1904"/>
                  </a:lnTo>
                  <a:lnTo>
                    <a:pt x="587" y="2197"/>
                  </a:lnTo>
                  <a:lnTo>
                    <a:pt x="670" y="2260"/>
                  </a:lnTo>
                  <a:lnTo>
                    <a:pt x="754" y="2386"/>
                  </a:lnTo>
                  <a:lnTo>
                    <a:pt x="754" y="2511"/>
                  </a:lnTo>
                  <a:lnTo>
                    <a:pt x="879" y="2574"/>
                  </a:lnTo>
                  <a:lnTo>
                    <a:pt x="879" y="2699"/>
                  </a:lnTo>
                  <a:lnTo>
                    <a:pt x="775" y="2741"/>
                  </a:lnTo>
                  <a:lnTo>
                    <a:pt x="754" y="2825"/>
                  </a:lnTo>
                  <a:lnTo>
                    <a:pt x="796" y="3118"/>
                  </a:lnTo>
                  <a:lnTo>
                    <a:pt x="775" y="3222"/>
                  </a:lnTo>
                  <a:lnTo>
                    <a:pt x="670" y="3264"/>
                  </a:lnTo>
                  <a:lnTo>
                    <a:pt x="754" y="3474"/>
                  </a:lnTo>
                  <a:lnTo>
                    <a:pt x="754" y="3578"/>
                  </a:lnTo>
                  <a:lnTo>
                    <a:pt x="900" y="3766"/>
                  </a:lnTo>
                  <a:lnTo>
                    <a:pt x="1089" y="3892"/>
                  </a:lnTo>
                  <a:lnTo>
                    <a:pt x="1256" y="4059"/>
                  </a:lnTo>
                  <a:lnTo>
                    <a:pt x="1298" y="4311"/>
                  </a:lnTo>
                  <a:lnTo>
                    <a:pt x="1277" y="4394"/>
                  </a:lnTo>
                  <a:lnTo>
                    <a:pt x="1298" y="4520"/>
                  </a:lnTo>
                  <a:lnTo>
                    <a:pt x="1277" y="4624"/>
                  </a:lnTo>
                  <a:lnTo>
                    <a:pt x="1361" y="4708"/>
                  </a:lnTo>
                  <a:lnTo>
                    <a:pt x="1382" y="4896"/>
                  </a:lnTo>
                  <a:lnTo>
                    <a:pt x="1424" y="5001"/>
                  </a:lnTo>
                  <a:lnTo>
                    <a:pt x="1403" y="5147"/>
                  </a:lnTo>
                  <a:lnTo>
                    <a:pt x="1486" y="5294"/>
                  </a:lnTo>
                  <a:lnTo>
                    <a:pt x="1486" y="5461"/>
                  </a:lnTo>
                  <a:lnTo>
                    <a:pt x="1403" y="5524"/>
                  </a:lnTo>
                  <a:lnTo>
                    <a:pt x="1277" y="5880"/>
                  </a:lnTo>
                  <a:lnTo>
                    <a:pt x="1152" y="5963"/>
                  </a:lnTo>
                  <a:lnTo>
                    <a:pt x="1152" y="6131"/>
                  </a:lnTo>
                  <a:lnTo>
                    <a:pt x="1089" y="6194"/>
                  </a:lnTo>
                  <a:lnTo>
                    <a:pt x="1068" y="6298"/>
                  </a:lnTo>
                  <a:lnTo>
                    <a:pt x="1047" y="6487"/>
                  </a:lnTo>
                  <a:lnTo>
                    <a:pt x="1089" y="6487"/>
                  </a:lnTo>
                  <a:lnTo>
                    <a:pt x="1005" y="6591"/>
                  </a:lnTo>
                  <a:lnTo>
                    <a:pt x="1047" y="6654"/>
                  </a:lnTo>
                  <a:lnTo>
                    <a:pt x="963" y="6779"/>
                  </a:lnTo>
                  <a:lnTo>
                    <a:pt x="1047" y="6779"/>
                  </a:lnTo>
                  <a:lnTo>
                    <a:pt x="984" y="6863"/>
                  </a:lnTo>
                  <a:lnTo>
                    <a:pt x="921" y="6863"/>
                  </a:lnTo>
                  <a:lnTo>
                    <a:pt x="921" y="7072"/>
                  </a:lnTo>
                  <a:lnTo>
                    <a:pt x="859" y="7114"/>
                  </a:lnTo>
                  <a:lnTo>
                    <a:pt x="879" y="7282"/>
                  </a:lnTo>
                  <a:lnTo>
                    <a:pt x="859" y="7324"/>
                  </a:lnTo>
                  <a:lnTo>
                    <a:pt x="879" y="7533"/>
                  </a:lnTo>
                  <a:lnTo>
                    <a:pt x="921" y="7616"/>
                  </a:lnTo>
                  <a:lnTo>
                    <a:pt x="1005" y="7616"/>
                  </a:lnTo>
                  <a:lnTo>
                    <a:pt x="984" y="7512"/>
                  </a:lnTo>
                  <a:lnTo>
                    <a:pt x="1110" y="7449"/>
                  </a:lnTo>
                  <a:lnTo>
                    <a:pt x="1089" y="7512"/>
                  </a:lnTo>
                  <a:lnTo>
                    <a:pt x="1172" y="7554"/>
                  </a:lnTo>
                  <a:lnTo>
                    <a:pt x="1172" y="7637"/>
                  </a:lnTo>
                  <a:lnTo>
                    <a:pt x="1277" y="7658"/>
                  </a:lnTo>
                  <a:lnTo>
                    <a:pt x="1319" y="7868"/>
                  </a:lnTo>
                  <a:lnTo>
                    <a:pt x="1424" y="7868"/>
                  </a:lnTo>
                  <a:lnTo>
                    <a:pt x="1570" y="8035"/>
                  </a:lnTo>
                  <a:lnTo>
                    <a:pt x="1570" y="8119"/>
                  </a:lnTo>
                  <a:lnTo>
                    <a:pt x="1675" y="8140"/>
                  </a:lnTo>
                  <a:lnTo>
                    <a:pt x="1696" y="8244"/>
                  </a:lnTo>
                  <a:lnTo>
                    <a:pt x="1779" y="8244"/>
                  </a:lnTo>
                  <a:lnTo>
                    <a:pt x="1779" y="8286"/>
                  </a:lnTo>
                  <a:lnTo>
                    <a:pt x="1716" y="8370"/>
                  </a:lnTo>
                  <a:lnTo>
                    <a:pt x="1716" y="8391"/>
                  </a:lnTo>
                  <a:lnTo>
                    <a:pt x="1968" y="8579"/>
                  </a:lnTo>
                  <a:lnTo>
                    <a:pt x="2009" y="8663"/>
                  </a:lnTo>
                  <a:lnTo>
                    <a:pt x="2051" y="8537"/>
                  </a:lnTo>
                  <a:lnTo>
                    <a:pt x="2135" y="8453"/>
                  </a:lnTo>
                  <a:lnTo>
                    <a:pt x="2240" y="8537"/>
                  </a:lnTo>
                  <a:lnTo>
                    <a:pt x="2407" y="8579"/>
                  </a:lnTo>
                  <a:lnTo>
                    <a:pt x="2428" y="8642"/>
                  </a:lnTo>
                  <a:lnTo>
                    <a:pt x="2553" y="8642"/>
                  </a:lnTo>
                  <a:lnTo>
                    <a:pt x="2616" y="8704"/>
                  </a:lnTo>
                  <a:lnTo>
                    <a:pt x="2616" y="8893"/>
                  </a:lnTo>
                  <a:lnTo>
                    <a:pt x="2532" y="8976"/>
                  </a:lnTo>
                  <a:lnTo>
                    <a:pt x="2532" y="9060"/>
                  </a:lnTo>
                  <a:lnTo>
                    <a:pt x="2679" y="9081"/>
                  </a:lnTo>
                  <a:lnTo>
                    <a:pt x="2825" y="8976"/>
                  </a:lnTo>
                  <a:lnTo>
                    <a:pt x="2930" y="8976"/>
                  </a:lnTo>
                  <a:lnTo>
                    <a:pt x="2993" y="9018"/>
                  </a:lnTo>
                  <a:lnTo>
                    <a:pt x="3076" y="8976"/>
                  </a:lnTo>
                  <a:lnTo>
                    <a:pt x="3076" y="8872"/>
                  </a:lnTo>
                  <a:lnTo>
                    <a:pt x="3097" y="8851"/>
                  </a:lnTo>
                  <a:lnTo>
                    <a:pt x="3076" y="8788"/>
                  </a:lnTo>
                  <a:lnTo>
                    <a:pt x="2972" y="8704"/>
                  </a:lnTo>
                  <a:lnTo>
                    <a:pt x="2930" y="8642"/>
                  </a:lnTo>
                  <a:lnTo>
                    <a:pt x="2846" y="8474"/>
                  </a:lnTo>
                  <a:lnTo>
                    <a:pt x="2742" y="8432"/>
                  </a:lnTo>
                  <a:lnTo>
                    <a:pt x="2637" y="8432"/>
                  </a:lnTo>
                  <a:lnTo>
                    <a:pt x="2574" y="8453"/>
                  </a:lnTo>
                  <a:lnTo>
                    <a:pt x="2491" y="8391"/>
                  </a:lnTo>
                  <a:lnTo>
                    <a:pt x="2344" y="8244"/>
                  </a:lnTo>
                  <a:lnTo>
                    <a:pt x="2260" y="8160"/>
                  </a:lnTo>
                  <a:lnTo>
                    <a:pt x="2260" y="8056"/>
                  </a:lnTo>
                  <a:lnTo>
                    <a:pt x="2219" y="8035"/>
                  </a:lnTo>
                  <a:lnTo>
                    <a:pt x="2198" y="8140"/>
                  </a:lnTo>
                  <a:lnTo>
                    <a:pt x="2030" y="8056"/>
                  </a:lnTo>
                  <a:lnTo>
                    <a:pt x="2051" y="7972"/>
                  </a:lnTo>
                  <a:lnTo>
                    <a:pt x="2135" y="7930"/>
                  </a:lnTo>
                  <a:lnTo>
                    <a:pt x="2156" y="7951"/>
                  </a:lnTo>
                  <a:lnTo>
                    <a:pt x="2198" y="7930"/>
                  </a:lnTo>
                  <a:lnTo>
                    <a:pt x="2219" y="7868"/>
                  </a:lnTo>
                  <a:lnTo>
                    <a:pt x="2156" y="7637"/>
                  </a:lnTo>
                  <a:lnTo>
                    <a:pt x="2114" y="7616"/>
                  </a:lnTo>
                  <a:lnTo>
                    <a:pt x="2114" y="7533"/>
                  </a:lnTo>
                  <a:lnTo>
                    <a:pt x="2030" y="7428"/>
                  </a:lnTo>
                  <a:lnTo>
                    <a:pt x="2009" y="7344"/>
                  </a:lnTo>
                  <a:lnTo>
                    <a:pt x="2009" y="7386"/>
                  </a:lnTo>
                  <a:lnTo>
                    <a:pt x="2009" y="7449"/>
                  </a:lnTo>
                  <a:lnTo>
                    <a:pt x="1947" y="7449"/>
                  </a:lnTo>
                  <a:lnTo>
                    <a:pt x="1884" y="7324"/>
                  </a:lnTo>
                  <a:lnTo>
                    <a:pt x="1821" y="7303"/>
                  </a:lnTo>
                  <a:lnTo>
                    <a:pt x="1842" y="7177"/>
                  </a:lnTo>
                  <a:lnTo>
                    <a:pt x="1800" y="7114"/>
                  </a:lnTo>
                  <a:lnTo>
                    <a:pt x="1779" y="6989"/>
                  </a:lnTo>
                  <a:lnTo>
                    <a:pt x="1716" y="6926"/>
                  </a:lnTo>
                  <a:lnTo>
                    <a:pt x="1633" y="6926"/>
                  </a:lnTo>
                  <a:lnTo>
                    <a:pt x="1612" y="6905"/>
                  </a:lnTo>
                  <a:lnTo>
                    <a:pt x="1570" y="6968"/>
                  </a:lnTo>
                  <a:lnTo>
                    <a:pt x="1528" y="7010"/>
                  </a:lnTo>
                  <a:lnTo>
                    <a:pt x="1486" y="7031"/>
                  </a:lnTo>
                  <a:lnTo>
                    <a:pt x="1424" y="6989"/>
                  </a:lnTo>
                  <a:lnTo>
                    <a:pt x="1486" y="6884"/>
                  </a:lnTo>
                  <a:lnTo>
                    <a:pt x="1382" y="6717"/>
                  </a:lnTo>
                  <a:lnTo>
                    <a:pt x="1382" y="6654"/>
                  </a:lnTo>
                  <a:lnTo>
                    <a:pt x="1361" y="6507"/>
                  </a:lnTo>
                  <a:lnTo>
                    <a:pt x="1361" y="6466"/>
                  </a:lnTo>
                  <a:lnTo>
                    <a:pt x="1403" y="6382"/>
                  </a:lnTo>
                  <a:lnTo>
                    <a:pt x="1382" y="6361"/>
                  </a:lnTo>
                  <a:lnTo>
                    <a:pt x="1319" y="6361"/>
                  </a:lnTo>
                  <a:lnTo>
                    <a:pt x="1382" y="6256"/>
                  </a:lnTo>
                  <a:lnTo>
                    <a:pt x="1382" y="6131"/>
                  </a:lnTo>
                  <a:lnTo>
                    <a:pt x="1507" y="5943"/>
                  </a:lnTo>
                  <a:lnTo>
                    <a:pt x="1528" y="5503"/>
                  </a:lnTo>
                  <a:lnTo>
                    <a:pt x="1612" y="5399"/>
                  </a:lnTo>
                  <a:lnTo>
                    <a:pt x="1633" y="5252"/>
                  </a:lnTo>
                  <a:lnTo>
                    <a:pt x="1716" y="5147"/>
                  </a:lnTo>
                  <a:lnTo>
                    <a:pt x="1737" y="5001"/>
                  </a:lnTo>
                  <a:lnTo>
                    <a:pt x="1696" y="4980"/>
                  </a:lnTo>
                  <a:lnTo>
                    <a:pt x="1716" y="4896"/>
                  </a:lnTo>
                  <a:lnTo>
                    <a:pt x="1716" y="4771"/>
                  </a:lnTo>
                  <a:lnTo>
                    <a:pt x="1779" y="4666"/>
                  </a:lnTo>
                  <a:lnTo>
                    <a:pt x="1779" y="4562"/>
                  </a:lnTo>
                  <a:lnTo>
                    <a:pt x="1675" y="4520"/>
                  </a:lnTo>
                  <a:lnTo>
                    <a:pt x="1696" y="4457"/>
                  </a:lnTo>
                  <a:lnTo>
                    <a:pt x="1696" y="4415"/>
                  </a:lnTo>
                  <a:lnTo>
                    <a:pt x="1800" y="4415"/>
                  </a:lnTo>
                  <a:lnTo>
                    <a:pt x="1821" y="4394"/>
                  </a:lnTo>
                  <a:lnTo>
                    <a:pt x="1884" y="4415"/>
                  </a:lnTo>
                  <a:lnTo>
                    <a:pt x="1926" y="4415"/>
                  </a:lnTo>
                  <a:lnTo>
                    <a:pt x="2030" y="4373"/>
                  </a:lnTo>
                  <a:lnTo>
                    <a:pt x="2051" y="4394"/>
                  </a:lnTo>
                  <a:lnTo>
                    <a:pt x="2135" y="4394"/>
                  </a:lnTo>
                  <a:lnTo>
                    <a:pt x="2219" y="4415"/>
                  </a:lnTo>
                  <a:lnTo>
                    <a:pt x="2260" y="4499"/>
                  </a:lnTo>
                  <a:lnTo>
                    <a:pt x="2219" y="4520"/>
                  </a:lnTo>
                  <a:lnTo>
                    <a:pt x="2219" y="4687"/>
                  </a:lnTo>
                  <a:lnTo>
                    <a:pt x="2260" y="4792"/>
                  </a:lnTo>
                  <a:lnTo>
                    <a:pt x="2240" y="4813"/>
                  </a:lnTo>
                  <a:lnTo>
                    <a:pt x="2198" y="4917"/>
                  </a:lnTo>
                  <a:lnTo>
                    <a:pt x="2302" y="4896"/>
                  </a:lnTo>
                  <a:lnTo>
                    <a:pt x="2365" y="4917"/>
                  </a:lnTo>
                  <a:lnTo>
                    <a:pt x="2470" y="4896"/>
                  </a:lnTo>
                  <a:lnTo>
                    <a:pt x="2616" y="4917"/>
                  </a:lnTo>
                  <a:lnTo>
                    <a:pt x="2658" y="4980"/>
                  </a:lnTo>
                  <a:lnTo>
                    <a:pt x="2658" y="4938"/>
                  </a:lnTo>
                  <a:lnTo>
                    <a:pt x="2658" y="4917"/>
                  </a:lnTo>
                  <a:lnTo>
                    <a:pt x="2721" y="4875"/>
                  </a:lnTo>
                  <a:lnTo>
                    <a:pt x="2784" y="4896"/>
                  </a:lnTo>
                  <a:lnTo>
                    <a:pt x="2951" y="5043"/>
                  </a:lnTo>
                  <a:lnTo>
                    <a:pt x="3014" y="5085"/>
                  </a:lnTo>
                  <a:lnTo>
                    <a:pt x="3014" y="5127"/>
                  </a:lnTo>
                  <a:lnTo>
                    <a:pt x="3076" y="5127"/>
                  </a:lnTo>
                  <a:lnTo>
                    <a:pt x="3181" y="5231"/>
                  </a:lnTo>
                  <a:lnTo>
                    <a:pt x="3202" y="5252"/>
                  </a:lnTo>
                  <a:lnTo>
                    <a:pt x="3244" y="5252"/>
                  </a:lnTo>
                  <a:lnTo>
                    <a:pt x="3244" y="5189"/>
                  </a:lnTo>
                  <a:lnTo>
                    <a:pt x="3286" y="5189"/>
                  </a:lnTo>
                  <a:lnTo>
                    <a:pt x="3286" y="5106"/>
                  </a:lnTo>
                  <a:lnTo>
                    <a:pt x="3307" y="4875"/>
                  </a:lnTo>
                  <a:lnTo>
                    <a:pt x="3265" y="4771"/>
                  </a:lnTo>
                  <a:lnTo>
                    <a:pt x="3160" y="4708"/>
                  </a:lnTo>
                  <a:lnTo>
                    <a:pt x="3097" y="4478"/>
                  </a:lnTo>
                  <a:lnTo>
                    <a:pt x="3139" y="4269"/>
                  </a:lnTo>
                  <a:lnTo>
                    <a:pt x="3202" y="4143"/>
                  </a:lnTo>
                  <a:lnTo>
                    <a:pt x="3265" y="3955"/>
                  </a:lnTo>
                  <a:lnTo>
                    <a:pt x="3369" y="3787"/>
                  </a:lnTo>
                  <a:lnTo>
                    <a:pt x="3495" y="3787"/>
                  </a:lnTo>
                  <a:lnTo>
                    <a:pt x="3767" y="3725"/>
                  </a:lnTo>
                  <a:lnTo>
                    <a:pt x="3913" y="3725"/>
                  </a:lnTo>
                  <a:lnTo>
                    <a:pt x="3976" y="3766"/>
                  </a:lnTo>
                  <a:lnTo>
                    <a:pt x="4123" y="3683"/>
                  </a:lnTo>
                  <a:lnTo>
                    <a:pt x="4248" y="3683"/>
                  </a:lnTo>
                  <a:lnTo>
                    <a:pt x="4395" y="3746"/>
                  </a:lnTo>
                  <a:lnTo>
                    <a:pt x="4541" y="3725"/>
                  </a:lnTo>
                  <a:lnTo>
                    <a:pt x="4646" y="3787"/>
                  </a:lnTo>
                  <a:lnTo>
                    <a:pt x="4771" y="3725"/>
                  </a:lnTo>
                  <a:lnTo>
                    <a:pt x="4855" y="3641"/>
                  </a:lnTo>
                  <a:lnTo>
                    <a:pt x="4855" y="3432"/>
                  </a:lnTo>
                  <a:lnTo>
                    <a:pt x="4834" y="3348"/>
                  </a:lnTo>
                  <a:lnTo>
                    <a:pt x="4855" y="3243"/>
                  </a:lnTo>
                  <a:lnTo>
                    <a:pt x="4855" y="3160"/>
                  </a:lnTo>
                  <a:lnTo>
                    <a:pt x="4876" y="3034"/>
                  </a:lnTo>
                  <a:lnTo>
                    <a:pt x="4876" y="2950"/>
                  </a:lnTo>
                  <a:lnTo>
                    <a:pt x="4729" y="2846"/>
                  </a:lnTo>
                  <a:lnTo>
                    <a:pt x="4750" y="2804"/>
                  </a:lnTo>
                  <a:lnTo>
                    <a:pt x="4667" y="2741"/>
                  </a:lnTo>
                  <a:lnTo>
                    <a:pt x="4541" y="2741"/>
                  </a:lnTo>
                  <a:lnTo>
                    <a:pt x="4437" y="2616"/>
                  </a:lnTo>
                  <a:lnTo>
                    <a:pt x="4332" y="2532"/>
                  </a:lnTo>
                  <a:lnTo>
                    <a:pt x="4353" y="2469"/>
                  </a:lnTo>
                  <a:lnTo>
                    <a:pt x="4353" y="2281"/>
                  </a:lnTo>
                  <a:lnTo>
                    <a:pt x="4311" y="2155"/>
                  </a:lnTo>
                  <a:lnTo>
                    <a:pt x="4353" y="2072"/>
                  </a:lnTo>
                  <a:lnTo>
                    <a:pt x="4353" y="1988"/>
                  </a:lnTo>
                  <a:lnTo>
                    <a:pt x="4311" y="1862"/>
                  </a:lnTo>
                  <a:lnTo>
                    <a:pt x="4185" y="1758"/>
                  </a:lnTo>
                  <a:lnTo>
                    <a:pt x="3913" y="1570"/>
                  </a:lnTo>
                  <a:lnTo>
                    <a:pt x="3830" y="1423"/>
                  </a:lnTo>
                  <a:lnTo>
                    <a:pt x="3579" y="1339"/>
                  </a:lnTo>
                  <a:lnTo>
                    <a:pt x="3390" y="1381"/>
                  </a:lnTo>
                  <a:lnTo>
                    <a:pt x="3265" y="1653"/>
                  </a:lnTo>
                  <a:lnTo>
                    <a:pt x="3014" y="1674"/>
                  </a:lnTo>
                  <a:lnTo>
                    <a:pt x="2930" y="1549"/>
                  </a:lnTo>
                  <a:lnTo>
                    <a:pt x="2825" y="1549"/>
                  </a:lnTo>
                  <a:lnTo>
                    <a:pt x="2616" y="1444"/>
                  </a:lnTo>
                  <a:lnTo>
                    <a:pt x="2428" y="1528"/>
                  </a:lnTo>
                  <a:lnTo>
                    <a:pt x="2428" y="1653"/>
                  </a:lnTo>
                  <a:lnTo>
                    <a:pt x="2260" y="1674"/>
                  </a:lnTo>
                  <a:lnTo>
                    <a:pt x="2114" y="1758"/>
                  </a:lnTo>
                  <a:lnTo>
                    <a:pt x="2114" y="1465"/>
                  </a:lnTo>
                  <a:lnTo>
                    <a:pt x="2114" y="1256"/>
                  </a:lnTo>
                  <a:lnTo>
                    <a:pt x="2051" y="1130"/>
                  </a:lnTo>
                  <a:lnTo>
                    <a:pt x="2114" y="1025"/>
                  </a:lnTo>
                  <a:lnTo>
                    <a:pt x="2135" y="942"/>
                  </a:lnTo>
                  <a:lnTo>
                    <a:pt x="2051" y="837"/>
                  </a:lnTo>
                  <a:lnTo>
                    <a:pt x="2135" y="712"/>
                  </a:lnTo>
                  <a:lnTo>
                    <a:pt x="2114" y="607"/>
                  </a:lnTo>
                  <a:lnTo>
                    <a:pt x="1905" y="607"/>
                  </a:lnTo>
                  <a:lnTo>
                    <a:pt x="1821" y="691"/>
                  </a:lnTo>
                  <a:lnTo>
                    <a:pt x="1716" y="628"/>
                  </a:lnTo>
                  <a:lnTo>
                    <a:pt x="1633" y="502"/>
                  </a:lnTo>
                  <a:lnTo>
                    <a:pt x="1716" y="419"/>
                  </a:lnTo>
                  <a:lnTo>
                    <a:pt x="1696" y="230"/>
                  </a:lnTo>
                  <a:lnTo>
                    <a:pt x="1591" y="105"/>
                  </a:lnTo>
                  <a:lnTo>
                    <a:pt x="1424" y="126"/>
                  </a:lnTo>
                  <a:lnTo>
                    <a:pt x="138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Google Shape;12146;p43">
              <a:extLst>
                <a:ext uri="{FF2B5EF4-FFF2-40B4-BE49-F238E27FC236}">
                  <a16:creationId xmlns:a16="http://schemas.microsoft.com/office/drawing/2014/main" id="{F61BF82E-09FE-A342-AC16-A107DC34E820}"/>
                </a:ext>
              </a:extLst>
            </p:cNvPr>
            <p:cNvSpPr/>
            <p:nvPr/>
          </p:nvSpPr>
          <p:spPr>
            <a:xfrm>
              <a:off x="4375443" y="2948079"/>
              <a:ext cx="61050" cy="131125"/>
            </a:xfrm>
            <a:custGeom>
              <a:avLst/>
              <a:gdLst/>
              <a:ahLst/>
              <a:cxnLst/>
              <a:rect l="l" t="t" r="r" b="b"/>
              <a:pathLst>
                <a:path w="5127" h="11530" extrusionOk="0">
                  <a:moveTo>
                    <a:pt x="2407" y="0"/>
                  </a:moveTo>
                  <a:lnTo>
                    <a:pt x="2302" y="42"/>
                  </a:lnTo>
                  <a:lnTo>
                    <a:pt x="2344" y="63"/>
                  </a:lnTo>
                  <a:lnTo>
                    <a:pt x="2365" y="147"/>
                  </a:lnTo>
                  <a:lnTo>
                    <a:pt x="2260" y="251"/>
                  </a:lnTo>
                  <a:lnTo>
                    <a:pt x="2260" y="419"/>
                  </a:lnTo>
                  <a:lnTo>
                    <a:pt x="2281" y="523"/>
                  </a:lnTo>
                  <a:lnTo>
                    <a:pt x="2155" y="461"/>
                  </a:lnTo>
                  <a:lnTo>
                    <a:pt x="2072" y="377"/>
                  </a:lnTo>
                  <a:lnTo>
                    <a:pt x="1925" y="482"/>
                  </a:lnTo>
                  <a:lnTo>
                    <a:pt x="1716" y="544"/>
                  </a:lnTo>
                  <a:lnTo>
                    <a:pt x="1653" y="691"/>
                  </a:lnTo>
                  <a:lnTo>
                    <a:pt x="1528" y="858"/>
                  </a:lnTo>
                  <a:lnTo>
                    <a:pt x="1402" y="900"/>
                  </a:lnTo>
                  <a:lnTo>
                    <a:pt x="1214" y="1193"/>
                  </a:lnTo>
                  <a:lnTo>
                    <a:pt x="1193" y="1360"/>
                  </a:lnTo>
                  <a:lnTo>
                    <a:pt x="1235" y="1402"/>
                  </a:lnTo>
                  <a:lnTo>
                    <a:pt x="1151" y="1632"/>
                  </a:lnTo>
                  <a:lnTo>
                    <a:pt x="1005" y="1904"/>
                  </a:lnTo>
                  <a:lnTo>
                    <a:pt x="1005" y="2009"/>
                  </a:lnTo>
                  <a:lnTo>
                    <a:pt x="1130" y="2051"/>
                  </a:lnTo>
                  <a:lnTo>
                    <a:pt x="1005" y="2365"/>
                  </a:lnTo>
                  <a:lnTo>
                    <a:pt x="942" y="2616"/>
                  </a:lnTo>
                  <a:lnTo>
                    <a:pt x="879" y="2825"/>
                  </a:lnTo>
                  <a:lnTo>
                    <a:pt x="712" y="2825"/>
                  </a:lnTo>
                  <a:lnTo>
                    <a:pt x="607" y="2783"/>
                  </a:lnTo>
                  <a:lnTo>
                    <a:pt x="502" y="2783"/>
                  </a:lnTo>
                  <a:lnTo>
                    <a:pt x="565" y="3076"/>
                  </a:lnTo>
                  <a:lnTo>
                    <a:pt x="565" y="3202"/>
                  </a:lnTo>
                  <a:lnTo>
                    <a:pt x="565" y="3411"/>
                  </a:lnTo>
                  <a:lnTo>
                    <a:pt x="419" y="3411"/>
                  </a:lnTo>
                  <a:lnTo>
                    <a:pt x="440" y="3578"/>
                  </a:lnTo>
                  <a:lnTo>
                    <a:pt x="419" y="3704"/>
                  </a:lnTo>
                  <a:lnTo>
                    <a:pt x="440" y="3808"/>
                  </a:lnTo>
                  <a:lnTo>
                    <a:pt x="398" y="4018"/>
                  </a:lnTo>
                  <a:lnTo>
                    <a:pt x="314" y="4039"/>
                  </a:lnTo>
                  <a:lnTo>
                    <a:pt x="272" y="4018"/>
                  </a:lnTo>
                  <a:lnTo>
                    <a:pt x="251" y="4122"/>
                  </a:lnTo>
                  <a:lnTo>
                    <a:pt x="251" y="4206"/>
                  </a:lnTo>
                  <a:lnTo>
                    <a:pt x="251" y="4332"/>
                  </a:lnTo>
                  <a:lnTo>
                    <a:pt x="189" y="4457"/>
                  </a:lnTo>
                  <a:lnTo>
                    <a:pt x="147" y="4436"/>
                  </a:lnTo>
                  <a:lnTo>
                    <a:pt x="42" y="4562"/>
                  </a:lnTo>
                  <a:lnTo>
                    <a:pt x="0" y="4666"/>
                  </a:lnTo>
                  <a:lnTo>
                    <a:pt x="0" y="4729"/>
                  </a:lnTo>
                  <a:lnTo>
                    <a:pt x="84" y="4834"/>
                  </a:lnTo>
                  <a:lnTo>
                    <a:pt x="105" y="4980"/>
                  </a:lnTo>
                  <a:lnTo>
                    <a:pt x="377" y="5231"/>
                  </a:lnTo>
                  <a:lnTo>
                    <a:pt x="377" y="5231"/>
                  </a:lnTo>
                  <a:lnTo>
                    <a:pt x="314" y="5127"/>
                  </a:lnTo>
                  <a:lnTo>
                    <a:pt x="314" y="5064"/>
                  </a:lnTo>
                  <a:lnTo>
                    <a:pt x="398" y="5148"/>
                  </a:lnTo>
                  <a:lnTo>
                    <a:pt x="523" y="5148"/>
                  </a:lnTo>
                  <a:lnTo>
                    <a:pt x="419" y="5231"/>
                  </a:lnTo>
                  <a:lnTo>
                    <a:pt x="440" y="5273"/>
                  </a:lnTo>
                  <a:lnTo>
                    <a:pt x="565" y="5273"/>
                  </a:lnTo>
                  <a:lnTo>
                    <a:pt x="565" y="5189"/>
                  </a:lnTo>
                  <a:lnTo>
                    <a:pt x="586" y="5273"/>
                  </a:lnTo>
                  <a:lnTo>
                    <a:pt x="691" y="5273"/>
                  </a:lnTo>
                  <a:lnTo>
                    <a:pt x="733" y="5357"/>
                  </a:lnTo>
                  <a:lnTo>
                    <a:pt x="921" y="5399"/>
                  </a:lnTo>
                  <a:lnTo>
                    <a:pt x="1026" y="5566"/>
                  </a:lnTo>
                  <a:lnTo>
                    <a:pt x="1026" y="5671"/>
                  </a:lnTo>
                  <a:lnTo>
                    <a:pt x="942" y="5692"/>
                  </a:lnTo>
                  <a:lnTo>
                    <a:pt x="900" y="5608"/>
                  </a:lnTo>
                  <a:lnTo>
                    <a:pt x="816" y="5671"/>
                  </a:lnTo>
                  <a:lnTo>
                    <a:pt x="900" y="5754"/>
                  </a:lnTo>
                  <a:lnTo>
                    <a:pt x="921" y="5775"/>
                  </a:lnTo>
                  <a:lnTo>
                    <a:pt x="900" y="5796"/>
                  </a:lnTo>
                  <a:lnTo>
                    <a:pt x="795" y="5775"/>
                  </a:lnTo>
                  <a:lnTo>
                    <a:pt x="774" y="5671"/>
                  </a:lnTo>
                  <a:lnTo>
                    <a:pt x="670" y="5671"/>
                  </a:lnTo>
                  <a:lnTo>
                    <a:pt x="670" y="5712"/>
                  </a:lnTo>
                  <a:lnTo>
                    <a:pt x="795" y="5817"/>
                  </a:lnTo>
                  <a:lnTo>
                    <a:pt x="795" y="5880"/>
                  </a:lnTo>
                  <a:lnTo>
                    <a:pt x="900" y="6005"/>
                  </a:lnTo>
                  <a:lnTo>
                    <a:pt x="1109" y="6068"/>
                  </a:lnTo>
                  <a:lnTo>
                    <a:pt x="1088" y="5880"/>
                  </a:lnTo>
                  <a:lnTo>
                    <a:pt x="1026" y="5775"/>
                  </a:lnTo>
                  <a:lnTo>
                    <a:pt x="1151" y="5859"/>
                  </a:lnTo>
                  <a:lnTo>
                    <a:pt x="1151" y="5964"/>
                  </a:lnTo>
                  <a:lnTo>
                    <a:pt x="1214" y="6068"/>
                  </a:lnTo>
                  <a:lnTo>
                    <a:pt x="1298" y="6131"/>
                  </a:lnTo>
                  <a:lnTo>
                    <a:pt x="1319" y="6298"/>
                  </a:lnTo>
                  <a:lnTo>
                    <a:pt x="1402" y="6382"/>
                  </a:lnTo>
                  <a:lnTo>
                    <a:pt x="1360" y="6403"/>
                  </a:lnTo>
                  <a:lnTo>
                    <a:pt x="1402" y="6445"/>
                  </a:lnTo>
                  <a:lnTo>
                    <a:pt x="1465" y="6487"/>
                  </a:lnTo>
                  <a:lnTo>
                    <a:pt x="1465" y="6717"/>
                  </a:lnTo>
                  <a:lnTo>
                    <a:pt x="1570" y="6947"/>
                  </a:lnTo>
                  <a:lnTo>
                    <a:pt x="1632" y="7010"/>
                  </a:lnTo>
                  <a:lnTo>
                    <a:pt x="1486" y="7114"/>
                  </a:lnTo>
                  <a:lnTo>
                    <a:pt x="1402" y="7658"/>
                  </a:lnTo>
                  <a:lnTo>
                    <a:pt x="1444" y="7784"/>
                  </a:lnTo>
                  <a:lnTo>
                    <a:pt x="1423" y="7847"/>
                  </a:lnTo>
                  <a:lnTo>
                    <a:pt x="1444" y="7889"/>
                  </a:lnTo>
                  <a:lnTo>
                    <a:pt x="1528" y="7742"/>
                  </a:lnTo>
                  <a:lnTo>
                    <a:pt x="1653" y="7637"/>
                  </a:lnTo>
                  <a:lnTo>
                    <a:pt x="1716" y="7470"/>
                  </a:lnTo>
                  <a:lnTo>
                    <a:pt x="1716" y="7658"/>
                  </a:lnTo>
                  <a:lnTo>
                    <a:pt x="1549" y="7805"/>
                  </a:lnTo>
                  <a:lnTo>
                    <a:pt x="1549" y="7972"/>
                  </a:lnTo>
                  <a:lnTo>
                    <a:pt x="1632" y="7951"/>
                  </a:lnTo>
                  <a:lnTo>
                    <a:pt x="1632" y="7868"/>
                  </a:lnTo>
                  <a:lnTo>
                    <a:pt x="1779" y="7784"/>
                  </a:lnTo>
                  <a:lnTo>
                    <a:pt x="1863" y="7868"/>
                  </a:lnTo>
                  <a:lnTo>
                    <a:pt x="1925" y="7868"/>
                  </a:lnTo>
                  <a:lnTo>
                    <a:pt x="1925" y="7805"/>
                  </a:lnTo>
                  <a:lnTo>
                    <a:pt x="1946" y="7847"/>
                  </a:lnTo>
                  <a:lnTo>
                    <a:pt x="1988" y="7847"/>
                  </a:lnTo>
                  <a:lnTo>
                    <a:pt x="2009" y="7805"/>
                  </a:lnTo>
                  <a:lnTo>
                    <a:pt x="2135" y="7805"/>
                  </a:lnTo>
                  <a:lnTo>
                    <a:pt x="2365" y="7658"/>
                  </a:lnTo>
                  <a:lnTo>
                    <a:pt x="2386" y="7575"/>
                  </a:lnTo>
                  <a:lnTo>
                    <a:pt x="2448" y="7596"/>
                  </a:lnTo>
                  <a:lnTo>
                    <a:pt x="2511" y="7596"/>
                  </a:lnTo>
                  <a:lnTo>
                    <a:pt x="2658" y="7533"/>
                  </a:lnTo>
                  <a:lnTo>
                    <a:pt x="2574" y="7491"/>
                  </a:lnTo>
                  <a:lnTo>
                    <a:pt x="2574" y="7470"/>
                  </a:lnTo>
                  <a:lnTo>
                    <a:pt x="2511" y="7365"/>
                  </a:lnTo>
                  <a:lnTo>
                    <a:pt x="2574" y="7365"/>
                  </a:lnTo>
                  <a:lnTo>
                    <a:pt x="2616" y="7449"/>
                  </a:lnTo>
                  <a:lnTo>
                    <a:pt x="2720" y="7470"/>
                  </a:lnTo>
                  <a:lnTo>
                    <a:pt x="2888" y="7345"/>
                  </a:lnTo>
                  <a:lnTo>
                    <a:pt x="2867" y="7282"/>
                  </a:lnTo>
                  <a:lnTo>
                    <a:pt x="2909" y="7240"/>
                  </a:lnTo>
                  <a:lnTo>
                    <a:pt x="2909" y="7114"/>
                  </a:lnTo>
                  <a:lnTo>
                    <a:pt x="2867" y="7052"/>
                  </a:lnTo>
                  <a:lnTo>
                    <a:pt x="2867" y="7010"/>
                  </a:lnTo>
                  <a:lnTo>
                    <a:pt x="2888" y="6947"/>
                  </a:lnTo>
                  <a:lnTo>
                    <a:pt x="2804" y="6863"/>
                  </a:lnTo>
                  <a:lnTo>
                    <a:pt x="2909" y="6947"/>
                  </a:lnTo>
                  <a:lnTo>
                    <a:pt x="2909" y="7010"/>
                  </a:lnTo>
                  <a:lnTo>
                    <a:pt x="2992" y="7010"/>
                  </a:lnTo>
                  <a:lnTo>
                    <a:pt x="2992" y="7073"/>
                  </a:lnTo>
                  <a:lnTo>
                    <a:pt x="3118" y="7282"/>
                  </a:lnTo>
                  <a:lnTo>
                    <a:pt x="3181" y="7365"/>
                  </a:lnTo>
                  <a:lnTo>
                    <a:pt x="3202" y="7491"/>
                  </a:lnTo>
                  <a:lnTo>
                    <a:pt x="3306" y="7491"/>
                  </a:lnTo>
                  <a:lnTo>
                    <a:pt x="3390" y="7470"/>
                  </a:lnTo>
                  <a:lnTo>
                    <a:pt x="3411" y="7386"/>
                  </a:lnTo>
                  <a:lnTo>
                    <a:pt x="3411" y="7470"/>
                  </a:lnTo>
                  <a:lnTo>
                    <a:pt x="3390" y="7533"/>
                  </a:lnTo>
                  <a:lnTo>
                    <a:pt x="3432" y="7658"/>
                  </a:lnTo>
                  <a:lnTo>
                    <a:pt x="3432" y="7700"/>
                  </a:lnTo>
                  <a:lnTo>
                    <a:pt x="3411" y="7742"/>
                  </a:lnTo>
                  <a:lnTo>
                    <a:pt x="3432" y="7847"/>
                  </a:lnTo>
                  <a:lnTo>
                    <a:pt x="3495" y="7889"/>
                  </a:lnTo>
                  <a:lnTo>
                    <a:pt x="3536" y="8307"/>
                  </a:lnTo>
                  <a:lnTo>
                    <a:pt x="3578" y="8328"/>
                  </a:lnTo>
                  <a:lnTo>
                    <a:pt x="3578" y="8516"/>
                  </a:lnTo>
                  <a:lnTo>
                    <a:pt x="3725" y="8600"/>
                  </a:lnTo>
                  <a:lnTo>
                    <a:pt x="3704" y="8642"/>
                  </a:lnTo>
                  <a:lnTo>
                    <a:pt x="3704" y="8788"/>
                  </a:lnTo>
                  <a:lnTo>
                    <a:pt x="3767" y="8851"/>
                  </a:lnTo>
                  <a:lnTo>
                    <a:pt x="3767" y="9123"/>
                  </a:lnTo>
                  <a:lnTo>
                    <a:pt x="3829" y="9228"/>
                  </a:lnTo>
                  <a:lnTo>
                    <a:pt x="3829" y="9332"/>
                  </a:lnTo>
                  <a:lnTo>
                    <a:pt x="3850" y="9311"/>
                  </a:lnTo>
                  <a:lnTo>
                    <a:pt x="3871" y="9123"/>
                  </a:lnTo>
                  <a:lnTo>
                    <a:pt x="3955" y="9249"/>
                  </a:lnTo>
                  <a:lnTo>
                    <a:pt x="3976" y="9374"/>
                  </a:lnTo>
                  <a:lnTo>
                    <a:pt x="4059" y="9458"/>
                  </a:lnTo>
                  <a:lnTo>
                    <a:pt x="4080" y="9793"/>
                  </a:lnTo>
                  <a:lnTo>
                    <a:pt x="4164" y="9855"/>
                  </a:lnTo>
                  <a:lnTo>
                    <a:pt x="4185" y="9960"/>
                  </a:lnTo>
                  <a:lnTo>
                    <a:pt x="4143" y="10002"/>
                  </a:lnTo>
                  <a:lnTo>
                    <a:pt x="4164" y="10169"/>
                  </a:lnTo>
                  <a:lnTo>
                    <a:pt x="4227" y="10253"/>
                  </a:lnTo>
                  <a:lnTo>
                    <a:pt x="4290" y="10316"/>
                  </a:lnTo>
                  <a:lnTo>
                    <a:pt x="4227" y="10399"/>
                  </a:lnTo>
                  <a:lnTo>
                    <a:pt x="4269" y="10567"/>
                  </a:lnTo>
                  <a:lnTo>
                    <a:pt x="4248" y="10609"/>
                  </a:lnTo>
                  <a:lnTo>
                    <a:pt x="4227" y="10630"/>
                  </a:lnTo>
                  <a:lnTo>
                    <a:pt x="4185" y="10797"/>
                  </a:lnTo>
                  <a:lnTo>
                    <a:pt x="4227" y="10818"/>
                  </a:lnTo>
                  <a:lnTo>
                    <a:pt x="4227" y="10922"/>
                  </a:lnTo>
                  <a:lnTo>
                    <a:pt x="4143" y="11027"/>
                  </a:lnTo>
                  <a:lnTo>
                    <a:pt x="4101" y="11048"/>
                  </a:lnTo>
                  <a:lnTo>
                    <a:pt x="4059" y="11048"/>
                  </a:lnTo>
                  <a:lnTo>
                    <a:pt x="4059" y="11111"/>
                  </a:lnTo>
                  <a:lnTo>
                    <a:pt x="4101" y="11194"/>
                  </a:lnTo>
                  <a:lnTo>
                    <a:pt x="4101" y="11341"/>
                  </a:lnTo>
                  <a:lnTo>
                    <a:pt x="4164" y="11529"/>
                  </a:lnTo>
                  <a:lnTo>
                    <a:pt x="4185" y="11341"/>
                  </a:lnTo>
                  <a:lnTo>
                    <a:pt x="4248" y="11236"/>
                  </a:lnTo>
                  <a:lnTo>
                    <a:pt x="4248" y="11257"/>
                  </a:lnTo>
                  <a:lnTo>
                    <a:pt x="4269" y="11153"/>
                  </a:lnTo>
                  <a:lnTo>
                    <a:pt x="4332" y="11090"/>
                  </a:lnTo>
                  <a:lnTo>
                    <a:pt x="4332" y="10922"/>
                  </a:lnTo>
                  <a:lnTo>
                    <a:pt x="4457" y="10839"/>
                  </a:lnTo>
                  <a:lnTo>
                    <a:pt x="4583" y="10483"/>
                  </a:lnTo>
                  <a:lnTo>
                    <a:pt x="4666" y="10420"/>
                  </a:lnTo>
                  <a:lnTo>
                    <a:pt x="4666" y="10253"/>
                  </a:lnTo>
                  <a:lnTo>
                    <a:pt x="4583" y="10106"/>
                  </a:lnTo>
                  <a:lnTo>
                    <a:pt x="4604" y="9960"/>
                  </a:lnTo>
                  <a:lnTo>
                    <a:pt x="4562" y="9855"/>
                  </a:lnTo>
                  <a:lnTo>
                    <a:pt x="4541" y="9667"/>
                  </a:lnTo>
                  <a:lnTo>
                    <a:pt x="4457" y="9583"/>
                  </a:lnTo>
                  <a:lnTo>
                    <a:pt x="4478" y="9479"/>
                  </a:lnTo>
                  <a:lnTo>
                    <a:pt x="4457" y="9353"/>
                  </a:lnTo>
                  <a:lnTo>
                    <a:pt x="4478" y="9270"/>
                  </a:lnTo>
                  <a:lnTo>
                    <a:pt x="4436" y="9018"/>
                  </a:lnTo>
                  <a:lnTo>
                    <a:pt x="4269" y="8851"/>
                  </a:lnTo>
                  <a:lnTo>
                    <a:pt x="4080" y="8725"/>
                  </a:lnTo>
                  <a:lnTo>
                    <a:pt x="3934" y="8537"/>
                  </a:lnTo>
                  <a:lnTo>
                    <a:pt x="3934" y="8433"/>
                  </a:lnTo>
                  <a:lnTo>
                    <a:pt x="3850" y="8223"/>
                  </a:lnTo>
                  <a:lnTo>
                    <a:pt x="3955" y="8181"/>
                  </a:lnTo>
                  <a:lnTo>
                    <a:pt x="3976" y="8077"/>
                  </a:lnTo>
                  <a:lnTo>
                    <a:pt x="3934" y="7784"/>
                  </a:lnTo>
                  <a:lnTo>
                    <a:pt x="3955" y="7700"/>
                  </a:lnTo>
                  <a:lnTo>
                    <a:pt x="4059" y="7658"/>
                  </a:lnTo>
                  <a:lnTo>
                    <a:pt x="4059" y="7533"/>
                  </a:lnTo>
                  <a:lnTo>
                    <a:pt x="3934" y="7470"/>
                  </a:lnTo>
                  <a:lnTo>
                    <a:pt x="3934" y="7345"/>
                  </a:lnTo>
                  <a:lnTo>
                    <a:pt x="3850" y="7219"/>
                  </a:lnTo>
                  <a:lnTo>
                    <a:pt x="3767" y="7156"/>
                  </a:lnTo>
                  <a:lnTo>
                    <a:pt x="3620" y="6863"/>
                  </a:lnTo>
                  <a:lnTo>
                    <a:pt x="3495" y="6759"/>
                  </a:lnTo>
                  <a:lnTo>
                    <a:pt x="3432" y="6696"/>
                  </a:lnTo>
                  <a:lnTo>
                    <a:pt x="3348" y="6612"/>
                  </a:lnTo>
                  <a:lnTo>
                    <a:pt x="3243" y="6424"/>
                  </a:lnTo>
                  <a:lnTo>
                    <a:pt x="3181" y="6403"/>
                  </a:lnTo>
                  <a:lnTo>
                    <a:pt x="3181" y="6319"/>
                  </a:lnTo>
                  <a:lnTo>
                    <a:pt x="3306" y="6236"/>
                  </a:lnTo>
                  <a:lnTo>
                    <a:pt x="3411" y="6173"/>
                  </a:lnTo>
                  <a:lnTo>
                    <a:pt x="3390" y="6089"/>
                  </a:lnTo>
                  <a:lnTo>
                    <a:pt x="3390" y="5901"/>
                  </a:lnTo>
                  <a:lnTo>
                    <a:pt x="3453" y="5817"/>
                  </a:lnTo>
                  <a:lnTo>
                    <a:pt x="3432" y="5650"/>
                  </a:lnTo>
                  <a:lnTo>
                    <a:pt x="3515" y="5503"/>
                  </a:lnTo>
                  <a:lnTo>
                    <a:pt x="3746" y="5587"/>
                  </a:lnTo>
                  <a:lnTo>
                    <a:pt x="3871" y="5482"/>
                  </a:lnTo>
                  <a:lnTo>
                    <a:pt x="4018" y="5482"/>
                  </a:lnTo>
                  <a:lnTo>
                    <a:pt x="4039" y="5440"/>
                  </a:lnTo>
                  <a:lnTo>
                    <a:pt x="4039" y="5273"/>
                  </a:lnTo>
                  <a:lnTo>
                    <a:pt x="4101" y="5231"/>
                  </a:lnTo>
                  <a:lnTo>
                    <a:pt x="4269" y="5252"/>
                  </a:lnTo>
                  <a:lnTo>
                    <a:pt x="4290" y="5168"/>
                  </a:lnTo>
                  <a:lnTo>
                    <a:pt x="4248" y="5085"/>
                  </a:lnTo>
                  <a:lnTo>
                    <a:pt x="4248" y="5022"/>
                  </a:lnTo>
                  <a:lnTo>
                    <a:pt x="4373" y="4980"/>
                  </a:lnTo>
                  <a:lnTo>
                    <a:pt x="4541" y="4959"/>
                  </a:lnTo>
                  <a:lnTo>
                    <a:pt x="4562" y="4959"/>
                  </a:lnTo>
                  <a:lnTo>
                    <a:pt x="4604" y="4813"/>
                  </a:lnTo>
                  <a:lnTo>
                    <a:pt x="4666" y="4813"/>
                  </a:lnTo>
                  <a:lnTo>
                    <a:pt x="4792" y="4729"/>
                  </a:lnTo>
                  <a:lnTo>
                    <a:pt x="4750" y="4645"/>
                  </a:lnTo>
                  <a:lnTo>
                    <a:pt x="4792" y="4541"/>
                  </a:lnTo>
                  <a:lnTo>
                    <a:pt x="4813" y="4436"/>
                  </a:lnTo>
                  <a:lnTo>
                    <a:pt x="4980" y="4415"/>
                  </a:lnTo>
                  <a:lnTo>
                    <a:pt x="5085" y="4311"/>
                  </a:lnTo>
                  <a:lnTo>
                    <a:pt x="5127" y="4290"/>
                  </a:lnTo>
                  <a:lnTo>
                    <a:pt x="5127" y="4143"/>
                  </a:lnTo>
                  <a:lnTo>
                    <a:pt x="5022" y="4122"/>
                  </a:lnTo>
                  <a:lnTo>
                    <a:pt x="4771" y="4227"/>
                  </a:lnTo>
                  <a:lnTo>
                    <a:pt x="4624" y="4227"/>
                  </a:lnTo>
                  <a:lnTo>
                    <a:pt x="4562" y="4311"/>
                  </a:lnTo>
                  <a:lnTo>
                    <a:pt x="4436" y="4248"/>
                  </a:lnTo>
                  <a:lnTo>
                    <a:pt x="4394" y="4122"/>
                  </a:lnTo>
                  <a:lnTo>
                    <a:pt x="4436" y="3997"/>
                  </a:lnTo>
                  <a:lnTo>
                    <a:pt x="4352" y="3892"/>
                  </a:lnTo>
                  <a:lnTo>
                    <a:pt x="4269" y="3976"/>
                  </a:lnTo>
                  <a:lnTo>
                    <a:pt x="4227" y="3913"/>
                  </a:lnTo>
                  <a:lnTo>
                    <a:pt x="4039" y="3913"/>
                  </a:lnTo>
                  <a:lnTo>
                    <a:pt x="3955" y="3934"/>
                  </a:lnTo>
                  <a:lnTo>
                    <a:pt x="3934" y="3871"/>
                  </a:lnTo>
                  <a:lnTo>
                    <a:pt x="4039" y="3767"/>
                  </a:lnTo>
                  <a:lnTo>
                    <a:pt x="4185" y="3578"/>
                  </a:lnTo>
                  <a:lnTo>
                    <a:pt x="4164" y="3495"/>
                  </a:lnTo>
                  <a:lnTo>
                    <a:pt x="4227" y="3390"/>
                  </a:lnTo>
                  <a:lnTo>
                    <a:pt x="4227" y="3306"/>
                  </a:lnTo>
                  <a:lnTo>
                    <a:pt x="4101" y="3244"/>
                  </a:lnTo>
                  <a:lnTo>
                    <a:pt x="3955" y="3244"/>
                  </a:lnTo>
                  <a:lnTo>
                    <a:pt x="3934" y="3285"/>
                  </a:lnTo>
                  <a:lnTo>
                    <a:pt x="3871" y="3202"/>
                  </a:lnTo>
                  <a:lnTo>
                    <a:pt x="3913" y="3160"/>
                  </a:lnTo>
                  <a:lnTo>
                    <a:pt x="3767" y="3139"/>
                  </a:lnTo>
                  <a:lnTo>
                    <a:pt x="3704" y="3055"/>
                  </a:lnTo>
                  <a:lnTo>
                    <a:pt x="3725" y="2951"/>
                  </a:lnTo>
                  <a:lnTo>
                    <a:pt x="3704" y="2846"/>
                  </a:lnTo>
                  <a:lnTo>
                    <a:pt x="3557" y="2867"/>
                  </a:lnTo>
                  <a:lnTo>
                    <a:pt x="3495" y="2825"/>
                  </a:lnTo>
                  <a:lnTo>
                    <a:pt x="3515" y="2741"/>
                  </a:lnTo>
                  <a:lnTo>
                    <a:pt x="3495" y="2658"/>
                  </a:lnTo>
                  <a:lnTo>
                    <a:pt x="3223" y="2720"/>
                  </a:lnTo>
                  <a:lnTo>
                    <a:pt x="3097" y="2825"/>
                  </a:lnTo>
                  <a:lnTo>
                    <a:pt x="3034" y="2679"/>
                  </a:lnTo>
                  <a:lnTo>
                    <a:pt x="3055" y="2532"/>
                  </a:lnTo>
                  <a:lnTo>
                    <a:pt x="2992" y="2469"/>
                  </a:lnTo>
                  <a:lnTo>
                    <a:pt x="2930" y="2407"/>
                  </a:lnTo>
                  <a:lnTo>
                    <a:pt x="2825" y="2344"/>
                  </a:lnTo>
                  <a:lnTo>
                    <a:pt x="2825" y="2239"/>
                  </a:lnTo>
                  <a:lnTo>
                    <a:pt x="2888" y="2155"/>
                  </a:lnTo>
                  <a:lnTo>
                    <a:pt x="2825" y="2093"/>
                  </a:lnTo>
                  <a:lnTo>
                    <a:pt x="2888" y="2009"/>
                  </a:lnTo>
                  <a:lnTo>
                    <a:pt x="2971" y="1904"/>
                  </a:lnTo>
                  <a:lnTo>
                    <a:pt x="3034" y="1925"/>
                  </a:lnTo>
                  <a:lnTo>
                    <a:pt x="3097" y="1883"/>
                  </a:lnTo>
                  <a:lnTo>
                    <a:pt x="3034" y="1779"/>
                  </a:lnTo>
                  <a:lnTo>
                    <a:pt x="3055" y="1695"/>
                  </a:lnTo>
                  <a:lnTo>
                    <a:pt x="3118" y="1674"/>
                  </a:lnTo>
                  <a:lnTo>
                    <a:pt x="3139" y="1570"/>
                  </a:lnTo>
                  <a:lnTo>
                    <a:pt x="3243" y="1507"/>
                  </a:lnTo>
                  <a:lnTo>
                    <a:pt x="3285" y="1423"/>
                  </a:lnTo>
                  <a:lnTo>
                    <a:pt x="3285" y="1319"/>
                  </a:lnTo>
                  <a:lnTo>
                    <a:pt x="3306" y="1067"/>
                  </a:lnTo>
                  <a:lnTo>
                    <a:pt x="3285" y="900"/>
                  </a:lnTo>
                  <a:lnTo>
                    <a:pt x="3202" y="691"/>
                  </a:lnTo>
                  <a:lnTo>
                    <a:pt x="3202" y="544"/>
                  </a:lnTo>
                  <a:lnTo>
                    <a:pt x="3097" y="419"/>
                  </a:lnTo>
                  <a:lnTo>
                    <a:pt x="2992" y="419"/>
                  </a:lnTo>
                  <a:lnTo>
                    <a:pt x="2971" y="251"/>
                  </a:lnTo>
                  <a:lnTo>
                    <a:pt x="2825" y="147"/>
                  </a:lnTo>
                  <a:lnTo>
                    <a:pt x="2783" y="0"/>
                  </a:lnTo>
                  <a:lnTo>
                    <a:pt x="2616" y="0"/>
                  </a:lnTo>
                  <a:lnTo>
                    <a:pt x="2532" y="42"/>
                  </a:lnTo>
                  <a:lnTo>
                    <a:pt x="24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Google Shape;12147;p43">
              <a:extLst>
                <a:ext uri="{FF2B5EF4-FFF2-40B4-BE49-F238E27FC236}">
                  <a16:creationId xmlns:a16="http://schemas.microsoft.com/office/drawing/2014/main" id="{6E5AA039-DCBB-10FD-FFA7-BAEDC071B907}"/>
                </a:ext>
              </a:extLst>
            </p:cNvPr>
            <p:cNvSpPr/>
            <p:nvPr/>
          </p:nvSpPr>
          <p:spPr>
            <a:xfrm>
              <a:off x="4343054" y="2959975"/>
              <a:ext cx="35389" cy="43557"/>
            </a:xfrm>
            <a:custGeom>
              <a:avLst/>
              <a:gdLst/>
              <a:ahLst/>
              <a:cxnLst/>
              <a:rect l="l" t="t" r="r" b="b"/>
              <a:pathLst>
                <a:path w="2972" h="3830" extrusionOk="0">
                  <a:moveTo>
                    <a:pt x="209" y="1"/>
                  </a:moveTo>
                  <a:lnTo>
                    <a:pt x="189" y="63"/>
                  </a:lnTo>
                  <a:lnTo>
                    <a:pt x="147" y="63"/>
                  </a:lnTo>
                  <a:lnTo>
                    <a:pt x="147" y="147"/>
                  </a:lnTo>
                  <a:lnTo>
                    <a:pt x="189" y="210"/>
                  </a:lnTo>
                  <a:lnTo>
                    <a:pt x="147" y="356"/>
                  </a:lnTo>
                  <a:lnTo>
                    <a:pt x="21" y="482"/>
                  </a:lnTo>
                  <a:lnTo>
                    <a:pt x="0" y="628"/>
                  </a:lnTo>
                  <a:lnTo>
                    <a:pt x="293" y="733"/>
                  </a:lnTo>
                  <a:lnTo>
                    <a:pt x="398" y="670"/>
                  </a:lnTo>
                  <a:lnTo>
                    <a:pt x="523" y="691"/>
                  </a:lnTo>
                  <a:lnTo>
                    <a:pt x="502" y="754"/>
                  </a:lnTo>
                  <a:lnTo>
                    <a:pt x="544" y="900"/>
                  </a:lnTo>
                  <a:lnTo>
                    <a:pt x="481" y="963"/>
                  </a:lnTo>
                  <a:lnTo>
                    <a:pt x="398" y="942"/>
                  </a:lnTo>
                  <a:lnTo>
                    <a:pt x="314" y="984"/>
                  </a:lnTo>
                  <a:lnTo>
                    <a:pt x="272" y="1151"/>
                  </a:lnTo>
                  <a:lnTo>
                    <a:pt x="168" y="1172"/>
                  </a:lnTo>
                  <a:lnTo>
                    <a:pt x="168" y="1402"/>
                  </a:lnTo>
                  <a:lnTo>
                    <a:pt x="293" y="1570"/>
                  </a:lnTo>
                  <a:lnTo>
                    <a:pt x="419" y="1612"/>
                  </a:lnTo>
                  <a:lnTo>
                    <a:pt x="586" y="1800"/>
                  </a:lnTo>
                  <a:lnTo>
                    <a:pt x="586" y="1988"/>
                  </a:lnTo>
                  <a:lnTo>
                    <a:pt x="628" y="2114"/>
                  </a:lnTo>
                  <a:lnTo>
                    <a:pt x="607" y="2218"/>
                  </a:lnTo>
                  <a:lnTo>
                    <a:pt x="628" y="2407"/>
                  </a:lnTo>
                  <a:lnTo>
                    <a:pt x="816" y="2637"/>
                  </a:lnTo>
                  <a:lnTo>
                    <a:pt x="816" y="2783"/>
                  </a:lnTo>
                  <a:lnTo>
                    <a:pt x="837" y="2888"/>
                  </a:lnTo>
                  <a:lnTo>
                    <a:pt x="879" y="3076"/>
                  </a:lnTo>
                  <a:lnTo>
                    <a:pt x="921" y="3055"/>
                  </a:lnTo>
                  <a:lnTo>
                    <a:pt x="984" y="3160"/>
                  </a:lnTo>
                  <a:lnTo>
                    <a:pt x="1005" y="3202"/>
                  </a:lnTo>
                  <a:lnTo>
                    <a:pt x="1046" y="3202"/>
                  </a:lnTo>
                  <a:lnTo>
                    <a:pt x="1067" y="3139"/>
                  </a:lnTo>
                  <a:lnTo>
                    <a:pt x="1130" y="3097"/>
                  </a:lnTo>
                  <a:lnTo>
                    <a:pt x="1214" y="3160"/>
                  </a:lnTo>
                  <a:lnTo>
                    <a:pt x="1214" y="3181"/>
                  </a:lnTo>
                  <a:lnTo>
                    <a:pt x="1256" y="3160"/>
                  </a:lnTo>
                  <a:lnTo>
                    <a:pt x="1298" y="3055"/>
                  </a:lnTo>
                  <a:lnTo>
                    <a:pt x="1214" y="2930"/>
                  </a:lnTo>
                  <a:lnTo>
                    <a:pt x="1256" y="2888"/>
                  </a:lnTo>
                  <a:lnTo>
                    <a:pt x="1256" y="2783"/>
                  </a:lnTo>
                  <a:lnTo>
                    <a:pt x="1318" y="2721"/>
                  </a:lnTo>
                  <a:lnTo>
                    <a:pt x="1318" y="2742"/>
                  </a:lnTo>
                  <a:lnTo>
                    <a:pt x="1256" y="2951"/>
                  </a:lnTo>
                  <a:lnTo>
                    <a:pt x="1339" y="3055"/>
                  </a:lnTo>
                  <a:lnTo>
                    <a:pt x="1423" y="2930"/>
                  </a:lnTo>
                  <a:lnTo>
                    <a:pt x="1507" y="2888"/>
                  </a:lnTo>
                  <a:lnTo>
                    <a:pt x="1507" y="2888"/>
                  </a:lnTo>
                  <a:lnTo>
                    <a:pt x="1465" y="2951"/>
                  </a:lnTo>
                  <a:lnTo>
                    <a:pt x="1423" y="2972"/>
                  </a:lnTo>
                  <a:lnTo>
                    <a:pt x="1360" y="3076"/>
                  </a:lnTo>
                  <a:lnTo>
                    <a:pt x="1465" y="3139"/>
                  </a:lnTo>
                  <a:lnTo>
                    <a:pt x="1549" y="2951"/>
                  </a:lnTo>
                  <a:lnTo>
                    <a:pt x="1653" y="2930"/>
                  </a:lnTo>
                  <a:lnTo>
                    <a:pt x="1674" y="2762"/>
                  </a:lnTo>
                  <a:lnTo>
                    <a:pt x="1590" y="2637"/>
                  </a:lnTo>
                  <a:lnTo>
                    <a:pt x="1528" y="2616"/>
                  </a:lnTo>
                  <a:lnTo>
                    <a:pt x="1632" y="2553"/>
                  </a:lnTo>
                  <a:lnTo>
                    <a:pt x="1653" y="2511"/>
                  </a:lnTo>
                  <a:lnTo>
                    <a:pt x="1570" y="2365"/>
                  </a:lnTo>
                  <a:lnTo>
                    <a:pt x="1549" y="2156"/>
                  </a:lnTo>
                  <a:lnTo>
                    <a:pt x="1590" y="2344"/>
                  </a:lnTo>
                  <a:lnTo>
                    <a:pt x="1716" y="2449"/>
                  </a:lnTo>
                  <a:lnTo>
                    <a:pt x="1779" y="2428"/>
                  </a:lnTo>
                  <a:lnTo>
                    <a:pt x="1779" y="2470"/>
                  </a:lnTo>
                  <a:lnTo>
                    <a:pt x="1988" y="2574"/>
                  </a:lnTo>
                  <a:lnTo>
                    <a:pt x="2093" y="2511"/>
                  </a:lnTo>
                  <a:lnTo>
                    <a:pt x="2155" y="2532"/>
                  </a:lnTo>
                  <a:lnTo>
                    <a:pt x="2155" y="2470"/>
                  </a:lnTo>
                  <a:lnTo>
                    <a:pt x="2197" y="2470"/>
                  </a:lnTo>
                  <a:lnTo>
                    <a:pt x="2365" y="2888"/>
                  </a:lnTo>
                  <a:lnTo>
                    <a:pt x="2448" y="2951"/>
                  </a:lnTo>
                  <a:lnTo>
                    <a:pt x="2448" y="3034"/>
                  </a:lnTo>
                  <a:lnTo>
                    <a:pt x="2406" y="3160"/>
                  </a:lnTo>
                  <a:lnTo>
                    <a:pt x="2469" y="3181"/>
                  </a:lnTo>
                  <a:lnTo>
                    <a:pt x="2406" y="3348"/>
                  </a:lnTo>
                  <a:lnTo>
                    <a:pt x="2448" y="3369"/>
                  </a:lnTo>
                  <a:lnTo>
                    <a:pt x="2511" y="3306"/>
                  </a:lnTo>
                  <a:lnTo>
                    <a:pt x="2553" y="3265"/>
                  </a:lnTo>
                  <a:lnTo>
                    <a:pt x="2553" y="3265"/>
                  </a:lnTo>
                  <a:lnTo>
                    <a:pt x="2511" y="3369"/>
                  </a:lnTo>
                  <a:lnTo>
                    <a:pt x="2490" y="3411"/>
                  </a:lnTo>
                  <a:lnTo>
                    <a:pt x="2553" y="3495"/>
                  </a:lnTo>
                  <a:lnTo>
                    <a:pt x="2637" y="3620"/>
                  </a:lnTo>
                  <a:lnTo>
                    <a:pt x="2720" y="3830"/>
                  </a:lnTo>
                  <a:lnTo>
                    <a:pt x="2762" y="3830"/>
                  </a:lnTo>
                  <a:lnTo>
                    <a:pt x="2720" y="3683"/>
                  </a:lnTo>
                  <a:lnTo>
                    <a:pt x="2720" y="3620"/>
                  </a:lnTo>
                  <a:lnTo>
                    <a:pt x="2762" y="3516"/>
                  </a:lnTo>
                  <a:lnTo>
                    <a:pt x="2867" y="3390"/>
                  </a:lnTo>
                  <a:lnTo>
                    <a:pt x="2909" y="3411"/>
                  </a:lnTo>
                  <a:lnTo>
                    <a:pt x="2971" y="3286"/>
                  </a:lnTo>
                  <a:lnTo>
                    <a:pt x="2971" y="3160"/>
                  </a:lnTo>
                  <a:lnTo>
                    <a:pt x="2930" y="3139"/>
                  </a:lnTo>
                  <a:lnTo>
                    <a:pt x="2909" y="3076"/>
                  </a:lnTo>
                  <a:lnTo>
                    <a:pt x="2909" y="3034"/>
                  </a:lnTo>
                  <a:lnTo>
                    <a:pt x="2888" y="2972"/>
                  </a:lnTo>
                  <a:lnTo>
                    <a:pt x="2867" y="2888"/>
                  </a:lnTo>
                  <a:lnTo>
                    <a:pt x="2804" y="2742"/>
                  </a:lnTo>
                  <a:lnTo>
                    <a:pt x="2783" y="2511"/>
                  </a:lnTo>
                  <a:lnTo>
                    <a:pt x="2720" y="2428"/>
                  </a:lnTo>
                  <a:lnTo>
                    <a:pt x="2720" y="2302"/>
                  </a:lnTo>
                  <a:lnTo>
                    <a:pt x="2699" y="2135"/>
                  </a:lnTo>
                  <a:lnTo>
                    <a:pt x="2637" y="2051"/>
                  </a:lnTo>
                  <a:lnTo>
                    <a:pt x="2595" y="2009"/>
                  </a:lnTo>
                  <a:lnTo>
                    <a:pt x="2511" y="2009"/>
                  </a:lnTo>
                  <a:lnTo>
                    <a:pt x="2448" y="1946"/>
                  </a:lnTo>
                  <a:lnTo>
                    <a:pt x="2386" y="2009"/>
                  </a:lnTo>
                  <a:lnTo>
                    <a:pt x="2406" y="2051"/>
                  </a:lnTo>
                  <a:lnTo>
                    <a:pt x="2386" y="2114"/>
                  </a:lnTo>
                  <a:lnTo>
                    <a:pt x="2386" y="2156"/>
                  </a:lnTo>
                  <a:lnTo>
                    <a:pt x="2344" y="2239"/>
                  </a:lnTo>
                  <a:lnTo>
                    <a:pt x="2365" y="2302"/>
                  </a:lnTo>
                  <a:lnTo>
                    <a:pt x="2365" y="2365"/>
                  </a:lnTo>
                  <a:lnTo>
                    <a:pt x="2281" y="2365"/>
                  </a:lnTo>
                  <a:lnTo>
                    <a:pt x="2197" y="2260"/>
                  </a:lnTo>
                  <a:lnTo>
                    <a:pt x="2093" y="2156"/>
                  </a:lnTo>
                  <a:lnTo>
                    <a:pt x="2093" y="2114"/>
                  </a:lnTo>
                  <a:lnTo>
                    <a:pt x="2030" y="2051"/>
                  </a:lnTo>
                  <a:lnTo>
                    <a:pt x="1967" y="1905"/>
                  </a:lnTo>
                  <a:lnTo>
                    <a:pt x="1967" y="1821"/>
                  </a:lnTo>
                  <a:lnTo>
                    <a:pt x="2030" y="1800"/>
                  </a:lnTo>
                  <a:lnTo>
                    <a:pt x="2051" y="1716"/>
                  </a:lnTo>
                  <a:lnTo>
                    <a:pt x="2155" y="1633"/>
                  </a:lnTo>
                  <a:lnTo>
                    <a:pt x="2176" y="1695"/>
                  </a:lnTo>
                  <a:lnTo>
                    <a:pt x="2260" y="1695"/>
                  </a:lnTo>
                  <a:lnTo>
                    <a:pt x="2302" y="1633"/>
                  </a:lnTo>
                  <a:lnTo>
                    <a:pt x="2302" y="1570"/>
                  </a:lnTo>
                  <a:lnTo>
                    <a:pt x="2365" y="1528"/>
                  </a:lnTo>
                  <a:lnTo>
                    <a:pt x="2448" y="1319"/>
                  </a:lnTo>
                  <a:lnTo>
                    <a:pt x="2469" y="1193"/>
                  </a:lnTo>
                  <a:lnTo>
                    <a:pt x="2511" y="1068"/>
                  </a:lnTo>
                  <a:lnTo>
                    <a:pt x="2469" y="1047"/>
                  </a:lnTo>
                  <a:lnTo>
                    <a:pt x="2365" y="942"/>
                  </a:lnTo>
                  <a:lnTo>
                    <a:pt x="2302" y="963"/>
                  </a:lnTo>
                  <a:lnTo>
                    <a:pt x="2260" y="942"/>
                  </a:lnTo>
                  <a:lnTo>
                    <a:pt x="2176" y="942"/>
                  </a:lnTo>
                  <a:lnTo>
                    <a:pt x="1967" y="963"/>
                  </a:lnTo>
                  <a:lnTo>
                    <a:pt x="1779" y="942"/>
                  </a:lnTo>
                  <a:lnTo>
                    <a:pt x="1423" y="942"/>
                  </a:lnTo>
                  <a:lnTo>
                    <a:pt x="1298" y="879"/>
                  </a:lnTo>
                  <a:lnTo>
                    <a:pt x="1193" y="900"/>
                  </a:lnTo>
                  <a:lnTo>
                    <a:pt x="1067" y="858"/>
                  </a:lnTo>
                  <a:lnTo>
                    <a:pt x="1067" y="775"/>
                  </a:lnTo>
                  <a:lnTo>
                    <a:pt x="1026" y="649"/>
                  </a:lnTo>
                  <a:lnTo>
                    <a:pt x="1026" y="565"/>
                  </a:lnTo>
                  <a:lnTo>
                    <a:pt x="1005" y="440"/>
                  </a:lnTo>
                  <a:lnTo>
                    <a:pt x="921" y="314"/>
                  </a:lnTo>
                  <a:lnTo>
                    <a:pt x="879" y="314"/>
                  </a:lnTo>
                  <a:lnTo>
                    <a:pt x="837" y="356"/>
                  </a:lnTo>
                  <a:lnTo>
                    <a:pt x="733" y="314"/>
                  </a:lnTo>
                  <a:lnTo>
                    <a:pt x="691" y="252"/>
                  </a:lnTo>
                  <a:lnTo>
                    <a:pt x="607" y="168"/>
                  </a:lnTo>
                  <a:lnTo>
                    <a:pt x="544" y="168"/>
                  </a:lnTo>
                  <a:lnTo>
                    <a:pt x="523" y="252"/>
                  </a:lnTo>
                  <a:lnTo>
                    <a:pt x="607" y="314"/>
                  </a:lnTo>
                  <a:lnTo>
                    <a:pt x="544" y="335"/>
                  </a:lnTo>
                  <a:lnTo>
                    <a:pt x="419" y="314"/>
                  </a:lnTo>
                  <a:lnTo>
                    <a:pt x="356" y="210"/>
                  </a:lnTo>
                  <a:lnTo>
                    <a:pt x="356" y="147"/>
                  </a:lnTo>
                  <a:lnTo>
                    <a:pt x="272" y="42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Google Shape;12148;p43">
              <a:extLst>
                <a:ext uri="{FF2B5EF4-FFF2-40B4-BE49-F238E27FC236}">
                  <a16:creationId xmlns:a16="http://schemas.microsoft.com/office/drawing/2014/main" id="{7BF97A3B-9C67-26E7-68DF-60386CEA7FB3}"/>
                </a:ext>
              </a:extLst>
            </p:cNvPr>
            <p:cNvSpPr/>
            <p:nvPr/>
          </p:nvSpPr>
          <p:spPr>
            <a:xfrm>
              <a:off x="3793178" y="2712975"/>
              <a:ext cx="26423" cy="30945"/>
            </a:xfrm>
            <a:custGeom>
              <a:avLst/>
              <a:gdLst/>
              <a:ahLst/>
              <a:cxnLst/>
              <a:rect l="l" t="t" r="r" b="b"/>
              <a:pathLst>
                <a:path w="2219" h="2721" extrusionOk="0">
                  <a:moveTo>
                    <a:pt x="1298" y="1"/>
                  </a:moveTo>
                  <a:lnTo>
                    <a:pt x="1152" y="168"/>
                  </a:lnTo>
                  <a:lnTo>
                    <a:pt x="984" y="231"/>
                  </a:lnTo>
                  <a:lnTo>
                    <a:pt x="880" y="231"/>
                  </a:lnTo>
                  <a:lnTo>
                    <a:pt x="817" y="336"/>
                  </a:lnTo>
                  <a:lnTo>
                    <a:pt x="754" y="482"/>
                  </a:lnTo>
                  <a:lnTo>
                    <a:pt x="649" y="545"/>
                  </a:lnTo>
                  <a:lnTo>
                    <a:pt x="524" y="545"/>
                  </a:lnTo>
                  <a:lnTo>
                    <a:pt x="357" y="649"/>
                  </a:lnTo>
                  <a:lnTo>
                    <a:pt x="315" y="629"/>
                  </a:lnTo>
                  <a:lnTo>
                    <a:pt x="231" y="629"/>
                  </a:lnTo>
                  <a:lnTo>
                    <a:pt x="210" y="754"/>
                  </a:lnTo>
                  <a:lnTo>
                    <a:pt x="126" y="838"/>
                  </a:lnTo>
                  <a:lnTo>
                    <a:pt x="189" y="901"/>
                  </a:lnTo>
                  <a:lnTo>
                    <a:pt x="231" y="859"/>
                  </a:lnTo>
                  <a:lnTo>
                    <a:pt x="357" y="1005"/>
                  </a:lnTo>
                  <a:lnTo>
                    <a:pt x="336" y="838"/>
                  </a:lnTo>
                  <a:lnTo>
                    <a:pt x="357" y="754"/>
                  </a:lnTo>
                  <a:lnTo>
                    <a:pt x="545" y="629"/>
                  </a:lnTo>
                  <a:lnTo>
                    <a:pt x="566" y="649"/>
                  </a:lnTo>
                  <a:lnTo>
                    <a:pt x="670" y="629"/>
                  </a:lnTo>
                  <a:lnTo>
                    <a:pt x="817" y="649"/>
                  </a:lnTo>
                  <a:lnTo>
                    <a:pt x="859" y="629"/>
                  </a:lnTo>
                  <a:lnTo>
                    <a:pt x="859" y="629"/>
                  </a:lnTo>
                  <a:cubicBezTo>
                    <a:pt x="859" y="649"/>
                    <a:pt x="838" y="649"/>
                    <a:pt x="838" y="691"/>
                  </a:cubicBezTo>
                  <a:lnTo>
                    <a:pt x="754" y="712"/>
                  </a:lnTo>
                  <a:lnTo>
                    <a:pt x="670" y="712"/>
                  </a:lnTo>
                  <a:lnTo>
                    <a:pt x="629" y="733"/>
                  </a:lnTo>
                  <a:lnTo>
                    <a:pt x="733" y="859"/>
                  </a:lnTo>
                  <a:lnTo>
                    <a:pt x="691" y="921"/>
                  </a:lnTo>
                  <a:lnTo>
                    <a:pt x="775" y="1026"/>
                  </a:lnTo>
                  <a:lnTo>
                    <a:pt x="775" y="1047"/>
                  </a:lnTo>
                  <a:lnTo>
                    <a:pt x="691" y="1026"/>
                  </a:lnTo>
                  <a:lnTo>
                    <a:pt x="587" y="1047"/>
                  </a:lnTo>
                  <a:lnTo>
                    <a:pt x="566" y="1005"/>
                  </a:lnTo>
                  <a:lnTo>
                    <a:pt x="629" y="942"/>
                  </a:lnTo>
                  <a:lnTo>
                    <a:pt x="566" y="838"/>
                  </a:lnTo>
                  <a:lnTo>
                    <a:pt x="545" y="838"/>
                  </a:lnTo>
                  <a:lnTo>
                    <a:pt x="461" y="963"/>
                  </a:lnTo>
                  <a:lnTo>
                    <a:pt x="524" y="1047"/>
                  </a:lnTo>
                  <a:lnTo>
                    <a:pt x="419" y="1131"/>
                  </a:lnTo>
                  <a:lnTo>
                    <a:pt x="336" y="1047"/>
                  </a:lnTo>
                  <a:lnTo>
                    <a:pt x="231" y="1047"/>
                  </a:lnTo>
                  <a:lnTo>
                    <a:pt x="147" y="1026"/>
                  </a:lnTo>
                  <a:lnTo>
                    <a:pt x="64" y="1110"/>
                  </a:lnTo>
                  <a:lnTo>
                    <a:pt x="210" y="1173"/>
                  </a:lnTo>
                  <a:lnTo>
                    <a:pt x="210" y="1277"/>
                  </a:lnTo>
                  <a:lnTo>
                    <a:pt x="126" y="1235"/>
                  </a:lnTo>
                  <a:lnTo>
                    <a:pt x="64" y="1256"/>
                  </a:lnTo>
                  <a:lnTo>
                    <a:pt x="105" y="1424"/>
                  </a:lnTo>
                  <a:lnTo>
                    <a:pt x="168" y="1465"/>
                  </a:lnTo>
                  <a:lnTo>
                    <a:pt x="168" y="1591"/>
                  </a:lnTo>
                  <a:lnTo>
                    <a:pt x="231" y="1675"/>
                  </a:lnTo>
                  <a:lnTo>
                    <a:pt x="64" y="1758"/>
                  </a:lnTo>
                  <a:lnTo>
                    <a:pt x="1" y="1905"/>
                  </a:lnTo>
                  <a:lnTo>
                    <a:pt x="64" y="1968"/>
                  </a:lnTo>
                  <a:lnTo>
                    <a:pt x="168" y="1905"/>
                  </a:lnTo>
                  <a:lnTo>
                    <a:pt x="315" y="2051"/>
                  </a:lnTo>
                  <a:lnTo>
                    <a:pt x="336" y="2219"/>
                  </a:lnTo>
                  <a:lnTo>
                    <a:pt x="273" y="2261"/>
                  </a:lnTo>
                  <a:lnTo>
                    <a:pt x="315" y="2323"/>
                  </a:lnTo>
                  <a:lnTo>
                    <a:pt x="461" y="2323"/>
                  </a:lnTo>
                  <a:lnTo>
                    <a:pt x="608" y="2533"/>
                  </a:lnTo>
                  <a:lnTo>
                    <a:pt x="649" y="2574"/>
                  </a:lnTo>
                  <a:lnTo>
                    <a:pt x="754" y="2533"/>
                  </a:lnTo>
                  <a:lnTo>
                    <a:pt x="775" y="2470"/>
                  </a:lnTo>
                  <a:lnTo>
                    <a:pt x="691" y="2386"/>
                  </a:lnTo>
                  <a:lnTo>
                    <a:pt x="649" y="2386"/>
                  </a:lnTo>
                  <a:lnTo>
                    <a:pt x="649" y="2302"/>
                  </a:lnTo>
                  <a:lnTo>
                    <a:pt x="733" y="2261"/>
                  </a:lnTo>
                  <a:lnTo>
                    <a:pt x="733" y="2177"/>
                  </a:lnTo>
                  <a:lnTo>
                    <a:pt x="670" y="2135"/>
                  </a:lnTo>
                  <a:lnTo>
                    <a:pt x="670" y="2072"/>
                  </a:lnTo>
                  <a:lnTo>
                    <a:pt x="754" y="2009"/>
                  </a:lnTo>
                  <a:cubicBezTo>
                    <a:pt x="775" y="2051"/>
                    <a:pt x="817" y="2093"/>
                    <a:pt x="838" y="2135"/>
                  </a:cubicBezTo>
                  <a:lnTo>
                    <a:pt x="838" y="2177"/>
                  </a:lnTo>
                  <a:lnTo>
                    <a:pt x="880" y="2302"/>
                  </a:lnTo>
                  <a:lnTo>
                    <a:pt x="984" y="2407"/>
                  </a:lnTo>
                  <a:lnTo>
                    <a:pt x="1089" y="2407"/>
                  </a:lnTo>
                  <a:lnTo>
                    <a:pt x="1152" y="2449"/>
                  </a:lnTo>
                  <a:lnTo>
                    <a:pt x="1256" y="2428"/>
                  </a:lnTo>
                  <a:cubicBezTo>
                    <a:pt x="1277" y="2428"/>
                    <a:pt x="1298" y="2428"/>
                    <a:pt x="1298" y="2407"/>
                  </a:cubicBezTo>
                  <a:cubicBezTo>
                    <a:pt x="1319" y="2407"/>
                    <a:pt x="1319" y="2428"/>
                    <a:pt x="1361" y="2428"/>
                  </a:cubicBezTo>
                  <a:lnTo>
                    <a:pt x="1361" y="2449"/>
                  </a:lnTo>
                  <a:lnTo>
                    <a:pt x="1298" y="2533"/>
                  </a:lnTo>
                  <a:lnTo>
                    <a:pt x="1319" y="2595"/>
                  </a:lnTo>
                  <a:lnTo>
                    <a:pt x="1382" y="2512"/>
                  </a:lnTo>
                  <a:lnTo>
                    <a:pt x="1403" y="2449"/>
                  </a:lnTo>
                  <a:cubicBezTo>
                    <a:pt x="1445" y="2491"/>
                    <a:pt x="1486" y="2512"/>
                    <a:pt x="1507" y="2553"/>
                  </a:cubicBezTo>
                  <a:lnTo>
                    <a:pt x="1507" y="2595"/>
                  </a:lnTo>
                  <a:lnTo>
                    <a:pt x="1465" y="2616"/>
                  </a:lnTo>
                  <a:lnTo>
                    <a:pt x="1507" y="2658"/>
                  </a:lnTo>
                  <a:lnTo>
                    <a:pt x="1675" y="2721"/>
                  </a:lnTo>
                  <a:lnTo>
                    <a:pt x="1821" y="2700"/>
                  </a:lnTo>
                  <a:lnTo>
                    <a:pt x="1884" y="2616"/>
                  </a:lnTo>
                  <a:lnTo>
                    <a:pt x="1905" y="2700"/>
                  </a:lnTo>
                  <a:lnTo>
                    <a:pt x="1926" y="2721"/>
                  </a:lnTo>
                  <a:lnTo>
                    <a:pt x="1926" y="2616"/>
                  </a:lnTo>
                  <a:lnTo>
                    <a:pt x="1968" y="2574"/>
                  </a:lnTo>
                  <a:cubicBezTo>
                    <a:pt x="2009" y="2533"/>
                    <a:pt x="2030" y="2512"/>
                    <a:pt x="2030" y="2470"/>
                  </a:cubicBezTo>
                  <a:lnTo>
                    <a:pt x="2093" y="2386"/>
                  </a:lnTo>
                  <a:lnTo>
                    <a:pt x="2177" y="2344"/>
                  </a:lnTo>
                  <a:lnTo>
                    <a:pt x="2135" y="2302"/>
                  </a:lnTo>
                  <a:lnTo>
                    <a:pt x="2072" y="2323"/>
                  </a:lnTo>
                  <a:lnTo>
                    <a:pt x="2009" y="2407"/>
                  </a:lnTo>
                  <a:lnTo>
                    <a:pt x="2009" y="2386"/>
                  </a:lnTo>
                  <a:cubicBezTo>
                    <a:pt x="1989" y="2344"/>
                    <a:pt x="1989" y="2344"/>
                    <a:pt x="1989" y="2323"/>
                  </a:cubicBezTo>
                  <a:lnTo>
                    <a:pt x="2009" y="2302"/>
                  </a:lnTo>
                  <a:lnTo>
                    <a:pt x="2009" y="2219"/>
                  </a:lnTo>
                  <a:lnTo>
                    <a:pt x="2135" y="2177"/>
                  </a:lnTo>
                  <a:lnTo>
                    <a:pt x="2198" y="2114"/>
                  </a:lnTo>
                  <a:lnTo>
                    <a:pt x="2177" y="2051"/>
                  </a:lnTo>
                  <a:lnTo>
                    <a:pt x="2072" y="1968"/>
                  </a:lnTo>
                  <a:lnTo>
                    <a:pt x="2072" y="1905"/>
                  </a:lnTo>
                  <a:lnTo>
                    <a:pt x="2198" y="1863"/>
                  </a:lnTo>
                  <a:lnTo>
                    <a:pt x="2219" y="1737"/>
                  </a:lnTo>
                  <a:lnTo>
                    <a:pt x="2219" y="1591"/>
                  </a:lnTo>
                  <a:lnTo>
                    <a:pt x="2198" y="1486"/>
                  </a:lnTo>
                  <a:lnTo>
                    <a:pt x="2072" y="1486"/>
                  </a:lnTo>
                  <a:lnTo>
                    <a:pt x="1905" y="1528"/>
                  </a:lnTo>
                  <a:lnTo>
                    <a:pt x="1863" y="1633"/>
                  </a:lnTo>
                  <a:lnTo>
                    <a:pt x="1905" y="1675"/>
                  </a:lnTo>
                  <a:lnTo>
                    <a:pt x="1989" y="1737"/>
                  </a:lnTo>
                  <a:lnTo>
                    <a:pt x="1989" y="1779"/>
                  </a:lnTo>
                  <a:lnTo>
                    <a:pt x="1926" y="1758"/>
                  </a:lnTo>
                  <a:lnTo>
                    <a:pt x="1905" y="1779"/>
                  </a:lnTo>
                  <a:lnTo>
                    <a:pt x="1800" y="1696"/>
                  </a:lnTo>
                  <a:lnTo>
                    <a:pt x="1800" y="1654"/>
                  </a:lnTo>
                  <a:lnTo>
                    <a:pt x="1758" y="1570"/>
                  </a:lnTo>
                  <a:lnTo>
                    <a:pt x="1696" y="1591"/>
                  </a:lnTo>
                  <a:lnTo>
                    <a:pt x="1654" y="1675"/>
                  </a:lnTo>
                  <a:lnTo>
                    <a:pt x="1570" y="1696"/>
                  </a:lnTo>
                  <a:lnTo>
                    <a:pt x="1591" y="1779"/>
                  </a:lnTo>
                  <a:lnTo>
                    <a:pt x="1654" y="1863"/>
                  </a:lnTo>
                  <a:lnTo>
                    <a:pt x="1654" y="1989"/>
                  </a:lnTo>
                  <a:lnTo>
                    <a:pt x="1717" y="2072"/>
                  </a:lnTo>
                  <a:lnTo>
                    <a:pt x="1800" y="2072"/>
                  </a:lnTo>
                  <a:lnTo>
                    <a:pt x="1926" y="2093"/>
                  </a:lnTo>
                  <a:lnTo>
                    <a:pt x="1968" y="2156"/>
                  </a:lnTo>
                  <a:lnTo>
                    <a:pt x="1905" y="2198"/>
                  </a:lnTo>
                  <a:lnTo>
                    <a:pt x="1968" y="2261"/>
                  </a:lnTo>
                  <a:cubicBezTo>
                    <a:pt x="1926" y="2281"/>
                    <a:pt x="1926" y="2323"/>
                    <a:pt x="1926" y="2365"/>
                  </a:cubicBezTo>
                  <a:lnTo>
                    <a:pt x="1905" y="2386"/>
                  </a:lnTo>
                  <a:lnTo>
                    <a:pt x="1863" y="2386"/>
                  </a:lnTo>
                  <a:lnTo>
                    <a:pt x="1779" y="2407"/>
                  </a:lnTo>
                  <a:lnTo>
                    <a:pt x="1675" y="2261"/>
                  </a:lnTo>
                  <a:lnTo>
                    <a:pt x="1612" y="2281"/>
                  </a:lnTo>
                  <a:cubicBezTo>
                    <a:pt x="1591" y="2261"/>
                    <a:pt x="1570" y="2261"/>
                    <a:pt x="1549" y="2219"/>
                  </a:cubicBezTo>
                  <a:lnTo>
                    <a:pt x="1549" y="2198"/>
                  </a:lnTo>
                  <a:lnTo>
                    <a:pt x="1465" y="2114"/>
                  </a:lnTo>
                  <a:lnTo>
                    <a:pt x="1465" y="2177"/>
                  </a:lnTo>
                  <a:cubicBezTo>
                    <a:pt x="1465" y="2177"/>
                    <a:pt x="1445" y="2177"/>
                    <a:pt x="1445" y="2156"/>
                  </a:cubicBezTo>
                  <a:cubicBezTo>
                    <a:pt x="1403" y="2156"/>
                    <a:pt x="1403" y="2156"/>
                    <a:pt x="1382" y="2177"/>
                  </a:cubicBezTo>
                  <a:lnTo>
                    <a:pt x="1403" y="2093"/>
                  </a:lnTo>
                  <a:lnTo>
                    <a:pt x="1382" y="2009"/>
                  </a:lnTo>
                  <a:lnTo>
                    <a:pt x="1298" y="1863"/>
                  </a:lnTo>
                  <a:lnTo>
                    <a:pt x="1235" y="1863"/>
                  </a:lnTo>
                  <a:lnTo>
                    <a:pt x="1089" y="1779"/>
                  </a:lnTo>
                  <a:lnTo>
                    <a:pt x="1026" y="1612"/>
                  </a:lnTo>
                  <a:lnTo>
                    <a:pt x="1047" y="1654"/>
                  </a:lnTo>
                  <a:lnTo>
                    <a:pt x="1173" y="1591"/>
                  </a:lnTo>
                  <a:lnTo>
                    <a:pt x="1173" y="1445"/>
                  </a:lnTo>
                  <a:lnTo>
                    <a:pt x="1131" y="1340"/>
                  </a:lnTo>
                  <a:lnTo>
                    <a:pt x="1193" y="1256"/>
                  </a:lnTo>
                  <a:lnTo>
                    <a:pt x="1298" y="1235"/>
                  </a:lnTo>
                  <a:lnTo>
                    <a:pt x="1382" y="1298"/>
                  </a:lnTo>
                  <a:lnTo>
                    <a:pt x="1445" y="1277"/>
                  </a:lnTo>
                  <a:lnTo>
                    <a:pt x="1486" y="1298"/>
                  </a:lnTo>
                  <a:lnTo>
                    <a:pt x="1507" y="1256"/>
                  </a:lnTo>
                  <a:lnTo>
                    <a:pt x="1549" y="1152"/>
                  </a:lnTo>
                  <a:lnTo>
                    <a:pt x="1445" y="1047"/>
                  </a:lnTo>
                  <a:lnTo>
                    <a:pt x="1382" y="1110"/>
                  </a:lnTo>
                  <a:lnTo>
                    <a:pt x="1256" y="1110"/>
                  </a:lnTo>
                  <a:lnTo>
                    <a:pt x="1193" y="1026"/>
                  </a:lnTo>
                  <a:lnTo>
                    <a:pt x="1152" y="921"/>
                  </a:lnTo>
                  <a:lnTo>
                    <a:pt x="1089" y="921"/>
                  </a:lnTo>
                  <a:lnTo>
                    <a:pt x="1152" y="859"/>
                  </a:lnTo>
                  <a:lnTo>
                    <a:pt x="1152" y="754"/>
                  </a:lnTo>
                  <a:lnTo>
                    <a:pt x="1131" y="754"/>
                  </a:lnTo>
                  <a:cubicBezTo>
                    <a:pt x="1131" y="733"/>
                    <a:pt x="1152" y="712"/>
                    <a:pt x="1152" y="691"/>
                  </a:cubicBezTo>
                  <a:lnTo>
                    <a:pt x="1173" y="691"/>
                  </a:lnTo>
                  <a:lnTo>
                    <a:pt x="1277" y="503"/>
                  </a:lnTo>
                  <a:lnTo>
                    <a:pt x="1256" y="377"/>
                  </a:lnTo>
                  <a:lnTo>
                    <a:pt x="1277" y="315"/>
                  </a:lnTo>
                  <a:lnTo>
                    <a:pt x="1256" y="210"/>
                  </a:lnTo>
                  <a:lnTo>
                    <a:pt x="1340" y="64"/>
                  </a:lnTo>
                  <a:lnTo>
                    <a:pt x="129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Google Shape;12149;p43">
              <a:extLst>
                <a:ext uri="{FF2B5EF4-FFF2-40B4-BE49-F238E27FC236}">
                  <a16:creationId xmlns:a16="http://schemas.microsoft.com/office/drawing/2014/main" id="{9E49CD8A-1708-6795-6D39-EF09DBFBE6C1}"/>
                </a:ext>
              </a:extLst>
            </p:cNvPr>
            <p:cNvSpPr/>
            <p:nvPr/>
          </p:nvSpPr>
          <p:spPr>
            <a:xfrm>
              <a:off x="3772256" y="2560208"/>
              <a:ext cx="138282" cy="153495"/>
            </a:xfrm>
            <a:custGeom>
              <a:avLst/>
              <a:gdLst/>
              <a:ahLst/>
              <a:cxnLst/>
              <a:rect l="l" t="t" r="r" b="b"/>
              <a:pathLst>
                <a:path w="11613" h="13497" extrusionOk="0">
                  <a:moveTo>
                    <a:pt x="9792" y="1"/>
                  </a:moveTo>
                  <a:lnTo>
                    <a:pt x="9709" y="64"/>
                  </a:lnTo>
                  <a:lnTo>
                    <a:pt x="9709" y="126"/>
                  </a:lnTo>
                  <a:lnTo>
                    <a:pt x="9792" y="231"/>
                  </a:lnTo>
                  <a:lnTo>
                    <a:pt x="9730" y="273"/>
                  </a:lnTo>
                  <a:lnTo>
                    <a:pt x="9688" y="273"/>
                  </a:lnTo>
                  <a:lnTo>
                    <a:pt x="9604" y="168"/>
                  </a:lnTo>
                  <a:lnTo>
                    <a:pt x="9541" y="231"/>
                  </a:lnTo>
                  <a:lnTo>
                    <a:pt x="9520" y="336"/>
                  </a:lnTo>
                  <a:lnTo>
                    <a:pt x="9541" y="357"/>
                  </a:lnTo>
                  <a:lnTo>
                    <a:pt x="9625" y="357"/>
                  </a:lnTo>
                  <a:lnTo>
                    <a:pt x="9688" y="419"/>
                  </a:lnTo>
                  <a:lnTo>
                    <a:pt x="9646" y="440"/>
                  </a:lnTo>
                  <a:lnTo>
                    <a:pt x="9604" y="482"/>
                  </a:lnTo>
                  <a:lnTo>
                    <a:pt x="9604" y="566"/>
                  </a:lnTo>
                  <a:lnTo>
                    <a:pt x="9520" y="587"/>
                  </a:lnTo>
                  <a:lnTo>
                    <a:pt x="9520" y="670"/>
                  </a:lnTo>
                  <a:lnTo>
                    <a:pt x="9541" y="691"/>
                  </a:lnTo>
                  <a:lnTo>
                    <a:pt x="9479" y="754"/>
                  </a:lnTo>
                  <a:lnTo>
                    <a:pt x="9520" y="859"/>
                  </a:lnTo>
                  <a:lnTo>
                    <a:pt x="9479" y="901"/>
                  </a:lnTo>
                  <a:lnTo>
                    <a:pt x="9416" y="859"/>
                  </a:lnTo>
                  <a:lnTo>
                    <a:pt x="9332" y="901"/>
                  </a:lnTo>
                  <a:lnTo>
                    <a:pt x="9332" y="942"/>
                  </a:lnTo>
                  <a:lnTo>
                    <a:pt x="9269" y="984"/>
                  </a:lnTo>
                  <a:lnTo>
                    <a:pt x="9228" y="880"/>
                  </a:lnTo>
                  <a:lnTo>
                    <a:pt x="9332" y="670"/>
                  </a:lnTo>
                  <a:lnTo>
                    <a:pt x="9269" y="649"/>
                  </a:lnTo>
                  <a:lnTo>
                    <a:pt x="9269" y="587"/>
                  </a:lnTo>
                  <a:lnTo>
                    <a:pt x="9311" y="545"/>
                  </a:lnTo>
                  <a:lnTo>
                    <a:pt x="9311" y="357"/>
                  </a:lnTo>
                  <a:lnTo>
                    <a:pt x="9290" y="315"/>
                  </a:lnTo>
                  <a:lnTo>
                    <a:pt x="9228" y="315"/>
                  </a:lnTo>
                  <a:lnTo>
                    <a:pt x="9102" y="545"/>
                  </a:lnTo>
                  <a:lnTo>
                    <a:pt x="9081" y="670"/>
                  </a:lnTo>
                  <a:lnTo>
                    <a:pt x="8956" y="880"/>
                  </a:lnTo>
                  <a:lnTo>
                    <a:pt x="8893" y="1005"/>
                  </a:lnTo>
                  <a:lnTo>
                    <a:pt x="8956" y="1068"/>
                  </a:lnTo>
                  <a:lnTo>
                    <a:pt x="8914" y="1193"/>
                  </a:lnTo>
                  <a:lnTo>
                    <a:pt x="8767" y="1361"/>
                  </a:lnTo>
                  <a:lnTo>
                    <a:pt x="8704" y="1382"/>
                  </a:lnTo>
                  <a:lnTo>
                    <a:pt x="8704" y="1298"/>
                  </a:lnTo>
                  <a:lnTo>
                    <a:pt x="8663" y="1214"/>
                  </a:lnTo>
                  <a:lnTo>
                    <a:pt x="8767" y="1068"/>
                  </a:lnTo>
                  <a:lnTo>
                    <a:pt x="8746" y="963"/>
                  </a:lnTo>
                  <a:lnTo>
                    <a:pt x="8788" y="880"/>
                  </a:lnTo>
                  <a:lnTo>
                    <a:pt x="8746" y="775"/>
                  </a:lnTo>
                  <a:lnTo>
                    <a:pt x="8893" y="587"/>
                  </a:lnTo>
                  <a:lnTo>
                    <a:pt x="8914" y="482"/>
                  </a:lnTo>
                  <a:lnTo>
                    <a:pt x="8956" y="461"/>
                  </a:lnTo>
                  <a:lnTo>
                    <a:pt x="8956" y="419"/>
                  </a:lnTo>
                  <a:lnTo>
                    <a:pt x="8851" y="419"/>
                  </a:lnTo>
                  <a:lnTo>
                    <a:pt x="8767" y="315"/>
                  </a:lnTo>
                  <a:lnTo>
                    <a:pt x="8704" y="336"/>
                  </a:lnTo>
                  <a:lnTo>
                    <a:pt x="8746" y="440"/>
                  </a:lnTo>
                  <a:lnTo>
                    <a:pt x="8663" y="482"/>
                  </a:lnTo>
                  <a:lnTo>
                    <a:pt x="8663" y="419"/>
                  </a:lnTo>
                  <a:lnTo>
                    <a:pt x="8579" y="336"/>
                  </a:lnTo>
                  <a:lnTo>
                    <a:pt x="8495" y="315"/>
                  </a:lnTo>
                  <a:lnTo>
                    <a:pt x="8432" y="336"/>
                  </a:lnTo>
                  <a:lnTo>
                    <a:pt x="8453" y="482"/>
                  </a:lnTo>
                  <a:lnTo>
                    <a:pt x="8391" y="545"/>
                  </a:lnTo>
                  <a:lnTo>
                    <a:pt x="8349" y="482"/>
                  </a:lnTo>
                  <a:lnTo>
                    <a:pt x="8286" y="461"/>
                  </a:lnTo>
                  <a:lnTo>
                    <a:pt x="8244" y="482"/>
                  </a:lnTo>
                  <a:lnTo>
                    <a:pt x="8265" y="545"/>
                  </a:lnTo>
                  <a:lnTo>
                    <a:pt x="8391" y="608"/>
                  </a:lnTo>
                  <a:lnTo>
                    <a:pt x="8432" y="733"/>
                  </a:lnTo>
                  <a:lnTo>
                    <a:pt x="8391" y="775"/>
                  </a:lnTo>
                  <a:lnTo>
                    <a:pt x="8349" y="691"/>
                  </a:lnTo>
                  <a:lnTo>
                    <a:pt x="8265" y="775"/>
                  </a:lnTo>
                  <a:lnTo>
                    <a:pt x="8265" y="838"/>
                  </a:lnTo>
                  <a:lnTo>
                    <a:pt x="8286" y="880"/>
                  </a:lnTo>
                  <a:lnTo>
                    <a:pt x="8265" y="901"/>
                  </a:lnTo>
                  <a:lnTo>
                    <a:pt x="8160" y="859"/>
                  </a:lnTo>
                  <a:lnTo>
                    <a:pt x="8119" y="859"/>
                  </a:lnTo>
                  <a:lnTo>
                    <a:pt x="8035" y="963"/>
                  </a:lnTo>
                  <a:lnTo>
                    <a:pt x="7951" y="1005"/>
                  </a:lnTo>
                  <a:lnTo>
                    <a:pt x="7951" y="1047"/>
                  </a:lnTo>
                  <a:lnTo>
                    <a:pt x="8014" y="1068"/>
                  </a:lnTo>
                  <a:lnTo>
                    <a:pt x="7909" y="1131"/>
                  </a:lnTo>
                  <a:lnTo>
                    <a:pt x="7868" y="1214"/>
                  </a:lnTo>
                  <a:lnTo>
                    <a:pt x="7972" y="1319"/>
                  </a:lnTo>
                  <a:lnTo>
                    <a:pt x="7909" y="1382"/>
                  </a:lnTo>
                  <a:lnTo>
                    <a:pt x="7972" y="1424"/>
                  </a:lnTo>
                  <a:lnTo>
                    <a:pt x="8035" y="1466"/>
                  </a:lnTo>
                  <a:lnTo>
                    <a:pt x="7972" y="1507"/>
                  </a:lnTo>
                  <a:lnTo>
                    <a:pt x="7847" y="1507"/>
                  </a:lnTo>
                  <a:lnTo>
                    <a:pt x="7805" y="1361"/>
                  </a:lnTo>
                  <a:lnTo>
                    <a:pt x="7742" y="1319"/>
                  </a:lnTo>
                  <a:lnTo>
                    <a:pt x="7805" y="1277"/>
                  </a:lnTo>
                  <a:lnTo>
                    <a:pt x="7721" y="1214"/>
                  </a:lnTo>
                  <a:lnTo>
                    <a:pt x="7491" y="1214"/>
                  </a:lnTo>
                  <a:lnTo>
                    <a:pt x="7303" y="1089"/>
                  </a:lnTo>
                  <a:lnTo>
                    <a:pt x="7240" y="1089"/>
                  </a:lnTo>
                  <a:lnTo>
                    <a:pt x="7198" y="1131"/>
                  </a:lnTo>
                  <a:lnTo>
                    <a:pt x="7177" y="1068"/>
                  </a:lnTo>
                  <a:lnTo>
                    <a:pt x="7072" y="1173"/>
                  </a:lnTo>
                  <a:lnTo>
                    <a:pt x="6968" y="1173"/>
                  </a:lnTo>
                  <a:lnTo>
                    <a:pt x="6968" y="1214"/>
                  </a:lnTo>
                  <a:lnTo>
                    <a:pt x="7093" y="1382"/>
                  </a:lnTo>
                  <a:lnTo>
                    <a:pt x="7177" y="1382"/>
                  </a:lnTo>
                  <a:lnTo>
                    <a:pt x="7219" y="1424"/>
                  </a:lnTo>
                  <a:lnTo>
                    <a:pt x="7344" y="1424"/>
                  </a:lnTo>
                  <a:lnTo>
                    <a:pt x="7303" y="1528"/>
                  </a:lnTo>
                  <a:lnTo>
                    <a:pt x="7303" y="1633"/>
                  </a:lnTo>
                  <a:lnTo>
                    <a:pt x="7407" y="1779"/>
                  </a:lnTo>
                  <a:lnTo>
                    <a:pt x="7386" y="1842"/>
                  </a:lnTo>
                  <a:lnTo>
                    <a:pt x="7303" y="1800"/>
                  </a:lnTo>
                  <a:lnTo>
                    <a:pt x="7219" y="1654"/>
                  </a:lnTo>
                  <a:lnTo>
                    <a:pt x="7114" y="1612"/>
                  </a:lnTo>
                  <a:lnTo>
                    <a:pt x="7072" y="1528"/>
                  </a:lnTo>
                  <a:lnTo>
                    <a:pt x="7031" y="1633"/>
                  </a:lnTo>
                  <a:lnTo>
                    <a:pt x="6968" y="1717"/>
                  </a:lnTo>
                  <a:lnTo>
                    <a:pt x="6926" y="1591"/>
                  </a:lnTo>
                  <a:lnTo>
                    <a:pt x="6863" y="1633"/>
                  </a:lnTo>
                  <a:lnTo>
                    <a:pt x="6863" y="1717"/>
                  </a:lnTo>
                  <a:lnTo>
                    <a:pt x="6759" y="1800"/>
                  </a:lnTo>
                  <a:lnTo>
                    <a:pt x="6759" y="1884"/>
                  </a:lnTo>
                  <a:lnTo>
                    <a:pt x="6884" y="1947"/>
                  </a:lnTo>
                  <a:lnTo>
                    <a:pt x="6926" y="2051"/>
                  </a:lnTo>
                  <a:lnTo>
                    <a:pt x="6821" y="2030"/>
                  </a:lnTo>
                  <a:lnTo>
                    <a:pt x="6779" y="1989"/>
                  </a:lnTo>
                  <a:lnTo>
                    <a:pt x="6696" y="2114"/>
                  </a:lnTo>
                  <a:lnTo>
                    <a:pt x="6675" y="2177"/>
                  </a:lnTo>
                  <a:lnTo>
                    <a:pt x="6549" y="2302"/>
                  </a:lnTo>
                  <a:lnTo>
                    <a:pt x="6549" y="2219"/>
                  </a:lnTo>
                  <a:lnTo>
                    <a:pt x="6654" y="2156"/>
                  </a:lnTo>
                  <a:lnTo>
                    <a:pt x="6591" y="2093"/>
                  </a:lnTo>
                  <a:lnTo>
                    <a:pt x="6696" y="1926"/>
                  </a:lnTo>
                  <a:lnTo>
                    <a:pt x="6612" y="1612"/>
                  </a:lnTo>
                  <a:lnTo>
                    <a:pt x="6549" y="1654"/>
                  </a:lnTo>
                  <a:lnTo>
                    <a:pt x="6403" y="1842"/>
                  </a:lnTo>
                  <a:lnTo>
                    <a:pt x="6403" y="2010"/>
                  </a:lnTo>
                  <a:lnTo>
                    <a:pt x="6445" y="2051"/>
                  </a:lnTo>
                  <a:lnTo>
                    <a:pt x="6340" y="2156"/>
                  </a:lnTo>
                  <a:lnTo>
                    <a:pt x="6340" y="2051"/>
                  </a:lnTo>
                  <a:lnTo>
                    <a:pt x="6382" y="1947"/>
                  </a:lnTo>
                  <a:lnTo>
                    <a:pt x="6340" y="1800"/>
                  </a:lnTo>
                  <a:lnTo>
                    <a:pt x="6277" y="1779"/>
                  </a:lnTo>
                  <a:lnTo>
                    <a:pt x="6173" y="1842"/>
                  </a:lnTo>
                  <a:lnTo>
                    <a:pt x="6089" y="1989"/>
                  </a:lnTo>
                  <a:lnTo>
                    <a:pt x="6152" y="2114"/>
                  </a:lnTo>
                  <a:lnTo>
                    <a:pt x="6152" y="2177"/>
                  </a:lnTo>
                  <a:lnTo>
                    <a:pt x="6298" y="2323"/>
                  </a:lnTo>
                  <a:lnTo>
                    <a:pt x="6340" y="2407"/>
                  </a:lnTo>
                  <a:lnTo>
                    <a:pt x="6277" y="2512"/>
                  </a:lnTo>
                  <a:lnTo>
                    <a:pt x="6235" y="2344"/>
                  </a:lnTo>
                  <a:lnTo>
                    <a:pt x="6131" y="2302"/>
                  </a:lnTo>
                  <a:lnTo>
                    <a:pt x="6047" y="2114"/>
                  </a:lnTo>
                  <a:lnTo>
                    <a:pt x="5984" y="2093"/>
                  </a:lnTo>
                  <a:lnTo>
                    <a:pt x="5859" y="2135"/>
                  </a:lnTo>
                  <a:lnTo>
                    <a:pt x="5838" y="2219"/>
                  </a:lnTo>
                  <a:lnTo>
                    <a:pt x="5984" y="2323"/>
                  </a:lnTo>
                  <a:lnTo>
                    <a:pt x="6047" y="2323"/>
                  </a:lnTo>
                  <a:lnTo>
                    <a:pt x="6089" y="2365"/>
                  </a:lnTo>
                  <a:lnTo>
                    <a:pt x="5984" y="2344"/>
                  </a:lnTo>
                  <a:lnTo>
                    <a:pt x="5880" y="2407"/>
                  </a:lnTo>
                  <a:lnTo>
                    <a:pt x="5963" y="2512"/>
                  </a:lnTo>
                  <a:lnTo>
                    <a:pt x="5838" y="2428"/>
                  </a:lnTo>
                  <a:lnTo>
                    <a:pt x="5838" y="2302"/>
                  </a:lnTo>
                  <a:lnTo>
                    <a:pt x="5775" y="2261"/>
                  </a:lnTo>
                  <a:lnTo>
                    <a:pt x="5754" y="2156"/>
                  </a:lnTo>
                  <a:lnTo>
                    <a:pt x="5712" y="2219"/>
                  </a:lnTo>
                  <a:lnTo>
                    <a:pt x="5671" y="2365"/>
                  </a:lnTo>
                  <a:lnTo>
                    <a:pt x="5733" y="2428"/>
                  </a:lnTo>
                  <a:lnTo>
                    <a:pt x="5712" y="2554"/>
                  </a:lnTo>
                  <a:lnTo>
                    <a:pt x="5629" y="2512"/>
                  </a:lnTo>
                  <a:lnTo>
                    <a:pt x="5545" y="2533"/>
                  </a:lnTo>
                  <a:lnTo>
                    <a:pt x="5419" y="2658"/>
                  </a:lnTo>
                  <a:lnTo>
                    <a:pt x="5440" y="2679"/>
                  </a:lnTo>
                  <a:lnTo>
                    <a:pt x="5524" y="2658"/>
                  </a:lnTo>
                  <a:lnTo>
                    <a:pt x="5608" y="2763"/>
                  </a:lnTo>
                  <a:lnTo>
                    <a:pt x="5503" y="2763"/>
                  </a:lnTo>
                  <a:lnTo>
                    <a:pt x="5440" y="2826"/>
                  </a:lnTo>
                  <a:lnTo>
                    <a:pt x="5503" y="2846"/>
                  </a:lnTo>
                  <a:lnTo>
                    <a:pt x="5461" y="2888"/>
                  </a:lnTo>
                  <a:lnTo>
                    <a:pt x="5357" y="2930"/>
                  </a:lnTo>
                  <a:lnTo>
                    <a:pt x="5357" y="2972"/>
                  </a:lnTo>
                  <a:lnTo>
                    <a:pt x="5399" y="2993"/>
                  </a:lnTo>
                  <a:lnTo>
                    <a:pt x="5336" y="2993"/>
                  </a:lnTo>
                  <a:lnTo>
                    <a:pt x="5294" y="2951"/>
                  </a:lnTo>
                  <a:lnTo>
                    <a:pt x="5210" y="2972"/>
                  </a:lnTo>
                  <a:lnTo>
                    <a:pt x="5127" y="3077"/>
                  </a:lnTo>
                  <a:lnTo>
                    <a:pt x="5147" y="3139"/>
                  </a:lnTo>
                  <a:lnTo>
                    <a:pt x="5127" y="3160"/>
                  </a:lnTo>
                  <a:lnTo>
                    <a:pt x="5022" y="3160"/>
                  </a:lnTo>
                  <a:lnTo>
                    <a:pt x="4938" y="3265"/>
                  </a:lnTo>
                  <a:lnTo>
                    <a:pt x="5043" y="3307"/>
                  </a:lnTo>
                  <a:lnTo>
                    <a:pt x="5315" y="3223"/>
                  </a:lnTo>
                  <a:lnTo>
                    <a:pt x="5357" y="3265"/>
                  </a:lnTo>
                  <a:lnTo>
                    <a:pt x="5461" y="3202"/>
                  </a:lnTo>
                  <a:lnTo>
                    <a:pt x="5524" y="3202"/>
                  </a:lnTo>
                  <a:lnTo>
                    <a:pt x="5524" y="3286"/>
                  </a:lnTo>
                  <a:lnTo>
                    <a:pt x="5461" y="3370"/>
                  </a:lnTo>
                  <a:lnTo>
                    <a:pt x="5440" y="3516"/>
                  </a:lnTo>
                  <a:lnTo>
                    <a:pt x="5419" y="3558"/>
                  </a:lnTo>
                  <a:lnTo>
                    <a:pt x="5357" y="3495"/>
                  </a:lnTo>
                  <a:lnTo>
                    <a:pt x="5336" y="3411"/>
                  </a:lnTo>
                  <a:lnTo>
                    <a:pt x="5252" y="3453"/>
                  </a:lnTo>
                  <a:lnTo>
                    <a:pt x="5210" y="3390"/>
                  </a:lnTo>
                  <a:lnTo>
                    <a:pt x="5106" y="3390"/>
                  </a:lnTo>
                  <a:lnTo>
                    <a:pt x="5127" y="3453"/>
                  </a:lnTo>
                  <a:lnTo>
                    <a:pt x="5106" y="3495"/>
                  </a:lnTo>
                  <a:lnTo>
                    <a:pt x="5022" y="3453"/>
                  </a:lnTo>
                  <a:lnTo>
                    <a:pt x="4938" y="3474"/>
                  </a:lnTo>
                  <a:lnTo>
                    <a:pt x="5043" y="3516"/>
                  </a:lnTo>
                  <a:lnTo>
                    <a:pt x="5085" y="3600"/>
                  </a:lnTo>
                  <a:lnTo>
                    <a:pt x="5022" y="3621"/>
                  </a:lnTo>
                  <a:lnTo>
                    <a:pt x="5001" y="3683"/>
                  </a:lnTo>
                  <a:lnTo>
                    <a:pt x="5001" y="3746"/>
                  </a:lnTo>
                  <a:lnTo>
                    <a:pt x="4980" y="3809"/>
                  </a:lnTo>
                  <a:lnTo>
                    <a:pt x="4938" y="3725"/>
                  </a:lnTo>
                  <a:lnTo>
                    <a:pt x="4938" y="3621"/>
                  </a:lnTo>
                  <a:lnTo>
                    <a:pt x="4875" y="3558"/>
                  </a:lnTo>
                  <a:lnTo>
                    <a:pt x="4792" y="3621"/>
                  </a:lnTo>
                  <a:lnTo>
                    <a:pt x="4708" y="3662"/>
                  </a:lnTo>
                  <a:lnTo>
                    <a:pt x="4666" y="3579"/>
                  </a:lnTo>
                  <a:lnTo>
                    <a:pt x="4687" y="3516"/>
                  </a:lnTo>
                  <a:lnTo>
                    <a:pt x="4624" y="3516"/>
                  </a:lnTo>
                  <a:lnTo>
                    <a:pt x="4520" y="3621"/>
                  </a:lnTo>
                  <a:lnTo>
                    <a:pt x="4603" y="3704"/>
                  </a:lnTo>
                  <a:lnTo>
                    <a:pt x="4729" y="3704"/>
                  </a:lnTo>
                  <a:lnTo>
                    <a:pt x="4834" y="3746"/>
                  </a:lnTo>
                  <a:lnTo>
                    <a:pt x="4792" y="3830"/>
                  </a:lnTo>
                  <a:lnTo>
                    <a:pt x="4583" y="3893"/>
                  </a:lnTo>
                  <a:lnTo>
                    <a:pt x="4520" y="3830"/>
                  </a:lnTo>
                  <a:lnTo>
                    <a:pt x="4457" y="3830"/>
                  </a:lnTo>
                  <a:lnTo>
                    <a:pt x="4394" y="3934"/>
                  </a:lnTo>
                  <a:lnTo>
                    <a:pt x="4478" y="4018"/>
                  </a:lnTo>
                  <a:lnTo>
                    <a:pt x="4394" y="4102"/>
                  </a:lnTo>
                  <a:lnTo>
                    <a:pt x="4478" y="4102"/>
                  </a:lnTo>
                  <a:lnTo>
                    <a:pt x="4583" y="3976"/>
                  </a:lnTo>
                  <a:lnTo>
                    <a:pt x="4687" y="3976"/>
                  </a:lnTo>
                  <a:lnTo>
                    <a:pt x="4729" y="4039"/>
                  </a:lnTo>
                  <a:lnTo>
                    <a:pt x="4583" y="4081"/>
                  </a:lnTo>
                  <a:lnTo>
                    <a:pt x="4562" y="4186"/>
                  </a:lnTo>
                  <a:lnTo>
                    <a:pt x="4603" y="4248"/>
                  </a:lnTo>
                  <a:lnTo>
                    <a:pt x="4729" y="4332"/>
                  </a:lnTo>
                  <a:lnTo>
                    <a:pt x="4729" y="4416"/>
                  </a:lnTo>
                  <a:lnTo>
                    <a:pt x="4666" y="4353"/>
                  </a:lnTo>
                  <a:lnTo>
                    <a:pt x="4583" y="4353"/>
                  </a:lnTo>
                  <a:lnTo>
                    <a:pt x="4499" y="4248"/>
                  </a:lnTo>
                  <a:lnTo>
                    <a:pt x="4457" y="4248"/>
                  </a:lnTo>
                  <a:lnTo>
                    <a:pt x="4373" y="4332"/>
                  </a:lnTo>
                  <a:lnTo>
                    <a:pt x="4457" y="4395"/>
                  </a:lnTo>
                  <a:lnTo>
                    <a:pt x="4352" y="4416"/>
                  </a:lnTo>
                  <a:lnTo>
                    <a:pt x="4248" y="4499"/>
                  </a:lnTo>
                  <a:lnTo>
                    <a:pt x="4248" y="4541"/>
                  </a:lnTo>
                  <a:lnTo>
                    <a:pt x="4352" y="4604"/>
                  </a:lnTo>
                  <a:lnTo>
                    <a:pt x="4457" y="4541"/>
                  </a:lnTo>
                  <a:lnTo>
                    <a:pt x="4499" y="4604"/>
                  </a:lnTo>
                  <a:lnTo>
                    <a:pt x="4603" y="4562"/>
                  </a:lnTo>
                  <a:lnTo>
                    <a:pt x="4624" y="4646"/>
                  </a:lnTo>
                  <a:lnTo>
                    <a:pt x="4708" y="4709"/>
                  </a:lnTo>
                  <a:lnTo>
                    <a:pt x="4708" y="4751"/>
                  </a:lnTo>
                  <a:lnTo>
                    <a:pt x="4562" y="4667"/>
                  </a:lnTo>
                  <a:lnTo>
                    <a:pt x="4415" y="4667"/>
                  </a:lnTo>
                  <a:lnTo>
                    <a:pt x="4373" y="4709"/>
                  </a:lnTo>
                  <a:lnTo>
                    <a:pt x="4206" y="4730"/>
                  </a:lnTo>
                  <a:lnTo>
                    <a:pt x="4206" y="4792"/>
                  </a:lnTo>
                  <a:lnTo>
                    <a:pt x="4143" y="4855"/>
                  </a:lnTo>
                  <a:lnTo>
                    <a:pt x="4080" y="4834"/>
                  </a:lnTo>
                  <a:lnTo>
                    <a:pt x="3955" y="4918"/>
                  </a:lnTo>
                  <a:lnTo>
                    <a:pt x="3871" y="4918"/>
                  </a:lnTo>
                  <a:lnTo>
                    <a:pt x="3850" y="4960"/>
                  </a:lnTo>
                  <a:lnTo>
                    <a:pt x="3955" y="4981"/>
                  </a:lnTo>
                  <a:lnTo>
                    <a:pt x="3997" y="5064"/>
                  </a:lnTo>
                  <a:lnTo>
                    <a:pt x="3934" y="5127"/>
                  </a:lnTo>
                  <a:lnTo>
                    <a:pt x="3871" y="5085"/>
                  </a:lnTo>
                  <a:lnTo>
                    <a:pt x="3850" y="5127"/>
                  </a:lnTo>
                  <a:lnTo>
                    <a:pt x="3934" y="5169"/>
                  </a:lnTo>
                  <a:lnTo>
                    <a:pt x="3892" y="5232"/>
                  </a:lnTo>
                  <a:lnTo>
                    <a:pt x="3787" y="5190"/>
                  </a:lnTo>
                  <a:lnTo>
                    <a:pt x="3766" y="5169"/>
                  </a:lnTo>
                  <a:lnTo>
                    <a:pt x="3746" y="5190"/>
                  </a:lnTo>
                  <a:lnTo>
                    <a:pt x="3829" y="5274"/>
                  </a:lnTo>
                  <a:lnTo>
                    <a:pt x="3766" y="5295"/>
                  </a:lnTo>
                  <a:lnTo>
                    <a:pt x="3787" y="5378"/>
                  </a:lnTo>
                  <a:lnTo>
                    <a:pt x="3850" y="5378"/>
                  </a:lnTo>
                  <a:lnTo>
                    <a:pt x="3787" y="5399"/>
                  </a:lnTo>
                  <a:lnTo>
                    <a:pt x="3725" y="5441"/>
                  </a:lnTo>
                  <a:lnTo>
                    <a:pt x="3662" y="5378"/>
                  </a:lnTo>
                  <a:lnTo>
                    <a:pt x="3662" y="5462"/>
                  </a:lnTo>
                  <a:lnTo>
                    <a:pt x="3641" y="5504"/>
                  </a:lnTo>
                  <a:lnTo>
                    <a:pt x="3683" y="5546"/>
                  </a:lnTo>
                  <a:lnTo>
                    <a:pt x="3850" y="5587"/>
                  </a:lnTo>
                  <a:lnTo>
                    <a:pt x="3871" y="5671"/>
                  </a:lnTo>
                  <a:lnTo>
                    <a:pt x="3934" y="5671"/>
                  </a:lnTo>
                  <a:lnTo>
                    <a:pt x="4039" y="5650"/>
                  </a:lnTo>
                  <a:lnTo>
                    <a:pt x="3955" y="5692"/>
                  </a:lnTo>
                  <a:lnTo>
                    <a:pt x="3955" y="5755"/>
                  </a:lnTo>
                  <a:lnTo>
                    <a:pt x="3850" y="5755"/>
                  </a:lnTo>
                  <a:lnTo>
                    <a:pt x="3829" y="5713"/>
                  </a:lnTo>
                  <a:lnTo>
                    <a:pt x="3662" y="5713"/>
                  </a:lnTo>
                  <a:lnTo>
                    <a:pt x="3557" y="5818"/>
                  </a:lnTo>
                  <a:lnTo>
                    <a:pt x="3578" y="5839"/>
                  </a:lnTo>
                  <a:lnTo>
                    <a:pt x="3683" y="5839"/>
                  </a:lnTo>
                  <a:lnTo>
                    <a:pt x="3725" y="5922"/>
                  </a:lnTo>
                  <a:lnTo>
                    <a:pt x="3766" y="5985"/>
                  </a:lnTo>
                  <a:lnTo>
                    <a:pt x="3766" y="6069"/>
                  </a:lnTo>
                  <a:lnTo>
                    <a:pt x="3683" y="6006"/>
                  </a:lnTo>
                  <a:lnTo>
                    <a:pt x="3641" y="6006"/>
                  </a:lnTo>
                  <a:lnTo>
                    <a:pt x="3578" y="6069"/>
                  </a:lnTo>
                  <a:lnTo>
                    <a:pt x="3578" y="6131"/>
                  </a:lnTo>
                  <a:lnTo>
                    <a:pt x="3557" y="6173"/>
                  </a:lnTo>
                  <a:lnTo>
                    <a:pt x="3620" y="6215"/>
                  </a:lnTo>
                  <a:lnTo>
                    <a:pt x="3641" y="6299"/>
                  </a:lnTo>
                  <a:lnTo>
                    <a:pt x="3578" y="6299"/>
                  </a:lnTo>
                  <a:lnTo>
                    <a:pt x="3515" y="6236"/>
                  </a:lnTo>
                  <a:lnTo>
                    <a:pt x="3474" y="6278"/>
                  </a:lnTo>
                  <a:lnTo>
                    <a:pt x="3474" y="6341"/>
                  </a:lnTo>
                  <a:lnTo>
                    <a:pt x="3578" y="6362"/>
                  </a:lnTo>
                  <a:lnTo>
                    <a:pt x="3578" y="6424"/>
                  </a:lnTo>
                  <a:lnTo>
                    <a:pt x="3578" y="6508"/>
                  </a:lnTo>
                  <a:lnTo>
                    <a:pt x="3453" y="6403"/>
                  </a:lnTo>
                  <a:lnTo>
                    <a:pt x="3411" y="6445"/>
                  </a:lnTo>
                  <a:lnTo>
                    <a:pt x="3411" y="6529"/>
                  </a:lnTo>
                  <a:lnTo>
                    <a:pt x="3432" y="6529"/>
                  </a:lnTo>
                  <a:lnTo>
                    <a:pt x="3432" y="6634"/>
                  </a:lnTo>
                  <a:lnTo>
                    <a:pt x="3474" y="6738"/>
                  </a:lnTo>
                  <a:lnTo>
                    <a:pt x="3536" y="6738"/>
                  </a:lnTo>
                  <a:lnTo>
                    <a:pt x="3578" y="6634"/>
                  </a:lnTo>
                  <a:lnTo>
                    <a:pt x="3641" y="6634"/>
                  </a:lnTo>
                  <a:lnTo>
                    <a:pt x="3578" y="6759"/>
                  </a:lnTo>
                  <a:lnTo>
                    <a:pt x="3536" y="6801"/>
                  </a:lnTo>
                  <a:lnTo>
                    <a:pt x="3432" y="6885"/>
                  </a:lnTo>
                  <a:lnTo>
                    <a:pt x="3348" y="6885"/>
                  </a:lnTo>
                  <a:lnTo>
                    <a:pt x="3264" y="6927"/>
                  </a:lnTo>
                  <a:lnTo>
                    <a:pt x="3264" y="6968"/>
                  </a:lnTo>
                  <a:lnTo>
                    <a:pt x="3202" y="7031"/>
                  </a:lnTo>
                  <a:lnTo>
                    <a:pt x="3118" y="7073"/>
                  </a:lnTo>
                  <a:lnTo>
                    <a:pt x="3202" y="7136"/>
                  </a:lnTo>
                  <a:lnTo>
                    <a:pt x="3160" y="7157"/>
                  </a:lnTo>
                  <a:lnTo>
                    <a:pt x="3013" y="7178"/>
                  </a:lnTo>
                  <a:lnTo>
                    <a:pt x="2950" y="7261"/>
                  </a:lnTo>
                  <a:lnTo>
                    <a:pt x="2950" y="7324"/>
                  </a:lnTo>
                  <a:lnTo>
                    <a:pt x="3055" y="7345"/>
                  </a:lnTo>
                  <a:lnTo>
                    <a:pt x="2992" y="7387"/>
                  </a:lnTo>
                  <a:lnTo>
                    <a:pt x="2930" y="7492"/>
                  </a:lnTo>
                  <a:lnTo>
                    <a:pt x="2846" y="7492"/>
                  </a:lnTo>
                  <a:lnTo>
                    <a:pt x="2825" y="7408"/>
                  </a:lnTo>
                  <a:lnTo>
                    <a:pt x="2783" y="7366"/>
                  </a:lnTo>
                  <a:lnTo>
                    <a:pt x="2741" y="7408"/>
                  </a:lnTo>
                  <a:lnTo>
                    <a:pt x="2678" y="7408"/>
                  </a:lnTo>
                  <a:lnTo>
                    <a:pt x="2699" y="7492"/>
                  </a:lnTo>
                  <a:lnTo>
                    <a:pt x="2637" y="7554"/>
                  </a:lnTo>
                  <a:lnTo>
                    <a:pt x="2637" y="7596"/>
                  </a:lnTo>
                  <a:lnTo>
                    <a:pt x="2678" y="7659"/>
                  </a:lnTo>
                  <a:lnTo>
                    <a:pt x="2532" y="7659"/>
                  </a:lnTo>
                  <a:lnTo>
                    <a:pt x="2490" y="7680"/>
                  </a:lnTo>
                  <a:lnTo>
                    <a:pt x="2490" y="7805"/>
                  </a:lnTo>
                  <a:lnTo>
                    <a:pt x="2386" y="7868"/>
                  </a:lnTo>
                  <a:lnTo>
                    <a:pt x="2406" y="7910"/>
                  </a:lnTo>
                  <a:lnTo>
                    <a:pt x="2386" y="8015"/>
                  </a:lnTo>
                  <a:lnTo>
                    <a:pt x="2302" y="8098"/>
                  </a:lnTo>
                  <a:lnTo>
                    <a:pt x="2197" y="8182"/>
                  </a:lnTo>
                  <a:lnTo>
                    <a:pt x="2218" y="8224"/>
                  </a:lnTo>
                  <a:lnTo>
                    <a:pt x="2365" y="8161"/>
                  </a:lnTo>
                  <a:lnTo>
                    <a:pt x="2406" y="8161"/>
                  </a:lnTo>
                  <a:lnTo>
                    <a:pt x="2406" y="8224"/>
                  </a:lnTo>
                  <a:lnTo>
                    <a:pt x="2323" y="8266"/>
                  </a:lnTo>
                  <a:lnTo>
                    <a:pt x="2323" y="8370"/>
                  </a:lnTo>
                  <a:lnTo>
                    <a:pt x="2386" y="8454"/>
                  </a:lnTo>
                  <a:lnTo>
                    <a:pt x="2511" y="8391"/>
                  </a:lnTo>
                  <a:lnTo>
                    <a:pt x="2637" y="8370"/>
                  </a:lnTo>
                  <a:lnTo>
                    <a:pt x="2804" y="8203"/>
                  </a:lnTo>
                  <a:lnTo>
                    <a:pt x="2804" y="8119"/>
                  </a:lnTo>
                  <a:lnTo>
                    <a:pt x="2720" y="8161"/>
                  </a:lnTo>
                  <a:lnTo>
                    <a:pt x="2804" y="8056"/>
                  </a:lnTo>
                  <a:lnTo>
                    <a:pt x="2825" y="7910"/>
                  </a:lnTo>
                  <a:lnTo>
                    <a:pt x="2846" y="7910"/>
                  </a:lnTo>
                  <a:lnTo>
                    <a:pt x="2909" y="7868"/>
                  </a:lnTo>
                  <a:lnTo>
                    <a:pt x="3013" y="7889"/>
                  </a:lnTo>
                  <a:lnTo>
                    <a:pt x="3055" y="7889"/>
                  </a:lnTo>
                  <a:lnTo>
                    <a:pt x="2909" y="7994"/>
                  </a:lnTo>
                  <a:lnTo>
                    <a:pt x="2909" y="8056"/>
                  </a:lnTo>
                  <a:lnTo>
                    <a:pt x="3055" y="8098"/>
                  </a:lnTo>
                  <a:lnTo>
                    <a:pt x="3013" y="8182"/>
                  </a:lnTo>
                  <a:lnTo>
                    <a:pt x="2930" y="8182"/>
                  </a:lnTo>
                  <a:lnTo>
                    <a:pt x="2783" y="8370"/>
                  </a:lnTo>
                  <a:lnTo>
                    <a:pt x="2888" y="8412"/>
                  </a:lnTo>
                  <a:lnTo>
                    <a:pt x="2804" y="8496"/>
                  </a:lnTo>
                  <a:lnTo>
                    <a:pt x="2825" y="8600"/>
                  </a:lnTo>
                  <a:lnTo>
                    <a:pt x="2720" y="8580"/>
                  </a:lnTo>
                  <a:lnTo>
                    <a:pt x="2637" y="8496"/>
                  </a:lnTo>
                  <a:lnTo>
                    <a:pt x="2511" y="8496"/>
                  </a:lnTo>
                  <a:lnTo>
                    <a:pt x="2427" y="8538"/>
                  </a:lnTo>
                  <a:lnTo>
                    <a:pt x="2427" y="8642"/>
                  </a:lnTo>
                  <a:lnTo>
                    <a:pt x="2365" y="8705"/>
                  </a:lnTo>
                  <a:lnTo>
                    <a:pt x="2260" y="8747"/>
                  </a:lnTo>
                  <a:lnTo>
                    <a:pt x="2260" y="8747"/>
                  </a:lnTo>
                  <a:lnTo>
                    <a:pt x="2323" y="8684"/>
                  </a:lnTo>
                  <a:lnTo>
                    <a:pt x="2386" y="8642"/>
                  </a:lnTo>
                  <a:lnTo>
                    <a:pt x="2302" y="8538"/>
                  </a:lnTo>
                  <a:lnTo>
                    <a:pt x="2302" y="8433"/>
                  </a:lnTo>
                  <a:lnTo>
                    <a:pt x="2218" y="8328"/>
                  </a:lnTo>
                  <a:lnTo>
                    <a:pt x="2155" y="8328"/>
                  </a:lnTo>
                  <a:lnTo>
                    <a:pt x="2093" y="8412"/>
                  </a:lnTo>
                  <a:lnTo>
                    <a:pt x="1988" y="8412"/>
                  </a:lnTo>
                  <a:lnTo>
                    <a:pt x="1988" y="8454"/>
                  </a:lnTo>
                  <a:lnTo>
                    <a:pt x="2155" y="8454"/>
                  </a:lnTo>
                  <a:lnTo>
                    <a:pt x="1988" y="8600"/>
                  </a:lnTo>
                  <a:lnTo>
                    <a:pt x="1883" y="8580"/>
                  </a:lnTo>
                  <a:lnTo>
                    <a:pt x="1800" y="8580"/>
                  </a:lnTo>
                  <a:lnTo>
                    <a:pt x="1695" y="8684"/>
                  </a:lnTo>
                  <a:lnTo>
                    <a:pt x="1758" y="8705"/>
                  </a:lnTo>
                  <a:lnTo>
                    <a:pt x="1842" y="8684"/>
                  </a:lnTo>
                  <a:lnTo>
                    <a:pt x="1862" y="8705"/>
                  </a:lnTo>
                  <a:lnTo>
                    <a:pt x="1737" y="8789"/>
                  </a:lnTo>
                  <a:lnTo>
                    <a:pt x="1674" y="8831"/>
                  </a:lnTo>
                  <a:lnTo>
                    <a:pt x="1632" y="8789"/>
                  </a:lnTo>
                  <a:lnTo>
                    <a:pt x="1549" y="8789"/>
                  </a:lnTo>
                  <a:lnTo>
                    <a:pt x="1549" y="8831"/>
                  </a:lnTo>
                  <a:lnTo>
                    <a:pt x="1674" y="8914"/>
                  </a:lnTo>
                  <a:lnTo>
                    <a:pt x="1800" y="8914"/>
                  </a:lnTo>
                  <a:lnTo>
                    <a:pt x="1779" y="8977"/>
                  </a:lnTo>
                  <a:lnTo>
                    <a:pt x="1862" y="9019"/>
                  </a:lnTo>
                  <a:lnTo>
                    <a:pt x="1842" y="9103"/>
                  </a:lnTo>
                  <a:lnTo>
                    <a:pt x="1695" y="9040"/>
                  </a:lnTo>
                  <a:lnTo>
                    <a:pt x="1695" y="8956"/>
                  </a:lnTo>
                  <a:lnTo>
                    <a:pt x="1590" y="8956"/>
                  </a:lnTo>
                  <a:lnTo>
                    <a:pt x="1486" y="8893"/>
                  </a:lnTo>
                  <a:lnTo>
                    <a:pt x="1465" y="8810"/>
                  </a:lnTo>
                  <a:lnTo>
                    <a:pt x="1444" y="8810"/>
                  </a:lnTo>
                  <a:lnTo>
                    <a:pt x="1423" y="8914"/>
                  </a:lnTo>
                  <a:lnTo>
                    <a:pt x="1528" y="9040"/>
                  </a:lnTo>
                  <a:lnTo>
                    <a:pt x="1632" y="9124"/>
                  </a:lnTo>
                  <a:lnTo>
                    <a:pt x="1695" y="9124"/>
                  </a:lnTo>
                  <a:lnTo>
                    <a:pt x="1758" y="9165"/>
                  </a:lnTo>
                  <a:lnTo>
                    <a:pt x="1653" y="9165"/>
                  </a:lnTo>
                  <a:lnTo>
                    <a:pt x="1486" y="9124"/>
                  </a:lnTo>
                  <a:lnTo>
                    <a:pt x="1360" y="8956"/>
                  </a:lnTo>
                  <a:lnTo>
                    <a:pt x="1277" y="8977"/>
                  </a:lnTo>
                  <a:lnTo>
                    <a:pt x="1214" y="8935"/>
                  </a:lnTo>
                  <a:lnTo>
                    <a:pt x="1067" y="8935"/>
                  </a:lnTo>
                  <a:lnTo>
                    <a:pt x="1026" y="8893"/>
                  </a:lnTo>
                  <a:lnTo>
                    <a:pt x="963" y="8935"/>
                  </a:lnTo>
                  <a:lnTo>
                    <a:pt x="1005" y="9019"/>
                  </a:lnTo>
                  <a:lnTo>
                    <a:pt x="942" y="9061"/>
                  </a:lnTo>
                  <a:lnTo>
                    <a:pt x="1026" y="9165"/>
                  </a:lnTo>
                  <a:lnTo>
                    <a:pt x="1214" y="9124"/>
                  </a:lnTo>
                  <a:lnTo>
                    <a:pt x="1235" y="9144"/>
                  </a:lnTo>
                  <a:lnTo>
                    <a:pt x="1151" y="9207"/>
                  </a:lnTo>
                  <a:lnTo>
                    <a:pt x="1214" y="9228"/>
                  </a:lnTo>
                  <a:lnTo>
                    <a:pt x="1339" y="9165"/>
                  </a:lnTo>
                  <a:lnTo>
                    <a:pt x="1423" y="9165"/>
                  </a:lnTo>
                  <a:lnTo>
                    <a:pt x="1381" y="9228"/>
                  </a:lnTo>
                  <a:lnTo>
                    <a:pt x="1214" y="9312"/>
                  </a:lnTo>
                  <a:lnTo>
                    <a:pt x="1151" y="9375"/>
                  </a:lnTo>
                  <a:lnTo>
                    <a:pt x="1026" y="9354"/>
                  </a:lnTo>
                  <a:lnTo>
                    <a:pt x="942" y="9228"/>
                  </a:lnTo>
                  <a:lnTo>
                    <a:pt x="900" y="9228"/>
                  </a:lnTo>
                  <a:lnTo>
                    <a:pt x="837" y="9270"/>
                  </a:lnTo>
                  <a:lnTo>
                    <a:pt x="753" y="9207"/>
                  </a:lnTo>
                  <a:lnTo>
                    <a:pt x="691" y="9249"/>
                  </a:lnTo>
                  <a:lnTo>
                    <a:pt x="628" y="9228"/>
                  </a:lnTo>
                  <a:lnTo>
                    <a:pt x="544" y="9270"/>
                  </a:lnTo>
                  <a:lnTo>
                    <a:pt x="586" y="9333"/>
                  </a:lnTo>
                  <a:lnTo>
                    <a:pt x="753" y="9354"/>
                  </a:lnTo>
                  <a:lnTo>
                    <a:pt x="858" y="9416"/>
                  </a:lnTo>
                  <a:lnTo>
                    <a:pt x="1005" y="9479"/>
                  </a:lnTo>
                  <a:lnTo>
                    <a:pt x="963" y="9584"/>
                  </a:lnTo>
                  <a:lnTo>
                    <a:pt x="1026" y="9668"/>
                  </a:lnTo>
                  <a:lnTo>
                    <a:pt x="921" y="9688"/>
                  </a:lnTo>
                  <a:lnTo>
                    <a:pt x="900" y="9668"/>
                  </a:lnTo>
                  <a:lnTo>
                    <a:pt x="900" y="9500"/>
                  </a:lnTo>
                  <a:lnTo>
                    <a:pt x="795" y="9479"/>
                  </a:lnTo>
                  <a:lnTo>
                    <a:pt x="691" y="9479"/>
                  </a:lnTo>
                  <a:lnTo>
                    <a:pt x="733" y="9563"/>
                  </a:lnTo>
                  <a:lnTo>
                    <a:pt x="712" y="9626"/>
                  </a:lnTo>
                  <a:lnTo>
                    <a:pt x="586" y="9542"/>
                  </a:lnTo>
                  <a:lnTo>
                    <a:pt x="481" y="9668"/>
                  </a:lnTo>
                  <a:lnTo>
                    <a:pt x="586" y="9730"/>
                  </a:lnTo>
                  <a:lnTo>
                    <a:pt x="502" y="9751"/>
                  </a:lnTo>
                  <a:lnTo>
                    <a:pt x="440" y="9772"/>
                  </a:lnTo>
                  <a:lnTo>
                    <a:pt x="398" y="9668"/>
                  </a:lnTo>
                  <a:lnTo>
                    <a:pt x="230" y="9647"/>
                  </a:lnTo>
                  <a:lnTo>
                    <a:pt x="293" y="9772"/>
                  </a:lnTo>
                  <a:lnTo>
                    <a:pt x="209" y="9793"/>
                  </a:lnTo>
                  <a:lnTo>
                    <a:pt x="189" y="9688"/>
                  </a:lnTo>
                  <a:lnTo>
                    <a:pt x="105" y="9626"/>
                  </a:lnTo>
                  <a:lnTo>
                    <a:pt x="63" y="9647"/>
                  </a:lnTo>
                  <a:lnTo>
                    <a:pt x="63" y="9688"/>
                  </a:lnTo>
                  <a:lnTo>
                    <a:pt x="168" y="9793"/>
                  </a:lnTo>
                  <a:lnTo>
                    <a:pt x="105" y="9856"/>
                  </a:lnTo>
                  <a:lnTo>
                    <a:pt x="168" y="9898"/>
                  </a:lnTo>
                  <a:lnTo>
                    <a:pt x="293" y="9877"/>
                  </a:lnTo>
                  <a:lnTo>
                    <a:pt x="481" y="9898"/>
                  </a:lnTo>
                  <a:lnTo>
                    <a:pt x="586" y="9981"/>
                  </a:lnTo>
                  <a:lnTo>
                    <a:pt x="733" y="9981"/>
                  </a:lnTo>
                  <a:lnTo>
                    <a:pt x="795" y="9940"/>
                  </a:lnTo>
                  <a:lnTo>
                    <a:pt x="858" y="9940"/>
                  </a:lnTo>
                  <a:lnTo>
                    <a:pt x="753" y="10023"/>
                  </a:lnTo>
                  <a:lnTo>
                    <a:pt x="607" y="10023"/>
                  </a:lnTo>
                  <a:lnTo>
                    <a:pt x="544" y="10065"/>
                  </a:lnTo>
                  <a:lnTo>
                    <a:pt x="377" y="9960"/>
                  </a:lnTo>
                  <a:lnTo>
                    <a:pt x="272" y="9981"/>
                  </a:lnTo>
                  <a:lnTo>
                    <a:pt x="209" y="9981"/>
                  </a:lnTo>
                  <a:lnTo>
                    <a:pt x="126" y="10023"/>
                  </a:lnTo>
                  <a:lnTo>
                    <a:pt x="0" y="10065"/>
                  </a:lnTo>
                  <a:lnTo>
                    <a:pt x="0" y="10107"/>
                  </a:lnTo>
                  <a:lnTo>
                    <a:pt x="189" y="10191"/>
                  </a:lnTo>
                  <a:lnTo>
                    <a:pt x="105" y="10274"/>
                  </a:lnTo>
                  <a:lnTo>
                    <a:pt x="209" y="10295"/>
                  </a:lnTo>
                  <a:lnTo>
                    <a:pt x="272" y="10253"/>
                  </a:lnTo>
                  <a:lnTo>
                    <a:pt x="419" y="10253"/>
                  </a:lnTo>
                  <a:lnTo>
                    <a:pt x="314" y="10316"/>
                  </a:lnTo>
                  <a:lnTo>
                    <a:pt x="126" y="10316"/>
                  </a:lnTo>
                  <a:lnTo>
                    <a:pt x="105" y="10358"/>
                  </a:lnTo>
                  <a:lnTo>
                    <a:pt x="63" y="10358"/>
                  </a:lnTo>
                  <a:lnTo>
                    <a:pt x="63" y="10379"/>
                  </a:lnTo>
                  <a:lnTo>
                    <a:pt x="126" y="10400"/>
                  </a:lnTo>
                  <a:lnTo>
                    <a:pt x="189" y="10400"/>
                  </a:lnTo>
                  <a:lnTo>
                    <a:pt x="105" y="10463"/>
                  </a:lnTo>
                  <a:lnTo>
                    <a:pt x="63" y="10484"/>
                  </a:lnTo>
                  <a:lnTo>
                    <a:pt x="63" y="10525"/>
                  </a:lnTo>
                  <a:lnTo>
                    <a:pt x="105" y="10546"/>
                  </a:lnTo>
                  <a:lnTo>
                    <a:pt x="168" y="10630"/>
                  </a:lnTo>
                  <a:lnTo>
                    <a:pt x="293" y="10630"/>
                  </a:lnTo>
                  <a:lnTo>
                    <a:pt x="335" y="10588"/>
                  </a:lnTo>
                  <a:lnTo>
                    <a:pt x="523" y="10546"/>
                  </a:lnTo>
                  <a:lnTo>
                    <a:pt x="649" y="10588"/>
                  </a:lnTo>
                  <a:lnTo>
                    <a:pt x="691" y="10609"/>
                  </a:lnTo>
                  <a:lnTo>
                    <a:pt x="753" y="10546"/>
                  </a:lnTo>
                  <a:lnTo>
                    <a:pt x="753" y="10484"/>
                  </a:lnTo>
                  <a:lnTo>
                    <a:pt x="837" y="10463"/>
                  </a:lnTo>
                  <a:lnTo>
                    <a:pt x="858" y="10525"/>
                  </a:lnTo>
                  <a:lnTo>
                    <a:pt x="963" y="10525"/>
                  </a:lnTo>
                  <a:lnTo>
                    <a:pt x="1067" y="10421"/>
                  </a:lnTo>
                  <a:lnTo>
                    <a:pt x="1130" y="10463"/>
                  </a:lnTo>
                  <a:lnTo>
                    <a:pt x="1130" y="10505"/>
                  </a:lnTo>
                  <a:lnTo>
                    <a:pt x="1046" y="10525"/>
                  </a:lnTo>
                  <a:lnTo>
                    <a:pt x="1151" y="10588"/>
                  </a:lnTo>
                  <a:lnTo>
                    <a:pt x="1214" y="10525"/>
                  </a:lnTo>
                  <a:lnTo>
                    <a:pt x="1214" y="10463"/>
                  </a:lnTo>
                  <a:lnTo>
                    <a:pt x="1277" y="10358"/>
                  </a:lnTo>
                  <a:lnTo>
                    <a:pt x="1256" y="10421"/>
                  </a:lnTo>
                  <a:lnTo>
                    <a:pt x="1339" y="10525"/>
                  </a:lnTo>
                  <a:lnTo>
                    <a:pt x="1277" y="10609"/>
                  </a:lnTo>
                  <a:lnTo>
                    <a:pt x="1130" y="10672"/>
                  </a:lnTo>
                  <a:lnTo>
                    <a:pt x="1046" y="10714"/>
                  </a:lnTo>
                  <a:lnTo>
                    <a:pt x="1109" y="10735"/>
                  </a:lnTo>
                  <a:lnTo>
                    <a:pt x="1046" y="10839"/>
                  </a:lnTo>
                  <a:lnTo>
                    <a:pt x="921" y="10839"/>
                  </a:lnTo>
                  <a:lnTo>
                    <a:pt x="921" y="10797"/>
                  </a:lnTo>
                  <a:lnTo>
                    <a:pt x="963" y="10735"/>
                  </a:lnTo>
                  <a:lnTo>
                    <a:pt x="942" y="10630"/>
                  </a:lnTo>
                  <a:lnTo>
                    <a:pt x="837" y="10609"/>
                  </a:lnTo>
                  <a:lnTo>
                    <a:pt x="733" y="10735"/>
                  </a:lnTo>
                  <a:lnTo>
                    <a:pt x="712" y="10797"/>
                  </a:lnTo>
                  <a:lnTo>
                    <a:pt x="628" y="10693"/>
                  </a:lnTo>
                  <a:lnTo>
                    <a:pt x="523" y="10672"/>
                  </a:lnTo>
                  <a:lnTo>
                    <a:pt x="419" y="10693"/>
                  </a:lnTo>
                  <a:lnTo>
                    <a:pt x="335" y="10672"/>
                  </a:lnTo>
                  <a:lnTo>
                    <a:pt x="209" y="10735"/>
                  </a:lnTo>
                  <a:lnTo>
                    <a:pt x="126" y="10735"/>
                  </a:lnTo>
                  <a:lnTo>
                    <a:pt x="63" y="10693"/>
                  </a:lnTo>
                  <a:lnTo>
                    <a:pt x="21" y="10693"/>
                  </a:lnTo>
                  <a:lnTo>
                    <a:pt x="63" y="10797"/>
                  </a:lnTo>
                  <a:lnTo>
                    <a:pt x="21" y="10839"/>
                  </a:lnTo>
                  <a:lnTo>
                    <a:pt x="84" y="10902"/>
                  </a:lnTo>
                  <a:lnTo>
                    <a:pt x="168" y="10881"/>
                  </a:lnTo>
                  <a:lnTo>
                    <a:pt x="209" y="10818"/>
                  </a:lnTo>
                  <a:lnTo>
                    <a:pt x="293" y="10818"/>
                  </a:lnTo>
                  <a:lnTo>
                    <a:pt x="209" y="10902"/>
                  </a:lnTo>
                  <a:lnTo>
                    <a:pt x="209" y="11007"/>
                  </a:lnTo>
                  <a:lnTo>
                    <a:pt x="168" y="11049"/>
                  </a:lnTo>
                  <a:lnTo>
                    <a:pt x="84" y="11007"/>
                  </a:lnTo>
                  <a:lnTo>
                    <a:pt x="126" y="11132"/>
                  </a:lnTo>
                  <a:lnTo>
                    <a:pt x="189" y="11195"/>
                  </a:lnTo>
                  <a:lnTo>
                    <a:pt x="335" y="11007"/>
                  </a:lnTo>
                  <a:lnTo>
                    <a:pt x="481" y="11049"/>
                  </a:lnTo>
                  <a:lnTo>
                    <a:pt x="419" y="11111"/>
                  </a:lnTo>
                  <a:lnTo>
                    <a:pt x="419" y="11195"/>
                  </a:lnTo>
                  <a:lnTo>
                    <a:pt x="293" y="11258"/>
                  </a:lnTo>
                  <a:lnTo>
                    <a:pt x="314" y="11300"/>
                  </a:lnTo>
                  <a:lnTo>
                    <a:pt x="398" y="11321"/>
                  </a:lnTo>
                  <a:lnTo>
                    <a:pt x="377" y="11404"/>
                  </a:lnTo>
                  <a:lnTo>
                    <a:pt x="419" y="11467"/>
                  </a:lnTo>
                  <a:lnTo>
                    <a:pt x="377" y="11572"/>
                  </a:lnTo>
                  <a:lnTo>
                    <a:pt x="419" y="11572"/>
                  </a:lnTo>
                  <a:lnTo>
                    <a:pt x="502" y="11446"/>
                  </a:lnTo>
                  <a:lnTo>
                    <a:pt x="586" y="11425"/>
                  </a:lnTo>
                  <a:lnTo>
                    <a:pt x="607" y="11300"/>
                  </a:lnTo>
                  <a:lnTo>
                    <a:pt x="816" y="11216"/>
                  </a:lnTo>
                  <a:lnTo>
                    <a:pt x="921" y="11216"/>
                  </a:lnTo>
                  <a:lnTo>
                    <a:pt x="1005" y="11195"/>
                  </a:lnTo>
                  <a:lnTo>
                    <a:pt x="942" y="11237"/>
                  </a:lnTo>
                  <a:lnTo>
                    <a:pt x="837" y="11321"/>
                  </a:lnTo>
                  <a:lnTo>
                    <a:pt x="837" y="11446"/>
                  </a:lnTo>
                  <a:lnTo>
                    <a:pt x="858" y="11530"/>
                  </a:lnTo>
                  <a:lnTo>
                    <a:pt x="795" y="11467"/>
                  </a:lnTo>
                  <a:lnTo>
                    <a:pt x="753" y="11341"/>
                  </a:lnTo>
                  <a:lnTo>
                    <a:pt x="712" y="11341"/>
                  </a:lnTo>
                  <a:lnTo>
                    <a:pt x="628" y="11467"/>
                  </a:lnTo>
                  <a:lnTo>
                    <a:pt x="586" y="11509"/>
                  </a:lnTo>
                  <a:lnTo>
                    <a:pt x="691" y="11530"/>
                  </a:lnTo>
                  <a:lnTo>
                    <a:pt x="586" y="11655"/>
                  </a:lnTo>
                  <a:lnTo>
                    <a:pt x="502" y="11655"/>
                  </a:lnTo>
                  <a:lnTo>
                    <a:pt x="481" y="11739"/>
                  </a:lnTo>
                  <a:lnTo>
                    <a:pt x="523" y="11760"/>
                  </a:lnTo>
                  <a:lnTo>
                    <a:pt x="691" y="11760"/>
                  </a:lnTo>
                  <a:lnTo>
                    <a:pt x="733" y="11823"/>
                  </a:lnTo>
                  <a:lnTo>
                    <a:pt x="607" y="11844"/>
                  </a:lnTo>
                  <a:lnTo>
                    <a:pt x="586" y="11885"/>
                  </a:lnTo>
                  <a:lnTo>
                    <a:pt x="544" y="11969"/>
                  </a:lnTo>
                  <a:lnTo>
                    <a:pt x="440" y="11885"/>
                  </a:lnTo>
                  <a:lnTo>
                    <a:pt x="398" y="11927"/>
                  </a:lnTo>
                  <a:lnTo>
                    <a:pt x="377" y="12032"/>
                  </a:lnTo>
                  <a:lnTo>
                    <a:pt x="335" y="11885"/>
                  </a:lnTo>
                  <a:lnTo>
                    <a:pt x="272" y="11948"/>
                  </a:lnTo>
                  <a:lnTo>
                    <a:pt x="168" y="12074"/>
                  </a:lnTo>
                  <a:lnTo>
                    <a:pt x="209" y="12178"/>
                  </a:lnTo>
                  <a:lnTo>
                    <a:pt x="335" y="12367"/>
                  </a:lnTo>
                  <a:lnTo>
                    <a:pt x="398" y="12262"/>
                  </a:lnTo>
                  <a:lnTo>
                    <a:pt x="419" y="12283"/>
                  </a:lnTo>
                  <a:lnTo>
                    <a:pt x="502" y="12262"/>
                  </a:lnTo>
                  <a:lnTo>
                    <a:pt x="481" y="12199"/>
                  </a:lnTo>
                  <a:lnTo>
                    <a:pt x="523" y="12095"/>
                  </a:lnTo>
                  <a:lnTo>
                    <a:pt x="649" y="12178"/>
                  </a:lnTo>
                  <a:lnTo>
                    <a:pt x="607" y="12241"/>
                  </a:lnTo>
                  <a:lnTo>
                    <a:pt x="649" y="12304"/>
                  </a:lnTo>
                  <a:lnTo>
                    <a:pt x="628" y="12388"/>
                  </a:lnTo>
                  <a:lnTo>
                    <a:pt x="586" y="12450"/>
                  </a:lnTo>
                  <a:lnTo>
                    <a:pt x="628" y="12597"/>
                  </a:lnTo>
                  <a:lnTo>
                    <a:pt x="691" y="12555"/>
                  </a:lnTo>
                  <a:lnTo>
                    <a:pt x="816" y="12513"/>
                  </a:lnTo>
                  <a:lnTo>
                    <a:pt x="900" y="12597"/>
                  </a:lnTo>
                  <a:lnTo>
                    <a:pt x="753" y="12597"/>
                  </a:lnTo>
                  <a:lnTo>
                    <a:pt x="712" y="12639"/>
                  </a:lnTo>
                  <a:lnTo>
                    <a:pt x="753" y="12722"/>
                  </a:lnTo>
                  <a:lnTo>
                    <a:pt x="753" y="12785"/>
                  </a:lnTo>
                  <a:lnTo>
                    <a:pt x="544" y="12618"/>
                  </a:lnTo>
                  <a:lnTo>
                    <a:pt x="481" y="12639"/>
                  </a:lnTo>
                  <a:lnTo>
                    <a:pt x="419" y="12597"/>
                  </a:lnTo>
                  <a:lnTo>
                    <a:pt x="314" y="12597"/>
                  </a:lnTo>
                  <a:lnTo>
                    <a:pt x="314" y="12701"/>
                  </a:lnTo>
                  <a:lnTo>
                    <a:pt x="272" y="12764"/>
                  </a:lnTo>
                  <a:lnTo>
                    <a:pt x="419" y="12994"/>
                  </a:lnTo>
                  <a:lnTo>
                    <a:pt x="523" y="13015"/>
                  </a:lnTo>
                  <a:lnTo>
                    <a:pt x="691" y="13141"/>
                  </a:lnTo>
                  <a:lnTo>
                    <a:pt x="900" y="13245"/>
                  </a:lnTo>
                  <a:lnTo>
                    <a:pt x="921" y="13308"/>
                  </a:lnTo>
                  <a:lnTo>
                    <a:pt x="858" y="13329"/>
                  </a:lnTo>
                  <a:lnTo>
                    <a:pt x="963" y="13413"/>
                  </a:lnTo>
                  <a:lnTo>
                    <a:pt x="1026" y="13392"/>
                  </a:lnTo>
                  <a:lnTo>
                    <a:pt x="1005" y="13287"/>
                  </a:lnTo>
                  <a:lnTo>
                    <a:pt x="1067" y="13287"/>
                  </a:lnTo>
                  <a:lnTo>
                    <a:pt x="1151" y="13329"/>
                  </a:lnTo>
                  <a:lnTo>
                    <a:pt x="1130" y="13350"/>
                  </a:lnTo>
                  <a:lnTo>
                    <a:pt x="1235" y="13497"/>
                  </a:lnTo>
                  <a:lnTo>
                    <a:pt x="1277" y="13434"/>
                  </a:lnTo>
                  <a:lnTo>
                    <a:pt x="1339" y="13455"/>
                  </a:lnTo>
                  <a:lnTo>
                    <a:pt x="1444" y="13413"/>
                  </a:lnTo>
                  <a:lnTo>
                    <a:pt x="1570" y="13308"/>
                  </a:lnTo>
                  <a:lnTo>
                    <a:pt x="1632" y="13287"/>
                  </a:lnTo>
                  <a:lnTo>
                    <a:pt x="1653" y="13225"/>
                  </a:lnTo>
                  <a:lnTo>
                    <a:pt x="1674" y="13245"/>
                  </a:lnTo>
                  <a:lnTo>
                    <a:pt x="1695" y="13329"/>
                  </a:lnTo>
                  <a:lnTo>
                    <a:pt x="1779" y="13329"/>
                  </a:lnTo>
                  <a:lnTo>
                    <a:pt x="1988" y="13120"/>
                  </a:lnTo>
                  <a:lnTo>
                    <a:pt x="1967" y="13078"/>
                  </a:lnTo>
                  <a:lnTo>
                    <a:pt x="1883" y="12932"/>
                  </a:lnTo>
                  <a:lnTo>
                    <a:pt x="2051" y="13036"/>
                  </a:lnTo>
                  <a:lnTo>
                    <a:pt x="2155" y="12911"/>
                  </a:lnTo>
                  <a:lnTo>
                    <a:pt x="2114" y="12890"/>
                  </a:lnTo>
                  <a:lnTo>
                    <a:pt x="2197" y="12827"/>
                  </a:lnTo>
                  <a:lnTo>
                    <a:pt x="2176" y="12764"/>
                  </a:lnTo>
                  <a:lnTo>
                    <a:pt x="2281" y="12701"/>
                  </a:lnTo>
                  <a:lnTo>
                    <a:pt x="2386" y="12681"/>
                  </a:lnTo>
                  <a:lnTo>
                    <a:pt x="2386" y="12597"/>
                  </a:lnTo>
                  <a:lnTo>
                    <a:pt x="2302" y="12492"/>
                  </a:lnTo>
                  <a:lnTo>
                    <a:pt x="2323" y="12409"/>
                  </a:lnTo>
                  <a:lnTo>
                    <a:pt x="2260" y="12304"/>
                  </a:lnTo>
                  <a:lnTo>
                    <a:pt x="2155" y="12241"/>
                  </a:lnTo>
                  <a:lnTo>
                    <a:pt x="2176" y="12157"/>
                  </a:lnTo>
                  <a:lnTo>
                    <a:pt x="2218" y="12178"/>
                  </a:lnTo>
                  <a:lnTo>
                    <a:pt x="2323" y="12304"/>
                  </a:lnTo>
                  <a:lnTo>
                    <a:pt x="2386" y="12471"/>
                  </a:lnTo>
                  <a:lnTo>
                    <a:pt x="2406" y="12492"/>
                  </a:lnTo>
                  <a:lnTo>
                    <a:pt x="2490" y="12513"/>
                  </a:lnTo>
                  <a:lnTo>
                    <a:pt x="2469" y="12576"/>
                  </a:lnTo>
                  <a:lnTo>
                    <a:pt x="2511" y="12639"/>
                  </a:lnTo>
                  <a:lnTo>
                    <a:pt x="2616" y="12597"/>
                  </a:lnTo>
                  <a:lnTo>
                    <a:pt x="2595" y="12513"/>
                  </a:lnTo>
                  <a:lnTo>
                    <a:pt x="2532" y="12492"/>
                  </a:lnTo>
                  <a:lnTo>
                    <a:pt x="2595" y="12409"/>
                  </a:lnTo>
                  <a:lnTo>
                    <a:pt x="2678" y="12492"/>
                  </a:lnTo>
                  <a:lnTo>
                    <a:pt x="2699" y="12555"/>
                  </a:lnTo>
                  <a:lnTo>
                    <a:pt x="2825" y="12409"/>
                  </a:lnTo>
                  <a:lnTo>
                    <a:pt x="2846" y="12283"/>
                  </a:lnTo>
                  <a:lnTo>
                    <a:pt x="2825" y="12178"/>
                  </a:lnTo>
                  <a:lnTo>
                    <a:pt x="2741" y="12157"/>
                  </a:lnTo>
                  <a:lnTo>
                    <a:pt x="2720" y="12074"/>
                  </a:lnTo>
                  <a:lnTo>
                    <a:pt x="2783" y="12053"/>
                  </a:lnTo>
                  <a:lnTo>
                    <a:pt x="2783" y="11990"/>
                  </a:lnTo>
                  <a:lnTo>
                    <a:pt x="2825" y="11990"/>
                  </a:lnTo>
                  <a:lnTo>
                    <a:pt x="2888" y="11948"/>
                  </a:lnTo>
                  <a:lnTo>
                    <a:pt x="2825" y="11865"/>
                  </a:lnTo>
                  <a:lnTo>
                    <a:pt x="2825" y="11760"/>
                  </a:lnTo>
                  <a:lnTo>
                    <a:pt x="2909" y="11718"/>
                  </a:lnTo>
                  <a:lnTo>
                    <a:pt x="2992" y="11781"/>
                  </a:lnTo>
                  <a:lnTo>
                    <a:pt x="2930" y="11885"/>
                  </a:lnTo>
                  <a:lnTo>
                    <a:pt x="2950" y="12032"/>
                  </a:lnTo>
                  <a:lnTo>
                    <a:pt x="2930" y="12095"/>
                  </a:lnTo>
                  <a:lnTo>
                    <a:pt x="2992" y="12199"/>
                  </a:lnTo>
                  <a:lnTo>
                    <a:pt x="3013" y="12283"/>
                  </a:lnTo>
                  <a:lnTo>
                    <a:pt x="3118" y="12409"/>
                  </a:lnTo>
                  <a:lnTo>
                    <a:pt x="3264" y="12409"/>
                  </a:lnTo>
                  <a:lnTo>
                    <a:pt x="3327" y="12450"/>
                  </a:lnTo>
                  <a:lnTo>
                    <a:pt x="3264" y="12492"/>
                  </a:lnTo>
                  <a:lnTo>
                    <a:pt x="3348" y="12555"/>
                  </a:lnTo>
                  <a:lnTo>
                    <a:pt x="3432" y="12639"/>
                  </a:lnTo>
                  <a:lnTo>
                    <a:pt x="3474" y="12555"/>
                  </a:lnTo>
                  <a:lnTo>
                    <a:pt x="3453" y="12178"/>
                  </a:lnTo>
                  <a:lnTo>
                    <a:pt x="3369" y="12032"/>
                  </a:lnTo>
                  <a:lnTo>
                    <a:pt x="3432" y="11948"/>
                  </a:lnTo>
                  <a:lnTo>
                    <a:pt x="3515" y="11885"/>
                  </a:lnTo>
                  <a:lnTo>
                    <a:pt x="3432" y="11781"/>
                  </a:lnTo>
                  <a:lnTo>
                    <a:pt x="3474" y="11718"/>
                  </a:lnTo>
                  <a:lnTo>
                    <a:pt x="3662" y="11676"/>
                  </a:lnTo>
                  <a:lnTo>
                    <a:pt x="3683" y="11593"/>
                  </a:lnTo>
                  <a:lnTo>
                    <a:pt x="3683" y="11467"/>
                  </a:lnTo>
                  <a:lnTo>
                    <a:pt x="3766" y="11321"/>
                  </a:lnTo>
                  <a:lnTo>
                    <a:pt x="3683" y="11195"/>
                  </a:lnTo>
                  <a:lnTo>
                    <a:pt x="3662" y="10923"/>
                  </a:lnTo>
                  <a:lnTo>
                    <a:pt x="3536" y="10714"/>
                  </a:lnTo>
                  <a:lnTo>
                    <a:pt x="3557" y="10609"/>
                  </a:lnTo>
                  <a:lnTo>
                    <a:pt x="3829" y="10525"/>
                  </a:lnTo>
                  <a:lnTo>
                    <a:pt x="3829" y="10358"/>
                  </a:lnTo>
                  <a:lnTo>
                    <a:pt x="3871" y="10212"/>
                  </a:lnTo>
                  <a:lnTo>
                    <a:pt x="3662" y="10002"/>
                  </a:lnTo>
                  <a:lnTo>
                    <a:pt x="3515" y="9898"/>
                  </a:lnTo>
                  <a:lnTo>
                    <a:pt x="3515" y="9688"/>
                  </a:lnTo>
                  <a:lnTo>
                    <a:pt x="3536" y="9479"/>
                  </a:lnTo>
                  <a:lnTo>
                    <a:pt x="3515" y="9249"/>
                  </a:lnTo>
                  <a:lnTo>
                    <a:pt x="3453" y="9103"/>
                  </a:lnTo>
                  <a:lnTo>
                    <a:pt x="3515" y="8914"/>
                  </a:lnTo>
                  <a:lnTo>
                    <a:pt x="3453" y="8621"/>
                  </a:lnTo>
                  <a:lnTo>
                    <a:pt x="3411" y="8308"/>
                  </a:lnTo>
                  <a:lnTo>
                    <a:pt x="3453" y="8077"/>
                  </a:lnTo>
                  <a:lnTo>
                    <a:pt x="3578" y="7847"/>
                  </a:lnTo>
                  <a:lnTo>
                    <a:pt x="3683" y="7764"/>
                  </a:lnTo>
                  <a:lnTo>
                    <a:pt x="3850" y="7784"/>
                  </a:lnTo>
                  <a:lnTo>
                    <a:pt x="4059" y="7805"/>
                  </a:lnTo>
                  <a:lnTo>
                    <a:pt x="4164" y="7680"/>
                  </a:lnTo>
                  <a:lnTo>
                    <a:pt x="4143" y="7450"/>
                  </a:lnTo>
                  <a:lnTo>
                    <a:pt x="4080" y="7366"/>
                  </a:lnTo>
                  <a:lnTo>
                    <a:pt x="4080" y="7240"/>
                  </a:lnTo>
                  <a:lnTo>
                    <a:pt x="4290" y="6738"/>
                  </a:lnTo>
                  <a:lnTo>
                    <a:pt x="4290" y="6487"/>
                  </a:lnTo>
                  <a:lnTo>
                    <a:pt x="4352" y="6215"/>
                  </a:lnTo>
                  <a:lnTo>
                    <a:pt x="4394" y="6069"/>
                  </a:lnTo>
                  <a:lnTo>
                    <a:pt x="4394" y="5901"/>
                  </a:lnTo>
                  <a:lnTo>
                    <a:pt x="4311" y="5818"/>
                  </a:lnTo>
                  <a:lnTo>
                    <a:pt x="4311" y="5692"/>
                  </a:lnTo>
                  <a:lnTo>
                    <a:pt x="4499" y="5587"/>
                  </a:lnTo>
                  <a:lnTo>
                    <a:pt x="4708" y="5567"/>
                  </a:lnTo>
                  <a:lnTo>
                    <a:pt x="4792" y="5483"/>
                  </a:lnTo>
                  <a:lnTo>
                    <a:pt x="4813" y="5357"/>
                  </a:lnTo>
                  <a:lnTo>
                    <a:pt x="4980" y="5064"/>
                  </a:lnTo>
                  <a:lnTo>
                    <a:pt x="5127" y="4855"/>
                  </a:lnTo>
                  <a:lnTo>
                    <a:pt x="5189" y="4730"/>
                  </a:lnTo>
                  <a:lnTo>
                    <a:pt x="5106" y="4541"/>
                  </a:lnTo>
                  <a:lnTo>
                    <a:pt x="5043" y="4458"/>
                  </a:lnTo>
                  <a:lnTo>
                    <a:pt x="5043" y="4206"/>
                  </a:lnTo>
                  <a:lnTo>
                    <a:pt x="5127" y="4186"/>
                  </a:lnTo>
                  <a:lnTo>
                    <a:pt x="5189" y="4081"/>
                  </a:lnTo>
                  <a:lnTo>
                    <a:pt x="5231" y="3934"/>
                  </a:lnTo>
                  <a:lnTo>
                    <a:pt x="5315" y="3893"/>
                  </a:lnTo>
                  <a:lnTo>
                    <a:pt x="5399" y="3704"/>
                  </a:lnTo>
                  <a:lnTo>
                    <a:pt x="5524" y="3600"/>
                  </a:lnTo>
                  <a:lnTo>
                    <a:pt x="5629" y="3683"/>
                  </a:lnTo>
                  <a:lnTo>
                    <a:pt x="5712" y="3725"/>
                  </a:lnTo>
                  <a:lnTo>
                    <a:pt x="5754" y="3725"/>
                  </a:lnTo>
                  <a:lnTo>
                    <a:pt x="5859" y="3621"/>
                  </a:lnTo>
                  <a:lnTo>
                    <a:pt x="5775" y="3516"/>
                  </a:lnTo>
                  <a:lnTo>
                    <a:pt x="5859" y="3474"/>
                  </a:lnTo>
                  <a:lnTo>
                    <a:pt x="5859" y="3390"/>
                  </a:lnTo>
                  <a:lnTo>
                    <a:pt x="5880" y="3349"/>
                  </a:lnTo>
                  <a:lnTo>
                    <a:pt x="5775" y="3181"/>
                  </a:lnTo>
                  <a:lnTo>
                    <a:pt x="5838" y="3160"/>
                  </a:lnTo>
                  <a:lnTo>
                    <a:pt x="6026" y="3160"/>
                  </a:lnTo>
                  <a:lnTo>
                    <a:pt x="6152" y="3077"/>
                  </a:lnTo>
                  <a:lnTo>
                    <a:pt x="6340" y="3139"/>
                  </a:lnTo>
                  <a:lnTo>
                    <a:pt x="6445" y="3202"/>
                  </a:lnTo>
                  <a:lnTo>
                    <a:pt x="6570" y="3223"/>
                  </a:lnTo>
                  <a:lnTo>
                    <a:pt x="6654" y="3286"/>
                  </a:lnTo>
                  <a:lnTo>
                    <a:pt x="6696" y="3265"/>
                  </a:lnTo>
                  <a:lnTo>
                    <a:pt x="6759" y="3307"/>
                  </a:lnTo>
                  <a:lnTo>
                    <a:pt x="6759" y="3160"/>
                  </a:lnTo>
                  <a:lnTo>
                    <a:pt x="6696" y="3077"/>
                  </a:lnTo>
                  <a:lnTo>
                    <a:pt x="6717" y="2888"/>
                  </a:lnTo>
                  <a:lnTo>
                    <a:pt x="6800" y="2846"/>
                  </a:lnTo>
                  <a:lnTo>
                    <a:pt x="6779" y="2700"/>
                  </a:lnTo>
                  <a:lnTo>
                    <a:pt x="6696" y="2658"/>
                  </a:lnTo>
                  <a:lnTo>
                    <a:pt x="6675" y="2554"/>
                  </a:lnTo>
                  <a:lnTo>
                    <a:pt x="6675" y="2554"/>
                  </a:lnTo>
                  <a:lnTo>
                    <a:pt x="6800" y="2616"/>
                  </a:lnTo>
                  <a:lnTo>
                    <a:pt x="6926" y="2574"/>
                  </a:lnTo>
                  <a:lnTo>
                    <a:pt x="6989" y="2554"/>
                  </a:lnTo>
                  <a:lnTo>
                    <a:pt x="7010" y="2533"/>
                  </a:lnTo>
                  <a:lnTo>
                    <a:pt x="7072" y="2533"/>
                  </a:lnTo>
                  <a:lnTo>
                    <a:pt x="7093" y="2512"/>
                  </a:lnTo>
                  <a:lnTo>
                    <a:pt x="7072" y="2428"/>
                  </a:lnTo>
                  <a:lnTo>
                    <a:pt x="7093" y="2323"/>
                  </a:lnTo>
                  <a:lnTo>
                    <a:pt x="7177" y="2261"/>
                  </a:lnTo>
                  <a:lnTo>
                    <a:pt x="7282" y="2261"/>
                  </a:lnTo>
                  <a:lnTo>
                    <a:pt x="7344" y="2407"/>
                  </a:lnTo>
                  <a:lnTo>
                    <a:pt x="7616" y="2616"/>
                  </a:lnTo>
                  <a:lnTo>
                    <a:pt x="7637" y="2742"/>
                  </a:lnTo>
                  <a:lnTo>
                    <a:pt x="7742" y="2846"/>
                  </a:lnTo>
                  <a:lnTo>
                    <a:pt x="7909" y="2930"/>
                  </a:lnTo>
                  <a:lnTo>
                    <a:pt x="8160" y="2930"/>
                  </a:lnTo>
                  <a:lnTo>
                    <a:pt x="8328" y="2784"/>
                  </a:lnTo>
                  <a:lnTo>
                    <a:pt x="8391" y="2700"/>
                  </a:lnTo>
                  <a:lnTo>
                    <a:pt x="8495" y="2700"/>
                  </a:lnTo>
                  <a:lnTo>
                    <a:pt x="8704" y="2846"/>
                  </a:lnTo>
                  <a:lnTo>
                    <a:pt x="8851" y="2867"/>
                  </a:lnTo>
                  <a:lnTo>
                    <a:pt x="8893" y="2742"/>
                  </a:lnTo>
                  <a:lnTo>
                    <a:pt x="8976" y="2679"/>
                  </a:lnTo>
                  <a:lnTo>
                    <a:pt x="9060" y="2616"/>
                  </a:lnTo>
                  <a:lnTo>
                    <a:pt x="9165" y="2616"/>
                  </a:lnTo>
                  <a:lnTo>
                    <a:pt x="9269" y="2554"/>
                  </a:lnTo>
                  <a:lnTo>
                    <a:pt x="9311" y="2470"/>
                  </a:lnTo>
                  <a:lnTo>
                    <a:pt x="9269" y="2365"/>
                  </a:lnTo>
                  <a:lnTo>
                    <a:pt x="9207" y="2219"/>
                  </a:lnTo>
                  <a:lnTo>
                    <a:pt x="9228" y="1905"/>
                  </a:lnTo>
                  <a:lnTo>
                    <a:pt x="9290" y="1821"/>
                  </a:lnTo>
                  <a:lnTo>
                    <a:pt x="9228" y="1717"/>
                  </a:lnTo>
                  <a:lnTo>
                    <a:pt x="9290" y="1696"/>
                  </a:lnTo>
                  <a:lnTo>
                    <a:pt x="9395" y="1570"/>
                  </a:lnTo>
                  <a:lnTo>
                    <a:pt x="9374" y="1507"/>
                  </a:lnTo>
                  <a:lnTo>
                    <a:pt x="9500" y="1424"/>
                  </a:lnTo>
                  <a:lnTo>
                    <a:pt x="9646" y="1486"/>
                  </a:lnTo>
                  <a:lnTo>
                    <a:pt x="9730" y="1466"/>
                  </a:lnTo>
                  <a:lnTo>
                    <a:pt x="9730" y="1403"/>
                  </a:lnTo>
                  <a:lnTo>
                    <a:pt x="9813" y="1298"/>
                  </a:lnTo>
                  <a:lnTo>
                    <a:pt x="10065" y="1298"/>
                  </a:lnTo>
                  <a:lnTo>
                    <a:pt x="10169" y="1382"/>
                  </a:lnTo>
                  <a:lnTo>
                    <a:pt x="10316" y="1528"/>
                  </a:lnTo>
                  <a:lnTo>
                    <a:pt x="10378" y="1633"/>
                  </a:lnTo>
                  <a:lnTo>
                    <a:pt x="10525" y="1654"/>
                  </a:lnTo>
                  <a:lnTo>
                    <a:pt x="10692" y="1696"/>
                  </a:lnTo>
                  <a:lnTo>
                    <a:pt x="10755" y="1800"/>
                  </a:lnTo>
                  <a:lnTo>
                    <a:pt x="10860" y="1905"/>
                  </a:lnTo>
                  <a:lnTo>
                    <a:pt x="10839" y="2030"/>
                  </a:lnTo>
                  <a:lnTo>
                    <a:pt x="10734" y="2177"/>
                  </a:lnTo>
                  <a:lnTo>
                    <a:pt x="10755" y="2428"/>
                  </a:lnTo>
                  <a:lnTo>
                    <a:pt x="10839" y="2428"/>
                  </a:lnTo>
                  <a:lnTo>
                    <a:pt x="10839" y="2219"/>
                  </a:lnTo>
                  <a:lnTo>
                    <a:pt x="10985" y="2051"/>
                  </a:lnTo>
                  <a:lnTo>
                    <a:pt x="11111" y="2030"/>
                  </a:lnTo>
                  <a:lnTo>
                    <a:pt x="11194" y="1926"/>
                  </a:lnTo>
                  <a:lnTo>
                    <a:pt x="11194" y="1779"/>
                  </a:lnTo>
                  <a:lnTo>
                    <a:pt x="11299" y="1738"/>
                  </a:lnTo>
                  <a:lnTo>
                    <a:pt x="11404" y="1800"/>
                  </a:lnTo>
                  <a:lnTo>
                    <a:pt x="11487" y="1717"/>
                  </a:lnTo>
                  <a:lnTo>
                    <a:pt x="11487" y="1591"/>
                  </a:lnTo>
                  <a:lnTo>
                    <a:pt x="11425" y="1591"/>
                  </a:lnTo>
                  <a:lnTo>
                    <a:pt x="11362" y="1507"/>
                  </a:lnTo>
                  <a:lnTo>
                    <a:pt x="11299" y="1507"/>
                  </a:lnTo>
                  <a:lnTo>
                    <a:pt x="11278" y="1528"/>
                  </a:lnTo>
                  <a:lnTo>
                    <a:pt x="11278" y="1612"/>
                  </a:lnTo>
                  <a:lnTo>
                    <a:pt x="11215" y="1570"/>
                  </a:lnTo>
                  <a:lnTo>
                    <a:pt x="11194" y="1507"/>
                  </a:lnTo>
                  <a:lnTo>
                    <a:pt x="11153" y="1507"/>
                  </a:lnTo>
                  <a:lnTo>
                    <a:pt x="11153" y="1570"/>
                  </a:lnTo>
                  <a:lnTo>
                    <a:pt x="11111" y="1696"/>
                  </a:lnTo>
                  <a:lnTo>
                    <a:pt x="11090" y="1654"/>
                  </a:lnTo>
                  <a:lnTo>
                    <a:pt x="11048" y="1591"/>
                  </a:lnTo>
                  <a:lnTo>
                    <a:pt x="10964" y="1633"/>
                  </a:lnTo>
                  <a:lnTo>
                    <a:pt x="10943" y="1696"/>
                  </a:lnTo>
                  <a:lnTo>
                    <a:pt x="10901" y="1612"/>
                  </a:lnTo>
                  <a:lnTo>
                    <a:pt x="10881" y="1486"/>
                  </a:lnTo>
                  <a:lnTo>
                    <a:pt x="10839" y="1486"/>
                  </a:lnTo>
                  <a:lnTo>
                    <a:pt x="10776" y="1361"/>
                  </a:lnTo>
                  <a:lnTo>
                    <a:pt x="10734" y="1319"/>
                  </a:lnTo>
                  <a:lnTo>
                    <a:pt x="10650" y="1319"/>
                  </a:lnTo>
                  <a:lnTo>
                    <a:pt x="10567" y="1298"/>
                  </a:lnTo>
                  <a:lnTo>
                    <a:pt x="10420" y="1277"/>
                  </a:lnTo>
                  <a:lnTo>
                    <a:pt x="10357" y="1193"/>
                  </a:lnTo>
                  <a:lnTo>
                    <a:pt x="10378" y="1173"/>
                  </a:lnTo>
                  <a:lnTo>
                    <a:pt x="10546" y="1214"/>
                  </a:lnTo>
                  <a:lnTo>
                    <a:pt x="10692" y="1193"/>
                  </a:lnTo>
                  <a:lnTo>
                    <a:pt x="10797" y="1214"/>
                  </a:lnTo>
                  <a:lnTo>
                    <a:pt x="11048" y="1256"/>
                  </a:lnTo>
                  <a:lnTo>
                    <a:pt x="11194" y="1193"/>
                  </a:lnTo>
                  <a:lnTo>
                    <a:pt x="11299" y="984"/>
                  </a:lnTo>
                  <a:lnTo>
                    <a:pt x="11508" y="942"/>
                  </a:lnTo>
                  <a:lnTo>
                    <a:pt x="11613" y="859"/>
                  </a:lnTo>
                  <a:lnTo>
                    <a:pt x="11613" y="838"/>
                  </a:lnTo>
                  <a:lnTo>
                    <a:pt x="11529" y="796"/>
                  </a:lnTo>
                  <a:lnTo>
                    <a:pt x="11508" y="754"/>
                  </a:lnTo>
                  <a:lnTo>
                    <a:pt x="11425" y="733"/>
                  </a:lnTo>
                  <a:lnTo>
                    <a:pt x="11320" y="754"/>
                  </a:lnTo>
                  <a:lnTo>
                    <a:pt x="11194" y="608"/>
                  </a:lnTo>
                  <a:lnTo>
                    <a:pt x="11111" y="608"/>
                  </a:lnTo>
                  <a:lnTo>
                    <a:pt x="11006" y="733"/>
                  </a:lnTo>
                  <a:lnTo>
                    <a:pt x="10964" y="733"/>
                  </a:lnTo>
                  <a:lnTo>
                    <a:pt x="10943" y="691"/>
                  </a:lnTo>
                  <a:lnTo>
                    <a:pt x="11048" y="649"/>
                  </a:lnTo>
                  <a:lnTo>
                    <a:pt x="11048" y="566"/>
                  </a:lnTo>
                  <a:lnTo>
                    <a:pt x="10943" y="524"/>
                  </a:lnTo>
                  <a:lnTo>
                    <a:pt x="10901" y="482"/>
                  </a:lnTo>
                  <a:lnTo>
                    <a:pt x="10839" y="482"/>
                  </a:lnTo>
                  <a:lnTo>
                    <a:pt x="10776" y="608"/>
                  </a:lnTo>
                  <a:lnTo>
                    <a:pt x="10734" y="608"/>
                  </a:lnTo>
                  <a:lnTo>
                    <a:pt x="10734" y="524"/>
                  </a:lnTo>
                  <a:lnTo>
                    <a:pt x="10671" y="545"/>
                  </a:lnTo>
                  <a:lnTo>
                    <a:pt x="10650" y="587"/>
                  </a:lnTo>
                  <a:lnTo>
                    <a:pt x="10588" y="587"/>
                  </a:lnTo>
                  <a:lnTo>
                    <a:pt x="10567" y="545"/>
                  </a:lnTo>
                  <a:lnTo>
                    <a:pt x="10650" y="482"/>
                  </a:lnTo>
                  <a:lnTo>
                    <a:pt x="10650" y="419"/>
                  </a:lnTo>
                  <a:lnTo>
                    <a:pt x="10546" y="357"/>
                  </a:lnTo>
                  <a:lnTo>
                    <a:pt x="10420" y="357"/>
                  </a:lnTo>
                  <a:lnTo>
                    <a:pt x="10357" y="377"/>
                  </a:lnTo>
                  <a:lnTo>
                    <a:pt x="10337" y="545"/>
                  </a:lnTo>
                  <a:lnTo>
                    <a:pt x="10253" y="587"/>
                  </a:lnTo>
                  <a:lnTo>
                    <a:pt x="10253" y="649"/>
                  </a:lnTo>
                  <a:lnTo>
                    <a:pt x="10316" y="796"/>
                  </a:lnTo>
                  <a:lnTo>
                    <a:pt x="10316" y="880"/>
                  </a:lnTo>
                  <a:lnTo>
                    <a:pt x="10253" y="942"/>
                  </a:lnTo>
                  <a:lnTo>
                    <a:pt x="10211" y="838"/>
                  </a:lnTo>
                  <a:lnTo>
                    <a:pt x="10127" y="838"/>
                  </a:lnTo>
                  <a:lnTo>
                    <a:pt x="10127" y="859"/>
                  </a:lnTo>
                  <a:lnTo>
                    <a:pt x="10023" y="838"/>
                  </a:lnTo>
                  <a:lnTo>
                    <a:pt x="9897" y="901"/>
                  </a:lnTo>
                  <a:lnTo>
                    <a:pt x="9897" y="901"/>
                  </a:lnTo>
                  <a:lnTo>
                    <a:pt x="10002" y="754"/>
                  </a:lnTo>
                  <a:lnTo>
                    <a:pt x="10065" y="733"/>
                  </a:lnTo>
                  <a:lnTo>
                    <a:pt x="10127" y="608"/>
                  </a:lnTo>
                  <a:lnTo>
                    <a:pt x="10127" y="566"/>
                  </a:lnTo>
                  <a:lnTo>
                    <a:pt x="10065" y="566"/>
                  </a:lnTo>
                  <a:lnTo>
                    <a:pt x="9960" y="649"/>
                  </a:lnTo>
                  <a:lnTo>
                    <a:pt x="9897" y="649"/>
                  </a:lnTo>
                  <a:lnTo>
                    <a:pt x="9918" y="587"/>
                  </a:lnTo>
                  <a:lnTo>
                    <a:pt x="10002" y="524"/>
                  </a:lnTo>
                  <a:lnTo>
                    <a:pt x="10002" y="482"/>
                  </a:lnTo>
                  <a:lnTo>
                    <a:pt x="9897" y="461"/>
                  </a:lnTo>
                  <a:lnTo>
                    <a:pt x="9855" y="419"/>
                  </a:lnTo>
                  <a:lnTo>
                    <a:pt x="9960" y="377"/>
                  </a:lnTo>
                  <a:lnTo>
                    <a:pt x="10002" y="419"/>
                  </a:lnTo>
                  <a:lnTo>
                    <a:pt x="10127" y="419"/>
                  </a:lnTo>
                  <a:lnTo>
                    <a:pt x="10169" y="231"/>
                  </a:lnTo>
                  <a:lnTo>
                    <a:pt x="10169" y="168"/>
                  </a:lnTo>
                  <a:lnTo>
                    <a:pt x="10044" y="210"/>
                  </a:lnTo>
                  <a:lnTo>
                    <a:pt x="10002" y="147"/>
                  </a:lnTo>
                  <a:lnTo>
                    <a:pt x="10023" y="64"/>
                  </a:lnTo>
                  <a:lnTo>
                    <a:pt x="10002" y="1"/>
                  </a:lnTo>
                  <a:lnTo>
                    <a:pt x="9918" y="64"/>
                  </a:lnTo>
                  <a:lnTo>
                    <a:pt x="9855" y="64"/>
                  </a:lnTo>
                  <a:lnTo>
                    <a:pt x="979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Google Shape;12150;p43">
              <a:extLst>
                <a:ext uri="{FF2B5EF4-FFF2-40B4-BE49-F238E27FC236}">
                  <a16:creationId xmlns:a16="http://schemas.microsoft.com/office/drawing/2014/main" id="{2EF65C92-6026-10A7-2DB3-A38A842BC834}"/>
                </a:ext>
              </a:extLst>
            </p:cNvPr>
            <p:cNvSpPr/>
            <p:nvPr/>
          </p:nvSpPr>
          <p:spPr>
            <a:xfrm>
              <a:off x="3810372" y="2589242"/>
              <a:ext cx="68528" cy="147786"/>
            </a:xfrm>
            <a:custGeom>
              <a:avLst/>
              <a:gdLst/>
              <a:ahLst/>
              <a:cxnLst/>
              <a:rect l="l" t="t" r="r" b="b"/>
              <a:pathLst>
                <a:path w="5755" h="12995" extrusionOk="0">
                  <a:moveTo>
                    <a:pt x="3788" y="1"/>
                  </a:moveTo>
                  <a:lnTo>
                    <a:pt x="3725" y="21"/>
                  </a:lnTo>
                  <a:lnTo>
                    <a:pt x="3599" y="63"/>
                  </a:lnTo>
                  <a:lnTo>
                    <a:pt x="3474" y="1"/>
                  </a:lnTo>
                  <a:lnTo>
                    <a:pt x="3474" y="1"/>
                  </a:lnTo>
                  <a:lnTo>
                    <a:pt x="3495" y="105"/>
                  </a:lnTo>
                  <a:lnTo>
                    <a:pt x="3578" y="147"/>
                  </a:lnTo>
                  <a:lnTo>
                    <a:pt x="3599" y="293"/>
                  </a:lnTo>
                  <a:lnTo>
                    <a:pt x="3516" y="335"/>
                  </a:lnTo>
                  <a:lnTo>
                    <a:pt x="3495" y="524"/>
                  </a:lnTo>
                  <a:lnTo>
                    <a:pt x="3558" y="607"/>
                  </a:lnTo>
                  <a:lnTo>
                    <a:pt x="3558" y="754"/>
                  </a:lnTo>
                  <a:lnTo>
                    <a:pt x="3495" y="712"/>
                  </a:lnTo>
                  <a:lnTo>
                    <a:pt x="3453" y="733"/>
                  </a:lnTo>
                  <a:lnTo>
                    <a:pt x="3369" y="670"/>
                  </a:lnTo>
                  <a:lnTo>
                    <a:pt x="3244" y="649"/>
                  </a:lnTo>
                  <a:lnTo>
                    <a:pt x="3139" y="586"/>
                  </a:lnTo>
                  <a:lnTo>
                    <a:pt x="2951" y="524"/>
                  </a:lnTo>
                  <a:lnTo>
                    <a:pt x="2825" y="607"/>
                  </a:lnTo>
                  <a:lnTo>
                    <a:pt x="2637" y="607"/>
                  </a:lnTo>
                  <a:lnTo>
                    <a:pt x="2574" y="628"/>
                  </a:lnTo>
                  <a:lnTo>
                    <a:pt x="2679" y="796"/>
                  </a:lnTo>
                  <a:lnTo>
                    <a:pt x="2658" y="837"/>
                  </a:lnTo>
                  <a:lnTo>
                    <a:pt x="2658" y="921"/>
                  </a:lnTo>
                  <a:lnTo>
                    <a:pt x="2574" y="963"/>
                  </a:lnTo>
                  <a:lnTo>
                    <a:pt x="2658" y="1068"/>
                  </a:lnTo>
                  <a:lnTo>
                    <a:pt x="2553" y="1172"/>
                  </a:lnTo>
                  <a:lnTo>
                    <a:pt x="2511" y="1172"/>
                  </a:lnTo>
                  <a:lnTo>
                    <a:pt x="2428" y="1130"/>
                  </a:lnTo>
                  <a:lnTo>
                    <a:pt x="2323" y="1047"/>
                  </a:lnTo>
                  <a:lnTo>
                    <a:pt x="2198" y="1151"/>
                  </a:lnTo>
                  <a:lnTo>
                    <a:pt x="2114" y="1340"/>
                  </a:lnTo>
                  <a:lnTo>
                    <a:pt x="2030" y="1381"/>
                  </a:lnTo>
                  <a:lnTo>
                    <a:pt x="1988" y="1528"/>
                  </a:lnTo>
                  <a:lnTo>
                    <a:pt x="1926" y="1633"/>
                  </a:lnTo>
                  <a:lnTo>
                    <a:pt x="1842" y="1653"/>
                  </a:lnTo>
                  <a:lnTo>
                    <a:pt x="1842" y="1905"/>
                  </a:lnTo>
                  <a:lnTo>
                    <a:pt x="1905" y="1988"/>
                  </a:lnTo>
                  <a:lnTo>
                    <a:pt x="1988" y="2177"/>
                  </a:lnTo>
                  <a:lnTo>
                    <a:pt x="1926" y="2302"/>
                  </a:lnTo>
                  <a:lnTo>
                    <a:pt x="1779" y="2511"/>
                  </a:lnTo>
                  <a:lnTo>
                    <a:pt x="1612" y="2804"/>
                  </a:lnTo>
                  <a:lnTo>
                    <a:pt x="1591" y="2930"/>
                  </a:lnTo>
                  <a:lnTo>
                    <a:pt x="1507" y="3014"/>
                  </a:lnTo>
                  <a:lnTo>
                    <a:pt x="1298" y="3034"/>
                  </a:lnTo>
                  <a:lnTo>
                    <a:pt x="1110" y="3139"/>
                  </a:lnTo>
                  <a:lnTo>
                    <a:pt x="1110" y="3265"/>
                  </a:lnTo>
                  <a:lnTo>
                    <a:pt x="1193" y="3348"/>
                  </a:lnTo>
                  <a:lnTo>
                    <a:pt x="1193" y="3516"/>
                  </a:lnTo>
                  <a:lnTo>
                    <a:pt x="1151" y="3662"/>
                  </a:lnTo>
                  <a:lnTo>
                    <a:pt x="1089" y="3934"/>
                  </a:lnTo>
                  <a:lnTo>
                    <a:pt x="1089" y="4185"/>
                  </a:lnTo>
                  <a:lnTo>
                    <a:pt x="879" y="4687"/>
                  </a:lnTo>
                  <a:lnTo>
                    <a:pt x="879" y="4813"/>
                  </a:lnTo>
                  <a:lnTo>
                    <a:pt x="942" y="4897"/>
                  </a:lnTo>
                  <a:lnTo>
                    <a:pt x="963" y="5127"/>
                  </a:lnTo>
                  <a:lnTo>
                    <a:pt x="858" y="5252"/>
                  </a:lnTo>
                  <a:lnTo>
                    <a:pt x="649" y="5231"/>
                  </a:lnTo>
                  <a:lnTo>
                    <a:pt x="482" y="5211"/>
                  </a:lnTo>
                  <a:lnTo>
                    <a:pt x="377" y="5294"/>
                  </a:lnTo>
                  <a:lnTo>
                    <a:pt x="252" y="5524"/>
                  </a:lnTo>
                  <a:lnTo>
                    <a:pt x="210" y="5755"/>
                  </a:lnTo>
                  <a:lnTo>
                    <a:pt x="252" y="6068"/>
                  </a:lnTo>
                  <a:lnTo>
                    <a:pt x="314" y="6361"/>
                  </a:lnTo>
                  <a:lnTo>
                    <a:pt x="252" y="6550"/>
                  </a:lnTo>
                  <a:lnTo>
                    <a:pt x="314" y="6696"/>
                  </a:lnTo>
                  <a:lnTo>
                    <a:pt x="335" y="6926"/>
                  </a:lnTo>
                  <a:lnTo>
                    <a:pt x="314" y="7135"/>
                  </a:lnTo>
                  <a:lnTo>
                    <a:pt x="314" y="7345"/>
                  </a:lnTo>
                  <a:lnTo>
                    <a:pt x="461" y="7449"/>
                  </a:lnTo>
                  <a:lnTo>
                    <a:pt x="670" y="7659"/>
                  </a:lnTo>
                  <a:lnTo>
                    <a:pt x="628" y="7805"/>
                  </a:lnTo>
                  <a:lnTo>
                    <a:pt x="628" y="7972"/>
                  </a:lnTo>
                  <a:lnTo>
                    <a:pt x="356" y="8056"/>
                  </a:lnTo>
                  <a:lnTo>
                    <a:pt x="335" y="8161"/>
                  </a:lnTo>
                  <a:lnTo>
                    <a:pt x="461" y="8370"/>
                  </a:lnTo>
                  <a:lnTo>
                    <a:pt x="482" y="8642"/>
                  </a:lnTo>
                  <a:lnTo>
                    <a:pt x="565" y="8768"/>
                  </a:lnTo>
                  <a:lnTo>
                    <a:pt x="482" y="8914"/>
                  </a:lnTo>
                  <a:lnTo>
                    <a:pt x="482" y="9040"/>
                  </a:lnTo>
                  <a:lnTo>
                    <a:pt x="461" y="9123"/>
                  </a:lnTo>
                  <a:lnTo>
                    <a:pt x="273" y="9165"/>
                  </a:lnTo>
                  <a:lnTo>
                    <a:pt x="231" y="9228"/>
                  </a:lnTo>
                  <a:lnTo>
                    <a:pt x="314" y="9332"/>
                  </a:lnTo>
                  <a:lnTo>
                    <a:pt x="231" y="9395"/>
                  </a:lnTo>
                  <a:lnTo>
                    <a:pt x="168" y="9479"/>
                  </a:lnTo>
                  <a:lnTo>
                    <a:pt x="252" y="9625"/>
                  </a:lnTo>
                  <a:lnTo>
                    <a:pt x="273" y="10002"/>
                  </a:lnTo>
                  <a:lnTo>
                    <a:pt x="231" y="10086"/>
                  </a:lnTo>
                  <a:lnTo>
                    <a:pt x="147" y="10002"/>
                  </a:lnTo>
                  <a:lnTo>
                    <a:pt x="63" y="9939"/>
                  </a:lnTo>
                  <a:lnTo>
                    <a:pt x="63" y="9960"/>
                  </a:lnTo>
                  <a:lnTo>
                    <a:pt x="1" y="10023"/>
                  </a:lnTo>
                  <a:lnTo>
                    <a:pt x="21" y="10253"/>
                  </a:lnTo>
                  <a:lnTo>
                    <a:pt x="42" y="10337"/>
                  </a:lnTo>
                  <a:lnTo>
                    <a:pt x="63" y="10525"/>
                  </a:lnTo>
                  <a:lnTo>
                    <a:pt x="147" y="10546"/>
                  </a:lnTo>
                  <a:lnTo>
                    <a:pt x="168" y="10588"/>
                  </a:lnTo>
                  <a:lnTo>
                    <a:pt x="147" y="10734"/>
                  </a:lnTo>
                  <a:lnTo>
                    <a:pt x="273" y="10672"/>
                  </a:lnTo>
                  <a:lnTo>
                    <a:pt x="210" y="10567"/>
                  </a:lnTo>
                  <a:lnTo>
                    <a:pt x="231" y="10483"/>
                  </a:lnTo>
                  <a:lnTo>
                    <a:pt x="273" y="10483"/>
                  </a:lnTo>
                  <a:lnTo>
                    <a:pt x="252" y="10546"/>
                  </a:lnTo>
                  <a:lnTo>
                    <a:pt x="335" y="10588"/>
                  </a:lnTo>
                  <a:lnTo>
                    <a:pt x="377" y="10672"/>
                  </a:lnTo>
                  <a:lnTo>
                    <a:pt x="252" y="10755"/>
                  </a:lnTo>
                  <a:lnTo>
                    <a:pt x="231" y="10860"/>
                  </a:lnTo>
                  <a:lnTo>
                    <a:pt x="273" y="10944"/>
                  </a:lnTo>
                  <a:lnTo>
                    <a:pt x="252" y="11069"/>
                  </a:lnTo>
                  <a:lnTo>
                    <a:pt x="210" y="11111"/>
                  </a:lnTo>
                  <a:lnTo>
                    <a:pt x="273" y="11216"/>
                  </a:lnTo>
                  <a:lnTo>
                    <a:pt x="356" y="11257"/>
                  </a:lnTo>
                  <a:lnTo>
                    <a:pt x="440" y="11383"/>
                  </a:lnTo>
                  <a:lnTo>
                    <a:pt x="482" y="11425"/>
                  </a:lnTo>
                  <a:lnTo>
                    <a:pt x="586" y="11634"/>
                  </a:lnTo>
                  <a:lnTo>
                    <a:pt x="586" y="11801"/>
                  </a:lnTo>
                  <a:lnTo>
                    <a:pt x="733" y="11843"/>
                  </a:lnTo>
                  <a:lnTo>
                    <a:pt x="754" y="11948"/>
                  </a:lnTo>
                  <a:lnTo>
                    <a:pt x="858" y="12094"/>
                  </a:lnTo>
                  <a:lnTo>
                    <a:pt x="984" y="12011"/>
                  </a:lnTo>
                  <a:lnTo>
                    <a:pt x="1005" y="12136"/>
                  </a:lnTo>
                  <a:lnTo>
                    <a:pt x="942" y="12304"/>
                  </a:lnTo>
                  <a:lnTo>
                    <a:pt x="775" y="12325"/>
                  </a:lnTo>
                  <a:lnTo>
                    <a:pt x="754" y="12366"/>
                  </a:lnTo>
                  <a:lnTo>
                    <a:pt x="838" y="12429"/>
                  </a:lnTo>
                  <a:lnTo>
                    <a:pt x="858" y="12534"/>
                  </a:lnTo>
                  <a:lnTo>
                    <a:pt x="984" y="12555"/>
                  </a:lnTo>
                  <a:lnTo>
                    <a:pt x="1047" y="12848"/>
                  </a:lnTo>
                  <a:lnTo>
                    <a:pt x="963" y="12952"/>
                  </a:lnTo>
                  <a:lnTo>
                    <a:pt x="1005" y="12994"/>
                  </a:lnTo>
                  <a:lnTo>
                    <a:pt x="1151" y="12994"/>
                  </a:lnTo>
                  <a:lnTo>
                    <a:pt x="1423" y="12931"/>
                  </a:lnTo>
                  <a:lnTo>
                    <a:pt x="1570" y="12973"/>
                  </a:lnTo>
                  <a:lnTo>
                    <a:pt x="1695" y="12869"/>
                  </a:lnTo>
                  <a:lnTo>
                    <a:pt x="1674" y="12764"/>
                  </a:lnTo>
                  <a:lnTo>
                    <a:pt x="1612" y="12701"/>
                  </a:lnTo>
                  <a:lnTo>
                    <a:pt x="1695" y="12534"/>
                  </a:lnTo>
                  <a:lnTo>
                    <a:pt x="1884" y="12513"/>
                  </a:lnTo>
                  <a:lnTo>
                    <a:pt x="1905" y="12325"/>
                  </a:lnTo>
                  <a:lnTo>
                    <a:pt x="1926" y="12408"/>
                  </a:lnTo>
                  <a:lnTo>
                    <a:pt x="2135" y="12450"/>
                  </a:lnTo>
                  <a:lnTo>
                    <a:pt x="2260" y="12366"/>
                  </a:lnTo>
                  <a:lnTo>
                    <a:pt x="2365" y="12429"/>
                  </a:lnTo>
                  <a:lnTo>
                    <a:pt x="2449" y="12513"/>
                  </a:lnTo>
                  <a:lnTo>
                    <a:pt x="2553" y="12345"/>
                  </a:lnTo>
                  <a:lnTo>
                    <a:pt x="2616" y="12115"/>
                  </a:lnTo>
                  <a:lnTo>
                    <a:pt x="2679" y="12032"/>
                  </a:lnTo>
                  <a:lnTo>
                    <a:pt x="2721" y="11739"/>
                  </a:lnTo>
                  <a:lnTo>
                    <a:pt x="2762" y="11634"/>
                  </a:lnTo>
                  <a:lnTo>
                    <a:pt x="2658" y="11571"/>
                  </a:lnTo>
                  <a:lnTo>
                    <a:pt x="2679" y="11467"/>
                  </a:lnTo>
                  <a:lnTo>
                    <a:pt x="2783" y="11320"/>
                  </a:lnTo>
                  <a:lnTo>
                    <a:pt x="2679" y="11216"/>
                  </a:lnTo>
                  <a:lnTo>
                    <a:pt x="2783" y="11111"/>
                  </a:lnTo>
                  <a:lnTo>
                    <a:pt x="2658" y="11048"/>
                  </a:lnTo>
                  <a:lnTo>
                    <a:pt x="2721" y="10965"/>
                  </a:lnTo>
                  <a:lnTo>
                    <a:pt x="2658" y="10839"/>
                  </a:lnTo>
                  <a:lnTo>
                    <a:pt x="2762" y="10881"/>
                  </a:lnTo>
                  <a:lnTo>
                    <a:pt x="2930" y="10860"/>
                  </a:lnTo>
                  <a:lnTo>
                    <a:pt x="2783" y="10755"/>
                  </a:lnTo>
                  <a:lnTo>
                    <a:pt x="2846" y="10609"/>
                  </a:lnTo>
                  <a:lnTo>
                    <a:pt x="2846" y="10546"/>
                  </a:lnTo>
                  <a:lnTo>
                    <a:pt x="2658" y="10483"/>
                  </a:lnTo>
                  <a:lnTo>
                    <a:pt x="2888" y="10483"/>
                  </a:lnTo>
                  <a:lnTo>
                    <a:pt x="2762" y="10358"/>
                  </a:lnTo>
                  <a:lnTo>
                    <a:pt x="2679" y="10358"/>
                  </a:lnTo>
                  <a:lnTo>
                    <a:pt x="2742" y="10274"/>
                  </a:lnTo>
                  <a:lnTo>
                    <a:pt x="2783" y="10274"/>
                  </a:lnTo>
                  <a:lnTo>
                    <a:pt x="2825" y="10316"/>
                  </a:lnTo>
                  <a:lnTo>
                    <a:pt x="2888" y="10232"/>
                  </a:lnTo>
                  <a:lnTo>
                    <a:pt x="2867" y="10148"/>
                  </a:lnTo>
                  <a:lnTo>
                    <a:pt x="2972" y="10232"/>
                  </a:lnTo>
                  <a:lnTo>
                    <a:pt x="2993" y="10128"/>
                  </a:lnTo>
                  <a:lnTo>
                    <a:pt x="3076" y="10023"/>
                  </a:lnTo>
                  <a:lnTo>
                    <a:pt x="3160" y="10023"/>
                  </a:lnTo>
                  <a:lnTo>
                    <a:pt x="3139" y="9939"/>
                  </a:lnTo>
                  <a:lnTo>
                    <a:pt x="3181" y="9897"/>
                  </a:lnTo>
                  <a:lnTo>
                    <a:pt x="3202" y="9939"/>
                  </a:lnTo>
                  <a:lnTo>
                    <a:pt x="3181" y="10044"/>
                  </a:lnTo>
                  <a:lnTo>
                    <a:pt x="3265" y="10044"/>
                  </a:lnTo>
                  <a:lnTo>
                    <a:pt x="3369" y="9897"/>
                  </a:lnTo>
                  <a:lnTo>
                    <a:pt x="3453" y="9897"/>
                  </a:lnTo>
                  <a:lnTo>
                    <a:pt x="3516" y="9835"/>
                  </a:lnTo>
                  <a:lnTo>
                    <a:pt x="3495" y="9730"/>
                  </a:lnTo>
                  <a:lnTo>
                    <a:pt x="3411" y="9646"/>
                  </a:lnTo>
                  <a:lnTo>
                    <a:pt x="3286" y="9625"/>
                  </a:lnTo>
                  <a:lnTo>
                    <a:pt x="3181" y="9688"/>
                  </a:lnTo>
                  <a:lnTo>
                    <a:pt x="3139" y="9646"/>
                  </a:lnTo>
                  <a:lnTo>
                    <a:pt x="3055" y="9709"/>
                  </a:lnTo>
                  <a:lnTo>
                    <a:pt x="2972" y="9604"/>
                  </a:lnTo>
                  <a:lnTo>
                    <a:pt x="2846" y="9563"/>
                  </a:lnTo>
                  <a:lnTo>
                    <a:pt x="2762" y="9521"/>
                  </a:lnTo>
                  <a:lnTo>
                    <a:pt x="2616" y="9542"/>
                  </a:lnTo>
                  <a:lnTo>
                    <a:pt x="2616" y="9604"/>
                  </a:lnTo>
                  <a:lnTo>
                    <a:pt x="2553" y="9542"/>
                  </a:lnTo>
                  <a:lnTo>
                    <a:pt x="2407" y="9542"/>
                  </a:lnTo>
                  <a:lnTo>
                    <a:pt x="2365" y="9500"/>
                  </a:lnTo>
                  <a:lnTo>
                    <a:pt x="2470" y="9479"/>
                  </a:lnTo>
                  <a:lnTo>
                    <a:pt x="2553" y="9521"/>
                  </a:lnTo>
                  <a:lnTo>
                    <a:pt x="2637" y="9395"/>
                  </a:lnTo>
                  <a:lnTo>
                    <a:pt x="2679" y="9437"/>
                  </a:lnTo>
                  <a:lnTo>
                    <a:pt x="2783" y="9416"/>
                  </a:lnTo>
                  <a:lnTo>
                    <a:pt x="2825" y="9332"/>
                  </a:lnTo>
                  <a:lnTo>
                    <a:pt x="2930" y="9374"/>
                  </a:lnTo>
                  <a:lnTo>
                    <a:pt x="2972" y="9416"/>
                  </a:lnTo>
                  <a:lnTo>
                    <a:pt x="3034" y="9416"/>
                  </a:lnTo>
                  <a:lnTo>
                    <a:pt x="3055" y="9332"/>
                  </a:lnTo>
                  <a:lnTo>
                    <a:pt x="3097" y="9416"/>
                  </a:lnTo>
                  <a:lnTo>
                    <a:pt x="3244" y="9437"/>
                  </a:lnTo>
                  <a:lnTo>
                    <a:pt x="3202" y="9521"/>
                  </a:lnTo>
                  <a:lnTo>
                    <a:pt x="3306" y="9563"/>
                  </a:lnTo>
                  <a:lnTo>
                    <a:pt x="3474" y="9542"/>
                  </a:lnTo>
                  <a:lnTo>
                    <a:pt x="3495" y="9416"/>
                  </a:lnTo>
                  <a:lnTo>
                    <a:pt x="3662" y="9270"/>
                  </a:lnTo>
                  <a:lnTo>
                    <a:pt x="3725" y="9102"/>
                  </a:lnTo>
                  <a:lnTo>
                    <a:pt x="3599" y="8977"/>
                  </a:lnTo>
                  <a:lnTo>
                    <a:pt x="3599" y="8893"/>
                  </a:lnTo>
                  <a:lnTo>
                    <a:pt x="3453" y="8788"/>
                  </a:lnTo>
                  <a:lnTo>
                    <a:pt x="3474" y="8747"/>
                  </a:lnTo>
                  <a:lnTo>
                    <a:pt x="3265" y="8579"/>
                  </a:lnTo>
                  <a:lnTo>
                    <a:pt x="3244" y="8475"/>
                  </a:lnTo>
                  <a:lnTo>
                    <a:pt x="3160" y="8391"/>
                  </a:lnTo>
                  <a:lnTo>
                    <a:pt x="3055" y="8516"/>
                  </a:lnTo>
                  <a:lnTo>
                    <a:pt x="2993" y="8433"/>
                  </a:lnTo>
                  <a:lnTo>
                    <a:pt x="2951" y="8454"/>
                  </a:lnTo>
                  <a:lnTo>
                    <a:pt x="2951" y="8349"/>
                  </a:lnTo>
                  <a:lnTo>
                    <a:pt x="2867" y="8349"/>
                  </a:lnTo>
                  <a:lnTo>
                    <a:pt x="2825" y="8244"/>
                  </a:lnTo>
                  <a:lnTo>
                    <a:pt x="2742" y="8182"/>
                  </a:lnTo>
                  <a:lnTo>
                    <a:pt x="2825" y="8077"/>
                  </a:lnTo>
                  <a:lnTo>
                    <a:pt x="2762" y="7952"/>
                  </a:lnTo>
                  <a:lnTo>
                    <a:pt x="2825" y="7931"/>
                  </a:lnTo>
                  <a:lnTo>
                    <a:pt x="2825" y="7847"/>
                  </a:lnTo>
                  <a:lnTo>
                    <a:pt x="2742" y="7826"/>
                  </a:lnTo>
                  <a:lnTo>
                    <a:pt x="2825" y="7721"/>
                  </a:lnTo>
                  <a:lnTo>
                    <a:pt x="2783" y="7533"/>
                  </a:lnTo>
                  <a:lnTo>
                    <a:pt x="2825" y="7512"/>
                  </a:lnTo>
                  <a:lnTo>
                    <a:pt x="2867" y="7554"/>
                  </a:lnTo>
                  <a:lnTo>
                    <a:pt x="2888" y="7449"/>
                  </a:lnTo>
                  <a:lnTo>
                    <a:pt x="2825" y="7345"/>
                  </a:lnTo>
                  <a:lnTo>
                    <a:pt x="2846" y="7198"/>
                  </a:lnTo>
                  <a:lnTo>
                    <a:pt x="2825" y="7073"/>
                  </a:lnTo>
                  <a:lnTo>
                    <a:pt x="2846" y="7010"/>
                  </a:lnTo>
                  <a:lnTo>
                    <a:pt x="2825" y="6884"/>
                  </a:lnTo>
                  <a:lnTo>
                    <a:pt x="2679" y="6696"/>
                  </a:lnTo>
                  <a:lnTo>
                    <a:pt x="2679" y="6696"/>
                  </a:lnTo>
                  <a:lnTo>
                    <a:pt x="2783" y="6759"/>
                  </a:lnTo>
                  <a:lnTo>
                    <a:pt x="2951" y="6717"/>
                  </a:lnTo>
                  <a:lnTo>
                    <a:pt x="3055" y="6571"/>
                  </a:lnTo>
                  <a:lnTo>
                    <a:pt x="2993" y="6466"/>
                  </a:lnTo>
                  <a:lnTo>
                    <a:pt x="3034" y="6403"/>
                  </a:lnTo>
                  <a:lnTo>
                    <a:pt x="3139" y="6424"/>
                  </a:lnTo>
                  <a:lnTo>
                    <a:pt x="3286" y="6299"/>
                  </a:lnTo>
                  <a:lnTo>
                    <a:pt x="3286" y="6236"/>
                  </a:lnTo>
                  <a:lnTo>
                    <a:pt x="3202" y="6236"/>
                  </a:lnTo>
                  <a:lnTo>
                    <a:pt x="3265" y="6131"/>
                  </a:lnTo>
                  <a:lnTo>
                    <a:pt x="3348" y="6047"/>
                  </a:lnTo>
                  <a:lnTo>
                    <a:pt x="3390" y="6089"/>
                  </a:lnTo>
                  <a:lnTo>
                    <a:pt x="3453" y="6089"/>
                  </a:lnTo>
                  <a:lnTo>
                    <a:pt x="3474" y="5964"/>
                  </a:lnTo>
                  <a:lnTo>
                    <a:pt x="3516" y="5964"/>
                  </a:lnTo>
                  <a:lnTo>
                    <a:pt x="3558" y="6047"/>
                  </a:lnTo>
                  <a:lnTo>
                    <a:pt x="3620" y="5964"/>
                  </a:lnTo>
                  <a:lnTo>
                    <a:pt x="3620" y="5838"/>
                  </a:lnTo>
                  <a:lnTo>
                    <a:pt x="3683" y="5734"/>
                  </a:lnTo>
                  <a:lnTo>
                    <a:pt x="3788" y="5734"/>
                  </a:lnTo>
                  <a:lnTo>
                    <a:pt x="3788" y="5817"/>
                  </a:lnTo>
                  <a:lnTo>
                    <a:pt x="3871" y="5817"/>
                  </a:lnTo>
                  <a:lnTo>
                    <a:pt x="3913" y="5713"/>
                  </a:lnTo>
                  <a:lnTo>
                    <a:pt x="4039" y="5629"/>
                  </a:lnTo>
                  <a:lnTo>
                    <a:pt x="4018" y="5524"/>
                  </a:lnTo>
                  <a:lnTo>
                    <a:pt x="4018" y="5420"/>
                  </a:lnTo>
                  <a:lnTo>
                    <a:pt x="4102" y="5503"/>
                  </a:lnTo>
                  <a:lnTo>
                    <a:pt x="4206" y="5378"/>
                  </a:lnTo>
                  <a:lnTo>
                    <a:pt x="4290" y="5378"/>
                  </a:lnTo>
                  <a:lnTo>
                    <a:pt x="4395" y="5190"/>
                  </a:lnTo>
                  <a:lnTo>
                    <a:pt x="4395" y="5001"/>
                  </a:lnTo>
                  <a:lnTo>
                    <a:pt x="4457" y="4897"/>
                  </a:lnTo>
                  <a:lnTo>
                    <a:pt x="4541" y="4897"/>
                  </a:lnTo>
                  <a:lnTo>
                    <a:pt x="4646" y="4771"/>
                  </a:lnTo>
                  <a:lnTo>
                    <a:pt x="4562" y="4771"/>
                  </a:lnTo>
                  <a:lnTo>
                    <a:pt x="4499" y="4666"/>
                  </a:lnTo>
                  <a:lnTo>
                    <a:pt x="4562" y="4625"/>
                  </a:lnTo>
                  <a:lnTo>
                    <a:pt x="4541" y="4562"/>
                  </a:lnTo>
                  <a:lnTo>
                    <a:pt x="4436" y="4562"/>
                  </a:lnTo>
                  <a:lnTo>
                    <a:pt x="4332" y="4457"/>
                  </a:lnTo>
                  <a:lnTo>
                    <a:pt x="4457" y="4415"/>
                  </a:lnTo>
                  <a:lnTo>
                    <a:pt x="4436" y="4332"/>
                  </a:lnTo>
                  <a:lnTo>
                    <a:pt x="4520" y="4164"/>
                  </a:lnTo>
                  <a:lnTo>
                    <a:pt x="4541" y="4081"/>
                  </a:lnTo>
                  <a:lnTo>
                    <a:pt x="4499" y="3997"/>
                  </a:lnTo>
                  <a:lnTo>
                    <a:pt x="4415" y="3997"/>
                  </a:lnTo>
                  <a:lnTo>
                    <a:pt x="4395" y="3934"/>
                  </a:lnTo>
                  <a:lnTo>
                    <a:pt x="4415" y="3892"/>
                  </a:lnTo>
                  <a:lnTo>
                    <a:pt x="4499" y="3934"/>
                  </a:lnTo>
                  <a:lnTo>
                    <a:pt x="4520" y="3955"/>
                  </a:lnTo>
                  <a:lnTo>
                    <a:pt x="4541" y="3955"/>
                  </a:lnTo>
                  <a:lnTo>
                    <a:pt x="4541" y="3871"/>
                  </a:lnTo>
                  <a:lnTo>
                    <a:pt x="4436" y="3850"/>
                  </a:lnTo>
                  <a:lnTo>
                    <a:pt x="4541" y="3788"/>
                  </a:lnTo>
                  <a:lnTo>
                    <a:pt x="4625" y="3788"/>
                  </a:lnTo>
                  <a:lnTo>
                    <a:pt x="4729" y="3725"/>
                  </a:lnTo>
                  <a:lnTo>
                    <a:pt x="4646" y="3662"/>
                  </a:lnTo>
                  <a:lnTo>
                    <a:pt x="4562" y="3516"/>
                  </a:lnTo>
                  <a:lnTo>
                    <a:pt x="4646" y="3537"/>
                  </a:lnTo>
                  <a:lnTo>
                    <a:pt x="4708" y="3620"/>
                  </a:lnTo>
                  <a:lnTo>
                    <a:pt x="4813" y="3578"/>
                  </a:lnTo>
                  <a:lnTo>
                    <a:pt x="4834" y="3474"/>
                  </a:lnTo>
                  <a:lnTo>
                    <a:pt x="4855" y="3369"/>
                  </a:lnTo>
                  <a:lnTo>
                    <a:pt x="4918" y="3327"/>
                  </a:lnTo>
                  <a:lnTo>
                    <a:pt x="4980" y="3453"/>
                  </a:lnTo>
                  <a:lnTo>
                    <a:pt x="5064" y="3348"/>
                  </a:lnTo>
                  <a:lnTo>
                    <a:pt x="5127" y="3453"/>
                  </a:lnTo>
                  <a:lnTo>
                    <a:pt x="5190" y="3474"/>
                  </a:lnTo>
                  <a:lnTo>
                    <a:pt x="5252" y="3369"/>
                  </a:lnTo>
                  <a:lnTo>
                    <a:pt x="5357" y="3432"/>
                  </a:lnTo>
                  <a:lnTo>
                    <a:pt x="5483" y="3348"/>
                  </a:lnTo>
                  <a:lnTo>
                    <a:pt x="5545" y="3432"/>
                  </a:lnTo>
                  <a:lnTo>
                    <a:pt x="5671" y="3432"/>
                  </a:lnTo>
                  <a:lnTo>
                    <a:pt x="5713" y="3369"/>
                  </a:lnTo>
                  <a:lnTo>
                    <a:pt x="5755" y="3411"/>
                  </a:lnTo>
                  <a:lnTo>
                    <a:pt x="5755" y="3265"/>
                  </a:lnTo>
                  <a:lnTo>
                    <a:pt x="5671" y="3202"/>
                  </a:lnTo>
                  <a:lnTo>
                    <a:pt x="5587" y="2993"/>
                  </a:lnTo>
                  <a:lnTo>
                    <a:pt x="5462" y="2951"/>
                  </a:lnTo>
                  <a:lnTo>
                    <a:pt x="5399" y="2762"/>
                  </a:lnTo>
                  <a:lnTo>
                    <a:pt x="5462" y="2700"/>
                  </a:lnTo>
                  <a:lnTo>
                    <a:pt x="5462" y="2490"/>
                  </a:lnTo>
                  <a:lnTo>
                    <a:pt x="5441" y="2386"/>
                  </a:lnTo>
                  <a:lnTo>
                    <a:pt x="5462" y="2302"/>
                  </a:lnTo>
                  <a:lnTo>
                    <a:pt x="5399" y="2093"/>
                  </a:lnTo>
                  <a:lnTo>
                    <a:pt x="5357" y="1988"/>
                  </a:lnTo>
                  <a:lnTo>
                    <a:pt x="5336" y="1842"/>
                  </a:lnTo>
                  <a:lnTo>
                    <a:pt x="5378" y="1758"/>
                  </a:lnTo>
                  <a:lnTo>
                    <a:pt x="5357" y="1633"/>
                  </a:lnTo>
                  <a:lnTo>
                    <a:pt x="5190" y="1591"/>
                  </a:lnTo>
                  <a:lnTo>
                    <a:pt x="5190" y="1486"/>
                  </a:lnTo>
                  <a:lnTo>
                    <a:pt x="5252" y="1361"/>
                  </a:lnTo>
                  <a:lnTo>
                    <a:pt x="5190" y="1172"/>
                  </a:lnTo>
                  <a:lnTo>
                    <a:pt x="5252" y="1068"/>
                  </a:lnTo>
                  <a:lnTo>
                    <a:pt x="5190" y="1005"/>
                  </a:lnTo>
                  <a:lnTo>
                    <a:pt x="5127" y="1005"/>
                  </a:lnTo>
                  <a:lnTo>
                    <a:pt x="5022" y="858"/>
                  </a:lnTo>
                  <a:lnTo>
                    <a:pt x="4939" y="858"/>
                  </a:lnTo>
                  <a:lnTo>
                    <a:pt x="4876" y="754"/>
                  </a:lnTo>
                  <a:lnTo>
                    <a:pt x="4771" y="628"/>
                  </a:lnTo>
                  <a:lnTo>
                    <a:pt x="4708" y="607"/>
                  </a:lnTo>
                  <a:lnTo>
                    <a:pt x="4604" y="545"/>
                  </a:lnTo>
                  <a:lnTo>
                    <a:pt x="4395" y="524"/>
                  </a:lnTo>
                  <a:lnTo>
                    <a:pt x="4227" y="419"/>
                  </a:lnTo>
                  <a:lnTo>
                    <a:pt x="4018" y="189"/>
                  </a:lnTo>
                  <a:lnTo>
                    <a:pt x="3892" y="105"/>
                  </a:lnTo>
                  <a:lnTo>
                    <a:pt x="378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Google Shape;12151;p43">
              <a:extLst>
                <a:ext uri="{FF2B5EF4-FFF2-40B4-BE49-F238E27FC236}">
                  <a16:creationId xmlns:a16="http://schemas.microsoft.com/office/drawing/2014/main" id="{10517CEF-12F3-B08F-DFAD-2BF99ACD93FA}"/>
                </a:ext>
              </a:extLst>
            </p:cNvPr>
            <p:cNvSpPr/>
            <p:nvPr/>
          </p:nvSpPr>
          <p:spPr>
            <a:xfrm>
              <a:off x="3883127" y="2693471"/>
              <a:ext cx="27411" cy="23803"/>
            </a:xfrm>
            <a:custGeom>
              <a:avLst/>
              <a:gdLst/>
              <a:ahLst/>
              <a:cxnLst/>
              <a:rect l="l" t="t" r="r" b="b"/>
              <a:pathLst>
                <a:path w="2302" h="2093" extrusionOk="0">
                  <a:moveTo>
                    <a:pt x="1026" y="0"/>
                  </a:moveTo>
                  <a:lnTo>
                    <a:pt x="1026" y="63"/>
                  </a:lnTo>
                  <a:lnTo>
                    <a:pt x="942" y="63"/>
                  </a:lnTo>
                  <a:lnTo>
                    <a:pt x="942" y="105"/>
                  </a:lnTo>
                  <a:lnTo>
                    <a:pt x="1005" y="167"/>
                  </a:lnTo>
                  <a:lnTo>
                    <a:pt x="900" y="230"/>
                  </a:lnTo>
                  <a:lnTo>
                    <a:pt x="837" y="209"/>
                  </a:lnTo>
                  <a:lnTo>
                    <a:pt x="628" y="209"/>
                  </a:lnTo>
                  <a:lnTo>
                    <a:pt x="607" y="147"/>
                  </a:lnTo>
                  <a:lnTo>
                    <a:pt x="586" y="251"/>
                  </a:lnTo>
                  <a:lnTo>
                    <a:pt x="481" y="230"/>
                  </a:lnTo>
                  <a:lnTo>
                    <a:pt x="335" y="272"/>
                  </a:lnTo>
                  <a:lnTo>
                    <a:pt x="335" y="356"/>
                  </a:lnTo>
                  <a:lnTo>
                    <a:pt x="272" y="356"/>
                  </a:lnTo>
                  <a:lnTo>
                    <a:pt x="84" y="439"/>
                  </a:lnTo>
                  <a:lnTo>
                    <a:pt x="0" y="544"/>
                  </a:lnTo>
                  <a:lnTo>
                    <a:pt x="21" y="900"/>
                  </a:lnTo>
                  <a:lnTo>
                    <a:pt x="84" y="900"/>
                  </a:lnTo>
                  <a:lnTo>
                    <a:pt x="126" y="879"/>
                  </a:lnTo>
                  <a:lnTo>
                    <a:pt x="230" y="900"/>
                  </a:lnTo>
                  <a:lnTo>
                    <a:pt x="189" y="983"/>
                  </a:lnTo>
                  <a:lnTo>
                    <a:pt x="105" y="983"/>
                  </a:lnTo>
                  <a:lnTo>
                    <a:pt x="105" y="1151"/>
                  </a:lnTo>
                  <a:lnTo>
                    <a:pt x="209" y="1276"/>
                  </a:lnTo>
                  <a:lnTo>
                    <a:pt x="377" y="1423"/>
                  </a:lnTo>
                  <a:lnTo>
                    <a:pt x="419" y="1423"/>
                  </a:lnTo>
                  <a:lnTo>
                    <a:pt x="419" y="1318"/>
                  </a:lnTo>
                  <a:lnTo>
                    <a:pt x="544" y="1214"/>
                  </a:lnTo>
                  <a:lnTo>
                    <a:pt x="586" y="1318"/>
                  </a:lnTo>
                  <a:lnTo>
                    <a:pt x="523" y="1611"/>
                  </a:lnTo>
                  <a:lnTo>
                    <a:pt x="523" y="1695"/>
                  </a:lnTo>
                  <a:lnTo>
                    <a:pt x="586" y="1674"/>
                  </a:lnTo>
                  <a:lnTo>
                    <a:pt x="754" y="1569"/>
                  </a:lnTo>
                  <a:lnTo>
                    <a:pt x="900" y="1507"/>
                  </a:lnTo>
                  <a:lnTo>
                    <a:pt x="1046" y="1632"/>
                  </a:lnTo>
                  <a:lnTo>
                    <a:pt x="1130" y="1611"/>
                  </a:lnTo>
                  <a:lnTo>
                    <a:pt x="1151" y="1507"/>
                  </a:lnTo>
                  <a:lnTo>
                    <a:pt x="1235" y="1590"/>
                  </a:lnTo>
                  <a:lnTo>
                    <a:pt x="1277" y="1674"/>
                  </a:lnTo>
                  <a:lnTo>
                    <a:pt x="1339" y="1674"/>
                  </a:lnTo>
                  <a:lnTo>
                    <a:pt x="1528" y="1779"/>
                  </a:lnTo>
                  <a:lnTo>
                    <a:pt x="1570" y="1925"/>
                  </a:lnTo>
                  <a:lnTo>
                    <a:pt x="1695" y="1967"/>
                  </a:lnTo>
                  <a:lnTo>
                    <a:pt x="1779" y="2092"/>
                  </a:lnTo>
                  <a:lnTo>
                    <a:pt x="1988" y="2009"/>
                  </a:lnTo>
                  <a:lnTo>
                    <a:pt x="2155" y="2030"/>
                  </a:lnTo>
                  <a:lnTo>
                    <a:pt x="2260" y="1904"/>
                  </a:lnTo>
                  <a:lnTo>
                    <a:pt x="2218" y="1800"/>
                  </a:lnTo>
                  <a:lnTo>
                    <a:pt x="2302" y="1716"/>
                  </a:lnTo>
                  <a:lnTo>
                    <a:pt x="2302" y="1611"/>
                  </a:lnTo>
                  <a:lnTo>
                    <a:pt x="2051" y="1109"/>
                  </a:lnTo>
                  <a:lnTo>
                    <a:pt x="2093" y="691"/>
                  </a:lnTo>
                  <a:lnTo>
                    <a:pt x="2155" y="649"/>
                  </a:lnTo>
                  <a:lnTo>
                    <a:pt x="2197" y="481"/>
                  </a:lnTo>
                  <a:lnTo>
                    <a:pt x="2281" y="356"/>
                  </a:lnTo>
                  <a:lnTo>
                    <a:pt x="2302" y="335"/>
                  </a:lnTo>
                  <a:lnTo>
                    <a:pt x="2302" y="314"/>
                  </a:lnTo>
                  <a:lnTo>
                    <a:pt x="2260" y="230"/>
                  </a:lnTo>
                  <a:lnTo>
                    <a:pt x="2218" y="272"/>
                  </a:lnTo>
                  <a:lnTo>
                    <a:pt x="1758" y="251"/>
                  </a:lnTo>
                  <a:lnTo>
                    <a:pt x="1570" y="126"/>
                  </a:lnTo>
                  <a:lnTo>
                    <a:pt x="1339" y="126"/>
                  </a:lnTo>
                  <a:lnTo>
                    <a:pt x="1235" y="63"/>
                  </a:lnTo>
                  <a:lnTo>
                    <a:pt x="1130" y="105"/>
                  </a:lnTo>
                  <a:lnTo>
                    <a:pt x="10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Google Shape;12152;p43">
              <a:extLst>
                <a:ext uri="{FF2B5EF4-FFF2-40B4-BE49-F238E27FC236}">
                  <a16:creationId xmlns:a16="http://schemas.microsoft.com/office/drawing/2014/main" id="{91BD56E8-14E5-5D21-3707-DDA0D6777E63}"/>
                </a:ext>
              </a:extLst>
            </p:cNvPr>
            <p:cNvSpPr/>
            <p:nvPr/>
          </p:nvSpPr>
          <p:spPr>
            <a:xfrm>
              <a:off x="3870422" y="2710598"/>
              <a:ext cx="43605" cy="22620"/>
            </a:xfrm>
            <a:custGeom>
              <a:avLst/>
              <a:gdLst/>
              <a:ahLst/>
              <a:cxnLst/>
              <a:rect l="l" t="t" r="r" b="b"/>
              <a:pathLst>
                <a:path w="3662" h="1989" extrusionOk="0">
                  <a:moveTo>
                    <a:pt x="1967" y="1"/>
                  </a:moveTo>
                  <a:lnTo>
                    <a:pt x="1821" y="63"/>
                  </a:lnTo>
                  <a:lnTo>
                    <a:pt x="1653" y="168"/>
                  </a:lnTo>
                  <a:lnTo>
                    <a:pt x="1590" y="189"/>
                  </a:lnTo>
                  <a:lnTo>
                    <a:pt x="1590" y="314"/>
                  </a:lnTo>
                  <a:lnTo>
                    <a:pt x="1653" y="586"/>
                  </a:lnTo>
                  <a:lnTo>
                    <a:pt x="1590" y="754"/>
                  </a:lnTo>
                  <a:lnTo>
                    <a:pt x="1402" y="963"/>
                  </a:lnTo>
                  <a:lnTo>
                    <a:pt x="1256" y="963"/>
                  </a:lnTo>
                  <a:lnTo>
                    <a:pt x="1130" y="838"/>
                  </a:lnTo>
                  <a:lnTo>
                    <a:pt x="1130" y="733"/>
                  </a:lnTo>
                  <a:lnTo>
                    <a:pt x="837" y="440"/>
                  </a:lnTo>
                  <a:lnTo>
                    <a:pt x="837" y="294"/>
                  </a:lnTo>
                  <a:lnTo>
                    <a:pt x="774" y="294"/>
                  </a:lnTo>
                  <a:lnTo>
                    <a:pt x="670" y="398"/>
                  </a:lnTo>
                  <a:lnTo>
                    <a:pt x="523" y="419"/>
                  </a:lnTo>
                  <a:lnTo>
                    <a:pt x="460" y="461"/>
                  </a:lnTo>
                  <a:lnTo>
                    <a:pt x="335" y="461"/>
                  </a:lnTo>
                  <a:lnTo>
                    <a:pt x="251" y="607"/>
                  </a:lnTo>
                  <a:lnTo>
                    <a:pt x="293" y="733"/>
                  </a:lnTo>
                  <a:lnTo>
                    <a:pt x="230" y="712"/>
                  </a:lnTo>
                  <a:lnTo>
                    <a:pt x="230" y="921"/>
                  </a:lnTo>
                  <a:lnTo>
                    <a:pt x="84" y="1110"/>
                  </a:lnTo>
                  <a:lnTo>
                    <a:pt x="84" y="1214"/>
                  </a:lnTo>
                  <a:lnTo>
                    <a:pt x="84" y="1319"/>
                  </a:lnTo>
                  <a:lnTo>
                    <a:pt x="0" y="1382"/>
                  </a:lnTo>
                  <a:lnTo>
                    <a:pt x="42" y="1674"/>
                  </a:lnTo>
                  <a:lnTo>
                    <a:pt x="126" y="1737"/>
                  </a:lnTo>
                  <a:lnTo>
                    <a:pt x="126" y="1758"/>
                  </a:lnTo>
                  <a:lnTo>
                    <a:pt x="230" y="1737"/>
                  </a:lnTo>
                  <a:lnTo>
                    <a:pt x="251" y="1591"/>
                  </a:lnTo>
                  <a:lnTo>
                    <a:pt x="440" y="1465"/>
                  </a:lnTo>
                  <a:lnTo>
                    <a:pt x="670" y="1382"/>
                  </a:lnTo>
                  <a:lnTo>
                    <a:pt x="879" y="1423"/>
                  </a:lnTo>
                  <a:lnTo>
                    <a:pt x="1025" y="1423"/>
                  </a:lnTo>
                  <a:lnTo>
                    <a:pt x="1088" y="1465"/>
                  </a:lnTo>
                  <a:lnTo>
                    <a:pt x="1235" y="1382"/>
                  </a:lnTo>
                  <a:lnTo>
                    <a:pt x="1339" y="1361"/>
                  </a:lnTo>
                  <a:lnTo>
                    <a:pt x="1360" y="1444"/>
                  </a:lnTo>
                  <a:lnTo>
                    <a:pt x="1465" y="1444"/>
                  </a:lnTo>
                  <a:lnTo>
                    <a:pt x="1548" y="1549"/>
                  </a:lnTo>
                  <a:lnTo>
                    <a:pt x="1716" y="1549"/>
                  </a:lnTo>
                  <a:lnTo>
                    <a:pt x="1779" y="1570"/>
                  </a:lnTo>
                  <a:lnTo>
                    <a:pt x="1967" y="1444"/>
                  </a:lnTo>
                  <a:lnTo>
                    <a:pt x="2176" y="1549"/>
                  </a:lnTo>
                  <a:lnTo>
                    <a:pt x="2344" y="1570"/>
                  </a:lnTo>
                  <a:lnTo>
                    <a:pt x="2511" y="1758"/>
                  </a:lnTo>
                  <a:lnTo>
                    <a:pt x="2637" y="1758"/>
                  </a:lnTo>
                  <a:lnTo>
                    <a:pt x="2762" y="1946"/>
                  </a:lnTo>
                  <a:lnTo>
                    <a:pt x="2929" y="1967"/>
                  </a:lnTo>
                  <a:lnTo>
                    <a:pt x="2971" y="1988"/>
                  </a:lnTo>
                  <a:lnTo>
                    <a:pt x="3160" y="1905"/>
                  </a:lnTo>
                  <a:lnTo>
                    <a:pt x="3390" y="1884"/>
                  </a:lnTo>
                  <a:lnTo>
                    <a:pt x="3432" y="1737"/>
                  </a:lnTo>
                  <a:lnTo>
                    <a:pt x="3536" y="1674"/>
                  </a:lnTo>
                  <a:lnTo>
                    <a:pt x="3578" y="1570"/>
                  </a:lnTo>
                  <a:lnTo>
                    <a:pt x="3662" y="1549"/>
                  </a:lnTo>
                  <a:lnTo>
                    <a:pt x="3662" y="1382"/>
                  </a:lnTo>
                  <a:lnTo>
                    <a:pt x="3578" y="1277"/>
                  </a:lnTo>
                  <a:lnTo>
                    <a:pt x="3494" y="1110"/>
                  </a:lnTo>
                  <a:lnTo>
                    <a:pt x="3473" y="1047"/>
                  </a:lnTo>
                  <a:lnTo>
                    <a:pt x="3390" y="921"/>
                  </a:lnTo>
                  <a:lnTo>
                    <a:pt x="3432" y="838"/>
                  </a:lnTo>
                  <a:lnTo>
                    <a:pt x="3369" y="733"/>
                  </a:lnTo>
                  <a:lnTo>
                    <a:pt x="3327" y="712"/>
                  </a:lnTo>
                  <a:lnTo>
                    <a:pt x="3348" y="649"/>
                  </a:lnTo>
                  <a:lnTo>
                    <a:pt x="3348" y="545"/>
                  </a:lnTo>
                  <a:lnTo>
                    <a:pt x="3055" y="503"/>
                  </a:lnTo>
                  <a:lnTo>
                    <a:pt x="2846" y="586"/>
                  </a:lnTo>
                  <a:lnTo>
                    <a:pt x="2762" y="461"/>
                  </a:lnTo>
                  <a:lnTo>
                    <a:pt x="2637" y="419"/>
                  </a:lnTo>
                  <a:lnTo>
                    <a:pt x="2595" y="273"/>
                  </a:lnTo>
                  <a:lnTo>
                    <a:pt x="2406" y="168"/>
                  </a:lnTo>
                  <a:lnTo>
                    <a:pt x="2344" y="168"/>
                  </a:lnTo>
                  <a:lnTo>
                    <a:pt x="2302" y="84"/>
                  </a:lnTo>
                  <a:lnTo>
                    <a:pt x="2218" y="1"/>
                  </a:lnTo>
                  <a:lnTo>
                    <a:pt x="2197" y="105"/>
                  </a:lnTo>
                  <a:lnTo>
                    <a:pt x="2113" y="126"/>
                  </a:lnTo>
                  <a:lnTo>
                    <a:pt x="196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Google Shape;12153;p43">
              <a:extLst>
                <a:ext uri="{FF2B5EF4-FFF2-40B4-BE49-F238E27FC236}">
                  <a16:creationId xmlns:a16="http://schemas.microsoft.com/office/drawing/2014/main" id="{AB5CEF81-07BB-E2BA-6E09-4CB5C283FB61}"/>
                </a:ext>
              </a:extLst>
            </p:cNvPr>
            <p:cNvSpPr/>
            <p:nvPr/>
          </p:nvSpPr>
          <p:spPr>
            <a:xfrm>
              <a:off x="3871910" y="2726065"/>
              <a:ext cx="33901" cy="23803"/>
            </a:xfrm>
            <a:custGeom>
              <a:avLst/>
              <a:gdLst/>
              <a:ahLst/>
              <a:cxnLst/>
              <a:rect l="l" t="t" r="r" b="b"/>
              <a:pathLst>
                <a:path w="2847" h="2093" extrusionOk="0">
                  <a:moveTo>
                    <a:pt x="1214" y="1"/>
                  </a:moveTo>
                  <a:lnTo>
                    <a:pt x="1110" y="22"/>
                  </a:lnTo>
                  <a:lnTo>
                    <a:pt x="963" y="105"/>
                  </a:lnTo>
                  <a:lnTo>
                    <a:pt x="900" y="63"/>
                  </a:lnTo>
                  <a:lnTo>
                    <a:pt x="754" y="63"/>
                  </a:lnTo>
                  <a:lnTo>
                    <a:pt x="545" y="22"/>
                  </a:lnTo>
                  <a:lnTo>
                    <a:pt x="315" y="105"/>
                  </a:lnTo>
                  <a:lnTo>
                    <a:pt x="126" y="231"/>
                  </a:lnTo>
                  <a:lnTo>
                    <a:pt x="105" y="377"/>
                  </a:lnTo>
                  <a:lnTo>
                    <a:pt x="1" y="398"/>
                  </a:lnTo>
                  <a:lnTo>
                    <a:pt x="1" y="586"/>
                  </a:lnTo>
                  <a:lnTo>
                    <a:pt x="63" y="712"/>
                  </a:lnTo>
                  <a:lnTo>
                    <a:pt x="1" y="796"/>
                  </a:lnTo>
                  <a:lnTo>
                    <a:pt x="22" y="817"/>
                  </a:lnTo>
                  <a:lnTo>
                    <a:pt x="231" y="754"/>
                  </a:lnTo>
                  <a:lnTo>
                    <a:pt x="398" y="1005"/>
                  </a:lnTo>
                  <a:lnTo>
                    <a:pt x="524" y="1047"/>
                  </a:lnTo>
                  <a:lnTo>
                    <a:pt x="733" y="1005"/>
                  </a:lnTo>
                  <a:lnTo>
                    <a:pt x="817" y="1047"/>
                  </a:lnTo>
                  <a:lnTo>
                    <a:pt x="838" y="1151"/>
                  </a:lnTo>
                  <a:lnTo>
                    <a:pt x="921" y="1172"/>
                  </a:lnTo>
                  <a:lnTo>
                    <a:pt x="963" y="1235"/>
                  </a:lnTo>
                  <a:lnTo>
                    <a:pt x="921" y="1340"/>
                  </a:lnTo>
                  <a:lnTo>
                    <a:pt x="921" y="1549"/>
                  </a:lnTo>
                  <a:lnTo>
                    <a:pt x="1047" y="1528"/>
                  </a:lnTo>
                  <a:lnTo>
                    <a:pt x="1172" y="1633"/>
                  </a:lnTo>
                  <a:lnTo>
                    <a:pt x="1256" y="1633"/>
                  </a:lnTo>
                  <a:lnTo>
                    <a:pt x="1319" y="1863"/>
                  </a:lnTo>
                  <a:lnTo>
                    <a:pt x="1319" y="1988"/>
                  </a:lnTo>
                  <a:lnTo>
                    <a:pt x="1361" y="2093"/>
                  </a:lnTo>
                  <a:lnTo>
                    <a:pt x="1486" y="2009"/>
                  </a:lnTo>
                  <a:lnTo>
                    <a:pt x="1696" y="1947"/>
                  </a:lnTo>
                  <a:lnTo>
                    <a:pt x="1863" y="2009"/>
                  </a:lnTo>
                  <a:lnTo>
                    <a:pt x="2009" y="1947"/>
                  </a:lnTo>
                  <a:lnTo>
                    <a:pt x="2114" y="1947"/>
                  </a:lnTo>
                  <a:lnTo>
                    <a:pt x="2051" y="1779"/>
                  </a:lnTo>
                  <a:lnTo>
                    <a:pt x="2219" y="1758"/>
                  </a:lnTo>
                  <a:lnTo>
                    <a:pt x="2281" y="1633"/>
                  </a:lnTo>
                  <a:lnTo>
                    <a:pt x="2386" y="1570"/>
                  </a:lnTo>
                  <a:lnTo>
                    <a:pt x="2407" y="1654"/>
                  </a:lnTo>
                  <a:lnTo>
                    <a:pt x="2532" y="1654"/>
                  </a:lnTo>
                  <a:lnTo>
                    <a:pt x="2532" y="1528"/>
                  </a:lnTo>
                  <a:lnTo>
                    <a:pt x="2386" y="1444"/>
                  </a:lnTo>
                  <a:lnTo>
                    <a:pt x="2428" y="1277"/>
                  </a:lnTo>
                  <a:lnTo>
                    <a:pt x="2512" y="1256"/>
                  </a:lnTo>
                  <a:lnTo>
                    <a:pt x="2616" y="1068"/>
                  </a:lnTo>
                  <a:lnTo>
                    <a:pt x="2825" y="963"/>
                  </a:lnTo>
                  <a:lnTo>
                    <a:pt x="2825" y="858"/>
                  </a:lnTo>
                  <a:lnTo>
                    <a:pt x="2721" y="817"/>
                  </a:lnTo>
                  <a:lnTo>
                    <a:pt x="2846" y="628"/>
                  </a:lnTo>
                  <a:lnTo>
                    <a:pt x="2804" y="607"/>
                  </a:lnTo>
                  <a:lnTo>
                    <a:pt x="2637" y="586"/>
                  </a:lnTo>
                  <a:lnTo>
                    <a:pt x="2512" y="398"/>
                  </a:lnTo>
                  <a:lnTo>
                    <a:pt x="2386" y="398"/>
                  </a:lnTo>
                  <a:lnTo>
                    <a:pt x="2219" y="210"/>
                  </a:lnTo>
                  <a:lnTo>
                    <a:pt x="2051" y="189"/>
                  </a:lnTo>
                  <a:lnTo>
                    <a:pt x="1842" y="84"/>
                  </a:lnTo>
                  <a:lnTo>
                    <a:pt x="1654" y="210"/>
                  </a:lnTo>
                  <a:lnTo>
                    <a:pt x="1591" y="189"/>
                  </a:lnTo>
                  <a:lnTo>
                    <a:pt x="1423" y="189"/>
                  </a:lnTo>
                  <a:lnTo>
                    <a:pt x="1340" y="84"/>
                  </a:lnTo>
                  <a:lnTo>
                    <a:pt x="1235" y="84"/>
                  </a:lnTo>
                  <a:lnTo>
                    <a:pt x="12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Google Shape;12154;p43">
              <a:extLst>
                <a:ext uri="{FF2B5EF4-FFF2-40B4-BE49-F238E27FC236}">
                  <a16:creationId xmlns:a16="http://schemas.microsoft.com/office/drawing/2014/main" id="{CBA49A54-483D-AD7C-D625-216DFD6EE852}"/>
                </a:ext>
              </a:extLst>
            </p:cNvPr>
            <p:cNvSpPr/>
            <p:nvPr/>
          </p:nvSpPr>
          <p:spPr>
            <a:xfrm>
              <a:off x="3888104" y="2727737"/>
              <a:ext cx="57573" cy="42601"/>
            </a:xfrm>
            <a:custGeom>
              <a:avLst/>
              <a:gdLst/>
              <a:ahLst/>
              <a:cxnLst/>
              <a:rect l="l" t="t" r="r" b="b"/>
              <a:pathLst>
                <a:path w="4835" h="3746" extrusionOk="0">
                  <a:moveTo>
                    <a:pt x="2470" y="0"/>
                  </a:moveTo>
                  <a:lnTo>
                    <a:pt x="2323" y="84"/>
                  </a:lnTo>
                  <a:lnTo>
                    <a:pt x="2219" y="42"/>
                  </a:lnTo>
                  <a:lnTo>
                    <a:pt x="2093" y="63"/>
                  </a:lnTo>
                  <a:lnTo>
                    <a:pt x="2051" y="167"/>
                  </a:lnTo>
                  <a:lnTo>
                    <a:pt x="1947" y="230"/>
                  </a:lnTo>
                  <a:lnTo>
                    <a:pt x="1905" y="377"/>
                  </a:lnTo>
                  <a:lnTo>
                    <a:pt x="1675" y="398"/>
                  </a:lnTo>
                  <a:lnTo>
                    <a:pt x="1486" y="481"/>
                  </a:lnTo>
                  <a:lnTo>
                    <a:pt x="1361" y="670"/>
                  </a:lnTo>
                  <a:lnTo>
                    <a:pt x="1465" y="711"/>
                  </a:lnTo>
                  <a:lnTo>
                    <a:pt x="1465" y="816"/>
                  </a:lnTo>
                  <a:lnTo>
                    <a:pt x="1256" y="921"/>
                  </a:lnTo>
                  <a:lnTo>
                    <a:pt x="1152" y="1109"/>
                  </a:lnTo>
                  <a:lnTo>
                    <a:pt x="1068" y="1130"/>
                  </a:lnTo>
                  <a:lnTo>
                    <a:pt x="1026" y="1297"/>
                  </a:lnTo>
                  <a:lnTo>
                    <a:pt x="1172" y="1381"/>
                  </a:lnTo>
                  <a:lnTo>
                    <a:pt x="1172" y="1507"/>
                  </a:lnTo>
                  <a:lnTo>
                    <a:pt x="1047" y="1507"/>
                  </a:lnTo>
                  <a:lnTo>
                    <a:pt x="1026" y="1423"/>
                  </a:lnTo>
                  <a:lnTo>
                    <a:pt x="921" y="1486"/>
                  </a:lnTo>
                  <a:lnTo>
                    <a:pt x="859" y="1611"/>
                  </a:lnTo>
                  <a:lnTo>
                    <a:pt x="691" y="1632"/>
                  </a:lnTo>
                  <a:lnTo>
                    <a:pt x="754" y="1800"/>
                  </a:lnTo>
                  <a:lnTo>
                    <a:pt x="649" y="1800"/>
                  </a:lnTo>
                  <a:lnTo>
                    <a:pt x="503" y="1862"/>
                  </a:lnTo>
                  <a:lnTo>
                    <a:pt x="336" y="1800"/>
                  </a:lnTo>
                  <a:lnTo>
                    <a:pt x="126" y="1862"/>
                  </a:lnTo>
                  <a:lnTo>
                    <a:pt x="1" y="1946"/>
                  </a:lnTo>
                  <a:lnTo>
                    <a:pt x="22" y="2009"/>
                  </a:lnTo>
                  <a:lnTo>
                    <a:pt x="126" y="2260"/>
                  </a:lnTo>
                  <a:lnTo>
                    <a:pt x="210" y="2385"/>
                  </a:lnTo>
                  <a:lnTo>
                    <a:pt x="231" y="2532"/>
                  </a:lnTo>
                  <a:lnTo>
                    <a:pt x="294" y="2574"/>
                  </a:lnTo>
                  <a:lnTo>
                    <a:pt x="294" y="2950"/>
                  </a:lnTo>
                  <a:lnTo>
                    <a:pt x="189" y="2992"/>
                  </a:lnTo>
                  <a:lnTo>
                    <a:pt x="105" y="3118"/>
                  </a:lnTo>
                  <a:lnTo>
                    <a:pt x="126" y="3306"/>
                  </a:lnTo>
                  <a:lnTo>
                    <a:pt x="273" y="3494"/>
                  </a:lnTo>
                  <a:lnTo>
                    <a:pt x="273" y="3536"/>
                  </a:lnTo>
                  <a:lnTo>
                    <a:pt x="336" y="3536"/>
                  </a:lnTo>
                  <a:lnTo>
                    <a:pt x="524" y="3620"/>
                  </a:lnTo>
                  <a:lnTo>
                    <a:pt x="628" y="3578"/>
                  </a:lnTo>
                  <a:lnTo>
                    <a:pt x="1047" y="3515"/>
                  </a:lnTo>
                  <a:lnTo>
                    <a:pt x="1235" y="3515"/>
                  </a:lnTo>
                  <a:lnTo>
                    <a:pt x="1340" y="3411"/>
                  </a:lnTo>
                  <a:lnTo>
                    <a:pt x="1424" y="3411"/>
                  </a:lnTo>
                  <a:lnTo>
                    <a:pt x="1549" y="3494"/>
                  </a:lnTo>
                  <a:lnTo>
                    <a:pt x="1884" y="3536"/>
                  </a:lnTo>
                  <a:lnTo>
                    <a:pt x="2009" y="3620"/>
                  </a:lnTo>
                  <a:lnTo>
                    <a:pt x="2051" y="3683"/>
                  </a:lnTo>
                  <a:lnTo>
                    <a:pt x="2260" y="3599"/>
                  </a:lnTo>
                  <a:lnTo>
                    <a:pt x="2365" y="3683"/>
                  </a:lnTo>
                  <a:lnTo>
                    <a:pt x="2428" y="3683"/>
                  </a:lnTo>
                  <a:lnTo>
                    <a:pt x="2470" y="3620"/>
                  </a:lnTo>
                  <a:lnTo>
                    <a:pt x="2637" y="3641"/>
                  </a:lnTo>
                  <a:lnTo>
                    <a:pt x="2721" y="3704"/>
                  </a:lnTo>
                  <a:lnTo>
                    <a:pt x="2909" y="3599"/>
                  </a:lnTo>
                  <a:lnTo>
                    <a:pt x="3056" y="3599"/>
                  </a:lnTo>
                  <a:lnTo>
                    <a:pt x="3097" y="3724"/>
                  </a:lnTo>
                  <a:lnTo>
                    <a:pt x="3202" y="3745"/>
                  </a:lnTo>
                  <a:lnTo>
                    <a:pt x="3307" y="3620"/>
                  </a:lnTo>
                  <a:lnTo>
                    <a:pt x="3411" y="3599"/>
                  </a:lnTo>
                  <a:lnTo>
                    <a:pt x="3516" y="3683"/>
                  </a:lnTo>
                  <a:lnTo>
                    <a:pt x="3662" y="3620"/>
                  </a:lnTo>
                  <a:lnTo>
                    <a:pt x="3767" y="3704"/>
                  </a:lnTo>
                  <a:lnTo>
                    <a:pt x="3893" y="3704"/>
                  </a:lnTo>
                  <a:lnTo>
                    <a:pt x="3893" y="3494"/>
                  </a:lnTo>
                  <a:lnTo>
                    <a:pt x="3997" y="3285"/>
                  </a:lnTo>
                  <a:lnTo>
                    <a:pt x="4165" y="3264"/>
                  </a:lnTo>
                  <a:lnTo>
                    <a:pt x="4395" y="3201"/>
                  </a:lnTo>
                  <a:lnTo>
                    <a:pt x="4416" y="3201"/>
                  </a:lnTo>
                  <a:lnTo>
                    <a:pt x="4416" y="3055"/>
                  </a:lnTo>
                  <a:lnTo>
                    <a:pt x="4290" y="2908"/>
                  </a:lnTo>
                  <a:lnTo>
                    <a:pt x="4311" y="2762"/>
                  </a:lnTo>
                  <a:lnTo>
                    <a:pt x="4185" y="2574"/>
                  </a:lnTo>
                  <a:lnTo>
                    <a:pt x="4185" y="2427"/>
                  </a:lnTo>
                  <a:lnTo>
                    <a:pt x="4248" y="2344"/>
                  </a:lnTo>
                  <a:lnTo>
                    <a:pt x="4374" y="2448"/>
                  </a:lnTo>
                  <a:lnTo>
                    <a:pt x="4667" y="2427"/>
                  </a:lnTo>
                  <a:lnTo>
                    <a:pt x="4771" y="2218"/>
                  </a:lnTo>
                  <a:lnTo>
                    <a:pt x="4834" y="2155"/>
                  </a:lnTo>
                  <a:lnTo>
                    <a:pt x="4688" y="2051"/>
                  </a:lnTo>
                  <a:lnTo>
                    <a:pt x="4688" y="1946"/>
                  </a:lnTo>
                  <a:lnTo>
                    <a:pt x="4457" y="1758"/>
                  </a:lnTo>
                  <a:lnTo>
                    <a:pt x="4269" y="1716"/>
                  </a:lnTo>
                  <a:lnTo>
                    <a:pt x="4206" y="1527"/>
                  </a:lnTo>
                  <a:lnTo>
                    <a:pt x="4102" y="1423"/>
                  </a:lnTo>
                  <a:lnTo>
                    <a:pt x="3955" y="1214"/>
                  </a:lnTo>
                  <a:lnTo>
                    <a:pt x="3872" y="1046"/>
                  </a:lnTo>
                  <a:lnTo>
                    <a:pt x="3746" y="921"/>
                  </a:lnTo>
                  <a:lnTo>
                    <a:pt x="3746" y="753"/>
                  </a:lnTo>
                  <a:lnTo>
                    <a:pt x="3662" y="649"/>
                  </a:lnTo>
                  <a:lnTo>
                    <a:pt x="3683" y="481"/>
                  </a:lnTo>
                  <a:lnTo>
                    <a:pt x="3662" y="356"/>
                  </a:lnTo>
                  <a:lnTo>
                    <a:pt x="3411" y="272"/>
                  </a:lnTo>
                  <a:lnTo>
                    <a:pt x="3328" y="272"/>
                  </a:lnTo>
                  <a:lnTo>
                    <a:pt x="3265" y="167"/>
                  </a:lnTo>
                  <a:lnTo>
                    <a:pt x="3097" y="230"/>
                  </a:lnTo>
                  <a:lnTo>
                    <a:pt x="2930" y="356"/>
                  </a:lnTo>
                  <a:lnTo>
                    <a:pt x="2825" y="147"/>
                  </a:lnTo>
                  <a:lnTo>
                    <a:pt x="2721" y="147"/>
                  </a:lnTo>
                  <a:lnTo>
                    <a:pt x="2574" y="188"/>
                  </a:lnTo>
                  <a:lnTo>
                    <a:pt x="24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Google Shape;12155;p43">
              <a:extLst>
                <a:ext uri="{FF2B5EF4-FFF2-40B4-BE49-F238E27FC236}">
                  <a16:creationId xmlns:a16="http://schemas.microsoft.com/office/drawing/2014/main" id="{2CBFCAA1-5E09-5B10-B5A9-5BC60821F6F4}"/>
                </a:ext>
              </a:extLst>
            </p:cNvPr>
            <p:cNvSpPr/>
            <p:nvPr/>
          </p:nvSpPr>
          <p:spPr>
            <a:xfrm>
              <a:off x="3848488" y="2796972"/>
              <a:ext cx="39628" cy="24519"/>
            </a:xfrm>
            <a:custGeom>
              <a:avLst/>
              <a:gdLst/>
              <a:ahLst/>
              <a:cxnLst/>
              <a:rect l="l" t="t" r="r" b="b"/>
              <a:pathLst>
                <a:path w="3328" h="2156" extrusionOk="0">
                  <a:moveTo>
                    <a:pt x="2993" y="1"/>
                  </a:moveTo>
                  <a:lnTo>
                    <a:pt x="2867" y="64"/>
                  </a:lnTo>
                  <a:lnTo>
                    <a:pt x="2679" y="43"/>
                  </a:lnTo>
                  <a:lnTo>
                    <a:pt x="2449" y="43"/>
                  </a:lnTo>
                  <a:lnTo>
                    <a:pt x="2302" y="22"/>
                  </a:lnTo>
                  <a:lnTo>
                    <a:pt x="2135" y="43"/>
                  </a:lnTo>
                  <a:lnTo>
                    <a:pt x="2030" y="210"/>
                  </a:lnTo>
                  <a:lnTo>
                    <a:pt x="1926" y="273"/>
                  </a:lnTo>
                  <a:lnTo>
                    <a:pt x="1926" y="377"/>
                  </a:lnTo>
                  <a:lnTo>
                    <a:pt x="1758" y="210"/>
                  </a:lnTo>
                  <a:lnTo>
                    <a:pt x="1549" y="357"/>
                  </a:lnTo>
                  <a:lnTo>
                    <a:pt x="1403" y="419"/>
                  </a:lnTo>
                  <a:lnTo>
                    <a:pt x="1403" y="545"/>
                  </a:lnTo>
                  <a:lnTo>
                    <a:pt x="1089" y="566"/>
                  </a:lnTo>
                  <a:lnTo>
                    <a:pt x="880" y="629"/>
                  </a:lnTo>
                  <a:lnTo>
                    <a:pt x="691" y="587"/>
                  </a:lnTo>
                  <a:lnTo>
                    <a:pt x="294" y="357"/>
                  </a:lnTo>
                  <a:lnTo>
                    <a:pt x="294" y="440"/>
                  </a:lnTo>
                  <a:lnTo>
                    <a:pt x="315" y="566"/>
                  </a:lnTo>
                  <a:lnTo>
                    <a:pt x="294" y="670"/>
                  </a:lnTo>
                  <a:lnTo>
                    <a:pt x="64" y="670"/>
                  </a:lnTo>
                  <a:lnTo>
                    <a:pt x="43" y="733"/>
                  </a:lnTo>
                  <a:lnTo>
                    <a:pt x="147" y="838"/>
                  </a:lnTo>
                  <a:lnTo>
                    <a:pt x="85" y="984"/>
                  </a:lnTo>
                  <a:lnTo>
                    <a:pt x="64" y="1089"/>
                  </a:lnTo>
                  <a:lnTo>
                    <a:pt x="147" y="1193"/>
                  </a:lnTo>
                  <a:lnTo>
                    <a:pt x="43" y="1298"/>
                  </a:lnTo>
                  <a:lnTo>
                    <a:pt x="1" y="1298"/>
                  </a:lnTo>
                  <a:lnTo>
                    <a:pt x="168" y="1486"/>
                  </a:lnTo>
                  <a:lnTo>
                    <a:pt x="189" y="1675"/>
                  </a:lnTo>
                  <a:lnTo>
                    <a:pt x="273" y="1696"/>
                  </a:lnTo>
                  <a:lnTo>
                    <a:pt x="524" y="1905"/>
                  </a:lnTo>
                  <a:lnTo>
                    <a:pt x="629" y="1947"/>
                  </a:lnTo>
                  <a:lnTo>
                    <a:pt x="733" y="2030"/>
                  </a:lnTo>
                  <a:lnTo>
                    <a:pt x="1026" y="2093"/>
                  </a:lnTo>
                  <a:lnTo>
                    <a:pt x="1235" y="2156"/>
                  </a:lnTo>
                  <a:lnTo>
                    <a:pt x="1340" y="2030"/>
                  </a:lnTo>
                  <a:lnTo>
                    <a:pt x="1403" y="2051"/>
                  </a:lnTo>
                  <a:lnTo>
                    <a:pt x="1466" y="1989"/>
                  </a:lnTo>
                  <a:lnTo>
                    <a:pt x="1612" y="1926"/>
                  </a:lnTo>
                  <a:lnTo>
                    <a:pt x="1717" y="1926"/>
                  </a:lnTo>
                  <a:lnTo>
                    <a:pt x="1738" y="1884"/>
                  </a:lnTo>
                  <a:lnTo>
                    <a:pt x="1863" y="1779"/>
                  </a:lnTo>
                  <a:lnTo>
                    <a:pt x="1968" y="1800"/>
                  </a:lnTo>
                  <a:lnTo>
                    <a:pt x="2072" y="1821"/>
                  </a:lnTo>
                  <a:lnTo>
                    <a:pt x="2156" y="1842"/>
                  </a:lnTo>
                  <a:lnTo>
                    <a:pt x="2282" y="1717"/>
                  </a:lnTo>
                  <a:lnTo>
                    <a:pt x="2386" y="1696"/>
                  </a:lnTo>
                  <a:lnTo>
                    <a:pt x="2449" y="1591"/>
                  </a:lnTo>
                  <a:lnTo>
                    <a:pt x="2595" y="1612"/>
                  </a:lnTo>
                  <a:lnTo>
                    <a:pt x="2700" y="1507"/>
                  </a:lnTo>
                  <a:lnTo>
                    <a:pt x="2679" y="1403"/>
                  </a:lnTo>
                  <a:lnTo>
                    <a:pt x="2888" y="1089"/>
                  </a:lnTo>
                  <a:lnTo>
                    <a:pt x="3014" y="754"/>
                  </a:lnTo>
                  <a:lnTo>
                    <a:pt x="3118" y="524"/>
                  </a:lnTo>
                  <a:lnTo>
                    <a:pt x="3286" y="482"/>
                  </a:lnTo>
                  <a:lnTo>
                    <a:pt x="3328" y="357"/>
                  </a:lnTo>
                  <a:lnTo>
                    <a:pt x="3307" y="336"/>
                  </a:lnTo>
                  <a:lnTo>
                    <a:pt x="3286" y="231"/>
                  </a:lnTo>
                  <a:lnTo>
                    <a:pt x="3118" y="126"/>
                  </a:lnTo>
                  <a:lnTo>
                    <a:pt x="29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Google Shape;12156;p43">
              <a:extLst>
                <a:ext uri="{FF2B5EF4-FFF2-40B4-BE49-F238E27FC236}">
                  <a16:creationId xmlns:a16="http://schemas.microsoft.com/office/drawing/2014/main" id="{7400112E-B705-2540-D289-93B7CE5B89C8}"/>
                </a:ext>
              </a:extLst>
            </p:cNvPr>
            <p:cNvSpPr/>
            <p:nvPr/>
          </p:nvSpPr>
          <p:spPr>
            <a:xfrm>
              <a:off x="3851727" y="2789842"/>
              <a:ext cx="34151" cy="14284"/>
            </a:xfrm>
            <a:custGeom>
              <a:avLst/>
              <a:gdLst/>
              <a:ahLst/>
              <a:cxnLst/>
              <a:rect l="l" t="t" r="r" b="b"/>
              <a:pathLst>
                <a:path w="2868" h="1256" extrusionOk="0">
                  <a:moveTo>
                    <a:pt x="2240" y="0"/>
                  </a:moveTo>
                  <a:lnTo>
                    <a:pt x="2177" y="21"/>
                  </a:lnTo>
                  <a:lnTo>
                    <a:pt x="2093" y="105"/>
                  </a:lnTo>
                  <a:lnTo>
                    <a:pt x="2010" y="42"/>
                  </a:lnTo>
                  <a:lnTo>
                    <a:pt x="1884" y="42"/>
                  </a:lnTo>
                  <a:lnTo>
                    <a:pt x="1779" y="21"/>
                  </a:lnTo>
                  <a:lnTo>
                    <a:pt x="1696" y="42"/>
                  </a:lnTo>
                  <a:lnTo>
                    <a:pt x="1612" y="147"/>
                  </a:lnTo>
                  <a:lnTo>
                    <a:pt x="1507" y="168"/>
                  </a:lnTo>
                  <a:lnTo>
                    <a:pt x="1486" y="147"/>
                  </a:lnTo>
                  <a:lnTo>
                    <a:pt x="1235" y="126"/>
                  </a:lnTo>
                  <a:lnTo>
                    <a:pt x="1089" y="230"/>
                  </a:lnTo>
                  <a:lnTo>
                    <a:pt x="942" y="251"/>
                  </a:lnTo>
                  <a:lnTo>
                    <a:pt x="775" y="419"/>
                  </a:lnTo>
                  <a:lnTo>
                    <a:pt x="566" y="440"/>
                  </a:lnTo>
                  <a:lnTo>
                    <a:pt x="336" y="523"/>
                  </a:lnTo>
                  <a:lnTo>
                    <a:pt x="294" y="460"/>
                  </a:lnTo>
                  <a:lnTo>
                    <a:pt x="147" y="481"/>
                  </a:lnTo>
                  <a:lnTo>
                    <a:pt x="22" y="565"/>
                  </a:lnTo>
                  <a:lnTo>
                    <a:pt x="1" y="565"/>
                  </a:lnTo>
                  <a:lnTo>
                    <a:pt x="1" y="753"/>
                  </a:lnTo>
                  <a:lnTo>
                    <a:pt x="22" y="984"/>
                  </a:lnTo>
                  <a:lnTo>
                    <a:pt x="419" y="1214"/>
                  </a:lnTo>
                  <a:lnTo>
                    <a:pt x="608" y="1256"/>
                  </a:lnTo>
                  <a:lnTo>
                    <a:pt x="817" y="1193"/>
                  </a:lnTo>
                  <a:lnTo>
                    <a:pt x="1131" y="1172"/>
                  </a:lnTo>
                  <a:lnTo>
                    <a:pt x="1131" y="1046"/>
                  </a:lnTo>
                  <a:lnTo>
                    <a:pt x="1277" y="984"/>
                  </a:lnTo>
                  <a:lnTo>
                    <a:pt x="1486" y="837"/>
                  </a:lnTo>
                  <a:lnTo>
                    <a:pt x="1654" y="1004"/>
                  </a:lnTo>
                  <a:lnTo>
                    <a:pt x="1654" y="900"/>
                  </a:lnTo>
                  <a:lnTo>
                    <a:pt x="1758" y="837"/>
                  </a:lnTo>
                  <a:lnTo>
                    <a:pt x="1863" y="670"/>
                  </a:lnTo>
                  <a:lnTo>
                    <a:pt x="2030" y="649"/>
                  </a:lnTo>
                  <a:lnTo>
                    <a:pt x="2177" y="670"/>
                  </a:lnTo>
                  <a:lnTo>
                    <a:pt x="2407" y="670"/>
                  </a:lnTo>
                  <a:lnTo>
                    <a:pt x="2595" y="691"/>
                  </a:lnTo>
                  <a:lnTo>
                    <a:pt x="2742" y="628"/>
                  </a:lnTo>
                  <a:lnTo>
                    <a:pt x="2763" y="419"/>
                  </a:lnTo>
                  <a:lnTo>
                    <a:pt x="2867" y="147"/>
                  </a:lnTo>
                  <a:lnTo>
                    <a:pt x="2637" y="21"/>
                  </a:lnTo>
                  <a:lnTo>
                    <a:pt x="2407" y="21"/>
                  </a:lnTo>
                  <a:lnTo>
                    <a:pt x="2344" y="42"/>
                  </a:lnTo>
                  <a:lnTo>
                    <a:pt x="224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Google Shape;12157;p43">
              <a:extLst>
                <a:ext uri="{FF2B5EF4-FFF2-40B4-BE49-F238E27FC236}">
                  <a16:creationId xmlns:a16="http://schemas.microsoft.com/office/drawing/2014/main" id="{EF2C9191-CCA7-EBC5-5A28-DD16F48DAC2A}"/>
                </a:ext>
              </a:extLst>
            </p:cNvPr>
            <p:cNvSpPr/>
            <p:nvPr/>
          </p:nvSpPr>
          <p:spPr>
            <a:xfrm>
              <a:off x="3869672" y="2845760"/>
              <a:ext cx="12967" cy="23803"/>
            </a:xfrm>
            <a:custGeom>
              <a:avLst/>
              <a:gdLst/>
              <a:ahLst/>
              <a:cxnLst/>
              <a:rect l="l" t="t" r="r" b="b"/>
              <a:pathLst>
                <a:path w="1089" h="2093" extrusionOk="0">
                  <a:moveTo>
                    <a:pt x="419" y="0"/>
                  </a:moveTo>
                  <a:lnTo>
                    <a:pt x="314" y="126"/>
                  </a:lnTo>
                  <a:lnTo>
                    <a:pt x="272" y="21"/>
                  </a:lnTo>
                  <a:lnTo>
                    <a:pt x="210" y="21"/>
                  </a:lnTo>
                  <a:lnTo>
                    <a:pt x="84" y="147"/>
                  </a:lnTo>
                  <a:lnTo>
                    <a:pt x="0" y="314"/>
                  </a:lnTo>
                  <a:lnTo>
                    <a:pt x="0" y="544"/>
                  </a:lnTo>
                  <a:lnTo>
                    <a:pt x="189" y="628"/>
                  </a:lnTo>
                  <a:lnTo>
                    <a:pt x="168" y="691"/>
                  </a:lnTo>
                  <a:lnTo>
                    <a:pt x="105" y="733"/>
                  </a:lnTo>
                  <a:lnTo>
                    <a:pt x="63" y="984"/>
                  </a:lnTo>
                  <a:lnTo>
                    <a:pt x="105" y="1172"/>
                  </a:lnTo>
                  <a:lnTo>
                    <a:pt x="63" y="1277"/>
                  </a:lnTo>
                  <a:lnTo>
                    <a:pt x="63" y="1423"/>
                  </a:lnTo>
                  <a:lnTo>
                    <a:pt x="147" y="1528"/>
                  </a:lnTo>
                  <a:lnTo>
                    <a:pt x="84" y="1674"/>
                  </a:lnTo>
                  <a:lnTo>
                    <a:pt x="147" y="1716"/>
                  </a:lnTo>
                  <a:lnTo>
                    <a:pt x="377" y="1737"/>
                  </a:lnTo>
                  <a:lnTo>
                    <a:pt x="482" y="2009"/>
                  </a:lnTo>
                  <a:lnTo>
                    <a:pt x="565" y="2093"/>
                  </a:lnTo>
                  <a:lnTo>
                    <a:pt x="628" y="2030"/>
                  </a:lnTo>
                  <a:lnTo>
                    <a:pt x="712" y="1883"/>
                  </a:lnTo>
                  <a:lnTo>
                    <a:pt x="733" y="1737"/>
                  </a:lnTo>
                  <a:lnTo>
                    <a:pt x="942" y="1674"/>
                  </a:lnTo>
                  <a:lnTo>
                    <a:pt x="1047" y="1507"/>
                  </a:lnTo>
                  <a:lnTo>
                    <a:pt x="1088" y="1360"/>
                  </a:lnTo>
                  <a:lnTo>
                    <a:pt x="942" y="1256"/>
                  </a:lnTo>
                  <a:lnTo>
                    <a:pt x="900" y="1109"/>
                  </a:lnTo>
                  <a:lnTo>
                    <a:pt x="795" y="963"/>
                  </a:lnTo>
                  <a:lnTo>
                    <a:pt x="775" y="753"/>
                  </a:lnTo>
                  <a:lnTo>
                    <a:pt x="795" y="544"/>
                  </a:lnTo>
                  <a:lnTo>
                    <a:pt x="775" y="481"/>
                  </a:lnTo>
                  <a:lnTo>
                    <a:pt x="775" y="335"/>
                  </a:lnTo>
                  <a:lnTo>
                    <a:pt x="712" y="230"/>
                  </a:lnTo>
                  <a:lnTo>
                    <a:pt x="607" y="147"/>
                  </a:lnTo>
                  <a:lnTo>
                    <a:pt x="565" y="147"/>
                  </a:lnTo>
                  <a:lnTo>
                    <a:pt x="482" y="21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Google Shape;12158;p43">
              <a:extLst>
                <a:ext uri="{FF2B5EF4-FFF2-40B4-BE49-F238E27FC236}">
                  <a16:creationId xmlns:a16="http://schemas.microsoft.com/office/drawing/2014/main" id="{E66C4321-5590-343A-864A-CAE140CA79EE}"/>
                </a:ext>
              </a:extLst>
            </p:cNvPr>
            <p:cNvSpPr/>
            <p:nvPr/>
          </p:nvSpPr>
          <p:spPr>
            <a:xfrm>
              <a:off x="3863444" y="2836958"/>
              <a:ext cx="12467" cy="15000"/>
            </a:xfrm>
            <a:custGeom>
              <a:avLst/>
              <a:gdLst/>
              <a:ahLst/>
              <a:cxnLst/>
              <a:rect l="l" t="t" r="r" b="b"/>
              <a:pathLst>
                <a:path w="1047" h="1319" extrusionOk="0">
                  <a:moveTo>
                    <a:pt x="293" y="0"/>
                  </a:moveTo>
                  <a:lnTo>
                    <a:pt x="210" y="63"/>
                  </a:lnTo>
                  <a:lnTo>
                    <a:pt x="210" y="167"/>
                  </a:lnTo>
                  <a:lnTo>
                    <a:pt x="314" y="209"/>
                  </a:lnTo>
                  <a:lnTo>
                    <a:pt x="356" y="293"/>
                  </a:lnTo>
                  <a:lnTo>
                    <a:pt x="272" y="356"/>
                  </a:lnTo>
                  <a:lnTo>
                    <a:pt x="189" y="356"/>
                  </a:lnTo>
                  <a:lnTo>
                    <a:pt x="147" y="481"/>
                  </a:lnTo>
                  <a:lnTo>
                    <a:pt x="147" y="628"/>
                  </a:lnTo>
                  <a:lnTo>
                    <a:pt x="84" y="732"/>
                  </a:lnTo>
                  <a:lnTo>
                    <a:pt x="0" y="795"/>
                  </a:lnTo>
                  <a:lnTo>
                    <a:pt x="63" y="837"/>
                  </a:lnTo>
                  <a:lnTo>
                    <a:pt x="168" y="879"/>
                  </a:lnTo>
                  <a:lnTo>
                    <a:pt x="377" y="1151"/>
                  </a:lnTo>
                  <a:lnTo>
                    <a:pt x="398" y="1235"/>
                  </a:lnTo>
                  <a:lnTo>
                    <a:pt x="523" y="1318"/>
                  </a:lnTo>
                  <a:lnTo>
                    <a:pt x="523" y="1088"/>
                  </a:lnTo>
                  <a:lnTo>
                    <a:pt x="607" y="921"/>
                  </a:lnTo>
                  <a:lnTo>
                    <a:pt x="733" y="795"/>
                  </a:lnTo>
                  <a:lnTo>
                    <a:pt x="795" y="795"/>
                  </a:lnTo>
                  <a:lnTo>
                    <a:pt x="837" y="900"/>
                  </a:lnTo>
                  <a:lnTo>
                    <a:pt x="942" y="774"/>
                  </a:lnTo>
                  <a:lnTo>
                    <a:pt x="984" y="711"/>
                  </a:lnTo>
                  <a:lnTo>
                    <a:pt x="1046" y="628"/>
                  </a:lnTo>
                  <a:lnTo>
                    <a:pt x="1046" y="502"/>
                  </a:lnTo>
                  <a:lnTo>
                    <a:pt x="900" y="481"/>
                  </a:lnTo>
                  <a:lnTo>
                    <a:pt x="816" y="398"/>
                  </a:lnTo>
                  <a:lnTo>
                    <a:pt x="691" y="398"/>
                  </a:lnTo>
                  <a:lnTo>
                    <a:pt x="628" y="314"/>
                  </a:lnTo>
                  <a:lnTo>
                    <a:pt x="628" y="251"/>
                  </a:lnTo>
                  <a:lnTo>
                    <a:pt x="502" y="105"/>
                  </a:lnTo>
                  <a:lnTo>
                    <a:pt x="502" y="146"/>
                  </a:lnTo>
                  <a:lnTo>
                    <a:pt x="398" y="84"/>
                  </a:lnTo>
                  <a:lnTo>
                    <a:pt x="29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Google Shape;12159;p43">
              <a:extLst>
                <a:ext uri="{FF2B5EF4-FFF2-40B4-BE49-F238E27FC236}">
                  <a16:creationId xmlns:a16="http://schemas.microsoft.com/office/drawing/2014/main" id="{A19CA229-FF67-2AAE-BB0F-ECA5BC4860CB}"/>
                </a:ext>
              </a:extLst>
            </p:cNvPr>
            <p:cNvSpPr/>
            <p:nvPr/>
          </p:nvSpPr>
          <p:spPr>
            <a:xfrm>
              <a:off x="3844761" y="2824346"/>
              <a:ext cx="25923" cy="21665"/>
            </a:xfrm>
            <a:custGeom>
              <a:avLst/>
              <a:gdLst/>
              <a:ahLst/>
              <a:cxnLst/>
              <a:rect l="l" t="t" r="r" b="b"/>
              <a:pathLst>
                <a:path w="2177" h="1905" extrusionOk="0">
                  <a:moveTo>
                    <a:pt x="105" y="0"/>
                  </a:moveTo>
                  <a:lnTo>
                    <a:pt x="63" y="42"/>
                  </a:lnTo>
                  <a:lnTo>
                    <a:pt x="63" y="167"/>
                  </a:lnTo>
                  <a:lnTo>
                    <a:pt x="0" y="230"/>
                  </a:lnTo>
                  <a:lnTo>
                    <a:pt x="42" y="314"/>
                  </a:lnTo>
                  <a:lnTo>
                    <a:pt x="84" y="314"/>
                  </a:lnTo>
                  <a:lnTo>
                    <a:pt x="209" y="439"/>
                  </a:lnTo>
                  <a:lnTo>
                    <a:pt x="251" y="544"/>
                  </a:lnTo>
                  <a:lnTo>
                    <a:pt x="314" y="649"/>
                  </a:lnTo>
                  <a:lnTo>
                    <a:pt x="272" y="670"/>
                  </a:lnTo>
                  <a:lnTo>
                    <a:pt x="293" y="753"/>
                  </a:lnTo>
                  <a:lnTo>
                    <a:pt x="774" y="1151"/>
                  </a:lnTo>
                  <a:lnTo>
                    <a:pt x="1151" y="1611"/>
                  </a:lnTo>
                  <a:lnTo>
                    <a:pt x="1109" y="1695"/>
                  </a:lnTo>
                  <a:lnTo>
                    <a:pt x="1193" y="1716"/>
                  </a:lnTo>
                  <a:lnTo>
                    <a:pt x="1402" y="1737"/>
                  </a:lnTo>
                  <a:lnTo>
                    <a:pt x="1465" y="1716"/>
                  </a:lnTo>
                  <a:lnTo>
                    <a:pt x="1569" y="1904"/>
                  </a:lnTo>
                  <a:lnTo>
                    <a:pt x="1653" y="1841"/>
                  </a:lnTo>
                  <a:lnTo>
                    <a:pt x="1716" y="1737"/>
                  </a:lnTo>
                  <a:lnTo>
                    <a:pt x="1716" y="1590"/>
                  </a:lnTo>
                  <a:lnTo>
                    <a:pt x="1758" y="1465"/>
                  </a:lnTo>
                  <a:lnTo>
                    <a:pt x="1841" y="1465"/>
                  </a:lnTo>
                  <a:lnTo>
                    <a:pt x="1925" y="1402"/>
                  </a:lnTo>
                  <a:lnTo>
                    <a:pt x="1883" y="1318"/>
                  </a:lnTo>
                  <a:lnTo>
                    <a:pt x="1779" y="1276"/>
                  </a:lnTo>
                  <a:lnTo>
                    <a:pt x="1779" y="1172"/>
                  </a:lnTo>
                  <a:lnTo>
                    <a:pt x="1862" y="1109"/>
                  </a:lnTo>
                  <a:lnTo>
                    <a:pt x="1967" y="1193"/>
                  </a:lnTo>
                  <a:lnTo>
                    <a:pt x="2071" y="1255"/>
                  </a:lnTo>
                  <a:lnTo>
                    <a:pt x="2134" y="1193"/>
                  </a:lnTo>
                  <a:lnTo>
                    <a:pt x="1988" y="1046"/>
                  </a:lnTo>
                  <a:lnTo>
                    <a:pt x="1988" y="900"/>
                  </a:lnTo>
                  <a:lnTo>
                    <a:pt x="2051" y="879"/>
                  </a:lnTo>
                  <a:lnTo>
                    <a:pt x="2155" y="942"/>
                  </a:lnTo>
                  <a:lnTo>
                    <a:pt x="2176" y="858"/>
                  </a:lnTo>
                  <a:lnTo>
                    <a:pt x="2134" y="795"/>
                  </a:lnTo>
                  <a:lnTo>
                    <a:pt x="2030" y="774"/>
                  </a:lnTo>
                  <a:lnTo>
                    <a:pt x="1862" y="649"/>
                  </a:lnTo>
                  <a:lnTo>
                    <a:pt x="1862" y="565"/>
                  </a:lnTo>
                  <a:lnTo>
                    <a:pt x="1967" y="419"/>
                  </a:lnTo>
                  <a:lnTo>
                    <a:pt x="1988" y="251"/>
                  </a:lnTo>
                  <a:lnTo>
                    <a:pt x="1925" y="251"/>
                  </a:lnTo>
                  <a:lnTo>
                    <a:pt x="1862" y="272"/>
                  </a:lnTo>
                  <a:lnTo>
                    <a:pt x="1820" y="230"/>
                  </a:lnTo>
                  <a:lnTo>
                    <a:pt x="1653" y="230"/>
                  </a:lnTo>
                  <a:lnTo>
                    <a:pt x="1548" y="126"/>
                  </a:lnTo>
                  <a:lnTo>
                    <a:pt x="1465" y="147"/>
                  </a:lnTo>
                  <a:lnTo>
                    <a:pt x="1339" y="105"/>
                  </a:lnTo>
                  <a:lnTo>
                    <a:pt x="1214" y="126"/>
                  </a:lnTo>
                  <a:lnTo>
                    <a:pt x="1193" y="63"/>
                  </a:lnTo>
                  <a:lnTo>
                    <a:pt x="1088" y="126"/>
                  </a:lnTo>
                  <a:lnTo>
                    <a:pt x="942" y="63"/>
                  </a:lnTo>
                  <a:lnTo>
                    <a:pt x="900" y="126"/>
                  </a:lnTo>
                  <a:lnTo>
                    <a:pt x="837" y="21"/>
                  </a:lnTo>
                  <a:lnTo>
                    <a:pt x="732" y="0"/>
                  </a:lnTo>
                  <a:lnTo>
                    <a:pt x="690" y="42"/>
                  </a:lnTo>
                  <a:lnTo>
                    <a:pt x="607" y="0"/>
                  </a:lnTo>
                  <a:lnTo>
                    <a:pt x="565" y="63"/>
                  </a:lnTo>
                  <a:lnTo>
                    <a:pt x="481" y="42"/>
                  </a:lnTo>
                  <a:lnTo>
                    <a:pt x="377" y="63"/>
                  </a:lnTo>
                  <a:lnTo>
                    <a:pt x="377" y="147"/>
                  </a:lnTo>
                  <a:lnTo>
                    <a:pt x="293" y="167"/>
                  </a:lnTo>
                  <a:lnTo>
                    <a:pt x="251" y="10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Google Shape;12160;p43">
              <a:extLst>
                <a:ext uri="{FF2B5EF4-FFF2-40B4-BE49-F238E27FC236}">
                  <a16:creationId xmlns:a16="http://schemas.microsoft.com/office/drawing/2014/main" id="{B2D77D53-D065-82B2-CC33-5B24253E366B}"/>
                </a:ext>
              </a:extLst>
            </p:cNvPr>
            <p:cNvSpPr/>
            <p:nvPr/>
          </p:nvSpPr>
          <p:spPr>
            <a:xfrm>
              <a:off x="3830555" y="2811734"/>
              <a:ext cx="20195" cy="12146"/>
            </a:xfrm>
            <a:custGeom>
              <a:avLst/>
              <a:gdLst/>
              <a:ahLst/>
              <a:cxnLst/>
              <a:rect l="l" t="t" r="r" b="b"/>
              <a:pathLst>
                <a:path w="1696" h="1068" extrusionOk="0">
                  <a:moveTo>
                    <a:pt x="1507" y="0"/>
                  </a:moveTo>
                  <a:lnTo>
                    <a:pt x="1381" y="63"/>
                  </a:lnTo>
                  <a:lnTo>
                    <a:pt x="1130" y="209"/>
                  </a:lnTo>
                  <a:lnTo>
                    <a:pt x="1067" y="188"/>
                  </a:lnTo>
                  <a:lnTo>
                    <a:pt x="984" y="209"/>
                  </a:lnTo>
                  <a:lnTo>
                    <a:pt x="858" y="272"/>
                  </a:lnTo>
                  <a:lnTo>
                    <a:pt x="733" y="272"/>
                  </a:lnTo>
                  <a:lnTo>
                    <a:pt x="607" y="314"/>
                  </a:lnTo>
                  <a:lnTo>
                    <a:pt x="523" y="230"/>
                  </a:lnTo>
                  <a:lnTo>
                    <a:pt x="251" y="230"/>
                  </a:lnTo>
                  <a:lnTo>
                    <a:pt x="147" y="209"/>
                  </a:lnTo>
                  <a:lnTo>
                    <a:pt x="21" y="419"/>
                  </a:lnTo>
                  <a:lnTo>
                    <a:pt x="84" y="502"/>
                  </a:lnTo>
                  <a:lnTo>
                    <a:pt x="0" y="628"/>
                  </a:lnTo>
                  <a:lnTo>
                    <a:pt x="21" y="816"/>
                  </a:lnTo>
                  <a:lnTo>
                    <a:pt x="42" y="816"/>
                  </a:lnTo>
                  <a:lnTo>
                    <a:pt x="147" y="858"/>
                  </a:lnTo>
                  <a:lnTo>
                    <a:pt x="147" y="942"/>
                  </a:lnTo>
                  <a:lnTo>
                    <a:pt x="42" y="963"/>
                  </a:lnTo>
                  <a:lnTo>
                    <a:pt x="42" y="1067"/>
                  </a:lnTo>
                  <a:lnTo>
                    <a:pt x="251" y="1067"/>
                  </a:lnTo>
                  <a:lnTo>
                    <a:pt x="398" y="963"/>
                  </a:lnTo>
                  <a:lnTo>
                    <a:pt x="523" y="921"/>
                  </a:lnTo>
                  <a:lnTo>
                    <a:pt x="733" y="1025"/>
                  </a:lnTo>
                  <a:lnTo>
                    <a:pt x="858" y="1025"/>
                  </a:lnTo>
                  <a:lnTo>
                    <a:pt x="879" y="816"/>
                  </a:lnTo>
                  <a:lnTo>
                    <a:pt x="1067" y="732"/>
                  </a:lnTo>
                  <a:lnTo>
                    <a:pt x="1088" y="586"/>
                  </a:lnTo>
                  <a:lnTo>
                    <a:pt x="1444" y="398"/>
                  </a:lnTo>
                  <a:lnTo>
                    <a:pt x="1695" y="398"/>
                  </a:lnTo>
                  <a:lnTo>
                    <a:pt x="1674" y="188"/>
                  </a:lnTo>
                  <a:lnTo>
                    <a:pt x="1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Google Shape;12161;p43">
              <a:extLst>
                <a:ext uri="{FF2B5EF4-FFF2-40B4-BE49-F238E27FC236}">
                  <a16:creationId xmlns:a16="http://schemas.microsoft.com/office/drawing/2014/main" id="{CA916FB8-E1AB-547B-93D3-4A55A7947A30}"/>
                </a:ext>
              </a:extLst>
            </p:cNvPr>
            <p:cNvSpPr/>
            <p:nvPr/>
          </p:nvSpPr>
          <p:spPr>
            <a:xfrm>
              <a:off x="3804645" y="2793401"/>
              <a:ext cx="47594" cy="21903"/>
            </a:xfrm>
            <a:custGeom>
              <a:avLst/>
              <a:gdLst/>
              <a:ahLst/>
              <a:cxnLst/>
              <a:rect l="l" t="t" r="r" b="b"/>
              <a:pathLst>
                <a:path w="3997" h="1926" extrusionOk="0">
                  <a:moveTo>
                    <a:pt x="2846" y="1"/>
                  </a:moveTo>
                  <a:lnTo>
                    <a:pt x="2804" y="106"/>
                  </a:lnTo>
                  <a:lnTo>
                    <a:pt x="2741" y="147"/>
                  </a:lnTo>
                  <a:lnTo>
                    <a:pt x="2720" y="252"/>
                  </a:lnTo>
                  <a:lnTo>
                    <a:pt x="2574" y="252"/>
                  </a:lnTo>
                  <a:lnTo>
                    <a:pt x="2511" y="315"/>
                  </a:lnTo>
                  <a:lnTo>
                    <a:pt x="2218" y="147"/>
                  </a:lnTo>
                  <a:lnTo>
                    <a:pt x="2155" y="147"/>
                  </a:lnTo>
                  <a:lnTo>
                    <a:pt x="2114" y="252"/>
                  </a:lnTo>
                  <a:lnTo>
                    <a:pt x="2114" y="357"/>
                  </a:lnTo>
                  <a:lnTo>
                    <a:pt x="2051" y="357"/>
                  </a:lnTo>
                  <a:lnTo>
                    <a:pt x="1967" y="461"/>
                  </a:lnTo>
                  <a:lnTo>
                    <a:pt x="1842" y="545"/>
                  </a:lnTo>
                  <a:lnTo>
                    <a:pt x="1674" y="733"/>
                  </a:lnTo>
                  <a:lnTo>
                    <a:pt x="1674" y="796"/>
                  </a:lnTo>
                  <a:lnTo>
                    <a:pt x="1842" y="880"/>
                  </a:lnTo>
                  <a:lnTo>
                    <a:pt x="1863" y="984"/>
                  </a:lnTo>
                  <a:lnTo>
                    <a:pt x="1779" y="1047"/>
                  </a:lnTo>
                  <a:lnTo>
                    <a:pt x="1653" y="963"/>
                  </a:lnTo>
                  <a:lnTo>
                    <a:pt x="1528" y="984"/>
                  </a:lnTo>
                  <a:lnTo>
                    <a:pt x="1381" y="963"/>
                  </a:lnTo>
                  <a:lnTo>
                    <a:pt x="1319" y="963"/>
                  </a:lnTo>
                  <a:lnTo>
                    <a:pt x="1130" y="1089"/>
                  </a:lnTo>
                  <a:lnTo>
                    <a:pt x="1026" y="1110"/>
                  </a:lnTo>
                  <a:lnTo>
                    <a:pt x="942" y="1089"/>
                  </a:lnTo>
                  <a:lnTo>
                    <a:pt x="837" y="1110"/>
                  </a:lnTo>
                  <a:lnTo>
                    <a:pt x="754" y="1047"/>
                  </a:lnTo>
                  <a:lnTo>
                    <a:pt x="440" y="1047"/>
                  </a:lnTo>
                  <a:lnTo>
                    <a:pt x="440" y="1110"/>
                  </a:lnTo>
                  <a:lnTo>
                    <a:pt x="419" y="1173"/>
                  </a:lnTo>
                  <a:lnTo>
                    <a:pt x="272" y="1152"/>
                  </a:lnTo>
                  <a:lnTo>
                    <a:pt x="189" y="1047"/>
                  </a:lnTo>
                  <a:lnTo>
                    <a:pt x="84" y="1089"/>
                  </a:lnTo>
                  <a:lnTo>
                    <a:pt x="21" y="1110"/>
                  </a:lnTo>
                  <a:lnTo>
                    <a:pt x="0" y="1110"/>
                  </a:lnTo>
                  <a:lnTo>
                    <a:pt x="63" y="1173"/>
                  </a:lnTo>
                  <a:lnTo>
                    <a:pt x="63" y="1256"/>
                  </a:lnTo>
                  <a:lnTo>
                    <a:pt x="105" y="1298"/>
                  </a:lnTo>
                  <a:lnTo>
                    <a:pt x="105" y="1403"/>
                  </a:lnTo>
                  <a:lnTo>
                    <a:pt x="210" y="1403"/>
                  </a:lnTo>
                  <a:lnTo>
                    <a:pt x="293" y="1382"/>
                  </a:lnTo>
                  <a:lnTo>
                    <a:pt x="398" y="1507"/>
                  </a:lnTo>
                  <a:lnTo>
                    <a:pt x="502" y="1403"/>
                  </a:lnTo>
                  <a:lnTo>
                    <a:pt x="586" y="1403"/>
                  </a:lnTo>
                  <a:lnTo>
                    <a:pt x="628" y="1507"/>
                  </a:lnTo>
                  <a:lnTo>
                    <a:pt x="837" y="1591"/>
                  </a:lnTo>
                  <a:lnTo>
                    <a:pt x="1130" y="1403"/>
                  </a:lnTo>
                  <a:lnTo>
                    <a:pt x="1256" y="1424"/>
                  </a:lnTo>
                  <a:lnTo>
                    <a:pt x="1444" y="1424"/>
                  </a:lnTo>
                  <a:lnTo>
                    <a:pt x="1444" y="1528"/>
                  </a:lnTo>
                  <a:lnTo>
                    <a:pt x="1737" y="1717"/>
                  </a:lnTo>
                  <a:lnTo>
                    <a:pt x="2072" y="1779"/>
                  </a:lnTo>
                  <a:lnTo>
                    <a:pt x="2260" y="1738"/>
                  </a:lnTo>
                  <a:lnTo>
                    <a:pt x="2323" y="1821"/>
                  </a:lnTo>
                  <a:lnTo>
                    <a:pt x="2427" y="1842"/>
                  </a:lnTo>
                  <a:lnTo>
                    <a:pt x="2699" y="1842"/>
                  </a:lnTo>
                  <a:lnTo>
                    <a:pt x="2783" y="1926"/>
                  </a:lnTo>
                  <a:lnTo>
                    <a:pt x="2909" y="1884"/>
                  </a:lnTo>
                  <a:lnTo>
                    <a:pt x="3034" y="1884"/>
                  </a:lnTo>
                  <a:lnTo>
                    <a:pt x="3160" y="1821"/>
                  </a:lnTo>
                  <a:lnTo>
                    <a:pt x="3243" y="1800"/>
                  </a:lnTo>
                  <a:lnTo>
                    <a:pt x="3306" y="1821"/>
                  </a:lnTo>
                  <a:lnTo>
                    <a:pt x="3557" y="1675"/>
                  </a:lnTo>
                  <a:lnTo>
                    <a:pt x="3683" y="1612"/>
                  </a:lnTo>
                  <a:lnTo>
                    <a:pt x="3725" y="1612"/>
                  </a:lnTo>
                  <a:lnTo>
                    <a:pt x="3829" y="1507"/>
                  </a:lnTo>
                  <a:lnTo>
                    <a:pt x="3746" y="1403"/>
                  </a:lnTo>
                  <a:lnTo>
                    <a:pt x="3767" y="1298"/>
                  </a:lnTo>
                  <a:lnTo>
                    <a:pt x="3829" y="1152"/>
                  </a:lnTo>
                  <a:lnTo>
                    <a:pt x="3725" y="1047"/>
                  </a:lnTo>
                  <a:lnTo>
                    <a:pt x="3746" y="984"/>
                  </a:lnTo>
                  <a:lnTo>
                    <a:pt x="3976" y="984"/>
                  </a:lnTo>
                  <a:lnTo>
                    <a:pt x="3997" y="880"/>
                  </a:lnTo>
                  <a:lnTo>
                    <a:pt x="3976" y="754"/>
                  </a:lnTo>
                  <a:lnTo>
                    <a:pt x="3976" y="671"/>
                  </a:lnTo>
                  <a:lnTo>
                    <a:pt x="3955" y="440"/>
                  </a:lnTo>
                  <a:lnTo>
                    <a:pt x="3955" y="252"/>
                  </a:lnTo>
                  <a:lnTo>
                    <a:pt x="3725" y="210"/>
                  </a:lnTo>
                  <a:lnTo>
                    <a:pt x="3641" y="127"/>
                  </a:lnTo>
                  <a:lnTo>
                    <a:pt x="3474" y="147"/>
                  </a:lnTo>
                  <a:lnTo>
                    <a:pt x="3327" y="147"/>
                  </a:lnTo>
                  <a:lnTo>
                    <a:pt x="3160" y="43"/>
                  </a:lnTo>
                  <a:lnTo>
                    <a:pt x="2951" y="43"/>
                  </a:lnTo>
                  <a:lnTo>
                    <a:pt x="284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Google Shape;12162;p43">
              <a:extLst>
                <a:ext uri="{FF2B5EF4-FFF2-40B4-BE49-F238E27FC236}">
                  <a16:creationId xmlns:a16="http://schemas.microsoft.com/office/drawing/2014/main" id="{8839BFD5-23BE-94FF-E86E-6CCD39AE2F8F}"/>
                </a:ext>
              </a:extLst>
            </p:cNvPr>
            <p:cNvSpPr/>
            <p:nvPr/>
          </p:nvSpPr>
          <p:spPr>
            <a:xfrm>
              <a:off x="3831556" y="2741054"/>
              <a:ext cx="63038" cy="50699"/>
            </a:xfrm>
            <a:custGeom>
              <a:avLst/>
              <a:gdLst/>
              <a:ahLst/>
              <a:cxnLst/>
              <a:rect l="l" t="t" r="r" b="b"/>
              <a:pathLst>
                <a:path w="5294" h="4458" extrusionOk="0">
                  <a:moveTo>
                    <a:pt x="1883" y="1"/>
                  </a:moveTo>
                  <a:lnTo>
                    <a:pt x="1632" y="105"/>
                  </a:lnTo>
                  <a:lnTo>
                    <a:pt x="1486" y="105"/>
                  </a:lnTo>
                  <a:lnTo>
                    <a:pt x="1318" y="147"/>
                  </a:lnTo>
                  <a:lnTo>
                    <a:pt x="1214" y="315"/>
                  </a:lnTo>
                  <a:lnTo>
                    <a:pt x="1046" y="315"/>
                  </a:lnTo>
                  <a:lnTo>
                    <a:pt x="942" y="398"/>
                  </a:lnTo>
                  <a:lnTo>
                    <a:pt x="942" y="524"/>
                  </a:lnTo>
                  <a:lnTo>
                    <a:pt x="753" y="524"/>
                  </a:lnTo>
                  <a:lnTo>
                    <a:pt x="481" y="670"/>
                  </a:lnTo>
                  <a:lnTo>
                    <a:pt x="314" y="670"/>
                  </a:lnTo>
                  <a:lnTo>
                    <a:pt x="251" y="796"/>
                  </a:lnTo>
                  <a:lnTo>
                    <a:pt x="209" y="963"/>
                  </a:lnTo>
                  <a:lnTo>
                    <a:pt x="147" y="984"/>
                  </a:lnTo>
                  <a:lnTo>
                    <a:pt x="167" y="1047"/>
                  </a:lnTo>
                  <a:lnTo>
                    <a:pt x="126" y="1047"/>
                  </a:lnTo>
                  <a:lnTo>
                    <a:pt x="167" y="1298"/>
                  </a:lnTo>
                  <a:lnTo>
                    <a:pt x="147" y="1486"/>
                  </a:lnTo>
                  <a:lnTo>
                    <a:pt x="0" y="1570"/>
                  </a:lnTo>
                  <a:lnTo>
                    <a:pt x="0" y="1633"/>
                  </a:lnTo>
                  <a:lnTo>
                    <a:pt x="167" y="1842"/>
                  </a:lnTo>
                  <a:lnTo>
                    <a:pt x="147" y="1947"/>
                  </a:lnTo>
                  <a:lnTo>
                    <a:pt x="230" y="2051"/>
                  </a:lnTo>
                  <a:lnTo>
                    <a:pt x="230" y="2135"/>
                  </a:lnTo>
                  <a:lnTo>
                    <a:pt x="272" y="2261"/>
                  </a:lnTo>
                  <a:lnTo>
                    <a:pt x="230" y="2365"/>
                  </a:lnTo>
                  <a:lnTo>
                    <a:pt x="335" y="2616"/>
                  </a:lnTo>
                  <a:lnTo>
                    <a:pt x="419" y="2658"/>
                  </a:lnTo>
                  <a:lnTo>
                    <a:pt x="481" y="2742"/>
                  </a:lnTo>
                  <a:lnTo>
                    <a:pt x="481" y="3056"/>
                  </a:lnTo>
                  <a:lnTo>
                    <a:pt x="460" y="3097"/>
                  </a:lnTo>
                  <a:lnTo>
                    <a:pt x="523" y="3181"/>
                  </a:lnTo>
                  <a:lnTo>
                    <a:pt x="565" y="3139"/>
                  </a:lnTo>
                  <a:lnTo>
                    <a:pt x="649" y="3160"/>
                  </a:lnTo>
                  <a:lnTo>
                    <a:pt x="732" y="3097"/>
                  </a:lnTo>
                  <a:lnTo>
                    <a:pt x="963" y="3160"/>
                  </a:lnTo>
                  <a:lnTo>
                    <a:pt x="942" y="3202"/>
                  </a:lnTo>
                  <a:lnTo>
                    <a:pt x="1046" y="3307"/>
                  </a:lnTo>
                  <a:lnTo>
                    <a:pt x="1151" y="3307"/>
                  </a:lnTo>
                  <a:lnTo>
                    <a:pt x="1214" y="3390"/>
                  </a:lnTo>
                  <a:lnTo>
                    <a:pt x="1172" y="3495"/>
                  </a:lnTo>
                  <a:lnTo>
                    <a:pt x="1193" y="3579"/>
                  </a:lnTo>
                  <a:lnTo>
                    <a:pt x="1255" y="3600"/>
                  </a:lnTo>
                  <a:lnTo>
                    <a:pt x="1255" y="3704"/>
                  </a:lnTo>
                  <a:lnTo>
                    <a:pt x="1318" y="3725"/>
                  </a:lnTo>
                  <a:lnTo>
                    <a:pt x="1381" y="3683"/>
                  </a:lnTo>
                  <a:lnTo>
                    <a:pt x="1465" y="3683"/>
                  </a:lnTo>
                  <a:lnTo>
                    <a:pt x="1318" y="3516"/>
                  </a:lnTo>
                  <a:lnTo>
                    <a:pt x="1381" y="3474"/>
                  </a:lnTo>
                  <a:lnTo>
                    <a:pt x="1632" y="3621"/>
                  </a:lnTo>
                  <a:lnTo>
                    <a:pt x="1820" y="3600"/>
                  </a:lnTo>
                  <a:lnTo>
                    <a:pt x="1779" y="3704"/>
                  </a:lnTo>
                  <a:lnTo>
                    <a:pt x="1904" y="3809"/>
                  </a:lnTo>
                  <a:lnTo>
                    <a:pt x="2134" y="3767"/>
                  </a:lnTo>
                  <a:lnTo>
                    <a:pt x="2302" y="3809"/>
                  </a:lnTo>
                  <a:lnTo>
                    <a:pt x="2636" y="4081"/>
                  </a:lnTo>
                  <a:lnTo>
                    <a:pt x="2762" y="4248"/>
                  </a:lnTo>
                  <a:lnTo>
                    <a:pt x="2846" y="4248"/>
                  </a:lnTo>
                  <a:lnTo>
                    <a:pt x="2888" y="4206"/>
                  </a:lnTo>
                  <a:lnTo>
                    <a:pt x="3055" y="4206"/>
                  </a:lnTo>
                  <a:lnTo>
                    <a:pt x="3139" y="4290"/>
                  </a:lnTo>
                  <a:lnTo>
                    <a:pt x="3180" y="4437"/>
                  </a:lnTo>
                  <a:lnTo>
                    <a:pt x="3201" y="4458"/>
                  </a:lnTo>
                  <a:lnTo>
                    <a:pt x="3306" y="4437"/>
                  </a:lnTo>
                  <a:lnTo>
                    <a:pt x="3390" y="4332"/>
                  </a:lnTo>
                  <a:lnTo>
                    <a:pt x="3473" y="4311"/>
                  </a:lnTo>
                  <a:lnTo>
                    <a:pt x="3578" y="4332"/>
                  </a:lnTo>
                  <a:lnTo>
                    <a:pt x="3704" y="4332"/>
                  </a:lnTo>
                  <a:lnTo>
                    <a:pt x="3787" y="4395"/>
                  </a:lnTo>
                  <a:lnTo>
                    <a:pt x="3871" y="4311"/>
                  </a:lnTo>
                  <a:lnTo>
                    <a:pt x="3934" y="4290"/>
                  </a:lnTo>
                  <a:lnTo>
                    <a:pt x="4038" y="4332"/>
                  </a:lnTo>
                  <a:lnTo>
                    <a:pt x="4101" y="4311"/>
                  </a:lnTo>
                  <a:lnTo>
                    <a:pt x="4331" y="4311"/>
                  </a:lnTo>
                  <a:lnTo>
                    <a:pt x="4561" y="4437"/>
                  </a:lnTo>
                  <a:lnTo>
                    <a:pt x="4708" y="4458"/>
                  </a:lnTo>
                  <a:lnTo>
                    <a:pt x="4708" y="4290"/>
                  </a:lnTo>
                  <a:lnTo>
                    <a:pt x="4666" y="4123"/>
                  </a:lnTo>
                  <a:lnTo>
                    <a:pt x="5043" y="3725"/>
                  </a:lnTo>
                  <a:lnTo>
                    <a:pt x="5064" y="3558"/>
                  </a:lnTo>
                  <a:lnTo>
                    <a:pt x="5168" y="3474"/>
                  </a:lnTo>
                  <a:lnTo>
                    <a:pt x="5252" y="3474"/>
                  </a:lnTo>
                  <a:lnTo>
                    <a:pt x="5294" y="3286"/>
                  </a:lnTo>
                  <a:lnTo>
                    <a:pt x="5252" y="3202"/>
                  </a:lnTo>
                  <a:lnTo>
                    <a:pt x="5231" y="3139"/>
                  </a:lnTo>
                  <a:lnTo>
                    <a:pt x="5273" y="3056"/>
                  </a:lnTo>
                  <a:lnTo>
                    <a:pt x="5147" y="2972"/>
                  </a:lnTo>
                  <a:lnTo>
                    <a:pt x="5064" y="2825"/>
                  </a:lnTo>
                  <a:lnTo>
                    <a:pt x="5022" y="2742"/>
                  </a:lnTo>
                  <a:lnTo>
                    <a:pt x="4980" y="2470"/>
                  </a:lnTo>
                  <a:lnTo>
                    <a:pt x="5022" y="2365"/>
                  </a:lnTo>
                  <a:lnTo>
                    <a:pt x="5022" y="2323"/>
                  </a:lnTo>
                  <a:lnTo>
                    <a:pt x="4875" y="2135"/>
                  </a:lnTo>
                  <a:lnTo>
                    <a:pt x="4854" y="1947"/>
                  </a:lnTo>
                  <a:lnTo>
                    <a:pt x="4938" y="1821"/>
                  </a:lnTo>
                  <a:lnTo>
                    <a:pt x="5043" y="1779"/>
                  </a:lnTo>
                  <a:lnTo>
                    <a:pt x="5043" y="1403"/>
                  </a:lnTo>
                  <a:lnTo>
                    <a:pt x="4980" y="1361"/>
                  </a:lnTo>
                  <a:lnTo>
                    <a:pt x="4959" y="1214"/>
                  </a:lnTo>
                  <a:lnTo>
                    <a:pt x="4875" y="1089"/>
                  </a:lnTo>
                  <a:lnTo>
                    <a:pt x="4771" y="838"/>
                  </a:lnTo>
                  <a:lnTo>
                    <a:pt x="4750" y="775"/>
                  </a:lnTo>
                  <a:lnTo>
                    <a:pt x="4708" y="670"/>
                  </a:lnTo>
                  <a:lnTo>
                    <a:pt x="4708" y="545"/>
                  </a:lnTo>
                  <a:lnTo>
                    <a:pt x="4645" y="315"/>
                  </a:lnTo>
                  <a:lnTo>
                    <a:pt x="4561" y="315"/>
                  </a:lnTo>
                  <a:lnTo>
                    <a:pt x="4436" y="210"/>
                  </a:lnTo>
                  <a:lnTo>
                    <a:pt x="4310" y="231"/>
                  </a:lnTo>
                  <a:lnTo>
                    <a:pt x="3683" y="273"/>
                  </a:lnTo>
                  <a:lnTo>
                    <a:pt x="2950" y="231"/>
                  </a:lnTo>
                  <a:lnTo>
                    <a:pt x="2867" y="252"/>
                  </a:lnTo>
                  <a:lnTo>
                    <a:pt x="2678" y="440"/>
                  </a:lnTo>
                  <a:lnTo>
                    <a:pt x="2511" y="482"/>
                  </a:lnTo>
                  <a:lnTo>
                    <a:pt x="2469" y="440"/>
                  </a:lnTo>
                  <a:lnTo>
                    <a:pt x="2636" y="356"/>
                  </a:lnTo>
                  <a:lnTo>
                    <a:pt x="2783" y="210"/>
                  </a:lnTo>
                  <a:lnTo>
                    <a:pt x="2741" y="210"/>
                  </a:lnTo>
                  <a:lnTo>
                    <a:pt x="2616" y="315"/>
                  </a:lnTo>
                  <a:lnTo>
                    <a:pt x="2406" y="398"/>
                  </a:lnTo>
                  <a:lnTo>
                    <a:pt x="2134" y="356"/>
                  </a:lnTo>
                  <a:lnTo>
                    <a:pt x="2092" y="210"/>
                  </a:lnTo>
                  <a:lnTo>
                    <a:pt x="2134" y="126"/>
                  </a:lnTo>
                  <a:lnTo>
                    <a:pt x="2260" y="126"/>
                  </a:lnTo>
                  <a:lnTo>
                    <a:pt x="2323" y="168"/>
                  </a:lnTo>
                  <a:lnTo>
                    <a:pt x="2323" y="126"/>
                  </a:lnTo>
                  <a:lnTo>
                    <a:pt x="2155" y="43"/>
                  </a:lnTo>
                  <a:lnTo>
                    <a:pt x="188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Google Shape;12163;p43">
              <a:extLst>
                <a:ext uri="{FF2B5EF4-FFF2-40B4-BE49-F238E27FC236}">
                  <a16:creationId xmlns:a16="http://schemas.microsoft.com/office/drawing/2014/main" id="{02433154-3040-2FF5-7531-EDA3F8B15094}"/>
                </a:ext>
              </a:extLst>
            </p:cNvPr>
            <p:cNvSpPr/>
            <p:nvPr/>
          </p:nvSpPr>
          <p:spPr>
            <a:xfrm>
              <a:off x="3819089" y="2776036"/>
              <a:ext cx="50345" cy="20948"/>
            </a:xfrm>
            <a:custGeom>
              <a:avLst/>
              <a:gdLst/>
              <a:ahLst/>
              <a:cxnLst/>
              <a:rect l="l" t="t" r="r" b="b"/>
              <a:pathLst>
                <a:path w="4228" h="1842" extrusionOk="0">
                  <a:moveTo>
                    <a:pt x="1403" y="1"/>
                  </a:moveTo>
                  <a:lnTo>
                    <a:pt x="1319" y="63"/>
                  </a:lnTo>
                  <a:lnTo>
                    <a:pt x="1152" y="21"/>
                  </a:lnTo>
                  <a:lnTo>
                    <a:pt x="1152" y="126"/>
                  </a:lnTo>
                  <a:lnTo>
                    <a:pt x="1068" y="189"/>
                  </a:lnTo>
                  <a:lnTo>
                    <a:pt x="984" y="168"/>
                  </a:lnTo>
                  <a:lnTo>
                    <a:pt x="775" y="168"/>
                  </a:lnTo>
                  <a:lnTo>
                    <a:pt x="733" y="273"/>
                  </a:lnTo>
                  <a:lnTo>
                    <a:pt x="587" y="273"/>
                  </a:lnTo>
                  <a:lnTo>
                    <a:pt x="482" y="398"/>
                  </a:lnTo>
                  <a:lnTo>
                    <a:pt x="378" y="398"/>
                  </a:lnTo>
                  <a:lnTo>
                    <a:pt x="168" y="586"/>
                  </a:lnTo>
                  <a:lnTo>
                    <a:pt x="106" y="545"/>
                  </a:lnTo>
                  <a:lnTo>
                    <a:pt x="22" y="503"/>
                  </a:lnTo>
                  <a:lnTo>
                    <a:pt x="1" y="524"/>
                  </a:lnTo>
                  <a:lnTo>
                    <a:pt x="1" y="628"/>
                  </a:lnTo>
                  <a:lnTo>
                    <a:pt x="147" y="712"/>
                  </a:lnTo>
                  <a:lnTo>
                    <a:pt x="252" y="900"/>
                  </a:lnTo>
                  <a:lnTo>
                    <a:pt x="252" y="1047"/>
                  </a:lnTo>
                  <a:lnTo>
                    <a:pt x="273" y="1130"/>
                  </a:lnTo>
                  <a:lnTo>
                    <a:pt x="378" y="1172"/>
                  </a:lnTo>
                  <a:lnTo>
                    <a:pt x="587" y="1319"/>
                  </a:lnTo>
                  <a:lnTo>
                    <a:pt x="691" y="1382"/>
                  </a:lnTo>
                  <a:lnTo>
                    <a:pt x="942" y="1674"/>
                  </a:lnTo>
                  <a:lnTo>
                    <a:pt x="1005" y="1674"/>
                  </a:lnTo>
                  <a:lnTo>
                    <a:pt x="1298" y="1842"/>
                  </a:lnTo>
                  <a:lnTo>
                    <a:pt x="1361" y="1779"/>
                  </a:lnTo>
                  <a:lnTo>
                    <a:pt x="1507" y="1779"/>
                  </a:lnTo>
                  <a:lnTo>
                    <a:pt x="1528" y="1674"/>
                  </a:lnTo>
                  <a:lnTo>
                    <a:pt x="1591" y="1633"/>
                  </a:lnTo>
                  <a:lnTo>
                    <a:pt x="1633" y="1528"/>
                  </a:lnTo>
                  <a:lnTo>
                    <a:pt x="1738" y="1570"/>
                  </a:lnTo>
                  <a:lnTo>
                    <a:pt x="1947" y="1570"/>
                  </a:lnTo>
                  <a:lnTo>
                    <a:pt x="2114" y="1674"/>
                  </a:lnTo>
                  <a:lnTo>
                    <a:pt x="2261" y="1674"/>
                  </a:lnTo>
                  <a:lnTo>
                    <a:pt x="2428" y="1654"/>
                  </a:lnTo>
                  <a:lnTo>
                    <a:pt x="2512" y="1737"/>
                  </a:lnTo>
                  <a:lnTo>
                    <a:pt x="2742" y="1779"/>
                  </a:lnTo>
                  <a:lnTo>
                    <a:pt x="2763" y="1779"/>
                  </a:lnTo>
                  <a:lnTo>
                    <a:pt x="2888" y="1695"/>
                  </a:lnTo>
                  <a:lnTo>
                    <a:pt x="3035" y="1674"/>
                  </a:lnTo>
                  <a:lnTo>
                    <a:pt x="3077" y="1737"/>
                  </a:lnTo>
                  <a:lnTo>
                    <a:pt x="3307" y="1654"/>
                  </a:lnTo>
                  <a:lnTo>
                    <a:pt x="3516" y="1633"/>
                  </a:lnTo>
                  <a:lnTo>
                    <a:pt x="3683" y="1465"/>
                  </a:lnTo>
                  <a:lnTo>
                    <a:pt x="3830" y="1444"/>
                  </a:lnTo>
                  <a:lnTo>
                    <a:pt x="3976" y="1340"/>
                  </a:lnTo>
                  <a:lnTo>
                    <a:pt x="4227" y="1361"/>
                  </a:lnTo>
                  <a:lnTo>
                    <a:pt x="4186" y="1214"/>
                  </a:lnTo>
                  <a:lnTo>
                    <a:pt x="4102" y="1130"/>
                  </a:lnTo>
                  <a:lnTo>
                    <a:pt x="3935" y="1130"/>
                  </a:lnTo>
                  <a:lnTo>
                    <a:pt x="3893" y="1172"/>
                  </a:lnTo>
                  <a:lnTo>
                    <a:pt x="3809" y="1172"/>
                  </a:lnTo>
                  <a:lnTo>
                    <a:pt x="3683" y="1005"/>
                  </a:lnTo>
                  <a:lnTo>
                    <a:pt x="3349" y="733"/>
                  </a:lnTo>
                  <a:lnTo>
                    <a:pt x="3181" y="691"/>
                  </a:lnTo>
                  <a:lnTo>
                    <a:pt x="2951" y="733"/>
                  </a:lnTo>
                  <a:lnTo>
                    <a:pt x="2826" y="628"/>
                  </a:lnTo>
                  <a:lnTo>
                    <a:pt x="2867" y="524"/>
                  </a:lnTo>
                  <a:lnTo>
                    <a:pt x="2679" y="545"/>
                  </a:lnTo>
                  <a:lnTo>
                    <a:pt x="2428" y="398"/>
                  </a:lnTo>
                  <a:lnTo>
                    <a:pt x="2365" y="440"/>
                  </a:lnTo>
                  <a:lnTo>
                    <a:pt x="2512" y="607"/>
                  </a:lnTo>
                  <a:lnTo>
                    <a:pt x="2428" y="607"/>
                  </a:lnTo>
                  <a:lnTo>
                    <a:pt x="2365" y="649"/>
                  </a:lnTo>
                  <a:lnTo>
                    <a:pt x="2302" y="628"/>
                  </a:lnTo>
                  <a:lnTo>
                    <a:pt x="2302" y="524"/>
                  </a:lnTo>
                  <a:lnTo>
                    <a:pt x="2240" y="503"/>
                  </a:lnTo>
                  <a:lnTo>
                    <a:pt x="2219" y="419"/>
                  </a:lnTo>
                  <a:lnTo>
                    <a:pt x="2261" y="314"/>
                  </a:lnTo>
                  <a:lnTo>
                    <a:pt x="2198" y="231"/>
                  </a:lnTo>
                  <a:lnTo>
                    <a:pt x="2093" y="231"/>
                  </a:lnTo>
                  <a:lnTo>
                    <a:pt x="1989" y="126"/>
                  </a:lnTo>
                  <a:lnTo>
                    <a:pt x="2010" y="84"/>
                  </a:lnTo>
                  <a:lnTo>
                    <a:pt x="1779" y="21"/>
                  </a:lnTo>
                  <a:lnTo>
                    <a:pt x="1696" y="84"/>
                  </a:lnTo>
                  <a:lnTo>
                    <a:pt x="1612" y="63"/>
                  </a:lnTo>
                  <a:lnTo>
                    <a:pt x="1570" y="105"/>
                  </a:lnTo>
                  <a:lnTo>
                    <a:pt x="1507" y="21"/>
                  </a:lnTo>
                  <a:lnTo>
                    <a:pt x="1486" y="63"/>
                  </a:lnTo>
                  <a:lnTo>
                    <a:pt x="140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Google Shape;12164;p43">
              <a:extLst>
                <a:ext uri="{FF2B5EF4-FFF2-40B4-BE49-F238E27FC236}">
                  <a16:creationId xmlns:a16="http://schemas.microsoft.com/office/drawing/2014/main" id="{A5CAB7BD-6B50-0BDF-7383-6ADE74B6E379}"/>
                </a:ext>
              </a:extLst>
            </p:cNvPr>
            <p:cNvSpPr/>
            <p:nvPr/>
          </p:nvSpPr>
          <p:spPr>
            <a:xfrm>
              <a:off x="3779972" y="2741293"/>
              <a:ext cx="57323" cy="65449"/>
            </a:xfrm>
            <a:custGeom>
              <a:avLst/>
              <a:gdLst/>
              <a:ahLst/>
              <a:cxnLst/>
              <a:rect l="l" t="t" r="r" b="b"/>
              <a:pathLst>
                <a:path w="4814" h="5755" extrusionOk="0">
                  <a:moveTo>
                    <a:pt x="1340" y="1"/>
                  </a:moveTo>
                  <a:lnTo>
                    <a:pt x="1340" y="22"/>
                  </a:lnTo>
                  <a:lnTo>
                    <a:pt x="1340" y="126"/>
                  </a:lnTo>
                  <a:lnTo>
                    <a:pt x="1424" y="189"/>
                  </a:lnTo>
                  <a:lnTo>
                    <a:pt x="1466" y="189"/>
                  </a:lnTo>
                  <a:lnTo>
                    <a:pt x="1466" y="252"/>
                  </a:lnTo>
                  <a:lnTo>
                    <a:pt x="1612" y="377"/>
                  </a:lnTo>
                  <a:lnTo>
                    <a:pt x="1507" y="419"/>
                  </a:lnTo>
                  <a:lnTo>
                    <a:pt x="1403" y="419"/>
                  </a:lnTo>
                  <a:lnTo>
                    <a:pt x="1403" y="524"/>
                  </a:lnTo>
                  <a:lnTo>
                    <a:pt x="1507" y="461"/>
                  </a:lnTo>
                  <a:lnTo>
                    <a:pt x="1507" y="628"/>
                  </a:lnTo>
                  <a:lnTo>
                    <a:pt x="1612" y="670"/>
                  </a:lnTo>
                  <a:lnTo>
                    <a:pt x="1528" y="754"/>
                  </a:lnTo>
                  <a:lnTo>
                    <a:pt x="1528" y="838"/>
                  </a:lnTo>
                  <a:lnTo>
                    <a:pt x="1612" y="880"/>
                  </a:lnTo>
                  <a:lnTo>
                    <a:pt x="1738" y="880"/>
                  </a:lnTo>
                  <a:lnTo>
                    <a:pt x="1926" y="1068"/>
                  </a:lnTo>
                  <a:lnTo>
                    <a:pt x="2156" y="1172"/>
                  </a:lnTo>
                  <a:lnTo>
                    <a:pt x="1926" y="1131"/>
                  </a:lnTo>
                  <a:lnTo>
                    <a:pt x="1738" y="942"/>
                  </a:lnTo>
                  <a:lnTo>
                    <a:pt x="1612" y="963"/>
                  </a:lnTo>
                  <a:lnTo>
                    <a:pt x="1507" y="942"/>
                  </a:lnTo>
                  <a:lnTo>
                    <a:pt x="1424" y="942"/>
                  </a:lnTo>
                  <a:lnTo>
                    <a:pt x="1340" y="1068"/>
                  </a:lnTo>
                  <a:lnTo>
                    <a:pt x="1361" y="1152"/>
                  </a:lnTo>
                  <a:lnTo>
                    <a:pt x="1361" y="1340"/>
                  </a:lnTo>
                  <a:lnTo>
                    <a:pt x="1424" y="1444"/>
                  </a:lnTo>
                  <a:lnTo>
                    <a:pt x="1298" y="1277"/>
                  </a:lnTo>
                  <a:lnTo>
                    <a:pt x="1319" y="1152"/>
                  </a:lnTo>
                  <a:lnTo>
                    <a:pt x="1235" y="1068"/>
                  </a:lnTo>
                  <a:lnTo>
                    <a:pt x="1194" y="1089"/>
                  </a:lnTo>
                  <a:lnTo>
                    <a:pt x="1194" y="1172"/>
                  </a:lnTo>
                  <a:lnTo>
                    <a:pt x="1235" y="1277"/>
                  </a:lnTo>
                  <a:lnTo>
                    <a:pt x="1152" y="1361"/>
                  </a:lnTo>
                  <a:lnTo>
                    <a:pt x="1089" y="1235"/>
                  </a:lnTo>
                  <a:lnTo>
                    <a:pt x="1089" y="1089"/>
                  </a:lnTo>
                  <a:lnTo>
                    <a:pt x="942" y="1026"/>
                  </a:lnTo>
                  <a:lnTo>
                    <a:pt x="880" y="1047"/>
                  </a:lnTo>
                  <a:lnTo>
                    <a:pt x="608" y="1131"/>
                  </a:lnTo>
                  <a:lnTo>
                    <a:pt x="587" y="1235"/>
                  </a:lnTo>
                  <a:lnTo>
                    <a:pt x="629" y="1340"/>
                  </a:lnTo>
                  <a:lnTo>
                    <a:pt x="775" y="1361"/>
                  </a:lnTo>
                  <a:lnTo>
                    <a:pt x="796" y="1465"/>
                  </a:lnTo>
                  <a:lnTo>
                    <a:pt x="796" y="1486"/>
                  </a:lnTo>
                  <a:lnTo>
                    <a:pt x="733" y="1507"/>
                  </a:lnTo>
                  <a:lnTo>
                    <a:pt x="733" y="1591"/>
                  </a:lnTo>
                  <a:lnTo>
                    <a:pt x="691" y="1696"/>
                  </a:lnTo>
                  <a:lnTo>
                    <a:pt x="691" y="1800"/>
                  </a:lnTo>
                  <a:lnTo>
                    <a:pt x="608" y="1863"/>
                  </a:lnTo>
                  <a:lnTo>
                    <a:pt x="503" y="1800"/>
                  </a:lnTo>
                  <a:lnTo>
                    <a:pt x="461" y="1926"/>
                  </a:lnTo>
                  <a:lnTo>
                    <a:pt x="482" y="1988"/>
                  </a:lnTo>
                  <a:lnTo>
                    <a:pt x="608" y="1988"/>
                  </a:lnTo>
                  <a:lnTo>
                    <a:pt x="670" y="2030"/>
                  </a:lnTo>
                  <a:lnTo>
                    <a:pt x="629" y="2114"/>
                  </a:lnTo>
                  <a:lnTo>
                    <a:pt x="608" y="2240"/>
                  </a:lnTo>
                  <a:lnTo>
                    <a:pt x="524" y="2302"/>
                  </a:lnTo>
                  <a:lnTo>
                    <a:pt x="608" y="2407"/>
                  </a:lnTo>
                  <a:lnTo>
                    <a:pt x="524" y="2449"/>
                  </a:lnTo>
                  <a:lnTo>
                    <a:pt x="378" y="2407"/>
                  </a:lnTo>
                  <a:lnTo>
                    <a:pt x="210" y="2449"/>
                  </a:lnTo>
                  <a:lnTo>
                    <a:pt x="168" y="2553"/>
                  </a:lnTo>
                  <a:lnTo>
                    <a:pt x="85" y="2658"/>
                  </a:lnTo>
                  <a:lnTo>
                    <a:pt x="105" y="2825"/>
                  </a:lnTo>
                  <a:lnTo>
                    <a:pt x="85" y="3035"/>
                  </a:lnTo>
                  <a:lnTo>
                    <a:pt x="43" y="3139"/>
                  </a:lnTo>
                  <a:lnTo>
                    <a:pt x="43" y="3160"/>
                  </a:lnTo>
                  <a:lnTo>
                    <a:pt x="1" y="3244"/>
                  </a:lnTo>
                  <a:lnTo>
                    <a:pt x="85" y="3432"/>
                  </a:lnTo>
                  <a:lnTo>
                    <a:pt x="85" y="3474"/>
                  </a:lnTo>
                  <a:lnTo>
                    <a:pt x="168" y="3579"/>
                  </a:lnTo>
                  <a:lnTo>
                    <a:pt x="85" y="3746"/>
                  </a:lnTo>
                  <a:lnTo>
                    <a:pt x="147" y="3746"/>
                  </a:lnTo>
                  <a:lnTo>
                    <a:pt x="273" y="3913"/>
                  </a:lnTo>
                  <a:lnTo>
                    <a:pt x="294" y="4060"/>
                  </a:lnTo>
                  <a:lnTo>
                    <a:pt x="357" y="4102"/>
                  </a:lnTo>
                  <a:lnTo>
                    <a:pt x="357" y="4290"/>
                  </a:lnTo>
                  <a:lnTo>
                    <a:pt x="461" y="4374"/>
                  </a:lnTo>
                  <a:lnTo>
                    <a:pt x="461" y="4437"/>
                  </a:lnTo>
                  <a:lnTo>
                    <a:pt x="566" y="4520"/>
                  </a:lnTo>
                  <a:lnTo>
                    <a:pt x="629" y="4478"/>
                  </a:lnTo>
                  <a:lnTo>
                    <a:pt x="733" y="4478"/>
                  </a:lnTo>
                  <a:lnTo>
                    <a:pt x="817" y="4520"/>
                  </a:lnTo>
                  <a:lnTo>
                    <a:pt x="922" y="4478"/>
                  </a:lnTo>
                  <a:lnTo>
                    <a:pt x="1047" y="4541"/>
                  </a:lnTo>
                  <a:lnTo>
                    <a:pt x="1152" y="4541"/>
                  </a:lnTo>
                  <a:lnTo>
                    <a:pt x="1298" y="4625"/>
                  </a:lnTo>
                  <a:lnTo>
                    <a:pt x="1152" y="4750"/>
                  </a:lnTo>
                  <a:lnTo>
                    <a:pt x="1089" y="4918"/>
                  </a:lnTo>
                  <a:lnTo>
                    <a:pt x="1089" y="5022"/>
                  </a:lnTo>
                  <a:lnTo>
                    <a:pt x="1005" y="5106"/>
                  </a:lnTo>
                  <a:lnTo>
                    <a:pt x="942" y="5273"/>
                  </a:lnTo>
                  <a:lnTo>
                    <a:pt x="942" y="5441"/>
                  </a:lnTo>
                  <a:lnTo>
                    <a:pt x="1047" y="5525"/>
                  </a:lnTo>
                  <a:lnTo>
                    <a:pt x="1110" y="5629"/>
                  </a:lnTo>
                  <a:lnTo>
                    <a:pt x="1214" y="5650"/>
                  </a:lnTo>
                  <a:lnTo>
                    <a:pt x="1319" y="5587"/>
                  </a:lnTo>
                  <a:lnTo>
                    <a:pt x="1445" y="5650"/>
                  </a:lnTo>
                  <a:lnTo>
                    <a:pt x="1507" y="5566"/>
                  </a:lnTo>
                  <a:lnTo>
                    <a:pt x="1466" y="5525"/>
                  </a:lnTo>
                  <a:lnTo>
                    <a:pt x="1612" y="5462"/>
                  </a:lnTo>
                  <a:lnTo>
                    <a:pt x="1633" y="5566"/>
                  </a:lnTo>
                  <a:lnTo>
                    <a:pt x="1717" y="5587"/>
                  </a:lnTo>
                  <a:lnTo>
                    <a:pt x="1758" y="5545"/>
                  </a:lnTo>
                  <a:lnTo>
                    <a:pt x="1842" y="5545"/>
                  </a:lnTo>
                  <a:lnTo>
                    <a:pt x="1989" y="5671"/>
                  </a:lnTo>
                  <a:lnTo>
                    <a:pt x="2072" y="5692"/>
                  </a:lnTo>
                  <a:lnTo>
                    <a:pt x="2093" y="5692"/>
                  </a:lnTo>
                  <a:lnTo>
                    <a:pt x="2156" y="5671"/>
                  </a:lnTo>
                  <a:lnTo>
                    <a:pt x="2261" y="5629"/>
                  </a:lnTo>
                  <a:lnTo>
                    <a:pt x="2344" y="5734"/>
                  </a:lnTo>
                  <a:lnTo>
                    <a:pt x="2491" y="5755"/>
                  </a:lnTo>
                  <a:lnTo>
                    <a:pt x="2512" y="5692"/>
                  </a:lnTo>
                  <a:lnTo>
                    <a:pt x="2512" y="5629"/>
                  </a:lnTo>
                  <a:lnTo>
                    <a:pt x="2826" y="5629"/>
                  </a:lnTo>
                  <a:lnTo>
                    <a:pt x="2909" y="5692"/>
                  </a:lnTo>
                  <a:lnTo>
                    <a:pt x="3014" y="5671"/>
                  </a:lnTo>
                  <a:lnTo>
                    <a:pt x="3098" y="5692"/>
                  </a:lnTo>
                  <a:lnTo>
                    <a:pt x="3202" y="5671"/>
                  </a:lnTo>
                  <a:lnTo>
                    <a:pt x="3391" y="5545"/>
                  </a:lnTo>
                  <a:lnTo>
                    <a:pt x="3453" y="5545"/>
                  </a:lnTo>
                  <a:lnTo>
                    <a:pt x="3600" y="5566"/>
                  </a:lnTo>
                  <a:lnTo>
                    <a:pt x="3725" y="5545"/>
                  </a:lnTo>
                  <a:lnTo>
                    <a:pt x="3851" y="5629"/>
                  </a:lnTo>
                  <a:lnTo>
                    <a:pt x="3935" y="5566"/>
                  </a:lnTo>
                  <a:lnTo>
                    <a:pt x="3914" y="5462"/>
                  </a:lnTo>
                  <a:lnTo>
                    <a:pt x="3746" y="5378"/>
                  </a:lnTo>
                  <a:lnTo>
                    <a:pt x="3746" y="5315"/>
                  </a:lnTo>
                  <a:lnTo>
                    <a:pt x="3914" y="5127"/>
                  </a:lnTo>
                  <a:lnTo>
                    <a:pt x="4039" y="5043"/>
                  </a:lnTo>
                  <a:lnTo>
                    <a:pt x="4123" y="4939"/>
                  </a:lnTo>
                  <a:lnTo>
                    <a:pt x="4186" y="4939"/>
                  </a:lnTo>
                  <a:lnTo>
                    <a:pt x="4186" y="4834"/>
                  </a:lnTo>
                  <a:lnTo>
                    <a:pt x="4227" y="4729"/>
                  </a:lnTo>
                  <a:lnTo>
                    <a:pt x="3976" y="4437"/>
                  </a:lnTo>
                  <a:lnTo>
                    <a:pt x="3872" y="4374"/>
                  </a:lnTo>
                  <a:lnTo>
                    <a:pt x="3663" y="4227"/>
                  </a:lnTo>
                  <a:lnTo>
                    <a:pt x="3558" y="4185"/>
                  </a:lnTo>
                  <a:lnTo>
                    <a:pt x="3537" y="4102"/>
                  </a:lnTo>
                  <a:lnTo>
                    <a:pt x="3537" y="3955"/>
                  </a:lnTo>
                  <a:lnTo>
                    <a:pt x="3432" y="3767"/>
                  </a:lnTo>
                  <a:lnTo>
                    <a:pt x="3286" y="3683"/>
                  </a:lnTo>
                  <a:lnTo>
                    <a:pt x="3286" y="3579"/>
                  </a:lnTo>
                  <a:lnTo>
                    <a:pt x="3307" y="3558"/>
                  </a:lnTo>
                  <a:lnTo>
                    <a:pt x="3391" y="3600"/>
                  </a:lnTo>
                  <a:lnTo>
                    <a:pt x="3453" y="3641"/>
                  </a:lnTo>
                  <a:lnTo>
                    <a:pt x="3663" y="3453"/>
                  </a:lnTo>
                  <a:lnTo>
                    <a:pt x="3767" y="3453"/>
                  </a:lnTo>
                  <a:lnTo>
                    <a:pt x="3872" y="3328"/>
                  </a:lnTo>
                  <a:lnTo>
                    <a:pt x="4018" y="3328"/>
                  </a:lnTo>
                  <a:lnTo>
                    <a:pt x="4060" y="3223"/>
                  </a:lnTo>
                  <a:lnTo>
                    <a:pt x="4269" y="3223"/>
                  </a:lnTo>
                  <a:lnTo>
                    <a:pt x="4353" y="3244"/>
                  </a:lnTo>
                  <a:lnTo>
                    <a:pt x="4437" y="3181"/>
                  </a:lnTo>
                  <a:lnTo>
                    <a:pt x="4437" y="3076"/>
                  </a:lnTo>
                  <a:lnTo>
                    <a:pt x="4604" y="3118"/>
                  </a:lnTo>
                  <a:lnTo>
                    <a:pt x="4688" y="3056"/>
                  </a:lnTo>
                  <a:lnTo>
                    <a:pt x="4771" y="3118"/>
                  </a:lnTo>
                  <a:lnTo>
                    <a:pt x="4792" y="3076"/>
                  </a:lnTo>
                  <a:lnTo>
                    <a:pt x="4813" y="3035"/>
                  </a:lnTo>
                  <a:lnTo>
                    <a:pt x="4813" y="2721"/>
                  </a:lnTo>
                  <a:lnTo>
                    <a:pt x="4751" y="2637"/>
                  </a:lnTo>
                  <a:lnTo>
                    <a:pt x="4667" y="2595"/>
                  </a:lnTo>
                  <a:lnTo>
                    <a:pt x="4562" y="2344"/>
                  </a:lnTo>
                  <a:lnTo>
                    <a:pt x="4604" y="2240"/>
                  </a:lnTo>
                  <a:lnTo>
                    <a:pt x="4562" y="2114"/>
                  </a:lnTo>
                  <a:lnTo>
                    <a:pt x="4562" y="2030"/>
                  </a:lnTo>
                  <a:lnTo>
                    <a:pt x="4479" y="1926"/>
                  </a:lnTo>
                  <a:lnTo>
                    <a:pt x="4499" y="1821"/>
                  </a:lnTo>
                  <a:lnTo>
                    <a:pt x="4332" y="1612"/>
                  </a:lnTo>
                  <a:lnTo>
                    <a:pt x="4332" y="1549"/>
                  </a:lnTo>
                  <a:lnTo>
                    <a:pt x="4479" y="1465"/>
                  </a:lnTo>
                  <a:lnTo>
                    <a:pt x="4499" y="1277"/>
                  </a:lnTo>
                  <a:lnTo>
                    <a:pt x="4458" y="1026"/>
                  </a:lnTo>
                  <a:lnTo>
                    <a:pt x="4353" y="1026"/>
                  </a:lnTo>
                  <a:lnTo>
                    <a:pt x="4269" y="963"/>
                  </a:lnTo>
                  <a:lnTo>
                    <a:pt x="4165" y="963"/>
                  </a:lnTo>
                  <a:lnTo>
                    <a:pt x="4060" y="880"/>
                  </a:lnTo>
                  <a:lnTo>
                    <a:pt x="4081" y="775"/>
                  </a:lnTo>
                  <a:lnTo>
                    <a:pt x="4039" y="670"/>
                  </a:lnTo>
                  <a:lnTo>
                    <a:pt x="3914" y="712"/>
                  </a:lnTo>
                  <a:lnTo>
                    <a:pt x="3767" y="545"/>
                  </a:lnTo>
                  <a:lnTo>
                    <a:pt x="3663" y="545"/>
                  </a:lnTo>
                  <a:lnTo>
                    <a:pt x="3621" y="461"/>
                  </a:lnTo>
                  <a:lnTo>
                    <a:pt x="3558" y="503"/>
                  </a:lnTo>
                  <a:lnTo>
                    <a:pt x="3432" y="524"/>
                  </a:lnTo>
                  <a:lnTo>
                    <a:pt x="3328" y="608"/>
                  </a:lnTo>
                  <a:lnTo>
                    <a:pt x="3286" y="545"/>
                  </a:lnTo>
                  <a:lnTo>
                    <a:pt x="3349" y="503"/>
                  </a:lnTo>
                  <a:lnTo>
                    <a:pt x="3349" y="524"/>
                  </a:lnTo>
                  <a:lnTo>
                    <a:pt x="3411" y="461"/>
                  </a:lnTo>
                  <a:lnTo>
                    <a:pt x="3516" y="419"/>
                  </a:lnTo>
                  <a:lnTo>
                    <a:pt x="3391" y="419"/>
                  </a:lnTo>
                  <a:lnTo>
                    <a:pt x="3328" y="440"/>
                  </a:lnTo>
                  <a:lnTo>
                    <a:pt x="3307" y="503"/>
                  </a:lnTo>
                  <a:lnTo>
                    <a:pt x="3202" y="545"/>
                  </a:lnTo>
                  <a:lnTo>
                    <a:pt x="3202" y="608"/>
                  </a:lnTo>
                  <a:lnTo>
                    <a:pt x="2993" y="628"/>
                  </a:lnTo>
                  <a:lnTo>
                    <a:pt x="2909" y="733"/>
                  </a:lnTo>
                  <a:lnTo>
                    <a:pt x="2888" y="838"/>
                  </a:lnTo>
                  <a:lnTo>
                    <a:pt x="2763" y="838"/>
                  </a:lnTo>
                  <a:lnTo>
                    <a:pt x="2721" y="775"/>
                  </a:lnTo>
                  <a:lnTo>
                    <a:pt x="2616" y="754"/>
                  </a:lnTo>
                  <a:lnTo>
                    <a:pt x="2574" y="775"/>
                  </a:lnTo>
                  <a:lnTo>
                    <a:pt x="2407" y="733"/>
                  </a:lnTo>
                  <a:lnTo>
                    <a:pt x="2512" y="670"/>
                  </a:lnTo>
                  <a:lnTo>
                    <a:pt x="2595" y="670"/>
                  </a:lnTo>
                  <a:lnTo>
                    <a:pt x="2679" y="608"/>
                  </a:lnTo>
                  <a:lnTo>
                    <a:pt x="2679" y="503"/>
                  </a:lnTo>
                  <a:lnTo>
                    <a:pt x="2616" y="461"/>
                  </a:lnTo>
                  <a:lnTo>
                    <a:pt x="2512" y="545"/>
                  </a:lnTo>
                  <a:lnTo>
                    <a:pt x="2491" y="566"/>
                  </a:lnTo>
                  <a:lnTo>
                    <a:pt x="2365" y="461"/>
                  </a:lnTo>
                  <a:lnTo>
                    <a:pt x="2302" y="419"/>
                  </a:lnTo>
                  <a:lnTo>
                    <a:pt x="2261" y="440"/>
                  </a:lnTo>
                  <a:lnTo>
                    <a:pt x="2240" y="524"/>
                  </a:lnTo>
                  <a:lnTo>
                    <a:pt x="2135" y="566"/>
                  </a:lnTo>
                  <a:lnTo>
                    <a:pt x="2093" y="461"/>
                  </a:lnTo>
                  <a:lnTo>
                    <a:pt x="2030" y="440"/>
                  </a:lnTo>
                  <a:lnTo>
                    <a:pt x="1968" y="377"/>
                  </a:lnTo>
                  <a:lnTo>
                    <a:pt x="2051" y="335"/>
                  </a:lnTo>
                  <a:lnTo>
                    <a:pt x="2093" y="210"/>
                  </a:lnTo>
                  <a:lnTo>
                    <a:pt x="1989" y="189"/>
                  </a:lnTo>
                  <a:lnTo>
                    <a:pt x="1863" y="84"/>
                  </a:lnTo>
                  <a:lnTo>
                    <a:pt x="1758" y="84"/>
                  </a:lnTo>
                  <a:lnTo>
                    <a:pt x="1717" y="43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Google Shape;12165;p43">
              <a:extLst>
                <a:ext uri="{FF2B5EF4-FFF2-40B4-BE49-F238E27FC236}">
                  <a16:creationId xmlns:a16="http://schemas.microsoft.com/office/drawing/2014/main" id="{DE24A1FF-BF47-E222-1EF3-038DE6237CDF}"/>
                </a:ext>
              </a:extLst>
            </p:cNvPr>
            <p:cNvSpPr/>
            <p:nvPr/>
          </p:nvSpPr>
          <p:spPr>
            <a:xfrm>
              <a:off x="3764778" y="2755577"/>
              <a:ext cx="24672" cy="21426"/>
            </a:xfrm>
            <a:custGeom>
              <a:avLst/>
              <a:gdLst/>
              <a:ahLst/>
              <a:cxnLst/>
              <a:rect l="l" t="t" r="r" b="b"/>
              <a:pathLst>
                <a:path w="2072" h="1884" extrusionOk="0">
                  <a:moveTo>
                    <a:pt x="1695" y="0"/>
                  </a:moveTo>
                  <a:lnTo>
                    <a:pt x="1549" y="21"/>
                  </a:lnTo>
                  <a:lnTo>
                    <a:pt x="1444" y="126"/>
                  </a:lnTo>
                  <a:lnTo>
                    <a:pt x="1340" y="84"/>
                  </a:lnTo>
                  <a:lnTo>
                    <a:pt x="1277" y="126"/>
                  </a:lnTo>
                  <a:lnTo>
                    <a:pt x="1130" y="126"/>
                  </a:lnTo>
                  <a:lnTo>
                    <a:pt x="1005" y="251"/>
                  </a:lnTo>
                  <a:lnTo>
                    <a:pt x="796" y="398"/>
                  </a:lnTo>
                  <a:lnTo>
                    <a:pt x="754" y="335"/>
                  </a:lnTo>
                  <a:lnTo>
                    <a:pt x="628" y="398"/>
                  </a:lnTo>
                  <a:lnTo>
                    <a:pt x="628" y="544"/>
                  </a:lnTo>
                  <a:lnTo>
                    <a:pt x="524" y="628"/>
                  </a:lnTo>
                  <a:lnTo>
                    <a:pt x="545" y="753"/>
                  </a:lnTo>
                  <a:lnTo>
                    <a:pt x="524" y="879"/>
                  </a:lnTo>
                  <a:lnTo>
                    <a:pt x="482" y="984"/>
                  </a:lnTo>
                  <a:lnTo>
                    <a:pt x="440" y="1046"/>
                  </a:lnTo>
                  <a:lnTo>
                    <a:pt x="335" y="1130"/>
                  </a:lnTo>
                  <a:lnTo>
                    <a:pt x="335" y="1193"/>
                  </a:lnTo>
                  <a:lnTo>
                    <a:pt x="482" y="1339"/>
                  </a:lnTo>
                  <a:lnTo>
                    <a:pt x="607" y="1360"/>
                  </a:lnTo>
                  <a:lnTo>
                    <a:pt x="482" y="1360"/>
                  </a:lnTo>
                  <a:lnTo>
                    <a:pt x="419" y="1402"/>
                  </a:lnTo>
                  <a:lnTo>
                    <a:pt x="377" y="1444"/>
                  </a:lnTo>
                  <a:lnTo>
                    <a:pt x="419" y="1507"/>
                  </a:lnTo>
                  <a:lnTo>
                    <a:pt x="503" y="1507"/>
                  </a:lnTo>
                  <a:lnTo>
                    <a:pt x="503" y="1569"/>
                  </a:lnTo>
                  <a:lnTo>
                    <a:pt x="398" y="1569"/>
                  </a:lnTo>
                  <a:lnTo>
                    <a:pt x="293" y="1486"/>
                  </a:lnTo>
                  <a:lnTo>
                    <a:pt x="189" y="1444"/>
                  </a:lnTo>
                  <a:lnTo>
                    <a:pt x="105" y="1465"/>
                  </a:lnTo>
                  <a:lnTo>
                    <a:pt x="126" y="1507"/>
                  </a:lnTo>
                  <a:lnTo>
                    <a:pt x="210" y="1548"/>
                  </a:lnTo>
                  <a:lnTo>
                    <a:pt x="314" y="1611"/>
                  </a:lnTo>
                  <a:lnTo>
                    <a:pt x="335" y="1590"/>
                  </a:lnTo>
                  <a:lnTo>
                    <a:pt x="440" y="1674"/>
                  </a:lnTo>
                  <a:lnTo>
                    <a:pt x="335" y="1611"/>
                  </a:lnTo>
                  <a:lnTo>
                    <a:pt x="273" y="1653"/>
                  </a:lnTo>
                  <a:lnTo>
                    <a:pt x="105" y="1590"/>
                  </a:lnTo>
                  <a:lnTo>
                    <a:pt x="1" y="1590"/>
                  </a:lnTo>
                  <a:lnTo>
                    <a:pt x="84" y="1611"/>
                  </a:lnTo>
                  <a:lnTo>
                    <a:pt x="126" y="1695"/>
                  </a:lnTo>
                  <a:lnTo>
                    <a:pt x="210" y="1695"/>
                  </a:lnTo>
                  <a:lnTo>
                    <a:pt x="293" y="1758"/>
                  </a:lnTo>
                  <a:lnTo>
                    <a:pt x="335" y="1695"/>
                  </a:lnTo>
                  <a:lnTo>
                    <a:pt x="440" y="1674"/>
                  </a:lnTo>
                  <a:lnTo>
                    <a:pt x="482" y="1653"/>
                  </a:lnTo>
                  <a:lnTo>
                    <a:pt x="545" y="1653"/>
                  </a:lnTo>
                  <a:lnTo>
                    <a:pt x="586" y="1548"/>
                  </a:lnTo>
                  <a:lnTo>
                    <a:pt x="796" y="1548"/>
                  </a:lnTo>
                  <a:lnTo>
                    <a:pt x="837" y="1611"/>
                  </a:lnTo>
                  <a:lnTo>
                    <a:pt x="942" y="1611"/>
                  </a:lnTo>
                  <a:lnTo>
                    <a:pt x="1005" y="1695"/>
                  </a:lnTo>
                  <a:lnTo>
                    <a:pt x="1151" y="1695"/>
                  </a:lnTo>
                  <a:lnTo>
                    <a:pt x="1214" y="1779"/>
                  </a:lnTo>
                  <a:lnTo>
                    <a:pt x="1214" y="1862"/>
                  </a:lnTo>
                  <a:lnTo>
                    <a:pt x="1319" y="1883"/>
                  </a:lnTo>
                  <a:lnTo>
                    <a:pt x="1361" y="1779"/>
                  </a:lnTo>
                  <a:lnTo>
                    <a:pt x="1381" y="1569"/>
                  </a:lnTo>
                  <a:lnTo>
                    <a:pt x="1361" y="1402"/>
                  </a:lnTo>
                  <a:lnTo>
                    <a:pt x="1444" y="1297"/>
                  </a:lnTo>
                  <a:lnTo>
                    <a:pt x="1486" y="1193"/>
                  </a:lnTo>
                  <a:lnTo>
                    <a:pt x="1654" y="1151"/>
                  </a:lnTo>
                  <a:lnTo>
                    <a:pt x="1800" y="1193"/>
                  </a:lnTo>
                  <a:lnTo>
                    <a:pt x="1884" y="1151"/>
                  </a:lnTo>
                  <a:lnTo>
                    <a:pt x="1800" y="1046"/>
                  </a:lnTo>
                  <a:lnTo>
                    <a:pt x="1884" y="984"/>
                  </a:lnTo>
                  <a:lnTo>
                    <a:pt x="1905" y="858"/>
                  </a:lnTo>
                  <a:lnTo>
                    <a:pt x="1946" y="774"/>
                  </a:lnTo>
                  <a:lnTo>
                    <a:pt x="1884" y="732"/>
                  </a:lnTo>
                  <a:lnTo>
                    <a:pt x="1758" y="732"/>
                  </a:lnTo>
                  <a:lnTo>
                    <a:pt x="1737" y="670"/>
                  </a:lnTo>
                  <a:lnTo>
                    <a:pt x="1779" y="544"/>
                  </a:lnTo>
                  <a:lnTo>
                    <a:pt x="1884" y="607"/>
                  </a:lnTo>
                  <a:lnTo>
                    <a:pt x="1967" y="544"/>
                  </a:lnTo>
                  <a:lnTo>
                    <a:pt x="1967" y="440"/>
                  </a:lnTo>
                  <a:lnTo>
                    <a:pt x="2009" y="335"/>
                  </a:lnTo>
                  <a:lnTo>
                    <a:pt x="2009" y="251"/>
                  </a:lnTo>
                  <a:lnTo>
                    <a:pt x="2072" y="230"/>
                  </a:lnTo>
                  <a:lnTo>
                    <a:pt x="2072" y="209"/>
                  </a:lnTo>
                  <a:lnTo>
                    <a:pt x="1967" y="147"/>
                  </a:lnTo>
                  <a:lnTo>
                    <a:pt x="1863" y="84"/>
                  </a:lnTo>
                  <a:lnTo>
                    <a:pt x="16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Google Shape;12166;p43">
              <a:extLst>
                <a:ext uri="{FF2B5EF4-FFF2-40B4-BE49-F238E27FC236}">
                  <a16:creationId xmlns:a16="http://schemas.microsoft.com/office/drawing/2014/main" id="{80B2B8BB-3D43-735C-6E1E-B0118308CBB7}"/>
                </a:ext>
              </a:extLst>
            </p:cNvPr>
            <p:cNvSpPr/>
            <p:nvPr/>
          </p:nvSpPr>
          <p:spPr>
            <a:xfrm>
              <a:off x="3762540" y="2773181"/>
              <a:ext cx="19445" cy="15956"/>
            </a:xfrm>
            <a:custGeom>
              <a:avLst/>
              <a:gdLst/>
              <a:ahLst/>
              <a:cxnLst/>
              <a:rect l="l" t="t" r="r" b="b"/>
              <a:pathLst>
                <a:path w="1633" h="1403" extrusionOk="0">
                  <a:moveTo>
                    <a:pt x="774" y="0"/>
                  </a:moveTo>
                  <a:lnTo>
                    <a:pt x="733" y="105"/>
                  </a:lnTo>
                  <a:lnTo>
                    <a:pt x="670" y="105"/>
                  </a:lnTo>
                  <a:lnTo>
                    <a:pt x="628" y="126"/>
                  </a:lnTo>
                  <a:lnTo>
                    <a:pt x="523" y="147"/>
                  </a:lnTo>
                  <a:lnTo>
                    <a:pt x="481" y="210"/>
                  </a:lnTo>
                  <a:lnTo>
                    <a:pt x="398" y="147"/>
                  </a:lnTo>
                  <a:lnTo>
                    <a:pt x="314" y="147"/>
                  </a:lnTo>
                  <a:lnTo>
                    <a:pt x="272" y="63"/>
                  </a:lnTo>
                  <a:lnTo>
                    <a:pt x="189" y="42"/>
                  </a:lnTo>
                  <a:lnTo>
                    <a:pt x="84" y="126"/>
                  </a:lnTo>
                  <a:lnTo>
                    <a:pt x="0" y="272"/>
                  </a:lnTo>
                  <a:lnTo>
                    <a:pt x="63" y="335"/>
                  </a:lnTo>
                  <a:lnTo>
                    <a:pt x="84" y="524"/>
                  </a:lnTo>
                  <a:lnTo>
                    <a:pt x="209" y="565"/>
                  </a:lnTo>
                  <a:lnTo>
                    <a:pt x="251" y="670"/>
                  </a:lnTo>
                  <a:lnTo>
                    <a:pt x="398" y="796"/>
                  </a:lnTo>
                  <a:lnTo>
                    <a:pt x="481" y="796"/>
                  </a:lnTo>
                  <a:lnTo>
                    <a:pt x="565" y="858"/>
                  </a:lnTo>
                  <a:lnTo>
                    <a:pt x="628" y="879"/>
                  </a:lnTo>
                  <a:lnTo>
                    <a:pt x="628" y="1047"/>
                  </a:lnTo>
                  <a:lnTo>
                    <a:pt x="774" y="1109"/>
                  </a:lnTo>
                  <a:lnTo>
                    <a:pt x="816" y="1068"/>
                  </a:lnTo>
                  <a:lnTo>
                    <a:pt x="900" y="1068"/>
                  </a:lnTo>
                  <a:lnTo>
                    <a:pt x="942" y="1109"/>
                  </a:lnTo>
                  <a:lnTo>
                    <a:pt x="1025" y="1151"/>
                  </a:lnTo>
                  <a:lnTo>
                    <a:pt x="1151" y="1298"/>
                  </a:lnTo>
                  <a:lnTo>
                    <a:pt x="1256" y="1319"/>
                  </a:lnTo>
                  <a:lnTo>
                    <a:pt x="1360" y="1402"/>
                  </a:lnTo>
                  <a:lnTo>
                    <a:pt x="1423" y="1361"/>
                  </a:lnTo>
                  <a:lnTo>
                    <a:pt x="1507" y="1361"/>
                  </a:lnTo>
                  <a:lnTo>
                    <a:pt x="1507" y="1298"/>
                  </a:lnTo>
                  <a:lnTo>
                    <a:pt x="1444" y="1256"/>
                  </a:lnTo>
                  <a:lnTo>
                    <a:pt x="1444" y="1172"/>
                  </a:lnTo>
                  <a:lnTo>
                    <a:pt x="1423" y="1109"/>
                  </a:lnTo>
                  <a:lnTo>
                    <a:pt x="1465" y="1047"/>
                  </a:lnTo>
                  <a:lnTo>
                    <a:pt x="1528" y="942"/>
                  </a:lnTo>
                  <a:lnTo>
                    <a:pt x="1549" y="942"/>
                  </a:lnTo>
                  <a:lnTo>
                    <a:pt x="1632" y="775"/>
                  </a:lnTo>
                  <a:lnTo>
                    <a:pt x="1549" y="670"/>
                  </a:lnTo>
                  <a:lnTo>
                    <a:pt x="1549" y="628"/>
                  </a:lnTo>
                  <a:lnTo>
                    <a:pt x="1465" y="440"/>
                  </a:lnTo>
                  <a:lnTo>
                    <a:pt x="1507" y="356"/>
                  </a:lnTo>
                  <a:lnTo>
                    <a:pt x="1507" y="335"/>
                  </a:lnTo>
                  <a:lnTo>
                    <a:pt x="1402" y="314"/>
                  </a:lnTo>
                  <a:lnTo>
                    <a:pt x="1402" y="231"/>
                  </a:lnTo>
                  <a:lnTo>
                    <a:pt x="1339" y="147"/>
                  </a:lnTo>
                  <a:lnTo>
                    <a:pt x="1193" y="147"/>
                  </a:lnTo>
                  <a:lnTo>
                    <a:pt x="1130" y="63"/>
                  </a:lnTo>
                  <a:lnTo>
                    <a:pt x="1025" y="63"/>
                  </a:lnTo>
                  <a:lnTo>
                    <a:pt x="9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Google Shape;12167;p43">
              <a:extLst>
                <a:ext uri="{FF2B5EF4-FFF2-40B4-BE49-F238E27FC236}">
                  <a16:creationId xmlns:a16="http://schemas.microsoft.com/office/drawing/2014/main" id="{2B2DAF86-0B0B-0072-FB46-EA0500B7AA98}"/>
                </a:ext>
              </a:extLst>
            </p:cNvPr>
            <p:cNvSpPr/>
            <p:nvPr/>
          </p:nvSpPr>
          <p:spPr>
            <a:xfrm>
              <a:off x="3779484" y="2783894"/>
              <a:ext cx="4739" cy="6425"/>
            </a:xfrm>
            <a:custGeom>
              <a:avLst/>
              <a:gdLst/>
              <a:ahLst/>
              <a:cxnLst/>
              <a:rect l="l" t="t" r="r" b="b"/>
              <a:pathLst>
                <a:path w="398" h="565" extrusionOk="0">
                  <a:moveTo>
                    <a:pt x="105" y="0"/>
                  </a:moveTo>
                  <a:lnTo>
                    <a:pt x="42" y="105"/>
                  </a:lnTo>
                  <a:lnTo>
                    <a:pt x="0" y="167"/>
                  </a:lnTo>
                  <a:lnTo>
                    <a:pt x="21" y="230"/>
                  </a:lnTo>
                  <a:lnTo>
                    <a:pt x="21" y="314"/>
                  </a:lnTo>
                  <a:lnTo>
                    <a:pt x="84" y="356"/>
                  </a:lnTo>
                  <a:lnTo>
                    <a:pt x="84" y="419"/>
                  </a:lnTo>
                  <a:lnTo>
                    <a:pt x="105" y="419"/>
                  </a:lnTo>
                  <a:lnTo>
                    <a:pt x="146" y="523"/>
                  </a:lnTo>
                  <a:lnTo>
                    <a:pt x="314" y="565"/>
                  </a:lnTo>
                  <a:lnTo>
                    <a:pt x="398" y="544"/>
                  </a:lnTo>
                  <a:lnTo>
                    <a:pt x="398" y="356"/>
                  </a:lnTo>
                  <a:lnTo>
                    <a:pt x="335" y="314"/>
                  </a:lnTo>
                  <a:lnTo>
                    <a:pt x="314" y="167"/>
                  </a:lnTo>
                  <a:lnTo>
                    <a:pt x="18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Google Shape;12168;p43">
              <a:extLst>
                <a:ext uri="{FF2B5EF4-FFF2-40B4-BE49-F238E27FC236}">
                  <a16:creationId xmlns:a16="http://schemas.microsoft.com/office/drawing/2014/main" id="{6FA09B7C-8929-1B64-BFE8-631BCB7FE132}"/>
                </a:ext>
              </a:extLst>
            </p:cNvPr>
            <p:cNvSpPr/>
            <p:nvPr/>
          </p:nvSpPr>
          <p:spPr>
            <a:xfrm>
              <a:off x="3681319" y="2737017"/>
              <a:ext cx="27661" cy="34982"/>
            </a:xfrm>
            <a:custGeom>
              <a:avLst/>
              <a:gdLst/>
              <a:ahLst/>
              <a:cxnLst/>
              <a:rect l="l" t="t" r="r" b="b"/>
              <a:pathLst>
                <a:path w="2323" h="3076" extrusionOk="0">
                  <a:moveTo>
                    <a:pt x="1737" y="0"/>
                  </a:moveTo>
                  <a:lnTo>
                    <a:pt x="1779" y="84"/>
                  </a:lnTo>
                  <a:lnTo>
                    <a:pt x="1653" y="84"/>
                  </a:lnTo>
                  <a:lnTo>
                    <a:pt x="1674" y="209"/>
                  </a:lnTo>
                  <a:lnTo>
                    <a:pt x="1590" y="314"/>
                  </a:lnTo>
                  <a:lnTo>
                    <a:pt x="1590" y="230"/>
                  </a:lnTo>
                  <a:lnTo>
                    <a:pt x="1653" y="188"/>
                  </a:lnTo>
                  <a:lnTo>
                    <a:pt x="1590" y="84"/>
                  </a:lnTo>
                  <a:lnTo>
                    <a:pt x="1528" y="105"/>
                  </a:lnTo>
                  <a:lnTo>
                    <a:pt x="1569" y="167"/>
                  </a:lnTo>
                  <a:lnTo>
                    <a:pt x="1465" y="188"/>
                  </a:lnTo>
                  <a:lnTo>
                    <a:pt x="1423" y="147"/>
                  </a:lnTo>
                  <a:lnTo>
                    <a:pt x="1256" y="167"/>
                  </a:lnTo>
                  <a:lnTo>
                    <a:pt x="1256" y="230"/>
                  </a:lnTo>
                  <a:lnTo>
                    <a:pt x="1214" y="230"/>
                  </a:lnTo>
                  <a:lnTo>
                    <a:pt x="1172" y="356"/>
                  </a:lnTo>
                  <a:lnTo>
                    <a:pt x="1256" y="377"/>
                  </a:lnTo>
                  <a:lnTo>
                    <a:pt x="1235" y="419"/>
                  </a:lnTo>
                  <a:lnTo>
                    <a:pt x="1151" y="419"/>
                  </a:lnTo>
                  <a:lnTo>
                    <a:pt x="1151" y="481"/>
                  </a:lnTo>
                  <a:lnTo>
                    <a:pt x="1046" y="502"/>
                  </a:lnTo>
                  <a:lnTo>
                    <a:pt x="1067" y="586"/>
                  </a:lnTo>
                  <a:lnTo>
                    <a:pt x="1214" y="586"/>
                  </a:lnTo>
                  <a:lnTo>
                    <a:pt x="1172" y="607"/>
                  </a:lnTo>
                  <a:lnTo>
                    <a:pt x="1276" y="586"/>
                  </a:lnTo>
                  <a:lnTo>
                    <a:pt x="1360" y="586"/>
                  </a:lnTo>
                  <a:lnTo>
                    <a:pt x="1235" y="711"/>
                  </a:lnTo>
                  <a:lnTo>
                    <a:pt x="1046" y="795"/>
                  </a:lnTo>
                  <a:lnTo>
                    <a:pt x="1130" y="837"/>
                  </a:lnTo>
                  <a:lnTo>
                    <a:pt x="942" y="879"/>
                  </a:lnTo>
                  <a:lnTo>
                    <a:pt x="858" y="837"/>
                  </a:lnTo>
                  <a:lnTo>
                    <a:pt x="795" y="921"/>
                  </a:lnTo>
                  <a:lnTo>
                    <a:pt x="753" y="816"/>
                  </a:lnTo>
                  <a:lnTo>
                    <a:pt x="502" y="753"/>
                  </a:lnTo>
                  <a:lnTo>
                    <a:pt x="502" y="816"/>
                  </a:lnTo>
                  <a:lnTo>
                    <a:pt x="335" y="753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419" y="942"/>
                  </a:lnTo>
                  <a:lnTo>
                    <a:pt x="440" y="984"/>
                  </a:lnTo>
                  <a:lnTo>
                    <a:pt x="481" y="1088"/>
                  </a:lnTo>
                  <a:lnTo>
                    <a:pt x="419" y="1088"/>
                  </a:lnTo>
                  <a:lnTo>
                    <a:pt x="398" y="1025"/>
                  </a:lnTo>
                  <a:lnTo>
                    <a:pt x="272" y="1025"/>
                  </a:lnTo>
                  <a:lnTo>
                    <a:pt x="419" y="1130"/>
                  </a:lnTo>
                  <a:lnTo>
                    <a:pt x="544" y="1109"/>
                  </a:lnTo>
                  <a:lnTo>
                    <a:pt x="586" y="1214"/>
                  </a:lnTo>
                  <a:lnTo>
                    <a:pt x="440" y="1235"/>
                  </a:lnTo>
                  <a:lnTo>
                    <a:pt x="419" y="1276"/>
                  </a:lnTo>
                  <a:lnTo>
                    <a:pt x="440" y="1339"/>
                  </a:lnTo>
                  <a:lnTo>
                    <a:pt x="293" y="1360"/>
                  </a:lnTo>
                  <a:lnTo>
                    <a:pt x="335" y="1444"/>
                  </a:lnTo>
                  <a:lnTo>
                    <a:pt x="272" y="1465"/>
                  </a:lnTo>
                  <a:lnTo>
                    <a:pt x="377" y="1528"/>
                  </a:lnTo>
                  <a:lnTo>
                    <a:pt x="419" y="1507"/>
                  </a:lnTo>
                  <a:lnTo>
                    <a:pt x="398" y="1548"/>
                  </a:lnTo>
                  <a:lnTo>
                    <a:pt x="523" y="1528"/>
                  </a:lnTo>
                  <a:lnTo>
                    <a:pt x="544" y="1674"/>
                  </a:lnTo>
                  <a:lnTo>
                    <a:pt x="858" y="1674"/>
                  </a:lnTo>
                  <a:lnTo>
                    <a:pt x="753" y="1758"/>
                  </a:lnTo>
                  <a:lnTo>
                    <a:pt x="691" y="1737"/>
                  </a:lnTo>
                  <a:lnTo>
                    <a:pt x="586" y="1925"/>
                  </a:lnTo>
                  <a:lnTo>
                    <a:pt x="628" y="1925"/>
                  </a:lnTo>
                  <a:lnTo>
                    <a:pt x="523" y="2051"/>
                  </a:lnTo>
                  <a:lnTo>
                    <a:pt x="335" y="2176"/>
                  </a:lnTo>
                  <a:lnTo>
                    <a:pt x="419" y="2176"/>
                  </a:lnTo>
                  <a:lnTo>
                    <a:pt x="523" y="2134"/>
                  </a:lnTo>
                  <a:lnTo>
                    <a:pt x="586" y="2155"/>
                  </a:lnTo>
                  <a:lnTo>
                    <a:pt x="732" y="2155"/>
                  </a:lnTo>
                  <a:lnTo>
                    <a:pt x="816" y="2072"/>
                  </a:lnTo>
                  <a:lnTo>
                    <a:pt x="816" y="2092"/>
                  </a:lnTo>
                  <a:lnTo>
                    <a:pt x="942" y="2134"/>
                  </a:lnTo>
                  <a:lnTo>
                    <a:pt x="691" y="2176"/>
                  </a:lnTo>
                  <a:lnTo>
                    <a:pt x="502" y="2197"/>
                  </a:lnTo>
                  <a:lnTo>
                    <a:pt x="440" y="2281"/>
                  </a:lnTo>
                  <a:lnTo>
                    <a:pt x="314" y="2302"/>
                  </a:lnTo>
                  <a:lnTo>
                    <a:pt x="377" y="2364"/>
                  </a:lnTo>
                  <a:lnTo>
                    <a:pt x="335" y="2406"/>
                  </a:lnTo>
                  <a:lnTo>
                    <a:pt x="398" y="2448"/>
                  </a:lnTo>
                  <a:lnTo>
                    <a:pt x="293" y="2469"/>
                  </a:lnTo>
                  <a:lnTo>
                    <a:pt x="209" y="2385"/>
                  </a:lnTo>
                  <a:lnTo>
                    <a:pt x="188" y="2448"/>
                  </a:lnTo>
                  <a:lnTo>
                    <a:pt x="168" y="2406"/>
                  </a:lnTo>
                  <a:lnTo>
                    <a:pt x="0" y="2490"/>
                  </a:lnTo>
                  <a:lnTo>
                    <a:pt x="21" y="2511"/>
                  </a:lnTo>
                  <a:lnTo>
                    <a:pt x="398" y="2511"/>
                  </a:lnTo>
                  <a:lnTo>
                    <a:pt x="272" y="2595"/>
                  </a:lnTo>
                  <a:lnTo>
                    <a:pt x="105" y="2657"/>
                  </a:lnTo>
                  <a:lnTo>
                    <a:pt x="63" y="2762"/>
                  </a:lnTo>
                  <a:lnTo>
                    <a:pt x="168" y="2762"/>
                  </a:lnTo>
                  <a:lnTo>
                    <a:pt x="188" y="2825"/>
                  </a:lnTo>
                  <a:lnTo>
                    <a:pt x="440" y="2762"/>
                  </a:lnTo>
                  <a:lnTo>
                    <a:pt x="440" y="2762"/>
                  </a:lnTo>
                  <a:lnTo>
                    <a:pt x="230" y="2888"/>
                  </a:lnTo>
                  <a:lnTo>
                    <a:pt x="168" y="2929"/>
                  </a:lnTo>
                  <a:lnTo>
                    <a:pt x="314" y="2929"/>
                  </a:lnTo>
                  <a:lnTo>
                    <a:pt x="502" y="2825"/>
                  </a:lnTo>
                  <a:lnTo>
                    <a:pt x="481" y="2908"/>
                  </a:lnTo>
                  <a:lnTo>
                    <a:pt x="314" y="2992"/>
                  </a:lnTo>
                  <a:lnTo>
                    <a:pt x="419" y="2992"/>
                  </a:lnTo>
                  <a:lnTo>
                    <a:pt x="398" y="3034"/>
                  </a:lnTo>
                  <a:lnTo>
                    <a:pt x="398" y="3034"/>
                  </a:lnTo>
                  <a:lnTo>
                    <a:pt x="523" y="3013"/>
                  </a:lnTo>
                  <a:lnTo>
                    <a:pt x="607" y="3076"/>
                  </a:lnTo>
                  <a:lnTo>
                    <a:pt x="795" y="3034"/>
                  </a:lnTo>
                  <a:lnTo>
                    <a:pt x="963" y="2992"/>
                  </a:lnTo>
                  <a:lnTo>
                    <a:pt x="1130" y="2888"/>
                  </a:lnTo>
                  <a:lnTo>
                    <a:pt x="1067" y="2783"/>
                  </a:lnTo>
                  <a:lnTo>
                    <a:pt x="1172" y="2783"/>
                  </a:lnTo>
                  <a:lnTo>
                    <a:pt x="1151" y="2867"/>
                  </a:lnTo>
                  <a:lnTo>
                    <a:pt x="1256" y="2867"/>
                  </a:lnTo>
                  <a:lnTo>
                    <a:pt x="1360" y="2720"/>
                  </a:lnTo>
                  <a:lnTo>
                    <a:pt x="1444" y="2762"/>
                  </a:lnTo>
                  <a:lnTo>
                    <a:pt x="1465" y="2657"/>
                  </a:lnTo>
                  <a:lnTo>
                    <a:pt x="1800" y="2595"/>
                  </a:lnTo>
                  <a:lnTo>
                    <a:pt x="1841" y="2511"/>
                  </a:lnTo>
                  <a:lnTo>
                    <a:pt x="1862" y="2616"/>
                  </a:lnTo>
                  <a:lnTo>
                    <a:pt x="1946" y="2553"/>
                  </a:lnTo>
                  <a:lnTo>
                    <a:pt x="2009" y="2574"/>
                  </a:lnTo>
                  <a:lnTo>
                    <a:pt x="2176" y="2574"/>
                  </a:lnTo>
                  <a:lnTo>
                    <a:pt x="2072" y="2406"/>
                  </a:lnTo>
                  <a:lnTo>
                    <a:pt x="2155" y="2385"/>
                  </a:lnTo>
                  <a:lnTo>
                    <a:pt x="2218" y="2281"/>
                  </a:lnTo>
                  <a:lnTo>
                    <a:pt x="2218" y="2176"/>
                  </a:lnTo>
                  <a:lnTo>
                    <a:pt x="2302" y="2072"/>
                  </a:lnTo>
                  <a:lnTo>
                    <a:pt x="2323" y="1967"/>
                  </a:lnTo>
                  <a:lnTo>
                    <a:pt x="2302" y="1716"/>
                  </a:lnTo>
                  <a:lnTo>
                    <a:pt x="2218" y="1674"/>
                  </a:lnTo>
                  <a:lnTo>
                    <a:pt x="2302" y="1632"/>
                  </a:lnTo>
                  <a:lnTo>
                    <a:pt x="2302" y="1507"/>
                  </a:lnTo>
                  <a:lnTo>
                    <a:pt x="2218" y="1402"/>
                  </a:lnTo>
                  <a:lnTo>
                    <a:pt x="2260" y="1256"/>
                  </a:lnTo>
                  <a:lnTo>
                    <a:pt x="2176" y="1214"/>
                  </a:lnTo>
                  <a:lnTo>
                    <a:pt x="2197" y="1130"/>
                  </a:lnTo>
                  <a:lnTo>
                    <a:pt x="2281" y="1151"/>
                  </a:lnTo>
                  <a:lnTo>
                    <a:pt x="2281" y="1151"/>
                  </a:lnTo>
                  <a:lnTo>
                    <a:pt x="2155" y="1088"/>
                  </a:lnTo>
                  <a:lnTo>
                    <a:pt x="2072" y="1046"/>
                  </a:lnTo>
                  <a:lnTo>
                    <a:pt x="1967" y="837"/>
                  </a:lnTo>
                  <a:lnTo>
                    <a:pt x="1800" y="732"/>
                  </a:lnTo>
                  <a:lnTo>
                    <a:pt x="1737" y="795"/>
                  </a:lnTo>
                  <a:lnTo>
                    <a:pt x="1695" y="942"/>
                  </a:lnTo>
                  <a:lnTo>
                    <a:pt x="1632" y="984"/>
                  </a:lnTo>
                  <a:lnTo>
                    <a:pt x="1360" y="732"/>
                  </a:lnTo>
                  <a:lnTo>
                    <a:pt x="1486" y="502"/>
                  </a:lnTo>
                  <a:lnTo>
                    <a:pt x="1632" y="481"/>
                  </a:lnTo>
                  <a:lnTo>
                    <a:pt x="1653" y="377"/>
                  </a:lnTo>
                  <a:lnTo>
                    <a:pt x="1737" y="356"/>
                  </a:lnTo>
                  <a:lnTo>
                    <a:pt x="1779" y="272"/>
                  </a:lnTo>
                  <a:lnTo>
                    <a:pt x="1737" y="293"/>
                  </a:lnTo>
                  <a:lnTo>
                    <a:pt x="1737" y="293"/>
                  </a:lnTo>
                  <a:lnTo>
                    <a:pt x="1841" y="188"/>
                  </a:lnTo>
                  <a:lnTo>
                    <a:pt x="1946" y="147"/>
                  </a:lnTo>
                  <a:lnTo>
                    <a:pt x="1841" y="84"/>
                  </a:lnTo>
                  <a:lnTo>
                    <a:pt x="173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02" name="Google Shape;12169;p43">
              <a:extLst>
                <a:ext uri="{FF2B5EF4-FFF2-40B4-BE49-F238E27FC236}">
                  <a16:creationId xmlns:a16="http://schemas.microsoft.com/office/drawing/2014/main" id="{7486DF43-2DFB-28EA-2BBB-BA000C134DEC}"/>
                </a:ext>
              </a:extLst>
            </p:cNvPr>
            <p:cNvGrpSpPr/>
            <p:nvPr/>
          </p:nvGrpSpPr>
          <p:grpSpPr>
            <a:xfrm>
              <a:off x="3697513" y="2707266"/>
              <a:ext cx="59549" cy="79733"/>
              <a:chOff x="3586375" y="2281300"/>
              <a:chExt cx="125025" cy="175275"/>
            </a:xfrm>
          </p:grpSpPr>
          <p:sp>
            <p:nvSpPr>
              <p:cNvPr id="216" name="Google Shape;12170;p43">
                <a:extLst>
                  <a:ext uri="{FF2B5EF4-FFF2-40B4-BE49-F238E27FC236}">
                    <a16:creationId xmlns:a16="http://schemas.microsoft.com/office/drawing/2014/main" id="{C9D03103-32F6-72BE-C428-4729FBD96566}"/>
                  </a:ext>
                </a:extLst>
              </p:cNvPr>
              <p:cNvSpPr/>
              <p:nvPr/>
            </p:nvSpPr>
            <p:spPr>
              <a:xfrm>
                <a:off x="3609900" y="2281300"/>
                <a:ext cx="101500" cy="175275"/>
              </a:xfrm>
              <a:custGeom>
                <a:avLst/>
                <a:gdLst/>
                <a:ahLst/>
                <a:cxnLst/>
                <a:rect l="l" t="t" r="r" b="b"/>
                <a:pathLst>
                  <a:path w="4060" h="7011" extrusionOk="0">
                    <a:moveTo>
                      <a:pt x="1340" y="1"/>
                    </a:moveTo>
                    <a:lnTo>
                      <a:pt x="1277" y="63"/>
                    </a:lnTo>
                    <a:lnTo>
                      <a:pt x="1235" y="42"/>
                    </a:lnTo>
                    <a:lnTo>
                      <a:pt x="1110" y="84"/>
                    </a:lnTo>
                    <a:lnTo>
                      <a:pt x="1026" y="84"/>
                    </a:lnTo>
                    <a:lnTo>
                      <a:pt x="921" y="105"/>
                    </a:lnTo>
                    <a:lnTo>
                      <a:pt x="859" y="105"/>
                    </a:lnTo>
                    <a:lnTo>
                      <a:pt x="838" y="168"/>
                    </a:lnTo>
                    <a:lnTo>
                      <a:pt x="838" y="105"/>
                    </a:lnTo>
                    <a:lnTo>
                      <a:pt x="796" y="84"/>
                    </a:lnTo>
                    <a:lnTo>
                      <a:pt x="712" y="168"/>
                    </a:lnTo>
                    <a:lnTo>
                      <a:pt x="733" y="105"/>
                    </a:lnTo>
                    <a:lnTo>
                      <a:pt x="608" y="42"/>
                    </a:lnTo>
                    <a:lnTo>
                      <a:pt x="587" y="105"/>
                    </a:lnTo>
                    <a:lnTo>
                      <a:pt x="524" y="168"/>
                    </a:lnTo>
                    <a:lnTo>
                      <a:pt x="545" y="231"/>
                    </a:lnTo>
                    <a:lnTo>
                      <a:pt x="524" y="231"/>
                    </a:lnTo>
                    <a:lnTo>
                      <a:pt x="524" y="314"/>
                    </a:lnTo>
                    <a:lnTo>
                      <a:pt x="419" y="356"/>
                    </a:lnTo>
                    <a:lnTo>
                      <a:pt x="482" y="419"/>
                    </a:lnTo>
                    <a:lnTo>
                      <a:pt x="440" y="503"/>
                    </a:lnTo>
                    <a:lnTo>
                      <a:pt x="398" y="503"/>
                    </a:lnTo>
                    <a:lnTo>
                      <a:pt x="503" y="607"/>
                    </a:lnTo>
                    <a:lnTo>
                      <a:pt x="545" y="670"/>
                    </a:lnTo>
                    <a:lnTo>
                      <a:pt x="419" y="607"/>
                    </a:lnTo>
                    <a:lnTo>
                      <a:pt x="398" y="670"/>
                    </a:lnTo>
                    <a:lnTo>
                      <a:pt x="315" y="587"/>
                    </a:lnTo>
                    <a:lnTo>
                      <a:pt x="294" y="628"/>
                    </a:lnTo>
                    <a:lnTo>
                      <a:pt x="315" y="691"/>
                    </a:lnTo>
                    <a:lnTo>
                      <a:pt x="294" y="733"/>
                    </a:lnTo>
                    <a:lnTo>
                      <a:pt x="273" y="628"/>
                    </a:lnTo>
                    <a:lnTo>
                      <a:pt x="210" y="733"/>
                    </a:lnTo>
                    <a:lnTo>
                      <a:pt x="273" y="796"/>
                    </a:lnTo>
                    <a:lnTo>
                      <a:pt x="210" y="817"/>
                    </a:lnTo>
                    <a:lnTo>
                      <a:pt x="294" y="900"/>
                    </a:lnTo>
                    <a:lnTo>
                      <a:pt x="336" y="900"/>
                    </a:lnTo>
                    <a:lnTo>
                      <a:pt x="294" y="942"/>
                    </a:lnTo>
                    <a:lnTo>
                      <a:pt x="210" y="900"/>
                    </a:lnTo>
                    <a:lnTo>
                      <a:pt x="210" y="1026"/>
                    </a:lnTo>
                    <a:lnTo>
                      <a:pt x="210" y="1047"/>
                    </a:lnTo>
                    <a:lnTo>
                      <a:pt x="377" y="1026"/>
                    </a:lnTo>
                    <a:lnTo>
                      <a:pt x="273" y="1089"/>
                    </a:lnTo>
                    <a:lnTo>
                      <a:pt x="273" y="1110"/>
                    </a:lnTo>
                    <a:lnTo>
                      <a:pt x="294" y="1131"/>
                    </a:lnTo>
                    <a:lnTo>
                      <a:pt x="377" y="1110"/>
                    </a:lnTo>
                    <a:lnTo>
                      <a:pt x="336" y="1131"/>
                    </a:lnTo>
                    <a:lnTo>
                      <a:pt x="398" y="1151"/>
                    </a:lnTo>
                    <a:lnTo>
                      <a:pt x="398" y="1151"/>
                    </a:lnTo>
                    <a:lnTo>
                      <a:pt x="315" y="1131"/>
                    </a:lnTo>
                    <a:lnTo>
                      <a:pt x="294" y="1151"/>
                    </a:lnTo>
                    <a:lnTo>
                      <a:pt x="294" y="1214"/>
                    </a:lnTo>
                    <a:lnTo>
                      <a:pt x="315" y="1235"/>
                    </a:lnTo>
                    <a:lnTo>
                      <a:pt x="273" y="1256"/>
                    </a:lnTo>
                    <a:lnTo>
                      <a:pt x="231" y="1319"/>
                    </a:lnTo>
                    <a:lnTo>
                      <a:pt x="294" y="1319"/>
                    </a:lnTo>
                    <a:lnTo>
                      <a:pt x="294" y="1361"/>
                    </a:lnTo>
                    <a:lnTo>
                      <a:pt x="210" y="1340"/>
                    </a:lnTo>
                    <a:lnTo>
                      <a:pt x="189" y="1403"/>
                    </a:lnTo>
                    <a:lnTo>
                      <a:pt x="210" y="1444"/>
                    </a:lnTo>
                    <a:lnTo>
                      <a:pt x="189" y="1465"/>
                    </a:lnTo>
                    <a:lnTo>
                      <a:pt x="168" y="1528"/>
                    </a:lnTo>
                    <a:lnTo>
                      <a:pt x="63" y="1528"/>
                    </a:lnTo>
                    <a:lnTo>
                      <a:pt x="1" y="1549"/>
                    </a:lnTo>
                    <a:lnTo>
                      <a:pt x="63" y="1570"/>
                    </a:lnTo>
                    <a:lnTo>
                      <a:pt x="126" y="1570"/>
                    </a:lnTo>
                    <a:lnTo>
                      <a:pt x="189" y="1612"/>
                    </a:lnTo>
                    <a:lnTo>
                      <a:pt x="168" y="1633"/>
                    </a:lnTo>
                    <a:lnTo>
                      <a:pt x="105" y="1633"/>
                    </a:lnTo>
                    <a:lnTo>
                      <a:pt x="189" y="1716"/>
                    </a:lnTo>
                    <a:lnTo>
                      <a:pt x="210" y="1716"/>
                    </a:lnTo>
                    <a:lnTo>
                      <a:pt x="273" y="1737"/>
                    </a:lnTo>
                    <a:lnTo>
                      <a:pt x="503" y="1507"/>
                    </a:lnTo>
                    <a:lnTo>
                      <a:pt x="482" y="1570"/>
                    </a:lnTo>
                    <a:lnTo>
                      <a:pt x="503" y="1612"/>
                    </a:lnTo>
                    <a:lnTo>
                      <a:pt x="419" y="1633"/>
                    </a:lnTo>
                    <a:lnTo>
                      <a:pt x="377" y="1758"/>
                    </a:lnTo>
                    <a:lnTo>
                      <a:pt x="377" y="1779"/>
                    </a:lnTo>
                    <a:lnTo>
                      <a:pt x="315" y="1947"/>
                    </a:lnTo>
                    <a:lnTo>
                      <a:pt x="336" y="1947"/>
                    </a:lnTo>
                    <a:lnTo>
                      <a:pt x="294" y="2135"/>
                    </a:lnTo>
                    <a:lnTo>
                      <a:pt x="294" y="2239"/>
                    </a:lnTo>
                    <a:lnTo>
                      <a:pt x="231" y="2281"/>
                    </a:lnTo>
                    <a:lnTo>
                      <a:pt x="294" y="2323"/>
                    </a:lnTo>
                    <a:lnTo>
                      <a:pt x="315" y="2302"/>
                    </a:lnTo>
                    <a:lnTo>
                      <a:pt x="231" y="2449"/>
                    </a:lnTo>
                    <a:lnTo>
                      <a:pt x="231" y="2595"/>
                    </a:lnTo>
                    <a:lnTo>
                      <a:pt x="189" y="2658"/>
                    </a:lnTo>
                    <a:lnTo>
                      <a:pt x="189" y="2700"/>
                    </a:lnTo>
                    <a:lnTo>
                      <a:pt x="315" y="2700"/>
                    </a:lnTo>
                    <a:lnTo>
                      <a:pt x="294" y="2595"/>
                    </a:lnTo>
                    <a:lnTo>
                      <a:pt x="336" y="2491"/>
                    </a:lnTo>
                    <a:lnTo>
                      <a:pt x="336" y="2407"/>
                    </a:lnTo>
                    <a:lnTo>
                      <a:pt x="398" y="2323"/>
                    </a:lnTo>
                    <a:lnTo>
                      <a:pt x="336" y="2135"/>
                    </a:lnTo>
                    <a:lnTo>
                      <a:pt x="398" y="2135"/>
                    </a:lnTo>
                    <a:lnTo>
                      <a:pt x="545" y="1947"/>
                    </a:lnTo>
                    <a:lnTo>
                      <a:pt x="440" y="2135"/>
                    </a:lnTo>
                    <a:lnTo>
                      <a:pt x="419" y="2239"/>
                    </a:lnTo>
                    <a:lnTo>
                      <a:pt x="482" y="2260"/>
                    </a:lnTo>
                    <a:lnTo>
                      <a:pt x="482" y="2198"/>
                    </a:lnTo>
                    <a:lnTo>
                      <a:pt x="545" y="2135"/>
                    </a:lnTo>
                    <a:lnTo>
                      <a:pt x="587" y="2260"/>
                    </a:lnTo>
                    <a:lnTo>
                      <a:pt x="628" y="2135"/>
                    </a:lnTo>
                    <a:lnTo>
                      <a:pt x="628" y="2030"/>
                    </a:lnTo>
                    <a:lnTo>
                      <a:pt x="691" y="1988"/>
                    </a:lnTo>
                    <a:lnTo>
                      <a:pt x="649" y="2135"/>
                    </a:lnTo>
                    <a:lnTo>
                      <a:pt x="754" y="2198"/>
                    </a:lnTo>
                    <a:lnTo>
                      <a:pt x="649" y="2177"/>
                    </a:lnTo>
                    <a:lnTo>
                      <a:pt x="628" y="2323"/>
                    </a:lnTo>
                    <a:lnTo>
                      <a:pt x="649" y="2449"/>
                    </a:lnTo>
                    <a:lnTo>
                      <a:pt x="712" y="2470"/>
                    </a:lnTo>
                    <a:lnTo>
                      <a:pt x="754" y="2574"/>
                    </a:lnTo>
                    <a:lnTo>
                      <a:pt x="649" y="2658"/>
                    </a:lnTo>
                    <a:lnTo>
                      <a:pt x="587" y="2909"/>
                    </a:lnTo>
                    <a:lnTo>
                      <a:pt x="587" y="3014"/>
                    </a:lnTo>
                    <a:lnTo>
                      <a:pt x="503" y="2972"/>
                    </a:lnTo>
                    <a:lnTo>
                      <a:pt x="503" y="3097"/>
                    </a:lnTo>
                    <a:lnTo>
                      <a:pt x="628" y="3244"/>
                    </a:lnTo>
                    <a:lnTo>
                      <a:pt x="587" y="3097"/>
                    </a:lnTo>
                    <a:lnTo>
                      <a:pt x="649" y="3076"/>
                    </a:lnTo>
                    <a:lnTo>
                      <a:pt x="859" y="3223"/>
                    </a:lnTo>
                    <a:lnTo>
                      <a:pt x="859" y="3097"/>
                    </a:lnTo>
                    <a:lnTo>
                      <a:pt x="796" y="3035"/>
                    </a:lnTo>
                    <a:lnTo>
                      <a:pt x="838" y="3014"/>
                    </a:lnTo>
                    <a:lnTo>
                      <a:pt x="1005" y="3118"/>
                    </a:lnTo>
                    <a:lnTo>
                      <a:pt x="1131" y="3118"/>
                    </a:lnTo>
                    <a:lnTo>
                      <a:pt x="1131" y="3076"/>
                    </a:lnTo>
                    <a:lnTo>
                      <a:pt x="1235" y="3076"/>
                    </a:lnTo>
                    <a:lnTo>
                      <a:pt x="1256" y="2972"/>
                    </a:lnTo>
                    <a:lnTo>
                      <a:pt x="1549" y="2993"/>
                    </a:lnTo>
                    <a:lnTo>
                      <a:pt x="1361" y="3014"/>
                    </a:lnTo>
                    <a:lnTo>
                      <a:pt x="1235" y="3348"/>
                    </a:lnTo>
                    <a:lnTo>
                      <a:pt x="1382" y="3620"/>
                    </a:lnTo>
                    <a:lnTo>
                      <a:pt x="1444" y="3558"/>
                    </a:lnTo>
                    <a:lnTo>
                      <a:pt x="1444" y="3704"/>
                    </a:lnTo>
                    <a:lnTo>
                      <a:pt x="1549" y="3600"/>
                    </a:lnTo>
                    <a:lnTo>
                      <a:pt x="1654" y="3600"/>
                    </a:lnTo>
                    <a:lnTo>
                      <a:pt x="1633" y="3746"/>
                    </a:lnTo>
                    <a:lnTo>
                      <a:pt x="1654" y="3767"/>
                    </a:lnTo>
                    <a:lnTo>
                      <a:pt x="1549" y="3851"/>
                    </a:lnTo>
                    <a:lnTo>
                      <a:pt x="1570" y="4018"/>
                    </a:lnTo>
                    <a:lnTo>
                      <a:pt x="1528" y="4123"/>
                    </a:lnTo>
                    <a:lnTo>
                      <a:pt x="1570" y="4227"/>
                    </a:lnTo>
                    <a:lnTo>
                      <a:pt x="1654" y="4290"/>
                    </a:lnTo>
                    <a:lnTo>
                      <a:pt x="1737" y="4290"/>
                    </a:lnTo>
                    <a:lnTo>
                      <a:pt x="1675" y="4332"/>
                    </a:lnTo>
                    <a:lnTo>
                      <a:pt x="1591" y="4332"/>
                    </a:lnTo>
                    <a:lnTo>
                      <a:pt x="1549" y="4248"/>
                    </a:lnTo>
                    <a:lnTo>
                      <a:pt x="1465" y="4269"/>
                    </a:lnTo>
                    <a:lnTo>
                      <a:pt x="1528" y="4353"/>
                    </a:lnTo>
                    <a:lnTo>
                      <a:pt x="1591" y="4395"/>
                    </a:lnTo>
                    <a:lnTo>
                      <a:pt x="1486" y="4374"/>
                    </a:lnTo>
                    <a:lnTo>
                      <a:pt x="1424" y="4290"/>
                    </a:lnTo>
                    <a:lnTo>
                      <a:pt x="1235" y="4353"/>
                    </a:lnTo>
                    <a:lnTo>
                      <a:pt x="1152" y="4353"/>
                    </a:lnTo>
                    <a:lnTo>
                      <a:pt x="963" y="4436"/>
                    </a:lnTo>
                    <a:lnTo>
                      <a:pt x="859" y="4583"/>
                    </a:lnTo>
                    <a:lnTo>
                      <a:pt x="733" y="4667"/>
                    </a:lnTo>
                    <a:lnTo>
                      <a:pt x="691" y="4750"/>
                    </a:lnTo>
                    <a:lnTo>
                      <a:pt x="817" y="4750"/>
                    </a:lnTo>
                    <a:lnTo>
                      <a:pt x="817" y="4688"/>
                    </a:lnTo>
                    <a:lnTo>
                      <a:pt x="1026" y="4646"/>
                    </a:lnTo>
                    <a:lnTo>
                      <a:pt x="1005" y="4750"/>
                    </a:lnTo>
                    <a:lnTo>
                      <a:pt x="1068" y="4813"/>
                    </a:lnTo>
                    <a:lnTo>
                      <a:pt x="1005" y="4876"/>
                    </a:lnTo>
                    <a:lnTo>
                      <a:pt x="1026" y="4960"/>
                    </a:lnTo>
                    <a:lnTo>
                      <a:pt x="1068" y="4960"/>
                    </a:lnTo>
                    <a:lnTo>
                      <a:pt x="942" y="5190"/>
                    </a:lnTo>
                    <a:lnTo>
                      <a:pt x="859" y="5232"/>
                    </a:lnTo>
                    <a:lnTo>
                      <a:pt x="754" y="5294"/>
                    </a:lnTo>
                    <a:lnTo>
                      <a:pt x="733" y="5294"/>
                    </a:lnTo>
                    <a:lnTo>
                      <a:pt x="608" y="5378"/>
                    </a:lnTo>
                    <a:lnTo>
                      <a:pt x="524" y="5378"/>
                    </a:lnTo>
                    <a:lnTo>
                      <a:pt x="398" y="5483"/>
                    </a:lnTo>
                    <a:lnTo>
                      <a:pt x="503" y="5483"/>
                    </a:lnTo>
                    <a:lnTo>
                      <a:pt x="503" y="5545"/>
                    </a:lnTo>
                    <a:lnTo>
                      <a:pt x="419" y="5608"/>
                    </a:lnTo>
                    <a:lnTo>
                      <a:pt x="545" y="5629"/>
                    </a:lnTo>
                    <a:lnTo>
                      <a:pt x="524" y="5650"/>
                    </a:lnTo>
                    <a:lnTo>
                      <a:pt x="587" y="5692"/>
                    </a:lnTo>
                    <a:lnTo>
                      <a:pt x="649" y="5650"/>
                    </a:lnTo>
                    <a:lnTo>
                      <a:pt x="754" y="5608"/>
                    </a:lnTo>
                    <a:lnTo>
                      <a:pt x="900" y="5545"/>
                    </a:lnTo>
                    <a:lnTo>
                      <a:pt x="921" y="5629"/>
                    </a:lnTo>
                    <a:lnTo>
                      <a:pt x="1026" y="5650"/>
                    </a:lnTo>
                    <a:lnTo>
                      <a:pt x="942" y="5692"/>
                    </a:lnTo>
                    <a:lnTo>
                      <a:pt x="921" y="5734"/>
                    </a:lnTo>
                    <a:lnTo>
                      <a:pt x="1068" y="5734"/>
                    </a:lnTo>
                    <a:lnTo>
                      <a:pt x="1068" y="5713"/>
                    </a:lnTo>
                    <a:lnTo>
                      <a:pt x="1152" y="5692"/>
                    </a:lnTo>
                    <a:lnTo>
                      <a:pt x="1256" y="5796"/>
                    </a:lnTo>
                    <a:lnTo>
                      <a:pt x="1319" y="5859"/>
                    </a:lnTo>
                    <a:lnTo>
                      <a:pt x="1486" y="5859"/>
                    </a:lnTo>
                    <a:lnTo>
                      <a:pt x="1549" y="5796"/>
                    </a:lnTo>
                    <a:lnTo>
                      <a:pt x="1633" y="5755"/>
                    </a:lnTo>
                    <a:lnTo>
                      <a:pt x="1758" y="5713"/>
                    </a:lnTo>
                    <a:lnTo>
                      <a:pt x="1800" y="5650"/>
                    </a:lnTo>
                    <a:lnTo>
                      <a:pt x="1905" y="5608"/>
                    </a:lnTo>
                    <a:lnTo>
                      <a:pt x="1758" y="5755"/>
                    </a:lnTo>
                    <a:lnTo>
                      <a:pt x="1633" y="5901"/>
                    </a:lnTo>
                    <a:lnTo>
                      <a:pt x="1633" y="6048"/>
                    </a:lnTo>
                    <a:lnTo>
                      <a:pt x="1528" y="6048"/>
                    </a:lnTo>
                    <a:lnTo>
                      <a:pt x="1444" y="6068"/>
                    </a:lnTo>
                    <a:lnTo>
                      <a:pt x="1361" y="6027"/>
                    </a:lnTo>
                    <a:lnTo>
                      <a:pt x="1131" y="6006"/>
                    </a:lnTo>
                    <a:lnTo>
                      <a:pt x="963" y="6048"/>
                    </a:lnTo>
                    <a:lnTo>
                      <a:pt x="963" y="6131"/>
                    </a:lnTo>
                    <a:lnTo>
                      <a:pt x="900" y="6215"/>
                    </a:lnTo>
                    <a:lnTo>
                      <a:pt x="796" y="6215"/>
                    </a:lnTo>
                    <a:lnTo>
                      <a:pt x="796" y="6382"/>
                    </a:lnTo>
                    <a:lnTo>
                      <a:pt x="691" y="6487"/>
                    </a:lnTo>
                    <a:lnTo>
                      <a:pt x="649" y="6550"/>
                    </a:lnTo>
                    <a:lnTo>
                      <a:pt x="545" y="6550"/>
                    </a:lnTo>
                    <a:lnTo>
                      <a:pt x="524" y="6675"/>
                    </a:lnTo>
                    <a:lnTo>
                      <a:pt x="482" y="6675"/>
                    </a:lnTo>
                    <a:lnTo>
                      <a:pt x="440" y="6738"/>
                    </a:lnTo>
                    <a:lnTo>
                      <a:pt x="315" y="6843"/>
                    </a:lnTo>
                    <a:lnTo>
                      <a:pt x="231" y="6801"/>
                    </a:lnTo>
                    <a:lnTo>
                      <a:pt x="168" y="6864"/>
                    </a:lnTo>
                    <a:lnTo>
                      <a:pt x="168" y="6968"/>
                    </a:lnTo>
                    <a:lnTo>
                      <a:pt x="273" y="6968"/>
                    </a:lnTo>
                    <a:lnTo>
                      <a:pt x="273" y="6885"/>
                    </a:lnTo>
                    <a:lnTo>
                      <a:pt x="377" y="6905"/>
                    </a:lnTo>
                    <a:lnTo>
                      <a:pt x="419" y="7010"/>
                    </a:lnTo>
                    <a:lnTo>
                      <a:pt x="503" y="6968"/>
                    </a:lnTo>
                    <a:lnTo>
                      <a:pt x="482" y="6905"/>
                    </a:lnTo>
                    <a:lnTo>
                      <a:pt x="524" y="6843"/>
                    </a:lnTo>
                    <a:lnTo>
                      <a:pt x="545" y="6864"/>
                    </a:lnTo>
                    <a:lnTo>
                      <a:pt x="628" y="6801"/>
                    </a:lnTo>
                    <a:lnTo>
                      <a:pt x="649" y="6801"/>
                    </a:lnTo>
                    <a:lnTo>
                      <a:pt x="712" y="6696"/>
                    </a:lnTo>
                    <a:lnTo>
                      <a:pt x="817" y="6759"/>
                    </a:lnTo>
                    <a:lnTo>
                      <a:pt x="900" y="6696"/>
                    </a:lnTo>
                    <a:lnTo>
                      <a:pt x="963" y="6738"/>
                    </a:lnTo>
                    <a:lnTo>
                      <a:pt x="1005" y="6696"/>
                    </a:lnTo>
                    <a:lnTo>
                      <a:pt x="1047" y="6759"/>
                    </a:lnTo>
                    <a:lnTo>
                      <a:pt x="1110" y="6759"/>
                    </a:lnTo>
                    <a:lnTo>
                      <a:pt x="1172" y="6801"/>
                    </a:lnTo>
                    <a:lnTo>
                      <a:pt x="1277" y="6801"/>
                    </a:lnTo>
                    <a:lnTo>
                      <a:pt x="1256" y="6759"/>
                    </a:lnTo>
                    <a:lnTo>
                      <a:pt x="1340" y="6738"/>
                    </a:lnTo>
                    <a:lnTo>
                      <a:pt x="1361" y="6654"/>
                    </a:lnTo>
                    <a:lnTo>
                      <a:pt x="1340" y="6571"/>
                    </a:lnTo>
                    <a:lnTo>
                      <a:pt x="1382" y="6487"/>
                    </a:lnTo>
                    <a:lnTo>
                      <a:pt x="1444" y="6487"/>
                    </a:lnTo>
                    <a:lnTo>
                      <a:pt x="1465" y="6445"/>
                    </a:lnTo>
                    <a:lnTo>
                      <a:pt x="1675" y="6424"/>
                    </a:lnTo>
                    <a:lnTo>
                      <a:pt x="1779" y="6424"/>
                    </a:lnTo>
                    <a:lnTo>
                      <a:pt x="1905" y="6487"/>
                    </a:lnTo>
                    <a:lnTo>
                      <a:pt x="2093" y="6487"/>
                    </a:lnTo>
                    <a:lnTo>
                      <a:pt x="2177" y="6529"/>
                    </a:lnTo>
                    <a:lnTo>
                      <a:pt x="2198" y="6445"/>
                    </a:lnTo>
                    <a:lnTo>
                      <a:pt x="2323" y="6361"/>
                    </a:lnTo>
                    <a:lnTo>
                      <a:pt x="2407" y="6382"/>
                    </a:lnTo>
                    <a:lnTo>
                      <a:pt x="2512" y="6320"/>
                    </a:lnTo>
                    <a:lnTo>
                      <a:pt x="2616" y="6340"/>
                    </a:lnTo>
                    <a:lnTo>
                      <a:pt x="2637" y="6320"/>
                    </a:lnTo>
                    <a:lnTo>
                      <a:pt x="2721" y="6278"/>
                    </a:lnTo>
                    <a:lnTo>
                      <a:pt x="2721" y="6320"/>
                    </a:lnTo>
                    <a:lnTo>
                      <a:pt x="2804" y="6361"/>
                    </a:lnTo>
                    <a:lnTo>
                      <a:pt x="2888" y="6320"/>
                    </a:lnTo>
                    <a:lnTo>
                      <a:pt x="3056" y="6320"/>
                    </a:lnTo>
                    <a:lnTo>
                      <a:pt x="3202" y="6278"/>
                    </a:lnTo>
                    <a:lnTo>
                      <a:pt x="3307" y="6320"/>
                    </a:lnTo>
                    <a:lnTo>
                      <a:pt x="3349" y="6340"/>
                    </a:lnTo>
                    <a:lnTo>
                      <a:pt x="3453" y="6257"/>
                    </a:lnTo>
                    <a:lnTo>
                      <a:pt x="3537" y="6236"/>
                    </a:lnTo>
                    <a:lnTo>
                      <a:pt x="3621" y="6152"/>
                    </a:lnTo>
                    <a:lnTo>
                      <a:pt x="3683" y="6152"/>
                    </a:lnTo>
                    <a:lnTo>
                      <a:pt x="3746" y="6173"/>
                    </a:lnTo>
                    <a:lnTo>
                      <a:pt x="3725" y="6110"/>
                    </a:lnTo>
                    <a:lnTo>
                      <a:pt x="3851" y="6027"/>
                    </a:lnTo>
                    <a:lnTo>
                      <a:pt x="3955" y="6006"/>
                    </a:lnTo>
                    <a:lnTo>
                      <a:pt x="3955" y="5922"/>
                    </a:lnTo>
                    <a:lnTo>
                      <a:pt x="3934" y="5859"/>
                    </a:lnTo>
                    <a:lnTo>
                      <a:pt x="3955" y="5796"/>
                    </a:lnTo>
                    <a:lnTo>
                      <a:pt x="3788" y="5796"/>
                    </a:lnTo>
                    <a:lnTo>
                      <a:pt x="3683" y="5838"/>
                    </a:lnTo>
                    <a:lnTo>
                      <a:pt x="3641" y="5838"/>
                    </a:lnTo>
                    <a:lnTo>
                      <a:pt x="3537" y="5817"/>
                    </a:lnTo>
                    <a:lnTo>
                      <a:pt x="3474" y="5796"/>
                    </a:lnTo>
                    <a:lnTo>
                      <a:pt x="3537" y="5755"/>
                    </a:lnTo>
                    <a:lnTo>
                      <a:pt x="3558" y="5755"/>
                    </a:lnTo>
                    <a:lnTo>
                      <a:pt x="3558" y="5734"/>
                    </a:lnTo>
                    <a:lnTo>
                      <a:pt x="3474" y="5713"/>
                    </a:lnTo>
                    <a:lnTo>
                      <a:pt x="3411" y="5734"/>
                    </a:lnTo>
                    <a:lnTo>
                      <a:pt x="3516" y="5650"/>
                    </a:lnTo>
                    <a:lnTo>
                      <a:pt x="3579" y="5692"/>
                    </a:lnTo>
                    <a:lnTo>
                      <a:pt x="3662" y="5629"/>
                    </a:lnTo>
                    <a:lnTo>
                      <a:pt x="3641" y="5545"/>
                    </a:lnTo>
                    <a:lnTo>
                      <a:pt x="3558" y="5545"/>
                    </a:lnTo>
                    <a:lnTo>
                      <a:pt x="3621" y="5504"/>
                    </a:lnTo>
                    <a:lnTo>
                      <a:pt x="3662" y="5441"/>
                    </a:lnTo>
                    <a:lnTo>
                      <a:pt x="3725" y="5504"/>
                    </a:lnTo>
                    <a:lnTo>
                      <a:pt x="3788" y="5441"/>
                    </a:lnTo>
                    <a:lnTo>
                      <a:pt x="3851" y="5399"/>
                    </a:lnTo>
                    <a:lnTo>
                      <a:pt x="3788" y="5378"/>
                    </a:lnTo>
                    <a:lnTo>
                      <a:pt x="3830" y="5336"/>
                    </a:lnTo>
                    <a:lnTo>
                      <a:pt x="3725" y="5336"/>
                    </a:lnTo>
                    <a:lnTo>
                      <a:pt x="3767" y="5273"/>
                    </a:lnTo>
                    <a:lnTo>
                      <a:pt x="3830" y="5294"/>
                    </a:lnTo>
                    <a:lnTo>
                      <a:pt x="3851" y="5315"/>
                    </a:lnTo>
                    <a:lnTo>
                      <a:pt x="3893" y="5232"/>
                    </a:lnTo>
                    <a:lnTo>
                      <a:pt x="3976" y="5211"/>
                    </a:lnTo>
                    <a:lnTo>
                      <a:pt x="3976" y="5064"/>
                    </a:lnTo>
                    <a:lnTo>
                      <a:pt x="4060" y="4897"/>
                    </a:lnTo>
                    <a:lnTo>
                      <a:pt x="3997" y="4813"/>
                    </a:lnTo>
                    <a:lnTo>
                      <a:pt x="3976" y="4688"/>
                    </a:lnTo>
                    <a:lnTo>
                      <a:pt x="3767" y="4541"/>
                    </a:lnTo>
                    <a:lnTo>
                      <a:pt x="3349" y="4541"/>
                    </a:lnTo>
                    <a:lnTo>
                      <a:pt x="3328" y="4667"/>
                    </a:lnTo>
                    <a:lnTo>
                      <a:pt x="3307" y="4708"/>
                    </a:lnTo>
                    <a:lnTo>
                      <a:pt x="3202" y="4646"/>
                    </a:lnTo>
                    <a:lnTo>
                      <a:pt x="3097" y="4604"/>
                    </a:lnTo>
                    <a:lnTo>
                      <a:pt x="3265" y="4436"/>
                    </a:lnTo>
                    <a:lnTo>
                      <a:pt x="3265" y="4332"/>
                    </a:lnTo>
                    <a:lnTo>
                      <a:pt x="3139" y="4123"/>
                    </a:lnTo>
                    <a:lnTo>
                      <a:pt x="3097" y="4123"/>
                    </a:lnTo>
                    <a:lnTo>
                      <a:pt x="2951" y="4039"/>
                    </a:lnTo>
                    <a:lnTo>
                      <a:pt x="2909" y="3955"/>
                    </a:lnTo>
                    <a:lnTo>
                      <a:pt x="2846" y="3976"/>
                    </a:lnTo>
                    <a:lnTo>
                      <a:pt x="2825" y="3976"/>
                    </a:lnTo>
                    <a:lnTo>
                      <a:pt x="2742" y="3955"/>
                    </a:lnTo>
                    <a:lnTo>
                      <a:pt x="2825" y="3955"/>
                    </a:lnTo>
                    <a:lnTo>
                      <a:pt x="2930" y="3934"/>
                    </a:lnTo>
                    <a:lnTo>
                      <a:pt x="2993" y="3955"/>
                    </a:lnTo>
                    <a:lnTo>
                      <a:pt x="3014" y="4018"/>
                    </a:lnTo>
                    <a:lnTo>
                      <a:pt x="3139" y="4018"/>
                    </a:lnTo>
                    <a:lnTo>
                      <a:pt x="2993" y="3830"/>
                    </a:lnTo>
                    <a:lnTo>
                      <a:pt x="2909" y="3725"/>
                    </a:lnTo>
                    <a:lnTo>
                      <a:pt x="2951" y="3641"/>
                    </a:lnTo>
                    <a:lnTo>
                      <a:pt x="2993" y="3641"/>
                    </a:lnTo>
                    <a:lnTo>
                      <a:pt x="2909" y="3600"/>
                    </a:lnTo>
                    <a:lnTo>
                      <a:pt x="2888" y="3537"/>
                    </a:lnTo>
                    <a:lnTo>
                      <a:pt x="2846" y="3537"/>
                    </a:lnTo>
                    <a:lnTo>
                      <a:pt x="2784" y="3348"/>
                    </a:lnTo>
                    <a:lnTo>
                      <a:pt x="2616" y="3307"/>
                    </a:lnTo>
                    <a:lnTo>
                      <a:pt x="2428" y="3244"/>
                    </a:lnTo>
                    <a:lnTo>
                      <a:pt x="2428" y="3181"/>
                    </a:lnTo>
                    <a:lnTo>
                      <a:pt x="2386" y="3139"/>
                    </a:lnTo>
                    <a:lnTo>
                      <a:pt x="2323" y="2930"/>
                    </a:lnTo>
                    <a:lnTo>
                      <a:pt x="2260" y="2825"/>
                    </a:lnTo>
                    <a:lnTo>
                      <a:pt x="2198" y="2574"/>
                    </a:lnTo>
                    <a:lnTo>
                      <a:pt x="2156" y="2470"/>
                    </a:lnTo>
                    <a:lnTo>
                      <a:pt x="2093" y="2470"/>
                    </a:lnTo>
                    <a:lnTo>
                      <a:pt x="1947" y="2239"/>
                    </a:lnTo>
                    <a:lnTo>
                      <a:pt x="1842" y="2198"/>
                    </a:lnTo>
                    <a:lnTo>
                      <a:pt x="1758" y="2156"/>
                    </a:lnTo>
                    <a:lnTo>
                      <a:pt x="1654" y="2093"/>
                    </a:lnTo>
                    <a:lnTo>
                      <a:pt x="1591" y="2156"/>
                    </a:lnTo>
                    <a:lnTo>
                      <a:pt x="1486" y="2198"/>
                    </a:lnTo>
                    <a:lnTo>
                      <a:pt x="1361" y="2177"/>
                    </a:lnTo>
                    <a:lnTo>
                      <a:pt x="1277" y="2177"/>
                    </a:lnTo>
                    <a:lnTo>
                      <a:pt x="1172" y="2156"/>
                    </a:lnTo>
                    <a:lnTo>
                      <a:pt x="1152" y="2072"/>
                    </a:lnTo>
                    <a:lnTo>
                      <a:pt x="1152" y="2072"/>
                    </a:lnTo>
                    <a:lnTo>
                      <a:pt x="1214" y="2093"/>
                    </a:lnTo>
                    <a:lnTo>
                      <a:pt x="1340" y="2135"/>
                    </a:lnTo>
                    <a:lnTo>
                      <a:pt x="1465" y="2093"/>
                    </a:lnTo>
                    <a:lnTo>
                      <a:pt x="1486" y="1988"/>
                    </a:lnTo>
                    <a:lnTo>
                      <a:pt x="1591" y="1988"/>
                    </a:lnTo>
                    <a:lnTo>
                      <a:pt x="1696" y="1926"/>
                    </a:lnTo>
                    <a:lnTo>
                      <a:pt x="1591" y="1884"/>
                    </a:lnTo>
                    <a:lnTo>
                      <a:pt x="1591" y="1800"/>
                    </a:lnTo>
                    <a:lnTo>
                      <a:pt x="1549" y="1779"/>
                    </a:lnTo>
                    <a:lnTo>
                      <a:pt x="1424" y="1863"/>
                    </a:lnTo>
                    <a:lnTo>
                      <a:pt x="1382" y="1842"/>
                    </a:lnTo>
                    <a:lnTo>
                      <a:pt x="1486" y="1758"/>
                    </a:lnTo>
                    <a:lnTo>
                      <a:pt x="1633" y="1758"/>
                    </a:lnTo>
                    <a:lnTo>
                      <a:pt x="1696" y="1716"/>
                    </a:lnTo>
                    <a:lnTo>
                      <a:pt x="1696" y="1633"/>
                    </a:lnTo>
                    <a:lnTo>
                      <a:pt x="1758" y="1612"/>
                    </a:lnTo>
                    <a:lnTo>
                      <a:pt x="1842" y="1444"/>
                    </a:lnTo>
                    <a:lnTo>
                      <a:pt x="1884" y="1403"/>
                    </a:lnTo>
                    <a:lnTo>
                      <a:pt x="1884" y="1340"/>
                    </a:lnTo>
                    <a:lnTo>
                      <a:pt x="1947" y="1235"/>
                    </a:lnTo>
                    <a:lnTo>
                      <a:pt x="1905" y="1214"/>
                    </a:lnTo>
                    <a:lnTo>
                      <a:pt x="1968" y="1047"/>
                    </a:lnTo>
                    <a:lnTo>
                      <a:pt x="2072" y="984"/>
                    </a:lnTo>
                    <a:lnTo>
                      <a:pt x="2072" y="900"/>
                    </a:lnTo>
                    <a:lnTo>
                      <a:pt x="1905" y="754"/>
                    </a:lnTo>
                    <a:lnTo>
                      <a:pt x="1884" y="796"/>
                    </a:lnTo>
                    <a:lnTo>
                      <a:pt x="1675" y="796"/>
                    </a:lnTo>
                    <a:lnTo>
                      <a:pt x="1528" y="754"/>
                    </a:lnTo>
                    <a:lnTo>
                      <a:pt x="1486" y="817"/>
                    </a:lnTo>
                    <a:lnTo>
                      <a:pt x="1424" y="817"/>
                    </a:lnTo>
                    <a:lnTo>
                      <a:pt x="1340" y="754"/>
                    </a:lnTo>
                    <a:lnTo>
                      <a:pt x="1256" y="796"/>
                    </a:lnTo>
                    <a:lnTo>
                      <a:pt x="1256" y="817"/>
                    </a:lnTo>
                    <a:lnTo>
                      <a:pt x="1172" y="838"/>
                    </a:lnTo>
                    <a:lnTo>
                      <a:pt x="1068" y="900"/>
                    </a:lnTo>
                    <a:lnTo>
                      <a:pt x="1047" y="900"/>
                    </a:lnTo>
                    <a:lnTo>
                      <a:pt x="963" y="942"/>
                    </a:lnTo>
                    <a:lnTo>
                      <a:pt x="942" y="921"/>
                    </a:lnTo>
                    <a:lnTo>
                      <a:pt x="1047" y="817"/>
                    </a:lnTo>
                    <a:lnTo>
                      <a:pt x="1131" y="691"/>
                    </a:lnTo>
                    <a:lnTo>
                      <a:pt x="1131" y="691"/>
                    </a:lnTo>
                    <a:lnTo>
                      <a:pt x="1068" y="712"/>
                    </a:lnTo>
                    <a:lnTo>
                      <a:pt x="963" y="691"/>
                    </a:lnTo>
                    <a:lnTo>
                      <a:pt x="1026" y="670"/>
                    </a:lnTo>
                    <a:lnTo>
                      <a:pt x="1047" y="587"/>
                    </a:lnTo>
                    <a:lnTo>
                      <a:pt x="1277" y="419"/>
                    </a:lnTo>
                    <a:lnTo>
                      <a:pt x="1340" y="294"/>
                    </a:lnTo>
                    <a:lnTo>
                      <a:pt x="1424" y="273"/>
                    </a:lnTo>
                    <a:lnTo>
                      <a:pt x="1444" y="168"/>
                    </a:lnTo>
                    <a:lnTo>
                      <a:pt x="1424" y="147"/>
                    </a:lnTo>
                    <a:lnTo>
                      <a:pt x="1465" y="63"/>
                    </a:lnTo>
                    <a:lnTo>
                      <a:pt x="144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7" name="Google Shape;12171;p43">
                <a:extLst>
                  <a:ext uri="{FF2B5EF4-FFF2-40B4-BE49-F238E27FC236}">
                    <a16:creationId xmlns:a16="http://schemas.microsoft.com/office/drawing/2014/main" id="{62B02C97-35D5-61BC-EC62-4123AAA2FFFA}"/>
                  </a:ext>
                </a:extLst>
              </p:cNvPr>
              <p:cNvSpPr/>
              <p:nvPr/>
            </p:nvSpPr>
            <p:spPr>
              <a:xfrm>
                <a:off x="3586375" y="2350350"/>
                <a:ext cx="31925" cy="25125"/>
              </a:xfrm>
              <a:custGeom>
                <a:avLst/>
                <a:gdLst/>
                <a:ahLst/>
                <a:cxnLst/>
                <a:rect l="l" t="t" r="r" b="b"/>
                <a:pathLst>
                  <a:path w="1277" h="1005" extrusionOk="0">
                    <a:moveTo>
                      <a:pt x="732" y="1"/>
                    </a:moveTo>
                    <a:lnTo>
                      <a:pt x="628" y="63"/>
                    </a:lnTo>
                    <a:lnTo>
                      <a:pt x="544" y="63"/>
                    </a:lnTo>
                    <a:lnTo>
                      <a:pt x="523" y="126"/>
                    </a:lnTo>
                    <a:lnTo>
                      <a:pt x="419" y="126"/>
                    </a:lnTo>
                    <a:lnTo>
                      <a:pt x="377" y="210"/>
                    </a:lnTo>
                    <a:lnTo>
                      <a:pt x="293" y="231"/>
                    </a:lnTo>
                    <a:lnTo>
                      <a:pt x="272" y="335"/>
                    </a:lnTo>
                    <a:lnTo>
                      <a:pt x="126" y="356"/>
                    </a:lnTo>
                    <a:lnTo>
                      <a:pt x="0" y="586"/>
                    </a:lnTo>
                    <a:lnTo>
                      <a:pt x="272" y="838"/>
                    </a:lnTo>
                    <a:lnTo>
                      <a:pt x="335" y="796"/>
                    </a:lnTo>
                    <a:lnTo>
                      <a:pt x="377" y="649"/>
                    </a:lnTo>
                    <a:lnTo>
                      <a:pt x="440" y="586"/>
                    </a:lnTo>
                    <a:lnTo>
                      <a:pt x="607" y="691"/>
                    </a:lnTo>
                    <a:lnTo>
                      <a:pt x="712" y="900"/>
                    </a:lnTo>
                    <a:lnTo>
                      <a:pt x="795" y="942"/>
                    </a:lnTo>
                    <a:lnTo>
                      <a:pt x="921" y="1005"/>
                    </a:lnTo>
                    <a:lnTo>
                      <a:pt x="942" y="1005"/>
                    </a:lnTo>
                    <a:lnTo>
                      <a:pt x="942" y="942"/>
                    </a:lnTo>
                    <a:lnTo>
                      <a:pt x="1004" y="942"/>
                    </a:lnTo>
                    <a:lnTo>
                      <a:pt x="1067" y="858"/>
                    </a:lnTo>
                    <a:lnTo>
                      <a:pt x="1067" y="775"/>
                    </a:lnTo>
                    <a:lnTo>
                      <a:pt x="1214" y="796"/>
                    </a:lnTo>
                    <a:lnTo>
                      <a:pt x="1235" y="691"/>
                    </a:lnTo>
                    <a:lnTo>
                      <a:pt x="1151" y="691"/>
                    </a:lnTo>
                    <a:lnTo>
                      <a:pt x="1172" y="586"/>
                    </a:lnTo>
                    <a:lnTo>
                      <a:pt x="1151" y="545"/>
                    </a:lnTo>
                    <a:lnTo>
                      <a:pt x="1214" y="524"/>
                    </a:lnTo>
                    <a:lnTo>
                      <a:pt x="1277" y="733"/>
                    </a:lnTo>
                    <a:lnTo>
                      <a:pt x="1235" y="461"/>
                    </a:lnTo>
                    <a:lnTo>
                      <a:pt x="1109" y="461"/>
                    </a:lnTo>
                    <a:lnTo>
                      <a:pt x="1172" y="419"/>
                    </a:lnTo>
                    <a:lnTo>
                      <a:pt x="1004" y="147"/>
                    </a:lnTo>
                    <a:lnTo>
                      <a:pt x="1004" y="42"/>
                    </a:lnTo>
                    <a:lnTo>
                      <a:pt x="921" y="21"/>
                    </a:lnTo>
                    <a:lnTo>
                      <a:pt x="732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03" name="Google Shape;12172;p43">
              <a:extLst>
                <a:ext uri="{FF2B5EF4-FFF2-40B4-BE49-F238E27FC236}">
                  <a16:creationId xmlns:a16="http://schemas.microsoft.com/office/drawing/2014/main" id="{9E08BF85-13E5-5D3F-1379-A9DCA1FF6570}"/>
                </a:ext>
              </a:extLst>
            </p:cNvPr>
            <p:cNvSpPr/>
            <p:nvPr/>
          </p:nvSpPr>
          <p:spPr>
            <a:xfrm>
              <a:off x="4037841" y="3224817"/>
              <a:ext cx="52333" cy="93527"/>
            </a:xfrm>
            <a:custGeom>
              <a:avLst/>
              <a:gdLst/>
              <a:ahLst/>
              <a:cxnLst/>
              <a:rect l="l" t="t" r="r" b="b"/>
              <a:pathLst>
                <a:path w="4395" h="8224" extrusionOk="0">
                  <a:moveTo>
                    <a:pt x="3914" y="1"/>
                  </a:moveTo>
                  <a:lnTo>
                    <a:pt x="3746" y="168"/>
                  </a:lnTo>
                  <a:lnTo>
                    <a:pt x="3809" y="252"/>
                  </a:lnTo>
                  <a:lnTo>
                    <a:pt x="3704" y="293"/>
                  </a:lnTo>
                  <a:lnTo>
                    <a:pt x="3600" y="252"/>
                  </a:lnTo>
                  <a:lnTo>
                    <a:pt x="3537" y="252"/>
                  </a:lnTo>
                  <a:lnTo>
                    <a:pt x="3621" y="377"/>
                  </a:lnTo>
                  <a:lnTo>
                    <a:pt x="3621" y="419"/>
                  </a:lnTo>
                  <a:lnTo>
                    <a:pt x="3704" y="503"/>
                  </a:lnTo>
                  <a:lnTo>
                    <a:pt x="3704" y="524"/>
                  </a:lnTo>
                  <a:lnTo>
                    <a:pt x="3600" y="670"/>
                  </a:lnTo>
                  <a:lnTo>
                    <a:pt x="3600" y="817"/>
                  </a:lnTo>
                  <a:lnTo>
                    <a:pt x="3516" y="921"/>
                  </a:lnTo>
                  <a:lnTo>
                    <a:pt x="3432" y="900"/>
                  </a:lnTo>
                  <a:lnTo>
                    <a:pt x="3328" y="1026"/>
                  </a:lnTo>
                  <a:lnTo>
                    <a:pt x="3328" y="1109"/>
                  </a:lnTo>
                  <a:lnTo>
                    <a:pt x="3244" y="1151"/>
                  </a:lnTo>
                  <a:lnTo>
                    <a:pt x="3181" y="1130"/>
                  </a:lnTo>
                  <a:lnTo>
                    <a:pt x="3181" y="1005"/>
                  </a:lnTo>
                  <a:lnTo>
                    <a:pt x="3118" y="984"/>
                  </a:lnTo>
                  <a:lnTo>
                    <a:pt x="3035" y="1047"/>
                  </a:lnTo>
                  <a:lnTo>
                    <a:pt x="3035" y="1193"/>
                  </a:lnTo>
                  <a:lnTo>
                    <a:pt x="3139" y="1298"/>
                  </a:lnTo>
                  <a:lnTo>
                    <a:pt x="3181" y="1340"/>
                  </a:lnTo>
                  <a:lnTo>
                    <a:pt x="3139" y="1402"/>
                  </a:lnTo>
                  <a:lnTo>
                    <a:pt x="3077" y="1361"/>
                  </a:lnTo>
                  <a:lnTo>
                    <a:pt x="2930" y="1402"/>
                  </a:lnTo>
                  <a:lnTo>
                    <a:pt x="2993" y="1507"/>
                  </a:lnTo>
                  <a:lnTo>
                    <a:pt x="3098" y="1549"/>
                  </a:lnTo>
                  <a:lnTo>
                    <a:pt x="3098" y="1612"/>
                  </a:lnTo>
                  <a:lnTo>
                    <a:pt x="3077" y="1674"/>
                  </a:lnTo>
                  <a:lnTo>
                    <a:pt x="2993" y="1612"/>
                  </a:lnTo>
                  <a:lnTo>
                    <a:pt x="2909" y="1633"/>
                  </a:lnTo>
                  <a:lnTo>
                    <a:pt x="2888" y="1716"/>
                  </a:lnTo>
                  <a:lnTo>
                    <a:pt x="2721" y="1842"/>
                  </a:lnTo>
                  <a:lnTo>
                    <a:pt x="2721" y="1716"/>
                  </a:lnTo>
                  <a:lnTo>
                    <a:pt x="2763" y="1674"/>
                  </a:lnTo>
                  <a:lnTo>
                    <a:pt x="2721" y="1612"/>
                  </a:lnTo>
                  <a:lnTo>
                    <a:pt x="2616" y="1716"/>
                  </a:lnTo>
                  <a:lnTo>
                    <a:pt x="2679" y="1758"/>
                  </a:lnTo>
                  <a:lnTo>
                    <a:pt x="2658" y="1821"/>
                  </a:lnTo>
                  <a:lnTo>
                    <a:pt x="2512" y="1884"/>
                  </a:lnTo>
                  <a:lnTo>
                    <a:pt x="2574" y="1988"/>
                  </a:lnTo>
                  <a:lnTo>
                    <a:pt x="2658" y="2030"/>
                  </a:lnTo>
                  <a:lnTo>
                    <a:pt x="2658" y="2072"/>
                  </a:lnTo>
                  <a:lnTo>
                    <a:pt x="2574" y="2093"/>
                  </a:lnTo>
                  <a:lnTo>
                    <a:pt x="2470" y="2156"/>
                  </a:lnTo>
                  <a:lnTo>
                    <a:pt x="2470" y="2072"/>
                  </a:lnTo>
                  <a:lnTo>
                    <a:pt x="2407" y="2072"/>
                  </a:lnTo>
                  <a:lnTo>
                    <a:pt x="2470" y="1967"/>
                  </a:lnTo>
                  <a:lnTo>
                    <a:pt x="2407" y="1946"/>
                  </a:lnTo>
                  <a:lnTo>
                    <a:pt x="2198" y="2135"/>
                  </a:lnTo>
                  <a:lnTo>
                    <a:pt x="2177" y="2281"/>
                  </a:lnTo>
                  <a:lnTo>
                    <a:pt x="2198" y="2365"/>
                  </a:lnTo>
                  <a:lnTo>
                    <a:pt x="2156" y="2407"/>
                  </a:lnTo>
                  <a:lnTo>
                    <a:pt x="2093" y="2386"/>
                  </a:lnTo>
                  <a:lnTo>
                    <a:pt x="2051" y="2365"/>
                  </a:lnTo>
                  <a:lnTo>
                    <a:pt x="2051" y="2197"/>
                  </a:lnTo>
                  <a:lnTo>
                    <a:pt x="1989" y="2197"/>
                  </a:lnTo>
                  <a:lnTo>
                    <a:pt x="1863" y="2344"/>
                  </a:lnTo>
                  <a:lnTo>
                    <a:pt x="1717" y="2239"/>
                  </a:lnTo>
                  <a:lnTo>
                    <a:pt x="1675" y="2281"/>
                  </a:lnTo>
                  <a:lnTo>
                    <a:pt x="1633" y="2281"/>
                  </a:lnTo>
                  <a:lnTo>
                    <a:pt x="1654" y="2449"/>
                  </a:lnTo>
                  <a:lnTo>
                    <a:pt x="1612" y="2449"/>
                  </a:lnTo>
                  <a:lnTo>
                    <a:pt x="1549" y="2469"/>
                  </a:lnTo>
                  <a:lnTo>
                    <a:pt x="1549" y="2365"/>
                  </a:lnTo>
                  <a:lnTo>
                    <a:pt x="1507" y="2344"/>
                  </a:lnTo>
                  <a:lnTo>
                    <a:pt x="1445" y="2449"/>
                  </a:lnTo>
                  <a:lnTo>
                    <a:pt x="1403" y="2344"/>
                  </a:lnTo>
                  <a:lnTo>
                    <a:pt x="1152" y="2553"/>
                  </a:lnTo>
                  <a:lnTo>
                    <a:pt x="1110" y="2553"/>
                  </a:lnTo>
                  <a:lnTo>
                    <a:pt x="1047" y="2511"/>
                  </a:lnTo>
                  <a:lnTo>
                    <a:pt x="921" y="2511"/>
                  </a:lnTo>
                  <a:lnTo>
                    <a:pt x="880" y="2595"/>
                  </a:lnTo>
                  <a:lnTo>
                    <a:pt x="901" y="2783"/>
                  </a:lnTo>
                  <a:lnTo>
                    <a:pt x="733" y="3034"/>
                  </a:lnTo>
                  <a:lnTo>
                    <a:pt x="733" y="3097"/>
                  </a:lnTo>
                  <a:lnTo>
                    <a:pt x="587" y="3244"/>
                  </a:lnTo>
                  <a:lnTo>
                    <a:pt x="587" y="3327"/>
                  </a:lnTo>
                  <a:lnTo>
                    <a:pt x="670" y="3411"/>
                  </a:lnTo>
                  <a:lnTo>
                    <a:pt x="587" y="3516"/>
                  </a:lnTo>
                  <a:lnTo>
                    <a:pt x="629" y="3704"/>
                  </a:lnTo>
                  <a:lnTo>
                    <a:pt x="629" y="3830"/>
                  </a:lnTo>
                  <a:lnTo>
                    <a:pt x="796" y="4143"/>
                  </a:lnTo>
                  <a:lnTo>
                    <a:pt x="796" y="4227"/>
                  </a:lnTo>
                  <a:lnTo>
                    <a:pt x="880" y="4332"/>
                  </a:lnTo>
                  <a:lnTo>
                    <a:pt x="880" y="4374"/>
                  </a:lnTo>
                  <a:lnTo>
                    <a:pt x="796" y="4457"/>
                  </a:lnTo>
                  <a:lnTo>
                    <a:pt x="817" y="4541"/>
                  </a:lnTo>
                  <a:lnTo>
                    <a:pt x="775" y="4792"/>
                  </a:lnTo>
                  <a:lnTo>
                    <a:pt x="670" y="4876"/>
                  </a:lnTo>
                  <a:lnTo>
                    <a:pt x="629" y="5022"/>
                  </a:lnTo>
                  <a:lnTo>
                    <a:pt x="566" y="5064"/>
                  </a:lnTo>
                  <a:lnTo>
                    <a:pt x="524" y="5127"/>
                  </a:lnTo>
                  <a:lnTo>
                    <a:pt x="419" y="5231"/>
                  </a:lnTo>
                  <a:lnTo>
                    <a:pt x="419" y="5441"/>
                  </a:lnTo>
                  <a:lnTo>
                    <a:pt x="357" y="5524"/>
                  </a:lnTo>
                  <a:lnTo>
                    <a:pt x="168" y="5545"/>
                  </a:lnTo>
                  <a:lnTo>
                    <a:pt x="147" y="5608"/>
                  </a:lnTo>
                  <a:lnTo>
                    <a:pt x="147" y="5796"/>
                  </a:lnTo>
                  <a:lnTo>
                    <a:pt x="43" y="5943"/>
                  </a:lnTo>
                  <a:lnTo>
                    <a:pt x="43" y="6068"/>
                  </a:lnTo>
                  <a:lnTo>
                    <a:pt x="1" y="6173"/>
                  </a:lnTo>
                  <a:lnTo>
                    <a:pt x="43" y="6236"/>
                  </a:lnTo>
                  <a:lnTo>
                    <a:pt x="43" y="6424"/>
                  </a:lnTo>
                  <a:lnTo>
                    <a:pt x="189" y="6591"/>
                  </a:lnTo>
                  <a:lnTo>
                    <a:pt x="168" y="6738"/>
                  </a:lnTo>
                  <a:lnTo>
                    <a:pt x="189" y="6843"/>
                  </a:lnTo>
                  <a:lnTo>
                    <a:pt x="273" y="6863"/>
                  </a:lnTo>
                  <a:lnTo>
                    <a:pt x="294" y="6863"/>
                  </a:lnTo>
                  <a:lnTo>
                    <a:pt x="273" y="6884"/>
                  </a:lnTo>
                  <a:lnTo>
                    <a:pt x="147" y="6905"/>
                  </a:lnTo>
                  <a:lnTo>
                    <a:pt x="147" y="7052"/>
                  </a:lnTo>
                  <a:lnTo>
                    <a:pt x="168" y="7219"/>
                  </a:lnTo>
                  <a:lnTo>
                    <a:pt x="147" y="7470"/>
                  </a:lnTo>
                  <a:lnTo>
                    <a:pt x="189" y="7512"/>
                  </a:lnTo>
                  <a:lnTo>
                    <a:pt x="189" y="7596"/>
                  </a:lnTo>
                  <a:lnTo>
                    <a:pt x="273" y="7638"/>
                  </a:lnTo>
                  <a:lnTo>
                    <a:pt x="357" y="7742"/>
                  </a:lnTo>
                  <a:lnTo>
                    <a:pt x="398" y="7784"/>
                  </a:lnTo>
                  <a:lnTo>
                    <a:pt x="461" y="7847"/>
                  </a:lnTo>
                  <a:lnTo>
                    <a:pt x="524" y="7951"/>
                  </a:lnTo>
                  <a:lnTo>
                    <a:pt x="608" y="7931"/>
                  </a:lnTo>
                  <a:lnTo>
                    <a:pt x="629" y="7951"/>
                  </a:lnTo>
                  <a:lnTo>
                    <a:pt x="733" y="7993"/>
                  </a:lnTo>
                  <a:lnTo>
                    <a:pt x="817" y="8119"/>
                  </a:lnTo>
                  <a:lnTo>
                    <a:pt x="901" y="8140"/>
                  </a:lnTo>
                  <a:lnTo>
                    <a:pt x="901" y="8161"/>
                  </a:lnTo>
                  <a:lnTo>
                    <a:pt x="921" y="8223"/>
                  </a:lnTo>
                  <a:lnTo>
                    <a:pt x="1005" y="8161"/>
                  </a:lnTo>
                  <a:lnTo>
                    <a:pt x="1131" y="8161"/>
                  </a:lnTo>
                  <a:lnTo>
                    <a:pt x="1256" y="8098"/>
                  </a:lnTo>
                  <a:lnTo>
                    <a:pt x="1361" y="7951"/>
                  </a:lnTo>
                  <a:lnTo>
                    <a:pt x="1737" y="7931"/>
                  </a:lnTo>
                  <a:lnTo>
                    <a:pt x="1842" y="7951"/>
                  </a:lnTo>
                  <a:lnTo>
                    <a:pt x="2030" y="7889"/>
                  </a:lnTo>
                  <a:lnTo>
                    <a:pt x="2093" y="7784"/>
                  </a:lnTo>
                  <a:lnTo>
                    <a:pt x="2177" y="7742"/>
                  </a:lnTo>
                  <a:lnTo>
                    <a:pt x="2240" y="7596"/>
                  </a:lnTo>
                  <a:lnTo>
                    <a:pt x="2344" y="7428"/>
                  </a:lnTo>
                  <a:lnTo>
                    <a:pt x="2344" y="7324"/>
                  </a:lnTo>
                  <a:lnTo>
                    <a:pt x="2449" y="7261"/>
                  </a:lnTo>
                  <a:lnTo>
                    <a:pt x="2449" y="7094"/>
                  </a:lnTo>
                  <a:lnTo>
                    <a:pt x="2407" y="7073"/>
                  </a:lnTo>
                  <a:lnTo>
                    <a:pt x="2491" y="6989"/>
                  </a:lnTo>
                  <a:lnTo>
                    <a:pt x="2554" y="6801"/>
                  </a:lnTo>
                  <a:lnTo>
                    <a:pt x="2512" y="6780"/>
                  </a:lnTo>
                  <a:lnTo>
                    <a:pt x="2574" y="6780"/>
                  </a:lnTo>
                  <a:lnTo>
                    <a:pt x="2679" y="6591"/>
                  </a:lnTo>
                  <a:lnTo>
                    <a:pt x="2763" y="6236"/>
                  </a:lnTo>
                  <a:lnTo>
                    <a:pt x="2805" y="6027"/>
                  </a:lnTo>
                  <a:lnTo>
                    <a:pt x="2909" y="5922"/>
                  </a:lnTo>
                  <a:lnTo>
                    <a:pt x="2972" y="5692"/>
                  </a:lnTo>
                  <a:lnTo>
                    <a:pt x="3118" y="5420"/>
                  </a:lnTo>
                  <a:lnTo>
                    <a:pt x="3286" y="4959"/>
                  </a:lnTo>
                  <a:lnTo>
                    <a:pt x="3390" y="4792"/>
                  </a:lnTo>
                  <a:lnTo>
                    <a:pt x="3390" y="4583"/>
                  </a:lnTo>
                  <a:lnTo>
                    <a:pt x="3495" y="4374"/>
                  </a:lnTo>
                  <a:lnTo>
                    <a:pt x="3516" y="4269"/>
                  </a:lnTo>
                  <a:lnTo>
                    <a:pt x="3642" y="4060"/>
                  </a:lnTo>
                  <a:lnTo>
                    <a:pt x="3704" y="3746"/>
                  </a:lnTo>
                  <a:lnTo>
                    <a:pt x="3746" y="3516"/>
                  </a:lnTo>
                  <a:lnTo>
                    <a:pt x="3809" y="3453"/>
                  </a:lnTo>
                  <a:lnTo>
                    <a:pt x="3830" y="3286"/>
                  </a:lnTo>
                  <a:lnTo>
                    <a:pt x="3809" y="3202"/>
                  </a:lnTo>
                  <a:lnTo>
                    <a:pt x="3830" y="3076"/>
                  </a:lnTo>
                  <a:lnTo>
                    <a:pt x="3934" y="2888"/>
                  </a:lnTo>
                  <a:lnTo>
                    <a:pt x="3934" y="2804"/>
                  </a:lnTo>
                  <a:lnTo>
                    <a:pt x="4018" y="2700"/>
                  </a:lnTo>
                  <a:lnTo>
                    <a:pt x="3976" y="2574"/>
                  </a:lnTo>
                  <a:lnTo>
                    <a:pt x="3934" y="2511"/>
                  </a:lnTo>
                  <a:lnTo>
                    <a:pt x="3976" y="2449"/>
                  </a:lnTo>
                  <a:lnTo>
                    <a:pt x="3976" y="2281"/>
                  </a:lnTo>
                  <a:lnTo>
                    <a:pt x="3934" y="2260"/>
                  </a:lnTo>
                  <a:lnTo>
                    <a:pt x="3934" y="2135"/>
                  </a:lnTo>
                  <a:lnTo>
                    <a:pt x="4018" y="2072"/>
                  </a:lnTo>
                  <a:lnTo>
                    <a:pt x="4060" y="2135"/>
                  </a:lnTo>
                  <a:lnTo>
                    <a:pt x="4081" y="2260"/>
                  </a:lnTo>
                  <a:lnTo>
                    <a:pt x="4186" y="2386"/>
                  </a:lnTo>
                  <a:lnTo>
                    <a:pt x="4269" y="2386"/>
                  </a:lnTo>
                  <a:lnTo>
                    <a:pt x="4290" y="2302"/>
                  </a:lnTo>
                  <a:lnTo>
                    <a:pt x="4332" y="2239"/>
                  </a:lnTo>
                  <a:lnTo>
                    <a:pt x="4353" y="2177"/>
                  </a:lnTo>
                  <a:lnTo>
                    <a:pt x="4353" y="2072"/>
                  </a:lnTo>
                  <a:lnTo>
                    <a:pt x="4395" y="2051"/>
                  </a:lnTo>
                  <a:lnTo>
                    <a:pt x="4374" y="1925"/>
                  </a:lnTo>
                  <a:lnTo>
                    <a:pt x="4269" y="1779"/>
                  </a:lnTo>
                  <a:lnTo>
                    <a:pt x="4248" y="1674"/>
                  </a:lnTo>
                  <a:lnTo>
                    <a:pt x="4269" y="1633"/>
                  </a:lnTo>
                  <a:lnTo>
                    <a:pt x="4269" y="1507"/>
                  </a:lnTo>
                  <a:lnTo>
                    <a:pt x="4248" y="1340"/>
                  </a:lnTo>
                  <a:lnTo>
                    <a:pt x="4269" y="1256"/>
                  </a:lnTo>
                  <a:lnTo>
                    <a:pt x="4269" y="984"/>
                  </a:lnTo>
                  <a:lnTo>
                    <a:pt x="4186" y="879"/>
                  </a:lnTo>
                  <a:lnTo>
                    <a:pt x="4186" y="607"/>
                  </a:lnTo>
                  <a:lnTo>
                    <a:pt x="4144" y="524"/>
                  </a:lnTo>
                  <a:lnTo>
                    <a:pt x="4081" y="524"/>
                  </a:lnTo>
                  <a:lnTo>
                    <a:pt x="3976" y="398"/>
                  </a:lnTo>
                  <a:lnTo>
                    <a:pt x="3976" y="293"/>
                  </a:lnTo>
                  <a:lnTo>
                    <a:pt x="3872" y="252"/>
                  </a:lnTo>
                  <a:lnTo>
                    <a:pt x="3934" y="147"/>
                  </a:lnTo>
                  <a:lnTo>
                    <a:pt x="39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04" name="Google Shape;12173;p43">
              <a:extLst>
                <a:ext uri="{FF2B5EF4-FFF2-40B4-BE49-F238E27FC236}">
                  <a16:creationId xmlns:a16="http://schemas.microsoft.com/office/drawing/2014/main" id="{2952750A-5BBD-1094-E7E9-ED933EA56EE5}"/>
                </a:ext>
              </a:extLst>
            </p:cNvPr>
            <p:cNvGrpSpPr/>
            <p:nvPr/>
          </p:nvGrpSpPr>
          <p:grpSpPr>
            <a:xfrm>
              <a:off x="4513224" y="3221724"/>
              <a:ext cx="274563" cy="280321"/>
              <a:chOff x="5298975" y="3412225"/>
              <a:chExt cx="576450" cy="616225"/>
            </a:xfrm>
          </p:grpSpPr>
          <p:sp>
            <p:nvSpPr>
              <p:cNvPr id="214" name="Google Shape;12174;p43">
                <a:extLst>
                  <a:ext uri="{FF2B5EF4-FFF2-40B4-BE49-F238E27FC236}">
                    <a16:creationId xmlns:a16="http://schemas.microsoft.com/office/drawing/2014/main" id="{34CBA21A-2936-5DE2-645B-5647A4541796}"/>
                  </a:ext>
                </a:extLst>
              </p:cNvPr>
              <p:cNvSpPr/>
              <p:nvPr/>
            </p:nvSpPr>
            <p:spPr>
              <a:xfrm>
                <a:off x="5298975" y="3412225"/>
                <a:ext cx="576450" cy="515275"/>
              </a:xfrm>
              <a:custGeom>
                <a:avLst/>
                <a:gdLst/>
                <a:ahLst/>
                <a:cxnLst/>
                <a:rect l="l" t="t" r="r" b="b"/>
                <a:pathLst>
                  <a:path w="23058" h="20611" extrusionOk="0">
                    <a:moveTo>
                      <a:pt x="18015" y="1"/>
                    </a:moveTo>
                    <a:lnTo>
                      <a:pt x="17890" y="42"/>
                    </a:lnTo>
                    <a:lnTo>
                      <a:pt x="17806" y="147"/>
                    </a:lnTo>
                    <a:lnTo>
                      <a:pt x="17806" y="335"/>
                    </a:lnTo>
                    <a:lnTo>
                      <a:pt x="17764" y="524"/>
                    </a:lnTo>
                    <a:lnTo>
                      <a:pt x="17764" y="565"/>
                    </a:lnTo>
                    <a:lnTo>
                      <a:pt x="17722" y="670"/>
                    </a:lnTo>
                    <a:lnTo>
                      <a:pt x="17660" y="670"/>
                    </a:lnTo>
                    <a:lnTo>
                      <a:pt x="17597" y="858"/>
                    </a:lnTo>
                    <a:lnTo>
                      <a:pt x="17492" y="1005"/>
                    </a:lnTo>
                    <a:lnTo>
                      <a:pt x="17576" y="1089"/>
                    </a:lnTo>
                    <a:lnTo>
                      <a:pt x="17681" y="1172"/>
                    </a:lnTo>
                    <a:lnTo>
                      <a:pt x="17618" y="1214"/>
                    </a:lnTo>
                    <a:lnTo>
                      <a:pt x="17555" y="1193"/>
                    </a:lnTo>
                    <a:lnTo>
                      <a:pt x="17492" y="1319"/>
                    </a:lnTo>
                    <a:lnTo>
                      <a:pt x="17450" y="1423"/>
                    </a:lnTo>
                    <a:lnTo>
                      <a:pt x="17513" y="1570"/>
                    </a:lnTo>
                    <a:lnTo>
                      <a:pt x="17513" y="1674"/>
                    </a:lnTo>
                    <a:lnTo>
                      <a:pt x="17450" y="1633"/>
                    </a:lnTo>
                    <a:lnTo>
                      <a:pt x="17367" y="1674"/>
                    </a:lnTo>
                    <a:lnTo>
                      <a:pt x="17304" y="1946"/>
                    </a:lnTo>
                    <a:lnTo>
                      <a:pt x="17367" y="2156"/>
                    </a:lnTo>
                    <a:lnTo>
                      <a:pt x="17346" y="2365"/>
                    </a:lnTo>
                    <a:lnTo>
                      <a:pt x="17388" y="2511"/>
                    </a:lnTo>
                    <a:lnTo>
                      <a:pt x="17388" y="2679"/>
                    </a:lnTo>
                    <a:lnTo>
                      <a:pt x="17262" y="2783"/>
                    </a:lnTo>
                    <a:lnTo>
                      <a:pt x="17262" y="2867"/>
                    </a:lnTo>
                    <a:lnTo>
                      <a:pt x="17157" y="3097"/>
                    </a:lnTo>
                    <a:lnTo>
                      <a:pt x="17137" y="3411"/>
                    </a:lnTo>
                    <a:lnTo>
                      <a:pt x="17032" y="3558"/>
                    </a:lnTo>
                    <a:lnTo>
                      <a:pt x="17074" y="3662"/>
                    </a:lnTo>
                    <a:lnTo>
                      <a:pt x="16990" y="3830"/>
                    </a:lnTo>
                    <a:lnTo>
                      <a:pt x="16885" y="3934"/>
                    </a:lnTo>
                    <a:lnTo>
                      <a:pt x="16885" y="4143"/>
                    </a:lnTo>
                    <a:lnTo>
                      <a:pt x="16718" y="4290"/>
                    </a:lnTo>
                    <a:lnTo>
                      <a:pt x="16341" y="4436"/>
                    </a:lnTo>
                    <a:lnTo>
                      <a:pt x="16195" y="4332"/>
                    </a:lnTo>
                    <a:lnTo>
                      <a:pt x="16028" y="4311"/>
                    </a:lnTo>
                    <a:lnTo>
                      <a:pt x="15944" y="4227"/>
                    </a:lnTo>
                    <a:lnTo>
                      <a:pt x="15818" y="4102"/>
                    </a:lnTo>
                    <a:lnTo>
                      <a:pt x="15818" y="4039"/>
                    </a:lnTo>
                    <a:lnTo>
                      <a:pt x="15776" y="3997"/>
                    </a:lnTo>
                    <a:lnTo>
                      <a:pt x="15735" y="3871"/>
                    </a:lnTo>
                    <a:lnTo>
                      <a:pt x="15609" y="3830"/>
                    </a:lnTo>
                    <a:lnTo>
                      <a:pt x="15484" y="3788"/>
                    </a:lnTo>
                    <a:lnTo>
                      <a:pt x="15316" y="3788"/>
                    </a:lnTo>
                    <a:lnTo>
                      <a:pt x="15149" y="3683"/>
                    </a:lnTo>
                    <a:lnTo>
                      <a:pt x="15107" y="3578"/>
                    </a:lnTo>
                    <a:lnTo>
                      <a:pt x="14981" y="3411"/>
                    </a:lnTo>
                    <a:lnTo>
                      <a:pt x="14835" y="3390"/>
                    </a:lnTo>
                    <a:lnTo>
                      <a:pt x="14688" y="3306"/>
                    </a:lnTo>
                    <a:lnTo>
                      <a:pt x="14688" y="3244"/>
                    </a:lnTo>
                    <a:lnTo>
                      <a:pt x="14626" y="3244"/>
                    </a:lnTo>
                    <a:lnTo>
                      <a:pt x="14563" y="3181"/>
                    </a:lnTo>
                    <a:lnTo>
                      <a:pt x="14437" y="3181"/>
                    </a:lnTo>
                    <a:lnTo>
                      <a:pt x="14333" y="3160"/>
                    </a:lnTo>
                    <a:lnTo>
                      <a:pt x="14354" y="3097"/>
                    </a:lnTo>
                    <a:lnTo>
                      <a:pt x="14207" y="2993"/>
                    </a:lnTo>
                    <a:lnTo>
                      <a:pt x="14165" y="2867"/>
                    </a:lnTo>
                    <a:lnTo>
                      <a:pt x="14040" y="2721"/>
                    </a:lnTo>
                    <a:lnTo>
                      <a:pt x="13935" y="2721"/>
                    </a:lnTo>
                    <a:lnTo>
                      <a:pt x="13810" y="2553"/>
                    </a:lnTo>
                    <a:lnTo>
                      <a:pt x="13810" y="2428"/>
                    </a:lnTo>
                    <a:lnTo>
                      <a:pt x="13914" y="2239"/>
                    </a:lnTo>
                    <a:lnTo>
                      <a:pt x="13935" y="2114"/>
                    </a:lnTo>
                    <a:lnTo>
                      <a:pt x="14061" y="2030"/>
                    </a:lnTo>
                    <a:lnTo>
                      <a:pt x="14103" y="1884"/>
                    </a:lnTo>
                    <a:lnTo>
                      <a:pt x="14144" y="1779"/>
                    </a:lnTo>
                    <a:lnTo>
                      <a:pt x="14040" y="1821"/>
                    </a:lnTo>
                    <a:lnTo>
                      <a:pt x="13956" y="1674"/>
                    </a:lnTo>
                    <a:lnTo>
                      <a:pt x="14061" y="1591"/>
                    </a:lnTo>
                    <a:lnTo>
                      <a:pt x="14040" y="1486"/>
                    </a:lnTo>
                    <a:lnTo>
                      <a:pt x="14124" y="1486"/>
                    </a:lnTo>
                    <a:lnTo>
                      <a:pt x="14165" y="1465"/>
                    </a:lnTo>
                    <a:lnTo>
                      <a:pt x="14228" y="1486"/>
                    </a:lnTo>
                    <a:lnTo>
                      <a:pt x="14333" y="1507"/>
                    </a:lnTo>
                    <a:lnTo>
                      <a:pt x="14458" y="1465"/>
                    </a:lnTo>
                    <a:lnTo>
                      <a:pt x="14521" y="1319"/>
                    </a:lnTo>
                    <a:lnTo>
                      <a:pt x="14416" y="1256"/>
                    </a:lnTo>
                    <a:lnTo>
                      <a:pt x="14479" y="1172"/>
                    </a:lnTo>
                    <a:lnTo>
                      <a:pt x="14563" y="1193"/>
                    </a:lnTo>
                    <a:lnTo>
                      <a:pt x="14626" y="1005"/>
                    </a:lnTo>
                    <a:lnTo>
                      <a:pt x="14688" y="963"/>
                    </a:lnTo>
                    <a:lnTo>
                      <a:pt x="14772" y="858"/>
                    </a:lnTo>
                    <a:lnTo>
                      <a:pt x="14772" y="796"/>
                    </a:lnTo>
                    <a:lnTo>
                      <a:pt x="14668" y="754"/>
                    </a:lnTo>
                    <a:lnTo>
                      <a:pt x="14584" y="837"/>
                    </a:lnTo>
                    <a:lnTo>
                      <a:pt x="14521" y="796"/>
                    </a:lnTo>
                    <a:lnTo>
                      <a:pt x="14521" y="586"/>
                    </a:lnTo>
                    <a:lnTo>
                      <a:pt x="14416" y="649"/>
                    </a:lnTo>
                    <a:lnTo>
                      <a:pt x="14270" y="796"/>
                    </a:lnTo>
                    <a:lnTo>
                      <a:pt x="14333" y="837"/>
                    </a:lnTo>
                    <a:lnTo>
                      <a:pt x="14333" y="900"/>
                    </a:lnTo>
                    <a:lnTo>
                      <a:pt x="14249" y="963"/>
                    </a:lnTo>
                    <a:lnTo>
                      <a:pt x="14144" y="900"/>
                    </a:lnTo>
                    <a:lnTo>
                      <a:pt x="14124" y="837"/>
                    </a:lnTo>
                    <a:lnTo>
                      <a:pt x="14103" y="775"/>
                    </a:lnTo>
                    <a:lnTo>
                      <a:pt x="14040" y="858"/>
                    </a:lnTo>
                    <a:lnTo>
                      <a:pt x="13956" y="879"/>
                    </a:lnTo>
                    <a:lnTo>
                      <a:pt x="13956" y="796"/>
                    </a:lnTo>
                    <a:lnTo>
                      <a:pt x="14040" y="733"/>
                    </a:lnTo>
                    <a:lnTo>
                      <a:pt x="14061" y="670"/>
                    </a:lnTo>
                    <a:lnTo>
                      <a:pt x="13998" y="691"/>
                    </a:lnTo>
                    <a:lnTo>
                      <a:pt x="13914" y="775"/>
                    </a:lnTo>
                    <a:lnTo>
                      <a:pt x="13789" y="837"/>
                    </a:lnTo>
                    <a:lnTo>
                      <a:pt x="13789" y="858"/>
                    </a:lnTo>
                    <a:lnTo>
                      <a:pt x="13705" y="879"/>
                    </a:lnTo>
                    <a:lnTo>
                      <a:pt x="13684" y="837"/>
                    </a:lnTo>
                    <a:lnTo>
                      <a:pt x="13538" y="837"/>
                    </a:lnTo>
                    <a:lnTo>
                      <a:pt x="13538" y="775"/>
                    </a:lnTo>
                    <a:lnTo>
                      <a:pt x="13475" y="649"/>
                    </a:lnTo>
                    <a:lnTo>
                      <a:pt x="13412" y="649"/>
                    </a:lnTo>
                    <a:lnTo>
                      <a:pt x="13287" y="691"/>
                    </a:lnTo>
                    <a:lnTo>
                      <a:pt x="13182" y="670"/>
                    </a:lnTo>
                    <a:lnTo>
                      <a:pt x="13119" y="691"/>
                    </a:lnTo>
                    <a:lnTo>
                      <a:pt x="13077" y="628"/>
                    </a:lnTo>
                    <a:lnTo>
                      <a:pt x="13015" y="628"/>
                    </a:lnTo>
                    <a:lnTo>
                      <a:pt x="12973" y="482"/>
                    </a:lnTo>
                    <a:lnTo>
                      <a:pt x="12847" y="545"/>
                    </a:lnTo>
                    <a:lnTo>
                      <a:pt x="12701" y="524"/>
                    </a:lnTo>
                    <a:lnTo>
                      <a:pt x="12575" y="461"/>
                    </a:lnTo>
                    <a:lnTo>
                      <a:pt x="12575" y="377"/>
                    </a:lnTo>
                    <a:lnTo>
                      <a:pt x="12491" y="273"/>
                    </a:lnTo>
                    <a:lnTo>
                      <a:pt x="12450" y="273"/>
                    </a:lnTo>
                    <a:lnTo>
                      <a:pt x="12450" y="335"/>
                    </a:lnTo>
                    <a:lnTo>
                      <a:pt x="12282" y="377"/>
                    </a:lnTo>
                    <a:lnTo>
                      <a:pt x="12240" y="273"/>
                    </a:lnTo>
                    <a:lnTo>
                      <a:pt x="12136" y="252"/>
                    </a:lnTo>
                    <a:lnTo>
                      <a:pt x="11968" y="168"/>
                    </a:lnTo>
                    <a:lnTo>
                      <a:pt x="11968" y="210"/>
                    </a:lnTo>
                    <a:lnTo>
                      <a:pt x="11906" y="147"/>
                    </a:lnTo>
                    <a:lnTo>
                      <a:pt x="11801" y="231"/>
                    </a:lnTo>
                    <a:lnTo>
                      <a:pt x="11906" y="314"/>
                    </a:lnTo>
                    <a:lnTo>
                      <a:pt x="11864" y="335"/>
                    </a:lnTo>
                    <a:lnTo>
                      <a:pt x="11968" y="356"/>
                    </a:lnTo>
                    <a:lnTo>
                      <a:pt x="12073" y="335"/>
                    </a:lnTo>
                    <a:lnTo>
                      <a:pt x="12240" y="461"/>
                    </a:lnTo>
                    <a:lnTo>
                      <a:pt x="12240" y="545"/>
                    </a:lnTo>
                    <a:lnTo>
                      <a:pt x="12261" y="733"/>
                    </a:lnTo>
                    <a:lnTo>
                      <a:pt x="12136" y="733"/>
                    </a:lnTo>
                    <a:lnTo>
                      <a:pt x="12115" y="858"/>
                    </a:lnTo>
                    <a:lnTo>
                      <a:pt x="12052" y="775"/>
                    </a:lnTo>
                    <a:lnTo>
                      <a:pt x="11968" y="754"/>
                    </a:lnTo>
                    <a:lnTo>
                      <a:pt x="11864" y="837"/>
                    </a:lnTo>
                    <a:lnTo>
                      <a:pt x="11550" y="837"/>
                    </a:lnTo>
                    <a:lnTo>
                      <a:pt x="11424" y="733"/>
                    </a:lnTo>
                    <a:lnTo>
                      <a:pt x="11403" y="775"/>
                    </a:lnTo>
                    <a:lnTo>
                      <a:pt x="11278" y="837"/>
                    </a:lnTo>
                    <a:lnTo>
                      <a:pt x="11299" y="942"/>
                    </a:lnTo>
                    <a:lnTo>
                      <a:pt x="11194" y="900"/>
                    </a:lnTo>
                    <a:lnTo>
                      <a:pt x="11215" y="1068"/>
                    </a:lnTo>
                    <a:lnTo>
                      <a:pt x="11173" y="1005"/>
                    </a:lnTo>
                    <a:lnTo>
                      <a:pt x="11027" y="963"/>
                    </a:lnTo>
                    <a:lnTo>
                      <a:pt x="10985" y="1047"/>
                    </a:lnTo>
                    <a:lnTo>
                      <a:pt x="11027" y="1109"/>
                    </a:lnTo>
                    <a:lnTo>
                      <a:pt x="11027" y="1172"/>
                    </a:lnTo>
                    <a:lnTo>
                      <a:pt x="10880" y="1109"/>
                    </a:lnTo>
                    <a:lnTo>
                      <a:pt x="10818" y="1193"/>
                    </a:lnTo>
                    <a:lnTo>
                      <a:pt x="10880" y="1256"/>
                    </a:lnTo>
                    <a:lnTo>
                      <a:pt x="10797" y="1298"/>
                    </a:lnTo>
                    <a:lnTo>
                      <a:pt x="10713" y="1361"/>
                    </a:lnTo>
                    <a:lnTo>
                      <a:pt x="10713" y="1402"/>
                    </a:lnTo>
                    <a:lnTo>
                      <a:pt x="10797" y="1507"/>
                    </a:lnTo>
                    <a:lnTo>
                      <a:pt x="10818" y="1570"/>
                    </a:lnTo>
                    <a:lnTo>
                      <a:pt x="10818" y="1570"/>
                    </a:lnTo>
                    <a:lnTo>
                      <a:pt x="10713" y="1507"/>
                    </a:lnTo>
                    <a:lnTo>
                      <a:pt x="10650" y="1591"/>
                    </a:lnTo>
                    <a:lnTo>
                      <a:pt x="10546" y="1591"/>
                    </a:lnTo>
                    <a:lnTo>
                      <a:pt x="10462" y="1737"/>
                    </a:lnTo>
                    <a:lnTo>
                      <a:pt x="10357" y="1925"/>
                    </a:lnTo>
                    <a:lnTo>
                      <a:pt x="10274" y="1946"/>
                    </a:lnTo>
                    <a:lnTo>
                      <a:pt x="10253" y="2114"/>
                    </a:lnTo>
                    <a:lnTo>
                      <a:pt x="10148" y="2156"/>
                    </a:lnTo>
                    <a:lnTo>
                      <a:pt x="10232" y="2239"/>
                    </a:lnTo>
                    <a:lnTo>
                      <a:pt x="10441" y="2260"/>
                    </a:lnTo>
                    <a:lnTo>
                      <a:pt x="10357" y="2302"/>
                    </a:lnTo>
                    <a:lnTo>
                      <a:pt x="10294" y="2365"/>
                    </a:lnTo>
                    <a:lnTo>
                      <a:pt x="10546" y="2449"/>
                    </a:lnTo>
                    <a:lnTo>
                      <a:pt x="10462" y="2511"/>
                    </a:lnTo>
                    <a:lnTo>
                      <a:pt x="10294" y="2469"/>
                    </a:lnTo>
                    <a:lnTo>
                      <a:pt x="10253" y="2407"/>
                    </a:lnTo>
                    <a:lnTo>
                      <a:pt x="10253" y="2407"/>
                    </a:lnTo>
                    <a:lnTo>
                      <a:pt x="10274" y="2469"/>
                    </a:lnTo>
                    <a:lnTo>
                      <a:pt x="10357" y="2553"/>
                    </a:lnTo>
                    <a:lnTo>
                      <a:pt x="10357" y="2679"/>
                    </a:lnTo>
                    <a:lnTo>
                      <a:pt x="10462" y="2825"/>
                    </a:lnTo>
                    <a:lnTo>
                      <a:pt x="10294" y="2679"/>
                    </a:lnTo>
                    <a:lnTo>
                      <a:pt x="10232" y="2532"/>
                    </a:lnTo>
                    <a:lnTo>
                      <a:pt x="10127" y="2511"/>
                    </a:lnTo>
                    <a:lnTo>
                      <a:pt x="10085" y="2574"/>
                    </a:lnTo>
                    <a:lnTo>
                      <a:pt x="10064" y="2658"/>
                    </a:lnTo>
                    <a:lnTo>
                      <a:pt x="10043" y="2574"/>
                    </a:lnTo>
                    <a:lnTo>
                      <a:pt x="9813" y="2428"/>
                    </a:lnTo>
                    <a:lnTo>
                      <a:pt x="9625" y="2449"/>
                    </a:lnTo>
                    <a:lnTo>
                      <a:pt x="9667" y="2511"/>
                    </a:lnTo>
                    <a:lnTo>
                      <a:pt x="9625" y="2574"/>
                    </a:lnTo>
                    <a:lnTo>
                      <a:pt x="9562" y="2532"/>
                    </a:lnTo>
                    <a:lnTo>
                      <a:pt x="9520" y="2532"/>
                    </a:lnTo>
                    <a:lnTo>
                      <a:pt x="9458" y="2574"/>
                    </a:lnTo>
                    <a:lnTo>
                      <a:pt x="9541" y="2721"/>
                    </a:lnTo>
                    <a:lnTo>
                      <a:pt x="9520" y="2762"/>
                    </a:lnTo>
                    <a:lnTo>
                      <a:pt x="9499" y="2721"/>
                    </a:lnTo>
                    <a:lnTo>
                      <a:pt x="9437" y="2741"/>
                    </a:lnTo>
                    <a:lnTo>
                      <a:pt x="9437" y="2783"/>
                    </a:lnTo>
                    <a:lnTo>
                      <a:pt x="9332" y="2846"/>
                    </a:lnTo>
                    <a:lnTo>
                      <a:pt x="9186" y="2888"/>
                    </a:lnTo>
                    <a:lnTo>
                      <a:pt x="9311" y="2825"/>
                    </a:lnTo>
                    <a:lnTo>
                      <a:pt x="9395" y="2721"/>
                    </a:lnTo>
                    <a:lnTo>
                      <a:pt x="9395" y="2532"/>
                    </a:lnTo>
                    <a:lnTo>
                      <a:pt x="9458" y="2428"/>
                    </a:lnTo>
                    <a:lnTo>
                      <a:pt x="9416" y="2344"/>
                    </a:lnTo>
                    <a:lnTo>
                      <a:pt x="9311" y="2323"/>
                    </a:lnTo>
                    <a:lnTo>
                      <a:pt x="9144" y="2030"/>
                    </a:lnTo>
                    <a:lnTo>
                      <a:pt x="9081" y="1905"/>
                    </a:lnTo>
                    <a:lnTo>
                      <a:pt x="8893" y="1842"/>
                    </a:lnTo>
                    <a:lnTo>
                      <a:pt x="8788" y="1800"/>
                    </a:lnTo>
                    <a:lnTo>
                      <a:pt x="8725" y="1821"/>
                    </a:lnTo>
                    <a:lnTo>
                      <a:pt x="8788" y="1884"/>
                    </a:lnTo>
                    <a:lnTo>
                      <a:pt x="8704" y="1905"/>
                    </a:lnTo>
                    <a:lnTo>
                      <a:pt x="8621" y="2030"/>
                    </a:lnTo>
                    <a:lnTo>
                      <a:pt x="8558" y="2009"/>
                    </a:lnTo>
                    <a:lnTo>
                      <a:pt x="8579" y="1946"/>
                    </a:lnTo>
                    <a:lnTo>
                      <a:pt x="8474" y="1988"/>
                    </a:lnTo>
                    <a:lnTo>
                      <a:pt x="8453" y="2051"/>
                    </a:lnTo>
                    <a:lnTo>
                      <a:pt x="8370" y="1884"/>
                    </a:lnTo>
                    <a:lnTo>
                      <a:pt x="8307" y="1884"/>
                    </a:lnTo>
                    <a:lnTo>
                      <a:pt x="8286" y="1946"/>
                    </a:lnTo>
                    <a:lnTo>
                      <a:pt x="8370" y="2009"/>
                    </a:lnTo>
                    <a:lnTo>
                      <a:pt x="8265" y="2093"/>
                    </a:lnTo>
                    <a:lnTo>
                      <a:pt x="8202" y="2218"/>
                    </a:lnTo>
                    <a:lnTo>
                      <a:pt x="8265" y="2260"/>
                    </a:lnTo>
                    <a:lnTo>
                      <a:pt x="8139" y="2344"/>
                    </a:lnTo>
                    <a:lnTo>
                      <a:pt x="8077" y="2260"/>
                    </a:lnTo>
                    <a:lnTo>
                      <a:pt x="8035" y="2260"/>
                    </a:lnTo>
                    <a:lnTo>
                      <a:pt x="7993" y="2197"/>
                    </a:lnTo>
                    <a:lnTo>
                      <a:pt x="8077" y="2114"/>
                    </a:lnTo>
                    <a:lnTo>
                      <a:pt x="7993" y="2114"/>
                    </a:lnTo>
                    <a:lnTo>
                      <a:pt x="7951" y="2239"/>
                    </a:lnTo>
                    <a:lnTo>
                      <a:pt x="7846" y="2260"/>
                    </a:lnTo>
                    <a:lnTo>
                      <a:pt x="7784" y="2323"/>
                    </a:lnTo>
                    <a:lnTo>
                      <a:pt x="7763" y="2449"/>
                    </a:lnTo>
                    <a:lnTo>
                      <a:pt x="7951" y="2511"/>
                    </a:lnTo>
                    <a:lnTo>
                      <a:pt x="7784" y="2637"/>
                    </a:lnTo>
                    <a:lnTo>
                      <a:pt x="7679" y="2574"/>
                    </a:lnTo>
                    <a:lnTo>
                      <a:pt x="7533" y="2658"/>
                    </a:lnTo>
                    <a:lnTo>
                      <a:pt x="7554" y="2741"/>
                    </a:lnTo>
                    <a:lnTo>
                      <a:pt x="7742" y="2762"/>
                    </a:lnTo>
                    <a:lnTo>
                      <a:pt x="7658" y="2846"/>
                    </a:lnTo>
                    <a:lnTo>
                      <a:pt x="7574" y="2867"/>
                    </a:lnTo>
                    <a:lnTo>
                      <a:pt x="7470" y="2741"/>
                    </a:lnTo>
                    <a:lnTo>
                      <a:pt x="7365" y="2846"/>
                    </a:lnTo>
                    <a:lnTo>
                      <a:pt x="7261" y="2867"/>
                    </a:lnTo>
                    <a:lnTo>
                      <a:pt x="7302" y="2951"/>
                    </a:lnTo>
                    <a:lnTo>
                      <a:pt x="7323" y="3034"/>
                    </a:lnTo>
                    <a:lnTo>
                      <a:pt x="7323" y="3097"/>
                    </a:lnTo>
                    <a:lnTo>
                      <a:pt x="7407" y="3076"/>
                    </a:lnTo>
                    <a:lnTo>
                      <a:pt x="7323" y="3181"/>
                    </a:lnTo>
                    <a:lnTo>
                      <a:pt x="7365" y="3286"/>
                    </a:lnTo>
                    <a:lnTo>
                      <a:pt x="7261" y="3306"/>
                    </a:lnTo>
                    <a:lnTo>
                      <a:pt x="7219" y="3390"/>
                    </a:lnTo>
                    <a:lnTo>
                      <a:pt x="7407" y="3453"/>
                    </a:lnTo>
                    <a:lnTo>
                      <a:pt x="7302" y="3495"/>
                    </a:lnTo>
                    <a:lnTo>
                      <a:pt x="7261" y="3558"/>
                    </a:lnTo>
                    <a:lnTo>
                      <a:pt x="7135" y="3516"/>
                    </a:lnTo>
                    <a:lnTo>
                      <a:pt x="7093" y="3453"/>
                    </a:lnTo>
                    <a:lnTo>
                      <a:pt x="7009" y="3390"/>
                    </a:lnTo>
                    <a:lnTo>
                      <a:pt x="6905" y="3474"/>
                    </a:lnTo>
                    <a:lnTo>
                      <a:pt x="6884" y="3369"/>
                    </a:lnTo>
                    <a:lnTo>
                      <a:pt x="6779" y="3306"/>
                    </a:lnTo>
                    <a:lnTo>
                      <a:pt x="6696" y="3369"/>
                    </a:lnTo>
                    <a:lnTo>
                      <a:pt x="6821" y="3474"/>
                    </a:lnTo>
                    <a:lnTo>
                      <a:pt x="6779" y="3495"/>
                    </a:lnTo>
                    <a:lnTo>
                      <a:pt x="6717" y="3599"/>
                    </a:lnTo>
                    <a:lnTo>
                      <a:pt x="6821" y="3704"/>
                    </a:lnTo>
                    <a:lnTo>
                      <a:pt x="6947" y="3704"/>
                    </a:lnTo>
                    <a:lnTo>
                      <a:pt x="6905" y="3809"/>
                    </a:lnTo>
                    <a:lnTo>
                      <a:pt x="6905" y="3913"/>
                    </a:lnTo>
                    <a:lnTo>
                      <a:pt x="6842" y="3871"/>
                    </a:lnTo>
                    <a:lnTo>
                      <a:pt x="6779" y="3871"/>
                    </a:lnTo>
                    <a:lnTo>
                      <a:pt x="6800" y="3997"/>
                    </a:lnTo>
                    <a:lnTo>
                      <a:pt x="6737" y="4122"/>
                    </a:lnTo>
                    <a:lnTo>
                      <a:pt x="6737" y="4248"/>
                    </a:lnTo>
                    <a:lnTo>
                      <a:pt x="6570" y="3871"/>
                    </a:lnTo>
                    <a:lnTo>
                      <a:pt x="6424" y="3620"/>
                    </a:lnTo>
                    <a:lnTo>
                      <a:pt x="6382" y="3558"/>
                    </a:lnTo>
                    <a:lnTo>
                      <a:pt x="6403" y="3390"/>
                    </a:lnTo>
                    <a:lnTo>
                      <a:pt x="6361" y="3474"/>
                    </a:lnTo>
                    <a:lnTo>
                      <a:pt x="6214" y="3558"/>
                    </a:lnTo>
                    <a:lnTo>
                      <a:pt x="6193" y="3704"/>
                    </a:lnTo>
                    <a:lnTo>
                      <a:pt x="6110" y="3725"/>
                    </a:lnTo>
                    <a:lnTo>
                      <a:pt x="6089" y="3809"/>
                    </a:lnTo>
                    <a:lnTo>
                      <a:pt x="5984" y="3788"/>
                    </a:lnTo>
                    <a:lnTo>
                      <a:pt x="5901" y="3892"/>
                    </a:lnTo>
                    <a:lnTo>
                      <a:pt x="5838" y="3976"/>
                    </a:lnTo>
                    <a:lnTo>
                      <a:pt x="5859" y="4102"/>
                    </a:lnTo>
                    <a:lnTo>
                      <a:pt x="5859" y="4415"/>
                    </a:lnTo>
                    <a:lnTo>
                      <a:pt x="5901" y="4436"/>
                    </a:lnTo>
                    <a:lnTo>
                      <a:pt x="5901" y="4541"/>
                    </a:lnTo>
                    <a:lnTo>
                      <a:pt x="5796" y="4604"/>
                    </a:lnTo>
                    <a:lnTo>
                      <a:pt x="5733" y="4708"/>
                    </a:lnTo>
                    <a:lnTo>
                      <a:pt x="5566" y="4750"/>
                    </a:lnTo>
                    <a:lnTo>
                      <a:pt x="5587" y="4834"/>
                    </a:lnTo>
                    <a:lnTo>
                      <a:pt x="5461" y="4918"/>
                    </a:lnTo>
                    <a:lnTo>
                      <a:pt x="5461" y="5064"/>
                    </a:lnTo>
                    <a:lnTo>
                      <a:pt x="5377" y="5127"/>
                    </a:lnTo>
                    <a:lnTo>
                      <a:pt x="5210" y="5378"/>
                    </a:lnTo>
                    <a:lnTo>
                      <a:pt x="4854" y="5587"/>
                    </a:lnTo>
                    <a:lnTo>
                      <a:pt x="4561" y="5608"/>
                    </a:lnTo>
                    <a:lnTo>
                      <a:pt x="4436" y="5650"/>
                    </a:lnTo>
                    <a:lnTo>
                      <a:pt x="4268" y="5671"/>
                    </a:lnTo>
                    <a:lnTo>
                      <a:pt x="4122" y="5692"/>
                    </a:lnTo>
                    <a:lnTo>
                      <a:pt x="3996" y="5671"/>
                    </a:lnTo>
                    <a:lnTo>
                      <a:pt x="3808" y="5754"/>
                    </a:lnTo>
                    <a:lnTo>
                      <a:pt x="3787" y="5859"/>
                    </a:lnTo>
                    <a:lnTo>
                      <a:pt x="3683" y="5901"/>
                    </a:lnTo>
                    <a:lnTo>
                      <a:pt x="3285" y="5880"/>
                    </a:lnTo>
                    <a:lnTo>
                      <a:pt x="3222" y="5922"/>
                    </a:lnTo>
                    <a:lnTo>
                      <a:pt x="3160" y="6027"/>
                    </a:lnTo>
                    <a:lnTo>
                      <a:pt x="2929" y="6131"/>
                    </a:lnTo>
                    <a:lnTo>
                      <a:pt x="2762" y="6131"/>
                    </a:lnTo>
                    <a:lnTo>
                      <a:pt x="2657" y="6089"/>
                    </a:lnTo>
                    <a:lnTo>
                      <a:pt x="2553" y="6110"/>
                    </a:lnTo>
                    <a:lnTo>
                      <a:pt x="2532" y="6027"/>
                    </a:lnTo>
                    <a:lnTo>
                      <a:pt x="2427" y="6089"/>
                    </a:lnTo>
                    <a:lnTo>
                      <a:pt x="2344" y="6215"/>
                    </a:lnTo>
                    <a:lnTo>
                      <a:pt x="2113" y="6278"/>
                    </a:lnTo>
                    <a:lnTo>
                      <a:pt x="2092" y="6319"/>
                    </a:lnTo>
                    <a:lnTo>
                      <a:pt x="2009" y="6319"/>
                    </a:lnTo>
                    <a:lnTo>
                      <a:pt x="1820" y="6487"/>
                    </a:lnTo>
                    <a:lnTo>
                      <a:pt x="1569" y="6612"/>
                    </a:lnTo>
                    <a:lnTo>
                      <a:pt x="1255" y="6717"/>
                    </a:lnTo>
                    <a:lnTo>
                      <a:pt x="1088" y="6905"/>
                    </a:lnTo>
                    <a:lnTo>
                      <a:pt x="1088" y="7115"/>
                    </a:lnTo>
                    <a:lnTo>
                      <a:pt x="963" y="7219"/>
                    </a:lnTo>
                    <a:lnTo>
                      <a:pt x="879" y="7156"/>
                    </a:lnTo>
                    <a:lnTo>
                      <a:pt x="900" y="7073"/>
                    </a:lnTo>
                    <a:lnTo>
                      <a:pt x="900" y="7010"/>
                    </a:lnTo>
                    <a:lnTo>
                      <a:pt x="963" y="6843"/>
                    </a:lnTo>
                    <a:lnTo>
                      <a:pt x="963" y="6738"/>
                    </a:lnTo>
                    <a:lnTo>
                      <a:pt x="774" y="6863"/>
                    </a:lnTo>
                    <a:lnTo>
                      <a:pt x="732" y="7052"/>
                    </a:lnTo>
                    <a:lnTo>
                      <a:pt x="607" y="7282"/>
                    </a:lnTo>
                    <a:lnTo>
                      <a:pt x="711" y="7470"/>
                    </a:lnTo>
                    <a:lnTo>
                      <a:pt x="628" y="7638"/>
                    </a:lnTo>
                    <a:lnTo>
                      <a:pt x="649" y="7889"/>
                    </a:lnTo>
                    <a:lnTo>
                      <a:pt x="419" y="8161"/>
                    </a:lnTo>
                    <a:lnTo>
                      <a:pt x="335" y="8537"/>
                    </a:lnTo>
                    <a:lnTo>
                      <a:pt x="377" y="8726"/>
                    </a:lnTo>
                    <a:lnTo>
                      <a:pt x="356" y="9019"/>
                    </a:lnTo>
                    <a:lnTo>
                      <a:pt x="565" y="9353"/>
                    </a:lnTo>
                    <a:lnTo>
                      <a:pt x="565" y="9479"/>
                    </a:lnTo>
                    <a:lnTo>
                      <a:pt x="649" y="9584"/>
                    </a:lnTo>
                    <a:lnTo>
                      <a:pt x="565" y="9751"/>
                    </a:lnTo>
                    <a:lnTo>
                      <a:pt x="628" y="9897"/>
                    </a:lnTo>
                    <a:lnTo>
                      <a:pt x="502" y="9960"/>
                    </a:lnTo>
                    <a:lnTo>
                      <a:pt x="439" y="9856"/>
                    </a:lnTo>
                    <a:lnTo>
                      <a:pt x="439" y="9667"/>
                    </a:lnTo>
                    <a:lnTo>
                      <a:pt x="356" y="9772"/>
                    </a:lnTo>
                    <a:lnTo>
                      <a:pt x="335" y="9730"/>
                    </a:lnTo>
                    <a:lnTo>
                      <a:pt x="335" y="9542"/>
                    </a:lnTo>
                    <a:lnTo>
                      <a:pt x="230" y="9312"/>
                    </a:lnTo>
                    <a:lnTo>
                      <a:pt x="147" y="9416"/>
                    </a:lnTo>
                    <a:lnTo>
                      <a:pt x="188" y="9667"/>
                    </a:lnTo>
                    <a:lnTo>
                      <a:pt x="335" y="9835"/>
                    </a:lnTo>
                    <a:lnTo>
                      <a:pt x="439" y="10023"/>
                    </a:lnTo>
                    <a:lnTo>
                      <a:pt x="293" y="10065"/>
                    </a:lnTo>
                    <a:lnTo>
                      <a:pt x="147" y="9897"/>
                    </a:lnTo>
                    <a:lnTo>
                      <a:pt x="126" y="9688"/>
                    </a:lnTo>
                    <a:lnTo>
                      <a:pt x="84" y="9772"/>
                    </a:lnTo>
                    <a:lnTo>
                      <a:pt x="0" y="9835"/>
                    </a:lnTo>
                    <a:lnTo>
                      <a:pt x="105" y="10002"/>
                    </a:lnTo>
                    <a:lnTo>
                      <a:pt x="314" y="10253"/>
                    </a:lnTo>
                    <a:lnTo>
                      <a:pt x="419" y="10588"/>
                    </a:lnTo>
                    <a:lnTo>
                      <a:pt x="377" y="11153"/>
                    </a:lnTo>
                    <a:lnTo>
                      <a:pt x="460" y="11257"/>
                    </a:lnTo>
                    <a:lnTo>
                      <a:pt x="544" y="11592"/>
                    </a:lnTo>
                    <a:lnTo>
                      <a:pt x="711" y="12032"/>
                    </a:lnTo>
                    <a:lnTo>
                      <a:pt x="649" y="12178"/>
                    </a:lnTo>
                    <a:lnTo>
                      <a:pt x="670" y="12827"/>
                    </a:lnTo>
                    <a:lnTo>
                      <a:pt x="649" y="12910"/>
                    </a:lnTo>
                    <a:lnTo>
                      <a:pt x="711" y="13099"/>
                    </a:lnTo>
                    <a:lnTo>
                      <a:pt x="711" y="13308"/>
                    </a:lnTo>
                    <a:lnTo>
                      <a:pt x="837" y="13559"/>
                    </a:lnTo>
                    <a:lnTo>
                      <a:pt x="837" y="13726"/>
                    </a:lnTo>
                    <a:lnTo>
                      <a:pt x="732" y="13810"/>
                    </a:lnTo>
                    <a:lnTo>
                      <a:pt x="774" y="13852"/>
                    </a:lnTo>
                    <a:lnTo>
                      <a:pt x="732" y="14019"/>
                    </a:lnTo>
                    <a:lnTo>
                      <a:pt x="711" y="14270"/>
                    </a:lnTo>
                    <a:lnTo>
                      <a:pt x="628" y="14354"/>
                    </a:lnTo>
                    <a:lnTo>
                      <a:pt x="649" y="14438"/>
                    </a:lnTo>
                    <a:lnTo>
                      <a:pt x="628" y="14584"/>
                    </a:lnTo>
                    <a:lnTo>
                      <a:pt x="523" y="14668"/>
                    </a:lnTo>
                    <a:lnTo>
                      <a:pt x="544" y="14793"/>
                    </a:lnTo>
                    <a:lnTo>
                      <a:pt x="335" y="14961"/>
                    </a:lnTo>
                    <a:lnTo>
                      <a:pt x="251" y="14877"/>
                    </a:lnTo>
                    <a:lnTo>
                      <a:pt x="126" y="15086"/>
                    </a:lnTo>
                    <a:lnTo>
                      <a:pt x="126" y="15442"/>
                    </a:lnTo>
                    <a:lnTo>
                      <a:pt x="209" y="15526"/>
                    </a:lnTo>
                    <a:lnTo>
                      <a:pt x="293" y="15526"/>
                    </a:lnTo>
                    <a:lnTo>
                      <a:pt x="544" y="15756"/>
                    </a:lnTo>
                    <a:lnTo>
                      <a:pt x="544" y="15861"/>
                    </a:lnTo>
                    <a:lnTo>
                      <a:pt x="565" y="15923"/>
                    </a:lnTo>
                    <a:lnTo>
                      <a:pt x="711" y="15944"/>
                    </a:lnTo>
                    <a:lnTo>
                      <a:pt x="753" y="16007"/>
                    </a:lnTo>
                    <a:lnTo>
                      <a:pt x="942" y="16028"/>
                    </a:lnTo>
                    <a:lnTo>
                      <a:pt x="983" y="16028"/>
                    </a:lnTo>
                    <a:lnTo>
                      <a:pt x="1025" y="16070"/>
                    </a:lnTo>
                    <a:lnTo>
                      <a:pt x="1151" y="16070"/>
                    </a:lnTo>
                    <a:lnTo>
                      <a:pt x="1297" y="16049"/>
                    </a:lnTo>
                    <a:lnTo>
                      <a:pt x="1339" y="16133"/>
                    </a:lnTo>
                    <a:lnTo>
                      <a:pt x="1402" y="16070"/>
                    </a:lnTo>
                    <a:lnTo>
                      <a:pt x="1423" y="16112"/>
                    </a:lnTo>
                    <a:lnTo>
                      <a:pt x="1611" y="16070"/>
                    </a:lnTo>
                    <a:lnTo>
                      <a:pt x="1758" y="16070"/>
                    </a:lnTo>
                    <a:lnTo>
                      <a:pt x="1779" y="16007"/>
                    </a:lnTo>
                    <a:lnTo>
                      <a:pt x="1862" y="15965"/>
                    </a:lnTo>
                    <a:lnTo>
                      <a:pt x="1946" y="15840"/>
                    </a:lnTo>
                    <a:lnTo>
                      <a:pt x="2113" y="15861"/>
                    </a:lnTo>
                    <a:lnTo>
                      <a:pt x="2113" y="15756"/>
                    </a:lnTo>
                    <a:lnTo>
                      <a:pt x="2218" y="15693"/>
                    </a:lnTo>
                    <a:lnTo>
                      <a:pt x="2323" y="15693"/>
                    </a:lnTo>
                    <a:lnTo>
                      <a:pt x="2406" y="15777"/>
                    </a:lnTo>
                    <a:lnTo>
                      <a:pt x="2511" y="15651"/>
                    </a:lnTo>
                    <a:lnTo>
                      <a:pt x="2532" y="15693"/>
                    </a:lnTo>
                    <a:lnTo>
                      <a:pt x="2616" y="15651"/>
                    </a:lnTo>
                    <a:lnTo>
                      <a:pt x="2636" y="15526"/>
                    </a:lnTo>
                    <a:lnTo>
                      <a:pt x="2950" y="15317"/>
                    </a:lnTo>
                    <a:lnTo>
                      <a:pt x="3076" y="15338"/>
                    </a:lnTo>
                    <a:lnTo>
                      <a:pt x="3160" y="15379"/>
                    </a:lnTo>
                    <a:lnTo>
                      <a:pt x="3264" y="15317"/>
                    </a:lnTo>
                    <a:lnTo>
                      <a:pt x="3557" y="15233"/>
                    </a:lnTo>
                    <a:lnTo>
                      <a:pt x="3599" y="15317"/>
                    </a:lnTo>
                    <a:lnTo>
                      <a:pt x="3787" y="15254"/>
                    </a:lnTo>
                    <a:lnTo>
                      <a:pt x="3850" y="15296"/>
                    </a:lnTo>
                    <a:lnTo>
                      <a:pt x="3955" y="15317"/>
                    </a:lnTo>
                    <a:lnTo>
                      <a:pt x="4038" y="15254"/>
                    </a:lnTo>
                    <a:lnTo>
                      <a:pt x="4101" y="15400"/>
                    </a:lnTo>
                    <a:lnTo>
                      <a:pt x="4185" y="15400"/>
                    </a:lnTo>
                    <a:lnTo>
                      <a:pt x="4268" y="15338"/>
                    </a:lnTo>
                    <a:lnTo>
                      <a:pt x="4310" y="15400"/>
                    </a:lnTo>
                    <a:lnTo>
                      <a:pt x="4415" y="15338"/>
                    </a:lnTo>
                    <a:lnTo>
                      <a:pt x="4624" y="15338"/>
                    </a:lnTo>
                    <a:lnTo>
                      <a:pt x="4624" y="15442"/>
                    </a:lnTo>
                    <a:lnTo>
                      <a:pt x="4645" y="15442"/>
                    </a:lnTo>
                    <a:lnTo>
                      <a:pt x="4792" y="15338"/>
                    </a:lnTo>
                    <a:lnTo>
                      <a:pt x="4917" y="15379"/>
                    </a:lnTo>
                    <a:lnTo>
                      <a:pt x="5064" y="15254"/>
                    </a:lnTo>
                    <a:lnTo>
                      <a:pt x="5126" y="15128"/>
                    </a:lnTo>
                    <a:lnTo>
                      <a:pt x="5168" y="15107"/>
                    </a:lnTo>
                    <a:lnTo>
                      <a:pt x="5315" y="14982"/>
                    </a:lnTo>
                    <a:lnTo>
                      <a:pt x="5377" y="14773"/>
                    </a:lnTo>
                    <a:lnTo>
                      <a:pt x="5524" y="14668"/>
                    </a:lnTo>
                    <a:lnTo>
                      <a:pt x="5670" y="14647"/>
                    </a:lnTo>
                    <a:lnTo>
                      <a:pt x="5754" y="14668"/>
                    </a:lnTo>
                    <a:lnTo>
                      <a:pt x="5984" y="14584"/>
                    </a:lnTo>
                    <a:lnTo>
                      <a:pt x="6277" y="14396"/>
                    </a:lnTo>
                    <a:lnTo>
                      <a:pt x="6486" y="14208"/>
                    </a:lnTo>
                    <a:lnTo>
                      <a:pt x="6570" y="14187"/>
                    </a:lnTo>
                    <a:lnTo>
                      <a:pt x="6737" y="14187"/>
                    </a:lnTo>
                    <a:lnTo>
                      <a:pt x="6905" y="14249"/>
                    </a:lnTo>
                    <a:lnTo>
                      <a:pt x="7051" y="14270"/>
                    </a:lnTo>
                    <a:lnTo>
                      <a:pt x="7198" y="14208"/>
                    </a:lnTo>
                    <a:lnTo>
                      <a:pt x="7407" y="14249"/>
                    </a:lnTo>
                    <a:lnTo>
                      <a:pt x="7742" y="14145"/>
                    </a:lnTo>
                    <a:lnTo>
                      <a:pt x="7930" y="14082"/>
                    </a:lnTo>
                    <a:lnTo>
                      <a:pt x="8056" y="13977"/>
                    </a:lnTo>
                    <a:lnTo>
                      <a:pt x="8139" y="13977"/>
                    </a:lnTo>
                    <a:lnTo>
                      <a:pt x="8307" y="13852"/>
                    </a:lnTo>
                    <a:lnTo>
                      <a:pt x="8558" y="13852"/>
                    </a:lnTo>
                    <a:lnTo>
                      <a:pt x="9186" y="13810"/>
                    </a:lnTo>
                    <a:lnTo>
                      <a:pt x="9395" y="13852"/>
                    </a:lnTo>
                    <a:lnTo>
                      <a:pt x="9520" y="13852"/>
                    </a:lnTo>
                    <a:lnTo>
                      <a:pt x="9709" y="13810"/>
                    </a:lnTo>
                    <a:lnTo>
                      <a:pt x="9834" y="13831"/>
                    </a:lnTo>
                    <a:lnTo>
                      <a:pt x="10022" y="13977"/>
                    </a:lnTo>
                    <a:lnTo>
                      <a:pt x="10148" y="14208"/>
                    </a:lnTo>
                    <a:lnTo>
                      <a:pt x="10253" y="14249"/>
                    </a:lnTo>
                    <a:lnTo>
                      <a:pt x="10336" y="14187"/>
                    </a:lnTo>
                    <a:lnTo>
                      <a:pt x="10378" y="14166"/>
                    </a:lnTo>
                    <a:lnTo>
                      <a:pt x="10441" y="14208"/>
                    </a:lnTo>
                    <a:lnTo>
                      <a:pt x="10504" y="14187"/>
                    </a:lnTo>
                    <a:lnTo>
                      <a:pt x="10650" y="14208"/>
                    </a:lnTo>
                    <a:lnTo>
                      <a:pt x="10755" y="14354"/>
                    </a:lnTo>
                    <a:lnTo>
                      <a:pt x="10880" y="14375"/>
                    </a:lnTo>
                    <a:lnTo>
                      <a:pt x="10964" y="14354"/>
                    </a:lnTo>
                    <a:lnTo>
                      <a:pt x="11194" y="14542"/>
                    </a:lnTo>
                    <a:lnTo>
                      <a:pt x="11194" y="14647"/>
                    </a:lnTo>
                    <a:lnTo>
                      <a:pt x="11278" y="14647"/>
                    </a:lnTo>
                    <a:lnTo>
                      <a:pt x="11341" y="14731"/>
                    </a:lnTo>
                    <a:lnTo>
                      <a:pt x="11320" y="14814"/>
                    </a:lnTo>
                    <a:lnTo>
                      <a:pt x="11215" y="14814"/>
                    </a:lnTo>
                    <a:lnTo>
                      <a:pt x="11194" y="14898"/>
                    </a:lnTo>
                    <a:lnTo>
                      <a:pt x="11299" y="15107"/>
                    </a:lnTo>
                    <a:lnTo>
                      <a:pt x="11403" y="15128"/>
                    </a:lnTo>
                    <a:lnTo>
                      <a:pt x="11508" y="15254"/>
                    </a:lnTo>
                    <a:lnTo>
                      <a:pt x="11550" y="15421"/>
                    </a:lnTo>
                    <a:lnTo>
                      <a:pt x="11529" y="15526"/>
                    </a:lnTo>
                    <a:lnTo>
                      <a:pt x="11655" y="15819"/>
                    </a:lnTo>
                    <a:lnTo>
                      <a:pt x="11613" y="15944"/>
                    </a:lnTo>
                    <a:lnTo>
                      <a:pt x="11655" y="16007"/>
                    </a:lnTo>
                    <a:lnTo>
                      <a:pt x="11634" y="16154"/>
                    </a:lnTo>
                    <a:lnTo>
                      <a:pt x="11613" y="16237"/>
                    </a:lnTo>
                    <a:lnTo>
                      <a:pt x="11529" y="16216"/>
                    </a:lnTo>
                    <a:lnTo>
                      <a:pt x="11508" y="16237"/>
                    </a:lnTo>
                    <a:lnTo>
                      <a:pt x="11592" y="16363"/>
                    </a:lnTo>
                    <a:lnTo>
                      <a:pt x="11655" y="16384"/>
                    </a:lnTo>
                    <a:lnTo>
                      <a:pt x="11717" y="16530"/>
                    </a:lnTo>
                    <a:lnTo>
                      <a:pt x="11822" y="16488"/>
                    </a:lnTo>
                    <a:lnTo>
                      <a:pt x="11927" y="16572"/>
                    </a:lnTo>
                    <a:lnTo>
                      <a:pt x="11927" y="16467"/>
                    </a:lnTo>
                    <a:lnTo>
                      <a:pt x="11864" y="16363"/>
                    </a:lnTo>
                    <a:lnTo>
                      <a:pt x="11927" y="16300"/>
                    </a:lnTo>
                    <a:lnTo>
                      <a:pt x="11968" y="16174"/>
                    </a:lnTo>
                    <a:lnTo>
                      <a:pt x="12073" y="16174"/>
                    </a:lnTo>
                    <a:lnTo>
                      <a:pt x="12136" y="16070"/>
                    </a:lnTo>
                    <a:lnTo>
                      <a:pt x="12240" y="16028"/>
                    </a:lnTo>
                    <a:lnTo>
                      <a:pt x="12261" y="15923"/>
                    </a:lnTo>
                    <a:lnTo>
                      <a:pt x="12366" y="15777"/>
                    </a:lnTo>
                    <a:lnTo>
                      <a:pt x="12596" y="15693"/>
                    </a:lnTo>
                    <a:lnTo>
                      <a:pt x="12638" y="15610"/>
                    </a:lnTo>
                    <a:lnTo>
                      <a:pt x="12680" y="15610"/>
                    </a:lnTo>
                    <a:lnTo>
                      <a:pt x="12868" y="15505"/>
                    </a:lnTo>
                    <a:lnTo>
                      <a:pt x="12910" y="15338"/>
                    </a:lnTo>
                    <a:lnTo>
                      <a:pt x="13077" y="15107"/>
                    </a:lnTo>
                    <a:lnTo>
                      <a:pt x="13224" y="15086"/>
                    </a:lnTo>
                    <a:lnTo>
                      <a:pt x="13307" y="14982"/>
                    </a:lnTo>
                    <a:lnTo>
                      <a:pt x="13266" y="14856"/>
                    </a:lnTo>
                    <a:lnTo>
                      <a:pt x="13287" y="14710"/>
                    </a:lnTo>
                    <a:lnTo>
                      <a:pt x="13370" y="14877"/>
                    </a:lnTo>
                    <a:lnTo>
                      <a:pt x="13370" y="15024"/>
                    </a:lnTo>
                    <a:lnTo>
                      <a:pt x="13370" y="15191"/>
                    </a:lnTo>
                    <a:lnTo>
                      <a:pt x="13287" y="15254"/>
                    </a:lnTo>
                    <a:lnTo>
                      <a:pt x="13266" y="15547"/>
                    </a:lnTo>
                    <a:lnTo>
                      <a:pt x="13015" y="15714"/>
                    </a:lnTo>
                    <a:lnTo>
                      <a:pt x="12973" y="15840"/>
                    </a:lnTo>
                    <a:lnTo>
                      <a:pt x="12910" y="15923"/>
                    </a:lnTo>
                    <a:lnTo>
                      <a:pt x="12910" y="16070"/>
                    </a:lnTo>
                    <a:lnTo>
                      <a:pt x="12784" y="16258"/>
                    </a:lnTo>
                    <a:lnTo>
                      <a:pt x="12805" y="16300"/>
                    </a:lnTo>
                    <a:lnTo>
                      <a:pt x="12743" y="16593"/>
                    </a:lnTo>
                    <a:lnTo>
                      <a:pt x="12450" y="16572"/>
                    </a:lnTo>
                    <a:lnTo>
                      <a:pt x="12387" y="16739"/>
                    </a:lnTo>
                    <a:lnTo>
                      <a:pt x="12324" y="16823"/>
                    </a:lnTo>
                    <a:lnTo>
                      <a:pt x="12324" y="16886"/>
                    </a:lnTo>
                    <a:lnTo>
                      <a:pt x="12491" y="16823"/>
                    </a:lnTo>
                    <a:lnTo>
                      <a:pt x="12659" y="16760"/>
                    </a:lnTo>
                    <a:lnTo>
                      <a:pt x="12868" y="16823"/>
                    </a:lnTo>
                    <a:lnTo>
                      <a:pt x="13056" y="16530"/>
                    </a:lnTo>
                    <a:lnTo>
                      <a:pt x="13098" y="16216"/>
                    </a:lnTo>
                    <a:lnTo>
                      <a:pt x="13266" y="16049"/>
                    </a:lnTo>
                    <a:lnTo>
                      <a:pt x="13307" y="16112"/>
                    </a:lnTo>
                    <a:lnTo>
                      <a:pt x="13307" y="16384"/>
                    </a:lnTo>
                    <a:lnTo>
                      <a:pt x="13370" y="16551"/>
                    </a:lnTo>
                    <a:lnTo>
                      <a:pt x="13307" y="16551"/>
                    </a:lnTo>
                    <a:lnTo>
                      <a:pt x="13328" y="16823"/>
                    </a:lnTo>
                    <a:lnTo>
                      <a:pt x="13203" y="17074"/>
                    </a:lnTo>
                    <a:lnTo>
                      <a:pt x="12994" y="17158"/>
                    </a:lnTo>
                    <a:lnTo>
                      <a:pt x="13015" y="17221"/>
                    </a:lnTo>
                    <a:lnTo>
                      <a:pt x="13161" y="17200"/>
                    </a:lnTo>
                    <a:lnTo>
                      <a:pt x="13307" y="17221"/>
                    </a:lnTo>
                    <a:lnTo>
                      <a:pt x="13391" y="17158"/>
                    </a:lnTo>
                    <a:lnTo>
                      <a:pt x="13496" y="17116"/>
                    </a:lnTo>
                    <a:lnTo>
                      <a:pt x="13600" y="17011"/>
                    </a:lnTo>
                    <a:lnTo>
                      <a:pt x="13705" y="17053"/>
                    </a:lnTo>
                    <a:lnTo>
                      <a:pt x="13789" y="17053"/>
                    </a:lnTo>
                    <a:lnTo>
                      <a:pt x="13705" y="17158"/>
                    </a:lnTo>
                    <a:lnTo>
                      <a:pt x="13642" y="17221"/>
                    </a:lnTo>
                    <a:lnTo>
                      <a:pt x="13538" y="17221"/>
                    </a:lnTo>
                    <a:lnTo>
                      <a:pt x="13517" y="17283"/>
                    </a:lnTo>
                    <a:lnTo>
                      <a:pt x="13621" y="17430"/>
                    </a:lnTo>
                    <a:lnTo>
                      <a:pt x="13684" y="17576"/>
                    </a:lnTo>
                    <a:lnTo>
                      <a:pt x="13747" y="17744"/>
                    </a:lnTo>
                    <a:lnTo>
                      <a:pt x="13747" y="17953"/>
                    </a:lnTo>
                    <a:lnTo>
                      <a:pt x="13726" y="18225"/>
                    </a:lnTo>
                    <a:lnTo>
                      <a:pt x="13600" y="18371"/>
                    </a:lnTo>
                    <a:lnTo>
                      <a:pt x="13621" y="18455"/>
                    </a:lnTo>
                    <a:lnTo>
                      <a:pt x="13600" y="18664"/>
                    </a:lnTo>
                    <a:lnTo>
                      <a:pt x="13705" y="18748"/>
                    </a:lnTo>
                    <a:lnTo>
                      <a:pt x="13789" y="18895"/>
                    </a:lnTo>
                    <a:lnTo>
                      <a:pt x="13810" y="19083"/>
                    </a:lnTo>
                    <a:lnTo>
                      <a:pt x="14019" y="19355"/>
                    </a:lnTo>
                    <a:lnTo>
                      <a:pt x="14165" y="19397"/>
                    </a:lnTo>
                    <a:lnTo>
                      <a:pt x="14270" y="19480"/>
                    </a:lnTo>
                    <a:lnTo>
                      <a:pt x="14333" y="19606"/>
                    </a:lnTo>
                    <a:lnTo>
                      <a:pt x="14437" y="19627"/>
                    </a:lnTo>
                    <a:lnTo>
                      <a:pt x="14458" y="19585"/>
                    </a:lnTo>
                    <a:lnTo>
                      <a:pt x="14542" y="19564"/>
                    </a:lnTo>
                    <a:lnTo>
                      <a:pt x="14688" y="19585"/>
                    </a:lnTo>
                    <a:lnTo>
                      <a:pt x="14835" y="19731"/>
                    </a:lnTo>
                    <a:lnTo>
                      <a:pt x="14960" y="19773"/>
                    </a:lnTo>
                    <a:lnTo>
                      <a:pt x="15086" y="19899"/>
                    </a:lnTo>
                    <a:lnTo>
                      <a:pt x="15107" y="20003"/>
                    </a:lnTo>
                    <a:lnTo>
                      <a:pt x="15212" y="20045"/>
                    </a:lnTo>
                    <a:lnTo>
                      <a:pt x="15358" y="20192"/>
                    </a:lnTo>
                    <a:lnTo>
                      <a:pt x="15421" y="20192"/>
                    </a:lnTo>
                    <a:lnTo>
                      <a:pt x="15463" y="20108"/>
                    </a:lnTo>
                    <a:lnTo>
                      <a:pt x="15693" y="20003"/>
                    </a:lnTo>
                    <a:lnTo>
                      <a:pt x="15776" y="19899"/>
                    </a:lnTo>
                    <a:lnTo>
                      <a:pt x="15902" y="19899"/>
                    </a:lnTo>
                    <a:lnTo>
                      <a:pt x="16048" y="19773"/>
                    </a:lnTo>
                    <a:lnTo>
                      <a:pt x="16153" y="19773"/>
                    </a:lnTo>
                    <a:lnTo>
                      <a:pt x="16195" y="19711"/>
                    </a:lnTo>
                    <a:lnTo>
                      <a:pt x="16153" y="19669"/>
                    </a:lnTo>
                    <a:lnTo>
                      <a:pt x="16048" y="19627"/>
                    </a:lnTo>
                    <a:lnTo>
                      <a:pt x="16090" y="19564"/>
                    </a:lnTo>
                    <a:lnTo>
                      <a:pt x="16320" y="19397"/>
                    </a:lnTo>
                    <a:lnTo>
                      <a:pt x="16509" y="19522"/>
                    </a:lnTo>
                    <a:lnTo>
                      <a:pt x="16509" y="19669"/>
                    </a:lnTo>
                    <a:lnTo>
                      <a:pt x="16258" y="19794"/>
                    </a:lnTo>
                    <a:lnTo>
                      <a:pt x="16320" y="19899"/>
                    </a:lnTo>
                    <a:lnTo>
                      <a:pt x="16404" y="19920"/>
                    </a:lnTo>
                    <a:lnTo>
                      <a:pt x="16467" y="19815"/>
                    </a:lnTo>
                    <a:lnTo>
                      <a:pt x="16572" y="19731"/>
                    </a:lnTo>
                    <a:lnTo>
                      <a:pt x="16676" y="19815"/>
                    </a:lnTo>
                    <a:lnTo>
                      <a:pt x="16676" y="19920"/>
                    </a:lnTo>
                    <a:lnTo>
                      <a:pt x="16613" y="19920"/>
                    </a:lnTo>
                    <a:lnTo>
                      <a:pt x="16509" y="20003"/>
                    </a:lnTo>
                    <a:lnTo>
                      <a:pt x="16655" y="20192"/>
                    </a:lnTo>
                    <a:lnTo>
                      <a:pt x="16676" y="20401"/>
                    </a:lnTo>
                    <a:lnTo>
                      <a:pt x="16760" y="20338"/>
                    </a:lnTo>
                    <a:lnTo>
                      <a:pt x="16844" y="20359"/>
                    </a:lnTo>
                    <a:lnTo>
                      <a:pt x="16844" y="20464"/>
                    </a:lnTo>
                    <a:lnTo>
                      <a:pt x="16927" y="20610"/>
                    </a:lnTo>
                    <a:lnTo>
                      <a:pt x="16990" y="20443"/>
                    </a:lnTo>
                    <a:lnTo>
                      <a:pt x="16990" y="20296"/>
                    </a:lnTo>
                    <a:lnTo>
                      <a:pt x="16885" y="20359"/>
                    </a:lnTo>
                    <a:lnTo>
                      <a:pt x="16885" y="20317"/>
                    </a:lnTo>
                    <a:lnTo>
                      <a:pt x="16948" y="20234"/>
                    </a:lnTo>
                    <a:lnTo>
                      <a:pt x="17241" y="20234"/>
                    </a:lnTo>
                    <a:lnTo>
                      <a:pt x="17262" y="20296"/>
                    </a:lnTo>
                    <a:lnTo>
                      <a:pt x="17304" y="20234"/>
                    </a:lnTo>
                    <a:lnTo>
                      <a:pt x="17450" y="20024"/>
                    </a:lnTo>
                    <a:lnTo>
                      <a:pt x="17764" y="19836"/>
                    </a:lnTo>
                    <a:lnTo>
                      <a:pt x="17911" y="19711"/>
                    </a:lnTo>
                    <a:lnTo>
                      <a:pt x="17827" y="19711"/>
                    </a:lnTo>
                    <a:lnTo>
                      <a:pt x="17764" y="19731"/>
                    </a:lnTo>
                    <a:lnTo>
                      <a:pt x="17785" y="19711"/>
                    </a:lnTo>
                    <a:lnTo>
                      <a:pt x="17681" y="19669"/>
                    </a:lnTo>
                    <a:lnTo>
                      <a:pt x="17932" y="19669"/>
                    </a:lnTo>
                    <a:lnTo>
                      <a:pt x="18183" y="19606"/>
                    </a:lnTo>
                    <a:lnTo>
                      <a:pt x="18622" y="19501"/>
                    </a:lnTo>
                    <a:lnTo>
                      <a:pt x="18957" y="19585"/>
                    </a:lnTo>
                    <a:lnTo>
                      <a:pt x="19124" y="19501"/>
                    </a:lnTo>
                    <a:lnTo>
                      <a:pt x="19124" y="19397"/>
                    </a:lnTo>
                    <a:lnTo>
                      <a:pt x="19229" y="19397"/>
                    </a:lnTo>
                    <a:lnTo>
                      <a:pt x="19333" y="19313"/>
                    </a:lnTo>
                    <a:lnTo>
                      <a:pt x="19438" y="19104"/>
                    </a:lnTo>
                    <a:lnTo>
                      <a:pt x="19375" y="18895"/>
                    </a:lnTo>
                    <a:lnTo>
                      <a:pt x="19375" y="18769"/>
                    </a:lnTo>
                    <a:lnTo>
                      <a:pt x="19585" y="18560"/>
                    </a:lnTo>
                    <a:lnTo>
                      <a:pt x="19585" y="18225"/>
                    </a:lnTo>
                    <a:lnTo>
                      <a:pt x="19668" y="18099"/>
                    </a:lnTo>
                    <a:lnTo>
                      <a:pt x="19710" y="17869"/>
                    </a:lnTo>
                    <a:lnTo>
                      <a:pt x="19815" y="17827"/>
                    </a:lnTo>
                    <a:lnTo>
                      <a:pt x="19815" y="17702"/>
                    </a:lnTo>
                    <a:lnTo>
                      <a:pt x="20170" y="17283"/>
                    </a:lnTo>
                    <a:lnTo>
                      <a:pt x="20275" y="17262"/>
                    </a:lnTo>
                    <a:lnTo>
                      <a:pt x="20317" y="17011"/>
                    </a:lnTo>
                    <a:lnTo>
                      <a:pt x="20442" y="16823"/>
                    </a:lnTo>
                    <a:lnTo>
                      <a:pt x="20547" y="16593"/>
                    </a:lnTo>
                    <a:lnTo>
                      <a:pt x="20694" y="16446"/>
                    </a:lnTo>
                    <a:lnTo>
                      <a:pt x="20652" y="16342"/>
                    </a:lnTo>
                    <a:lnTo>
                      <a:pt x="20756" y="16258"/>
                    </a:lnTo>
                    <a:lnTo>
                      <a:pt x="20861" y="16049"/>
                    </a:lnTo>
                    <a:lnTo>
                      <a:pt x="20798" y="15965"/>
                    </a:lnTo>
                    <a:lnTo>
                      <a:pt x="20966" y="15902"/>
                    </a:lnTo>
                    <a:lnTo>
                      <a:pt x="21070" y="15714"/>
                    </a:lnTo>
                    <a:lnTo>
                      <a:pt x="21154" y="15630"/>
                    </a:lnTo>
                    <a:lnTo>
                      <a:pt x="21258" y="15442"/>
                    </a:lnTo>
                    <a:lnTo>
                      <a:pt x="21426" y="15400"/>
                    </a:lnTo>
                    <a:lnTo>
                      <a:pt x="21530" y="15338"/>
                    </a:lnTo>
                    <a:lnTo>
                      <a:pt x="21342" y="15338"/>
                    </a:lnTo>
                    <a:lnTo>
                      <a:pt x="21384" y="15296"/>
                    </a:lnTo>
                    <a:lnTo>
                      <a:pt x="21593" y="15254"/>
                    </a:lnTo>
                    <a:lnTo>
                      <a:pt x="21782" y="15170"/>
                    </a:lnTo>
                    <a:lnTo>
                      <a:pt x="21802" y="15003"/>
                    </a:lnTo>
                    <a:lnTo>
                      <a:pt x="21782" y="14961"/>
                    </a:lnTo>
                    <a:lnTo>
                      <a:pt x="21802" y="14814"/>
                    </a:lnTo>
                    <a:lnTo>
                      <a:pt x="22012" y="14689"/>
                    </a:lnTo>
                    <a:lnTo>
                      <a:pt x="22012" y="14563"/>
                    </a:lnTo>
                    <a:lnTo>
                      <a:pt x="22158" y="14501"/>
                    </a:lnTo>
                    <a:lnTo>
                      <a:pt x="22284" y="14291"/>
                    </a:lnTo>
                    <a:lnTo>
                      <a:pt x="22263" y="14187"/>
                    </a:lnTo>
                    <a:lnTo>
                      <a:pt x="22305" y="14019"/>
                    </a:lnTo>
                    <a:lnTo>
                      <a:pt x="22284" y="13957"/>
                    </a:lnTo>
                    <a:lnTo>
                      <a:pt x="22284" y="13852"/>
                    </a:lnTo>
                    <a:lnTo>
                      <a:pt x="22430" y="13496"/>
                    </a:lnTo>
                    <a:lnTo>
                      <a:pt x="22493" y="13287"/>
                    </a:lnTo>
                    <a:lnTo>
                      <a:pt x="22702" y="12910"/>
                    </a:lnTo>
                    <a:lnTo>
                      <a:pt x="22702" y="12785"/>
                    </a:lnTo>
                    <a:lnTo>
                      <a:pt x="22807" y="12492"/>
                    </a:lnTo>
                    <a:lnTo>
                      <a:pt x="22953" y="12366"/>
                    </a:lnTo>
                    <a:lnTo>
                      <a:pt x="23016" y="12199"/>
                    </a:lnTo>
                    <a:lnTo>
                      <a:pt x="22953" y="12053"/>
                    </a:lnTo>
                    <a:lnTo>
                      <a:pt x="23058" y="11927"/>
                    </a:lnTo>
                    <a:lnTo>
                      <a:pt x="22995" y="11655"/>
                    </a:lnTo>
                    <a:lnTo>
                      <a:pt x="22995" y="11529"/>
                    </a:lnTo>
                    <a:lnTo>
                      <a:pt x="22911" y="11320"/>
                    </a:lnTo>
                    <a:lnTo>
                      <a:pt x="22891" y="11236"/>
                    </a:lnTo>
                    <a:lnTo>
                      <a:pt x="22849" y="11111"/>
                    </a:lnTo>
                    <a:lnTo>
                      <a:pt x="22911" y="11069"/>
                    </a:lnTo>
                    <a:lnTo>
                      <a:pt x="22911" y="10923"/>
                    </a:lnTo>
                    <a:lnTo>
                      <a:pt x="23016" y="10776"/>
                    </a:lnTo>
                    <a:lnTo>
                      <a:pt x="23016" y="10713"/>
                    </a:lnTo>
                    <a:lnTo>
                      <a:pt x="22995" y="10379"/>
                    </a:lnTo>
                    <a:lnTo>
                      <a:pt x="23058" y="10253"/>
                    </a:lnTo>
                    <a:lnTo>
                      <a:pt x="23016" y="10190"/>
                    </a:lnTo>
                    <a:lnTo>
                      <a:pt x="22995" y="10065"/>
                    </a:lnTo>
                    <a:lnTo>
                      <a:pt x="22995" y="9856"/>
                    </a:lnTo>
                    <a:lnTo>
                      <a:pt x="22932" y="9835"/>
                    </a:lnTo>
                    <a:lnTo>
                      <a:pt x="22995" y="9688"/>
                    </a:lnTo>
                    <a:lnTo>
                      <a:pt x="22891" y="9667"/>
                    </a:lnTo>
                    <a:lnTo>
                      <a:pt x="22828" y="9542"/>
                    </a:lnTo>
                    <a:lnTo>
                      <a:pt x="22828" y="9416"/>
                    </a:lnTo>
                    <a:lnTo>
                      <a:pt x="22702" y="9312"/>
                    </a:lnTo>
                    <a:lnTo>
                      <a:pt x="22619" y="9144"/>
                    </a:lnTo>
                    <a:lnTo>
                      <a:pt x="22598" y="8956"/>
                    </a:lnTo>
                    <a:lnTo>
                      <a:pt x="22514" y="8830"/>
                    </a:lnTo>
                    <a:lnTo>
                      <a:pt x="22430" y="8830"/>
                    </a:lnTo>
                    <a:lnTo>
                      <a:pt x="22367" y="8851"/>
                    </a:lnTo>
                    <a:lnTo>
                      <a:pt x="22284" y="8809"/>
                    </a:lnTo>
                    <a:lnTo>
                      <a:pt x="22263" y="8642"/>
                    </a:lnTo>
                    <a:lnTo>
                      <a:pt x="22200" y="8621"/>
                    </a:lnTo>
                    <a:lnTo>
                      <a:pt x="22179" y="8537"/>
                    </a:lnTo>
                    <a:lnTo>
                      <a:pt x="22054" y="8412"/>
                    </a:lnTo>
                    <a:lnTo>
                      <a:pt x="21970" y="8370"/>
                    </a:lnTo>
                    <a:lnTo>
                      <a:pt x="22012" y="8265"/>
                    </a:lnTo>
                    <a:lnTo>
                      <a:pt x="21949" y="8119"/>
                    </a:lnTo>
                    <a:lnTo>
                      <a:pt x="22054" y="7993"/>
                    </a:lnTo>
                    <a:lnTo>
                      <a:pt x="22074" y="7805"/>
                    </a:lnTo>
                    <a:lnTo>
                      <a:pt x="22012" y="7742"/>
                    </a:lnTo>
                    <a:lnTo>
                      <a:pt x="22054" y="7638"/>
                    </a:lnTo>
                    <a:lnTo>
                      <a:pt x="21970" y="7575"/>
                    </a:lnTo>
                    <a:lnTo>
                      <a:pt x="21949" y="7638"/>
                    </a:lnTo>
                    <a:lnTo>
                      <a:pt x="21991" y="7679"/>
                    </a:lnTo>
                    <a:lnTo>
                      <a:pt x="21949" y="7763"/>
                    </a:lnTo>
                    <a:lnTo>
                      <a:pt x="21677" y="7533"/>
                    </a:lnTo>
                    <a:lnTo>
                      <a:pt x="21635" y="7366"/>
                    </a:lnTo>
                    <a:lnTo>
                      <a:pt x="21572" y="7387"/>
                    </a:lnTo>
                    <a:lnTo>
                      <a:pt x="21572" y="7470"/>
                    </a:lnTo>
                    <a:lnTo>
                      <a:pt x="21551" y="7575"/>
                    </a:lnTo>
                    <a:lnTo>
                      <a:pt x="21593" y="7763"/>
                    </a:lnTo>
                    <a:lnTo>
                      <a:pt x="21468" y="7596"/>
                    </a:lnTo>
                    <a:lnTo>
                      <a:pt x="21426" y="7659"/>
                    </a:lnTo>
                    <a:lnTo>
                      <a:pt x="21426" y="7554"/>
                    </a:lnTo>
                    <a:lnTo>
                      <a:pt x="21363" y="7470"/>
                    </a:lnTo>
                    <a:lnTo>
                      <a:pt x="21342" y="7135"/>
                    </a:lnTo>
                    <a:lnTo>
                      <a:pt x="21384" y="7115"/>
                    </a:lnTo>
                    <a:lnTo>
                      <a:pt x="21384" y="7031"/>
                    </a:lnTo>
                    <a:lnTo>
                      <a:pt x="21279" y="6947"/>
                    </a:lnTo>
                    <a:lnTo>
                      <a:pt x="21321" y="6863"/>
                    </a:lnTo>
                    <a:lnTo>
                      <a:pt x="21238" y="6801"/>
                    </a:lnTo>
                    <a:lnTo>
                      <a:pt x="21258" y="6696"/>
                    </a:lnTo>
                    <a:lnTo>
                      <a:pt x="21070" y="6529"/>
                    </a:lnTo>
                    <a:lnTo>
                      <a:pt x="21028" y="6424"/>
                    </a:lnTo>
                    <a:lnTo>
                      <a:pt x="21028" y="6299"/>
                    </a:lnTo>
                    <a:lnTo>
                      <a:pt x="21133" y="6319"/>
                    </a:lnTo>
                    <a:lnTo>
                      <a:pt x="21133" y="6194"/>
                    </a:lnTo>
                    <a:lnTo>
                      <a:pt x="21028" y="6027"/>
                    </a:lnTo>
                    <a:lnTo>
                      <a:pt x="20966" y="6068"/>
                    </a:lnTo>
                    <a:lnTo>
                      <a:pt x="20861" y="6068"/>
                    </a:lnTo>
                    <a:lnTo>
                      <a:pt x="20756" y="5880"/>
                    </a:lnTo>
                    <a:lnTo>
                      <a:pt x="20694" y="5880"/>
                    </a:lnTo>
                    <a:lnTo>
                      <a:pt x="20589" y="5796"/>
                    </a:lnTo>
                    <a:lnTo>
                      <a:pt x="20505" y="5859"/>
                    </a:lnTo>
                    <a:lnTo>
                      <a:pt x="20484" y="5796"/>
                    </a:lnTo>
                    <a:lnTo>
                      <a:pt x="20338" y="5754"/>
                    </a:lnTo>
                    <a:lnTo>
                      <a:pt x="20275" y="5817"/>
                    </a:lnTo>
                    <a:lnTo>
                      <a:pt x="20317" y="5713"/>
                    </a:lnTo>
                    <a:lnTo>
                      <a:pt x="20442" y="5692"/>
                    </a:lnTo>
                    <a:lnTo>
                      <a:pt x="20442" y="5608"/>
                    </a:lnTo>
                    <a:lnTo>
                      <a:pt x="20422" y="5545"/>
                    </a:lnTo>
                    <a:lnTo>
                      <a:pt x="20296" y="5566"/>
                    </a:lnTo>
                    <a:lnTo>
                      <a:pt x="20191" y="5545"/>
                    </a:lnTo>
                    <a:lnTo>
                      <a:pt x="20170" y="5482"/>
                    </a:lnTo>
                    <a:lnTo>
                      <a:pt x="20087" y="5482"/>
                    </a:lnTo>
                    <a:lnTo>
                      <a:pt x="19857" y="5336"/>
                    </a:lnTo>
                    <a:lnTo>
                      <a:pt x="19752" y="5127"/>
                    </a:lnTo>
                    <a:lnTo>
                      <a:pt x="19710" y="4918"/>
                    </a:lnTo>
                    <a:lnTo>
                      <a:pt x="19668" y="4771"/>
                    </a:lnTo>
                    <a:lnTo>
                      <a:pt x="19668" y="4666"/>
                    </a:lnTo>
                    <a:lnTo>
                      <a:pt x="19710" y="4646"/>
                    </a:lnTo>
                    <a:lnTo>
                      <a:pt x="19773" y="4415"/>
                    </a:lnTo>
                    <a:lnTo>
                      <a:pt x="19689" y="4122"/>
                    </a:lnTo>
                    <a:lnTo>
                      <a:pt x="19647" y="3976"/>
                    </a:lnTo>
                    <a:lnTo>
                      <a:pt x="19689" y="3934"/>
                    </a:lnTo>
                    <a:lnTo>
                      <a:pt x="19606" y="3892"/>
                    </a:lnTo>
                    <a:lnTo>
                      <a:pt x="19543" y="3892"/>
                    </a:lnTo>
                    <a:lnTo>
                      <a:pt x="19438" y="3662"/>
                    </a:lnTo>
                    <a:lnTo>
                      <a:pt x="19438" y="3369"/>
                    </a:lnTo>
                    <a:lnTo>
                      <a:pt x="19459" y="3348"/>
                    </a:lnTo>
                    <a:lnTo>
                      <a:pt x="19459" y="3265"/>
                    </a:lnTo>
                    <a:lnTo>
                      <a:pt x="19396" y="3202"/>
                    </a:lnTo>
                    <a:lnTo>
                      <a:pt x="19375" y="2846"/>
                    </a:lnTo>
                    <a:lnTo>
                      <a:pt x="19438" y="2762"/>
                    </a:lnTo>
                    <a:lnTo>
                      <a:pt x="19375" y="2637"/>
                    </a:lnTo>
                    <a:lnTo>
                      <a:pt x="19438" y="2616"/>
                    </a:lnTo>
                    <a:lnTo>
                      <a:pt x="19438" y="2532"/>
                    </a:lnTo>
                    <a:lnTo>
                      <a:pt x="19250" y="2323"/>
                    </a:lnTo>
                    <a:lnTo>
                      <a:pt x="19124" y="2260"/>
                    </a:lnTo>
                    <a:lnTo>
                      <a:pt x="19145" y="2218"/>
                    </a:lnTo>
                    <a:lnTo>
                      <a:pt x="19020" y="2093"/>
                    </a:lnTo>
                    <a:lnTo>
                      <a:pt x="18915" y="2156"/>
                    </a:lnTo>
                    <a:lnTo>
                      <a:pt x="18852" y="2114"/>
                    </a:lnTo>
                    <a:lnTo>
                      <a:pt x="18769" y="2239"/>
                    </a:lnTo>
                    <a:lnTo>
                      <a:pt x="18706" y="2239"/>
                    </a:lnTo>
                    <a:lnTo>
                      <a:pt x="18559" y="2051"/>
                    </a:lnTo>
                    <a:lnTo>
                      <a:pt x="18601" y="1988"/>
                    </a:lnTo>
                    <a:lnTo>
                      <a:pt x="18517" y="1800"/>
                    </a:lnTo>
                    <a:lnTo>
                      <a:pt x="18538" y="1591"/>
                    </a:lnTo>
                    <a:lnTo>
                      <a:pt x="18517" y="1319"/>
                    </a:lnTo>
                    <a:lnTo>
                      <a:pt x="18497" y="1361"/>
                    </a:lnTo>
                    <a:lnTo>
                      <a:pt x="18434" y="1256"/>
                    </a:lnTo>
                    <a:lnTo>
                      <a:pt x="18497" y="1151"/>
                    </a:lnTo>
                    <a:lnTo>
                      <a:pt x="18413" y="1047"/>
                    </a:lnTo>
                    <a:lnTo>
                      <a:pt x="18392" y="942"/>
                    </a:lnTo>
                    <a:lnTo>
                      <a:pt x="18329" y="900"/>
                    </a:lnTo>
                    <a:lnTo>
                      <a:pt x="18329" y="754"/>
                    </a:lnTo>
                    <a:lnTo>
                      <a:pt x="18413" y="670"/>
                    </a:lnTo>
                    <a:lnTo>
                      <a:pt x="18329" y="649"/>
                    </a:lnTo>
                    <a:lnTo>
                      <a:pt x="18225" y="670"/>
                    </a:lnTo>
                    <a:lnTo>
                      <a:pt x="18141" y="586"/>
                    </a:lnTo>
                    <a:lnTo>
                      <a:pt x="18204" y="314"/>
                    </a:lnTo>
                    <a:lnTo>
                      <a:pt x="18183" y="252"/>
                    </a:lnTo>
                    <a:lnTo>
                      <a:pt x="18120" y="105"/>
                    </a:lnTo>
                    <a:lnTo>
                      <a:pt x="18015" y="63"/>
                    </a:lnTo>
                    <a:lnTo>
                      <a:pt x="18015" y="1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A6CBC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5" name="Google Shape;12175;p43">
                <a:extLst>
                  <a:ext uri="{FF2B5EF4-FFF2-40B4-BE49-F238E27FC236}">
                    <a16:creationId xmlns:a16="http://schemas.microsoft.com/office/drawing/2014/main" id="{0DCFAC78-019B-7DBE-4778-75F2B424B02A}"/>
                  </a:ext>
                </a:extLst>
              </p:cNvPr>
              <p:cNvSpPr/>
              <p:nvPr/>
            </p:nvSpPr>
            <p:spPr>
              <a:xfrm>
                <a:off x="5683950" y="3957275"/>
                <a:ext cx="54950" cy="71175"/>
              </a:xfrm>
              <a:custGeom>
                <a:avLst/>
                <a:gdLst/>
                <a:ahLst/>
                <a:cxnLst/>
                <a:rect l="l" t="t" r="r" b="b"/>
                <a:pathLst>
                  <a:path w="2198" h="2847" extrusionOk="0">
                    <a:moveTo>
                      <a:pt x="168" y="1"/>
                    </a:moveTo>
                    <a:lnTo>
                      <a:pt x="126" y="64"/>
                    </a:lnTo>
                    <a:lnTo>
                      <a:pt x="126" y="189"/>
                    </a:lnTo>
                    <a:lnTo>
                      <a:pt x="105" y="210"/>
                    </a:lnTo>
                    <a:lnTo>
                      <a:pt x="105" y="336"/>
                    </a:lnTo>
                    <a:lnTo>
                      <a:pt x="126" y="587"/>
                    </a:lnTo>
                    <a:lnTo>
                      <a:pt x="105" y="733"/>
                    </a:lnTo>
                    <a:lnTo>
                      <a:pt x="126" y="1005"/>
                    </a:lnTo>
                    <a:lnTo>
                      <a:pt x="168" y="1214"/>
                    </a:lnTo>
                    <a:lnTo>
                      <a:pt x="126" y="1361"/>
                    </a:lnTo>
                    <a:lnTo>
                      <a:pt x="189" y="1382"/>
                    </a:lnTo>
                    <a:lnTo>
                      <a:pt x="189" y="1466"/>
                    </a:lnTo>
                    <a:lnTo>
                      <a:pt x="294" y="1570"/>
                    </a:lnTo>
                    <a:lnTo>
                      <a:pt x="168" y="1570"/>
                    </a:lnTo>
                    <a:lnTo>
                      <a:pt x="64" y="1466"/>
                    </a:lnTo>
                    <a:lnTo>
                      <a:pt x="1" y="1570"/>
                    </a:lnTo>
                    <a:lnTo>
                      <a:pt x="1" y="1779"/>
                    </a:lnTo>
                    <a:lnTo>
                      <a:pt x="85" y="1842"/>
                    </a:lnTo>
                    <a:lnTo>
                      <a:pt x="64" y="1884"/>
                    </a:lnTo>
                    <a:lnTo>
                      <a:pt x="64" y="2198"/>
                    </a:lnTo>
                    <a:lnTo>
                      <a:pt x="105" y="2261"/>
                    </a:lnTo>
                    <a:lnTo>
                      <a:pt x="85" y="2303"/>
                    </a:lnTo>
                    <a:lnTo>
                      <a:pt x="105" y="2470"/>
                    </a:lnTo>
                    <a:lnTo>
                      <a:pt x="210" y="2491"/>
                    </a:lnTo>
                    <a:lnTo>
                      <a:pt x="168" y="2575"/>
                    </a:lnTo>
                    <a:lnTo>
                      <a:pt x="168" y="2700"/>
                    </a:lnTo>
                    <a:lnTo>
                      <a:pt x="210" y="2721"/>
                    </a:lnTo>
                    <a:lnTo>
                      <a:pt x="315" y="2700"/>
                    </a:lnTo>
                    <a:lnTo>
                      <a:pt x="398" y="2784"/>
                    </a:lnTo>
                    <a:lnTo>
                      <a:pt x="503" y="2637"/>
                    </a:lnTo>
                    <a:lnTo>
                      <a:pt x="503" y="2742"/>
                    </a:lnTo>
                    <a:lnTo>
                      <a:pt x="545" y="2847"/>
                    </a:lnTo>
                    <a:lnTo>
                      <a:pt x="649" y="2847"/>
                    </a:lnTo>
                    <a:lnTo>
                      <a:pt x="754" y="2700"/>
                    </a:lnTo>
                    <a:lnTo>
                      <a:pt x="796" y="2595"/>
                    </a:lnTo>
                    <a:lnTo>
                      <a:pt x="838" y="2407"/>
                    </a:lnTo>
                    <a:lnTo>
                      <a:pt x="921" y="2491"/>
                    </a:lnTo>
                    <a:lnTo>
                      <a:pt x="942" y="2428"/>
                    </a:lnTo>
                    <a:lnTo>
                      <a:pt x="1047" y="2365"/>
                    </a:lnTo>
                    <a:lnTo>
                      <a:pt x="1110" y="2219"/>
                    </a:lnTo>
                    <a:lnTo>
                      <a:pt x="1110" y="2365"/>
                    </a:lnTo>
                    <a:lnTo>
                      <a:pt x="1173" y="2386"/>
                    </a:lnTo>
                    <a:lnTo>
                      <a:pt x="1235" y="2282"/>
                    </a:lnTo>
                    <a:lnTo>
                      <a:pt x="1340" y="2261"/>
                    </a:lnTo>
                    <a:lnTo>
                      <a:pt x="1382" y="2303"/>
                    </a:lnTo>
                    <a:lnTo>
                      <a:pt x="1361" y="2407"/>
                    </a:lnTo>
                    <a:lnTo>
                      <a:pt x="1256" y="2365"/>
                    </a:lnTo>
                    <a:lnTo>
                      <a:pt x="1256" y="2512"/>
                    </a:lnTo>
                    <a:lnTo>
                      <a:pt x="1361" y="2470"/>
                    </a:lnTo>
                    <a:lnTo>
                      <a:pt x="1424" y="2491"/>
                    </a:lnTo>
                    <a:lnTo>
                      <a:pt x="1549" y="2303"/>
                    </a:lnTo>
                    <a:lnTo>
                      <a:pt x="1549" y="2219"/>
                    </a:lnTo>
                    <a:lnTo>
                      <a:pt x="1466" y="2177"/>
                    </a:lnTo>
                    <a:lnTo>
                      <a:pt x="1549" y="2072"/>
                    </a:lnTo>
                    <a:lnTo>
                      <a:pt x="1549" y="1947"/>
                    </a:lnTo>
                    <a:lnTo>
                      <a:pt x="1633" y="1947"/>
                    </a:lnTo>
                    <a:lnTo>
                      <a:pt x="1675" y="1884"/>
                    </a:lnTo>
                    <a:lnTo>
                      <a:pt x="1675" y="1633"/>
                    </a:lnTo>
                    <a:lnTo>
                      <a:pt x="1758" y="1570"/>
                    </a:lnTo>
                    <a:lnTo>
                      <a:pt x="1800" y="1466"/>
                    </a:lnTo>
                    <a:lnTo>
                      <a:pt x="1842" y="1633"/>
                    </a:lnTo>
                    <a:lnTo>
                      <a:pt x="1863" y="1696"/>
                    </a:lnTo>
                    <a:lnTo>
                      <a:pt x="1905" y="1570"/>
                    </a:lnTo>
                    <a:lnTo>
                      <a:pt x="1905" y="1466"/>
                    </a:lnTo>
                    <a:lnTo>
                      <a:pt x="1947" y="1424"/>
                    </a:lnTo>
                    <a:lnTo>
                      <a:pt x="1905" y="1256"/>
                    </a:lnTo>
                    <a:lnTo>
                      <a:pt x="1989" y="1131"/>
                    </a:lnTo>
                    <a:lnTo>
                      <a:pt x="1989" y="922"/>
                    </a:lnTo>
                    <a:lnTo>
                      <a:pt x="2093" y="796"/>
                    </a:lnTo>
                    <a:lnTo>
                      <a:pt x="2156" y="503"/>
                    </a:lnTo>
                    <a:lnTo>
                      <a:pt x="2198" y="398"/>
                    </a:lnTo>
                    <a:lnTo>
                      <a:pt x="2072" y="294"/>
                    </a:lnTo>
                    <a:lnTo>
                      <a:pt x="1947" y="294"/>
                    </a:lnTo>
                    <a:lnTo>
                      <a:pt x="1947" y="315"/>
                    </a:lnTo>
                    <a:lnTo>
                      <a:pt x="1884" y="419"/>
                    </a:lnTo>
                    <a:lnTo>
                      <a:pt x="1863" y="398"/>
                    </a:lnTo>
                    <a:lnTo>
                      <a:pt x="1800" y="398"/>
                    </a:lnTo>
                    <a:lnTo>
                      <a:pt x="1738" y="440"/>
                    </a:lnTo>
                    <a:lnTo>
                      <a:pt x="1675" y="503"/>
                    </a:lnTo>
                    <a:lnTo>
                      <a:pt x="1340" y="482"/>
                    </a:lnTo>
                    <a:lnTo>
                      <a:pt x="1256" y="524"/>
                    </a:lnTo>
                    <a:lnTo>
                      <a:pt x="1256" y="629"/>
                    </a:lnTo>
                    <a:lnTo>
                      <a:pt x="1173" y="545"/>
                    </a:lnTo>
                    <a:lnTo>
                      <a:pt x="1068" y="545"/>
                    </a:lnTo>
                    <a:lnTo>
                      <a:pt x="1005" y="608"/>
                    </a:lnTo>
                    <a:lnTo>
                      <a:pt x="901" y="524"/>
                    </a:lnTo>
                    <a:lnTo>
                      <a:pt x="733" y="398"/>
                    </a:lnTo>
                    <a:lnTo>
                      <a:pt x="524" y="294"/>
                    </a:lnTo>
                    <a:lnTo>
                      <a:pt x="524" y="106"/>
                    </a:lnTo>
                    <a:lnTo>
                      <a:pt x="482" y="168"/>
                    </a:lnTo>
                    <a:lnTo>
                      <a:pt x="440" y="210"/>
                    </a:lnTo>
                    <a:lnTo>
                      <a:pt x="377" y="126"/>
                    </a:lnTo>
                    <a:lnTo>
                      <a:pt x="273" y="85"/>
                    </a:lnTo>
                    <a:lnTo>
                      <a:pt x="168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05" name="Google Shape;12176;p43">
              <a:extLst>
                <a:ext uri="{FF2B5EF4-FFF2-40B4-BE49-F238E27FC236}">
                  <a16:creationId xmlns:a16="http://schemas.microsoft.com/office/drawing/2014/main" id="{B87AE375-89D0-F22B-58CD-B4B972BC80F9}"/>
                </a:ext>
              </a:extLst>
            </p:cNvPr>
            <p:cNvGrpSpPr/>
            <p:nvPr/>
          </p:nvGrpSpPr>
          <p:grpSpPr>
            <a:xfrm>
              <a:off x="4824403" y="3421846"/>
              <a:ext cx="110132" cy="130647"/>
              <a:chOff x="5952300" y="3852150"/>
              <a:chExt cx="231225" cy="287200"/>
            </a:xfrm>
          </p:grpSpPr>
          <p:sp>
            <p:nvSpPr>
              <p:cNvPr id="212" name="Google Shape;12177;p43">
                <a:extLst>
                  <a:ext uri="{FF2B5EF4-FFF2-40B4-BE49-F238E27FC236}">
                    <a16:creationId xmlns:a16="http://schemas.microsoft.com/office/drawing/2014/main" id="{7E3B1EE1-14AD-B9FD-9A3E-E84FCE24A0F3}"/>
                  </a:ext>
                </a:extLst>
              </p:cNvPr>
              <p:cNvSpPr/>
              <p:nvPr/>
            </p:nvSpPr>
            <p:spPr>
              <a:xfrm>
                <a:off x="5952300" y="3996525"/>
                <a:ext cx="145450" cy="142825"/>
              </a:xfrm>
              <a:custGeom>
                <a:avLst/>
                <a:gdLst/>
                <a:ahLst/>
                <a:cxnLst/>
                <a:rect l="l" t="t" r="r" b="b"/>
                <a:pathLst>
                  <a:path w="5818" h="5713" extrusionOk="0">
                    <a:moveTo>
                      <a:pt x="5064" y="0"/>
                    </a:moveTo>
                    <a:lnTo>
                      <a:pt x="4918" y="105"/>
                    </a:lnTo>
                    <a:lnTo>
                      <a:pt x="4834" y="126"/>
                    </a:lnTo>
                    <a:lnTo>
                      <a:pt x="4729" y="209"/>
                    </a:lnTo>
                    <a:lnTo>
                      <a:pt x="4729" y="377"/>
                    </a:lnTo>
                    <a:lnTo>
                      <a:pt x="4625" y="628"/>
                    </a:lnTo>
                    <a:lnTo>
                      <a:pt x="4520" y="753"/>
                    </a:lnTo>
                    <a:lnTo>
                      <a:pt x="4457" y="774"/>
                    </a:lnTo>
                    <a:lnTo>
                      <a:pt x="4332" y="942"/>
                    </a:lnTo>
                    <a:lnTo>
                      <a:pt x="4290" y="1025"/>
                    </a:lnTo>
                    <a:lnTo>
                      <a:pt x="4185" y="1067"/>
                    </a:lnTo>
                    <a:lnTo>
                      <a:pt x="4081" y="1046"/>
                    </a:lnTo>
                    <a:lnTo>
                      <a:pt x="3976" y="1130"/>
                    </a:lnTo>
                    <a:lnTo>
                      <a:pt x="3934" y="1235"/>
                    </a:lnTo>
                    <a:lnTo>
                      <a:pt x="3934" y="1339"/>
                    </a:lnTo>
                    <a:lnTo>
                      <a:pt x="3892" y="1360"/>
                    </a:lnTo>
                    <a:lnTo>
                      <a:pt x="3788" y="1465"/>
                    </a:lnTo>
                    <a:lnTo>
                      <a:pt x="3788" y="1590"/>
                    </a:lnTo>
                    <a:lnTo>
                      <a:pt x="3725" y="1674"/>
                    </a:lnTo>
                    <a:lnTo>
                      <a:pt x="3704" y="1758"/>
                    </a:lnTo>
                    <a:lnTo>
                      <a:pt x="3495" y="2009"/>
                    </a:lnTo>
                    <a:lnTo>
                      <a:pt x="3286" y="2176"/>
                    </a:lnTo>
                    <a:lnTo>
                      <a:pt x="3160" y="2197"/>
                    </a:lnTo>
                    <a:lnTo>
                      <a:pt x="2993" y="2281"/>
                    </a:lnTo>
                    <a:lnTo>
                      <a:pt x="2993" y="2344"/>
                    </a:lnTo>
                    <a:lnTo>
                      <a:pt x="2888" y="2344"/>
                    </a:lnTo>
                    <a:lnTo>
                      <a:pt x="2679" y="2469"/>
                    </a:lnTo>
                    <a:lnTo>
                      <a:pt x="2512" y="2616"/>
                    </a:lnTo>
                    <a:lnTo>
                      <a:pt x="2407" y="2637"/>
                    </a:lnTo>
                    <a:lnTo>
                      <a:pt x="2198" y="2783"/>
                    </a:lnTo>
                    <a:lnTo>
                      <a:pt x="2156" y="2846"/>
                    </a:lnTo>
                    <a:lnTo>
                      <a:pt x="2219" y="2929"/>
                    </a:lnTo>
                    <a:lnTo>
                      <a:pt x="2219" y="3055"/>
                    </a:lnTo>
                    <a:lnTo>
                      <a:pt x="2114" y="2950"/>
                    </a:lnTo>
                    <a:lnTo>
                      <a:pt x="2093" y="2929"/>
                    </a:lnTo>
                    <a:lnTo>
                      <a:pt x="1988" y="2950"/>
                    </a:lnTo>
                    <a:lnTo>
                      <a:pt x="1884" y="2992"/>
                    </a:lnTo>
                    <a:lnTo>
                      <a:pt x="1821" y="2950"/>
                    </a:lnTo>
                    <a:lnTo>
                      <a:pt x="1737" y="2950"/>
                    </a:lnTo>
                    <a:lnTo>
                      <a:pt x="1570" y="3118"/>
                    </a:lnTo>
                    <a:lnTo>
                      <a:pt x="1507" y="3201"/>
                    </a:lnTo>
                    <a:lnTo>
                      <a:pt x="1361" y="3327"/>
                    </a:lnTo>
                    <a:lnTo>
                      <a:pt x="1277" y="3348"/>
                    </a:lnTo>
                    <a:lnTo>
                      <a:pt x="1172" y="3453"/>
                    </a:lnTo>
                    <a:lnTo>
                      <a:pt x="1151" y="3620"/>
                    </a:lnTo>
                    <a:lnTo>
                      <a:pt x="1110" y="3536"/>
                    </a:lnTo>
                    <a:lnTo>
                      <a:pt x="1068" y="3473"/>
                    </a:lnTo>
                    <a:lnTo>
                      <a:pt x="1005" y="3557"/>
                    </a:lnTo>
                    <a:lnTo>
                      <a:pt x="942" y="3620"/>
                    </a:lnTo>
                    <a:lnTo>
                      <a:pt x="942" y="3746"/>
                    </a:lnTo>
                    <a:lnTo>
                      <a:pt x="879" y="3787"/>
                    </a:lnTo>
                    <a:lnTo>
                      <a:pt x="838" y="3766"/>
                    </a:lnTo>
                    <a:lnTo>
                      <a:pt x="670" y="3955"/>
                    </a:lnTo>
                    <a:lnTo>
                      <a:pt x="628" y="3955"/>
                    </a:lnTo>
                    <a:lnTo>
                      <a:pt x="566" y="4038"/>
                    </a:lnTo>
                    <a:lnTo>
                      <a:pt x="566" y="4206"/>
                    </a:lnTo>
                    <a:lnTo>
                      <a:pt x="524" y="4269"/>
                    </a:lnTo>
                    <a:lnTo>
                      <a:pt x="461" y="4164"/>
                    </a:lnTo>
                    <a:lnTo>
                      <a:pt x="419" y="4164"/>
                    </a:lnTo>
                    <a:lnTo>
                      <a:pt x="377" y="4206"/>
                    </a:lnTo>
                    <a:lnTo>
                      <a:pt x="335" y="4248"/>
                    </a:lnTo>
                    <a:lnTo>
                      <a:pt x="252" y="4415"/>
                    </a:lnTo>
                    <a:lnTo>
                      <a:pt x="252" y="4478"/>
                    </a:lnTo>
                    <a:lnTo>
                      <a:pt x="335" y="4582"/>
                    </a:lnTo>
                    <a:lnTo>
                      <a:pt x="377" y="4624"/>
                    </a:lnTo>
                    <a:lnTo>
                      <a:pt x="335" y="4666"/>
                    </a:lnTo>
                    <a:lnTo>
                      <a:pt x="252" y="4666"/>
                    </a:lnTo>
                    <a:lnTo>
                      <a:pt x="126" y="4687"/>
                    </a:lnTo>
                    <a:lnTo>
                      <a:pt x="1" y="4813"/>
                    </a:lnTo>
                    <a:lnTo>
                      <a:pt x="43" y="4834"/>
                    </a:lnTo>
                    <a:lnTo>
                      <a:pt x="126" y="4834"/>
                    </a:lnTo>
                    <a:lnTo>
                      <a:pt x="43" y="4896"/>
                    </a:lnTo>
                    <a:lnTo>
                      <a:pt x="43" y="5001"/>
                    </a:lnTo>
                    <a:lnTo>
                      <a:pt x="126" y="5085"/>
                    </a:lnTo>
                    <a:lnTo>
                      <a:pt x="168" y="5106"/>
                    </a:lnTo>
                    <a:lnTo>
                      <a:pt x="315" y="5106"/>
                    </a:lnTo>
                    <a:lnTo>
                      <a:pt x="335" y="5147"/>
                    </a:lnTo>
                    <a:lnTo>
                      <a:pt x="356" y="5147"/>
                    </a:lnTo>
                    <a:lnTo>
                      <a:pt x="377" y="5085"/>
                    </a:lnTo>
                    <a:lnTo>
                      <a:pt x="440" y="5085"/>
                    </a:lnTo>
                    <a:lnTo>
                      <a:pt x="524" y="5126"/>
                    </a:lnTo>
                    <a:lnTo>
                      <a:pt x="566" y="5210"/>
                    </a:lnTo>
                    <a:lnTo>
                      <a:pt x="545" y="5252"/>
                    </a:lnTo>
                    <a:lnTo>
                      <a:pt x="587" y="5315"/>
                    </a:lnTo>
                    <a:lnTo>
                      <a:pt x="670" y="5315"/>
                    </a:lnTo>
                    <a:lnTo>
                      <a:pt x="733" y="5336"/>
                    </a:lnTo>
                    <a:lnTo>
                      <a:pt x="754" y="5461"/>
                    </a:lnTo>
                    <a:lnTo>
                      <a:pt x="859" y="5545"/>
                    </a:lnTo>
                    <a:lnTo>
                      <a:pt x="942" y="5608"/>
                    </a:lnTo>
                    <a:lnTo>
                      <a:pt x="838" y="5670"/>
                    </a:lnTo>
                    <a:lnTo>
                      <a:pt x="879" y="5670"/>
                    </a:lnTo>
                    <a:lnTo>
                      <a:pt x="1005" y="5629"/>
                    </a:lnTo>
                    <a:lnTo>
                      <a:pt x="1005" y="5670"/>
                    </a:lnTo>
                    <a:lnTo>
                      <a:pt x="1110" y="5712"/>
                    </a:lnTo>
                    <a:lnTo>
                      <a:pt x="1256" y="5670"/>
                    </a:lnTo>
                    <a:lnTo>
                      <a:pt x="1465" y="5608"/>
                    </a:lnTo>
                    <a:lnTo>
                      <a:pt x="1612" y="5461"/>
                    </a:lnTo>
                    <a:lnTo>
                      <a:pt x="1737" y="5419"/>
                    </a:lnTo>
                    <a:lnTo>
                      <a:pt x="1737" y="5357"/>
                    </a:lnTo>
                    <a:lnTo>
                      <a:pt x="1716" y="5252"/>
                    </a:lnTo>
                    <a:lnTo>
                      <a:pt x="1800" y="5315"/>
                    </a:lnTo>
                    <a:lnTo>
                      <a:pt x="1779" y="5398"/>
                    </a:lnTo>
                    <a:lnTo>
                      <a:pt x="1905" y="5336"/>
                    </a:lnTo>
                    <a:lnTo>
                      <a:pt x="1926" y="5210"/>
                    </a:lnTo>
                    <a:lnTo>
                      <a:pt x="2009" y="5106"/>
                    </a:lnTo>
                    <a:lnTo>
                      <a:pt x="2198" y="5022"/>
                    </a:lnTo>
                    <a:lnTo>
                      <a:pt x="2323" y="5022"/>
                    </a:lnTo>
                    <a:lnTo>
                      <a:pt x="2365" y="5001"/>
                    </a:lnTo>
                    <a:lnTo>
                      <a:pt x="2365" y="4959"/>
                    </a:lnTo>
                    <a:lnTo>
                      <a:pt x="2260" y="4959"/>
                    </a:lnTo>
                    <a:lnTo>
                      <a:pt x="2323" y="4938"/>
                    </a:lnTo>
                    <a:lnTo>
                      <a:pt x="2344" y="4917"/>
                    </a:lnTo>
                    <a:lnTo>
                      <a:pt x="2323" y="4896"/>
                    </a:lnTo>
                    <a:lnTo>
                      <a:pt x="2449" y="4729"/>
                    </a:lnTo>
                    <a:lnTo>
                      <a:pt x="2532" y="4582"/>
                    </a:lnTo>
                    <a:lnTo>
                      <a:pt x="2574" y="4415"/>
                    </a:lnTo>
                    <a:lnTo>
                      <a:pt x="2658" y="4310"/>
                    </a:lnTo>
                    <a:lnTo>
                      <a:pt x="2930" y="4143"/>
                    </a:lnTo>
                    <a:lnTo>
                      <a:pt x="2972" y="4038"/>
                    </a:lnTo>
                    <a:lnTo>
                      <a:pt x="2993" y="3913"/>
                    </a:lnTo>
                    <a:lnTo>
                      <a:pt x="3097" y="3746"/>
                    </a:lnTo>
                    <a:lnTo>
                      <a:pt x="3160" y="3641"/>
                    </a:lnTo>
                    <a:lnTo>
                      <a:pt x="3181" y="3536"/>
                    </a:lnTo>
                    <a:lnTo>
                      <a:pt x="3265" y="3432"/>
                    </a:lnTo>
                    <a:lnTo>
                      <a:pt x="3369" y="3369"/>
                    </a:lnTo>
                    <a:lnTo>
                      <a:pt x="3390" y="3264"/>
                    </a:lnTo>
                    <a:lnTo>
                      <a:pt x="3474" y="3348"/>
                    </a:lnTo>
                    <a:lnTo>
                      <a:pt x="3516" y="3348"/>
                    </a:lnTo>
                    <a:lnTo>
                      <a:pt x="3558" y="3243"/>
                    </a:lnTo>
                    <a:lnTo>
                      <a:pt x="3662" y="3243"/>
                    </a:lnTo>
                    <a:lnTo>
                      <a:pt x="3725" y="3222"/>
                    </a:lnTo>
                    <a:lnTo>
                      <a:pt x="3788" y="3139"/>
                    </a:lnTo>
                    <a:lnTo>
                      <a:pt x="3788" y="3034"/>
                    </a:lnTo>
                    <a:lnTo>
                      <a:pt x="3704" y="2950"/>
                    </a:lnTo>
                    <a:lnTo>
                      <a:pt x="3704" y="2950"/>
                    </a:lnTo>
                    <a:lnTo>
                      <a:pt x="3809" y="3013"/>
                    </a:lnTo>
                    <a:lnTo>
                      <a:pt x="3830" y="3139"/>
                    </a:lnTo>
                    <a:lnTo>
                      <a:pt x="3892" y="3139"/>
                    </a:lnTo>
                    <a:lnTo>
                      <a:pt x="3976" y="3118"/>
                    </a:lnTo>
                    <a:lnTo>
                      <a:pt x="3976" y="3055"/>
                    </a:lnTo>
                    <a:lnTo>
                      <a:pt x="4039" y="3013"/>
                    </a:lnTo>
                    <a:lnTo>
                      <a:pt x="4123" y="3034"/>
                    </a:lnTo>
                    <a:lnTo>
                      <a:pt x="4123" y="3097"/>
                    </a:lnTo>
                    <a:lnTo>
                      <a:pt x="4018" y="3139"/>
                    </a:lnTo>
                    <a:lnTo>
                      <a:pt x="4123" y="3139"/>
                    </a:lnTo>
                    <a:lnTo>
                      <a:pt x="4227" y="3160"/>
                    </a:lnTo>
                    <a:lnTo>
                      <a:pt x="4248" y="3118"/>
                    </a:lnTo>
                    <a:lnTo>
                      <a:pt x="4248" y="3034"/>
                    </a:lnTo>
                    <a:lnTo>
                      <a:pt x="4290" y="2992"/>
                    </a:lnTo>
                    <a:lnTo>
                      <a:pt x="4311" y="3013"/>
                    </a:lnTo>
                    <a:lnTo>
                      <a:pt x="4311" y="3139"/>
                    </a:lnTo>
                    <a:lnTo>
                      <a:pt x="4332" y="3160"/>
                    </a:lnTo>
                    <a:lnTo>
                      <a:pt x="4395" y="3118"/>
                    </a:lnTo>
                    <a:lnTo>
                      <a:pt x="4416" y="2950"/>
                    </a:lnTo>
                    <a:lnTo>
                      <a:pt x="4353" y="2867"/>
                    </a:lnTo>
                    <a:lnTo>
                      <a:pt x="4290" y="2867"/>
                    </a:lnTo>
                    <a:lnTo>
                      <a:pt x="4311" y="2825"/>
                    </a:lnTo>
                    <a:lnTo>
                      <a:pt x="4311" y="2699"/>
                    </a:lnTo>
                    <a:lnTo>
                      <a:pt x="4332" y="2511"/>
                    </a:lnTo>
                    <a:lnTo>
                      <a:pt x="4416" y="2490"/>
                    </a:lnTo>
                    <a:lnTo>
                      <a:pt x="4562" y="2427"/>
                    </a:lnTo>
                    <a:lnTo>
                      <a:pt x="4750" y="2323"/>
                    </a:lnTo>
                    <a:lnTo>
                      <a:pt x="4771" y="2260"/>
                    </a:lnTo>
                    <a:lnTo>
                      <a:pt x="4918" y="2093"/>
                    </a:lnTo>
                    <a:lnTo>
                      <a:pt x="4918" y="1988"/>
                    </a:lnTo>
                    <a:lnTo>
                      <a:pt x="5043" y="1862"/>
                    </a:lnTo>
                    <a:lnTo>
                      <a:pt x="5127" y="1883"/>
                    </a:lnTo>
                    <a:lnTo>
                      <a:pt x="5127" y="1821"/>
                    </a:lnTo>
                    <a:lnTo>
                      <a:pt x="5336" y="1632"/>
                    </a:lnTo>
                    <a:lnTo>
                      <a:pt x="5336" y="1549"/>
                    </a:lnTo>
                    <a:lnTo>
                      <a:pt x="5650" y="1277"/>
                    </a:lnTo>
                    <a:lnTo>
                      <a:pt x="5755" y="1235"/>
                    </a:lnTo>
                    <a:lnTo>
                      <a:pt x="5692" y="1214"/>
                    </a:lnTo>
                    <a:lnTo>
                      <a:pt x="5671" y="1109"/>
                    </a:lnTo>
                    <a:lnTo>
                      <a:pt x="5608" y="1005"/>
                    </a:lnTo>
                    <a:lnTo>
                      <a:pt x="5650" y="900"/>
                    </a:lnTo>
                    <a:lnTo>
                      <a:pt x="5671" y="774"/>
                    </a:lnTo>
                    <a:lnTo>
                      <a:pt x="5692" y="816"/>
                    </a:lnTo>
                    <a:lnTo>
                      <a:pt x="5797" y="649"/>
                    </a:lnTo>
                    <a:lnTo>
                      <a:pt x="5713" y="691"/>
                    </a:lnTo>
                    <a:lnTo>
                      <a:pt x="5650" y="691"/>
                    </a:lnTo>
                    <a:lnTo>
                      <a:pt x="5755" y="628"/>
                    </a:lnTo>
                    <a:lnTo>
                      <a:pt x="5817" y="502"/>
                    </a:lnTo>
                    <a:lnTo>
                      <a:pt x="5797" y="502"/>
                    </a:lnTo>
                    <a:lnTo>
                      <a:pt x="5797" y="419"/>
                    </a:lnTo>
                    <a:lnTo>
                      <a:pt x="5713" y="419"/>
                    </a:lnTo>
                    <a:lnTo>
                      <a:pt x="5650" y="544"/>
                    </a:lnTo>
                    <a:lnTo>
                      <a:pt x="5671" y="586"/>
                    </a:lnTo>
                    <a:lnTo>
                      <a:pt x="5713" y="607"/>
                    </a:lnTo>
                    <a:lnTo>
                      <a:pt x="5608" y="649"/>
                    </a:lnTo>
                    <a:lnTo>
                      <a:pt x="5566" y="607"/>
                    </a:lnTo>
                    <a:lnTo>
                      <a:pt x="5566" y="544"/>
                    </a:lnTo>
                    <a:lnTo>
                      <a:pt x="5504" y="544"/>
                    </a:lnTo>
                    <a:lnTo>
                      <a:pt x="5441" y="523"/>
                    </a:lnTo>
                    <a:lnTo>
                      <a:pt x="5378" y="586"/>
                    </a:lnTo>
                    <a:lnTo>
                      <a:pt x="5294" y="691"/>
                    </a:lnTo>
                    <a:lnTo>
                      <a:pt x="5232" y="628"/>
                    </a:lnTo>
                    <a:lnTo>
                      <a:pt x="5169" y="481"/>
                    </a:lnTo>
                    <a:lnTo>
                      <a:pt x="5232" y="440"/>
                    </a:lnTo>
                    <a:lnTo>
                      <a:pt x="5273" y="377"/>
                    </a:lnTo>
                    <a:lnTo>
                      <a:pt x="5273" y="314"/>
                    </a:lnTo>
                    <a:lnTo>
                      <a:pt x="5252" y="293"/>
                    </a:lnTo>
                    <a:lnTo>
                      <a:pt x="5273" y="251"/>
                    </a:lnTo>
                    <a:lnTo>
                      <a:pt x="5232" y="209"/>
                    </a:lnTo>
                    <a:lnTo>
                      <a:pt x="5169" y="251"/>
                    </a:lnTo>
                    <a:lnTo>
                      <a:pt x="5127" y="230"/>
                    </a:lnTo>
                    <a:lnTo>
                      <a:pt x="5064" y="188"/>
                    </a:lnTo>
                    <a:lnTo>
                      <a:pt x="5085" y="105"/>
                    </a:lnTo>
                    <a:lnTo>
                      <a:pt x="516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3" name="Google Shape;12178;p43">
                <a:extLst>
                  <a:ext uri="{FF2B5EF4-FFF2-40B4-BE49-F238E27FC236}">
                    <a16:creationId xmlns:a16="http://schemas.microsoft.com/office/drawing/2014/main" id="{B30285C7-06FD-2051-949C-97653ECB0742}"/>
                  </a:ext>
                </a:extLst>
              </p:cNvPr>
              <p:cNvSpPr/>
              <p:nvPr/>
            </p:nvSpPr>
            <p:spPr>
              <a:xfrm>
                <a:off x="6101375" y="3852150"/>
                <a:ext cx="82150" cy="171075"/>
              </a:xfrm>
              <a:custGeom>
                <a:avLst/>
                <a:gdLst/>
                <a:ahLst/>
                <a:cxnLst/>
                <a:rect l="l" t="t" r="r" b="b"/>
                <a:pathLst>
                  <a:path w="3286" h="6843" extrusionOk="0">
                    <a:moveTo>
                      <a:pt x="880" y="0"/>
                    </a:moveTo>
                    <a:lnTo>
                      <a:pt x="796" y="21"/>
                    </a:lnTo>
                    <a:lnTo>
                      <a:pt x="650" y="21"/>
                    </a:lnTo>
                    <a:lnTo>
                      <a:pt x="650" y="42"/>
                    </a:lnTo>
                    <a:lnTo>
                      <a:pt x="733" y="126"/>
                    </a:lnTo>
                    <a:lnTo>
                      <a:pt x="859" y="440"/>
                    </a:lnTo>
                    <a:lnTo>
                      <a:pt x="859" y="544"/>
                    </a:lnTo>
                    <a:lnTo>
                      <a:pt x="859" y="733"/>
                    </a:lnTo>
                    <a:lnTo>
                      <a:pt x="796" y="774"/>
                    </a:lnTo>
                    <a:lnTo>
                      <a:pt x="754" y="774"/>
                    </a:lnTo>
                    <a:lnTo>
                      <a:pt x="754" y="795"/>
                    </a:lnTo>
                    <a:lnTo>
                      <a:pt x="796" y="1046"/>
                    </a:lnTo>
                    <a:lnTo>
                      <a:pt x="838" y="1067"/>
                    </a:lnTo>
                    <a:lnTo>
                      <a:pt x="942" y="1026"/>
                    </a:lnTo>
                    <a:lnTo>
                      <a:pt x="1047" y="1026"/>
                    </a:lnTo>
                    <a:lnTo>
                      <a:pt x="963" y="1046"/>
                    </a:lnTo>
                    <a:lnTo>
                      <a:pt x="880" y="1151"/>
                    </a:lnTo>
                    <a:lnTo>
                      <a:pt x="901" y="1277"/>
                    </a:lnTo>
                    <a:lnTo>
                      <a:pt x="984" y="1444"/>
                    </a:lnTo>
                    <a:lnTo>
                      <a:pt x="1005" y="1716"/>
                    </a:lnTo>
                    <a:lnTo>
                      <a:pt x="1005" y="1904"/>
                    </a:lnTo>
                    <a:lnTo>
                      <a:pt x="1005" y="2030"/>
                    </a:lnTo>
                    <a:lnTo>
                      <a:pt x="1068" y="2009"/>
                    </a:lnTo>
                    <a:lnTo>
                      <a:pt x="1089" y="1904"/>
                    </a:lnTo>
                    <a:lnTo>
                      <a:pt x="1068" y="1821"/>
                    </a:lnTo>
                    <a:lnTo>
                      <a:pt x="1089" y="1800"/>
                    </a:lnTo>
                    <a:lnTo>
                      <a:pt x="1152" y="1842"/>
                    </a:lnTo>
                    <a:lnTo>
                      <a:pt x="1152" y="1967"/>
                    </a:lnTo>
                    <a:lnTo>
                      <a:pt x="1194" y="1967"/>
                    </a:lnTo>
                    <a:lnTo>
                      <a:pt x="1214" y="1904"/>
                    </a:lnTo>
                    <a:lnTo>
                      <a:pt x="1194" y="1842"/>
                    </a:lnTo>
                    <a:lnTo>
                      <a:pt x="1214" y="1842"/>
                    </a:lnTo>
                    <a:lnTo>
                      <a:pt x="1256" y="1925"/>
                    </a:lnTo>
                    <a:lnTo>
                      <a:pt x="1173" y="2030"/>
                    </a:lnTo>
                    <a:lnTo>
                      <a:pt x="1152" y="2134"/>
                    </a:lnTo>
                    <a:lnTo>
                      <a:pt x="1152" y="2197"/>
                    </a:lnTo>
                    <a:lnTo>
                      <a:pt x="1110" y="2218"/>
                    </a:lnTo>
                    <a:lnTo>
                      <a:pt x="1068" y="2134"/>
                    </a:lnTo>
                    <a:lnTo>
                      <a:pt x="1005" y="2134"/>
                    </a:lnTo>
                    <a:lnTo>
                      <a:pt x="1047" y="2323"/>
                    </a:lnTo>
                    <a:lnTo>
                      <a:pt x="1110" y="2532"/>
                    </a:lnTo>
                    <a:lnTo>
                      <a:pt x="1173" y="2553"/>
                    </a:lnTo>
                    <a:lnTo>
                      <a:pt x="1194" y="2532"/>
                    </a:lnTo>
                    <a:lnTo>
                      <a:pt x="1256" y="2616"/>
                    </a:lnTo>
                    <a:lnTo>
                      <a:pt x="1256" y="2658"/>
                    </a:lnTo>
                    <a:lnTo>
                      <a:pt x="1298" y="2699"/>
                    </a:lnTo>
                    <a:lnTo>
                      <a:pt x="1194" y="2762"/>
                    </a:lnTo>
                    <a:lnTo>
                      <a:pt x="1194" y="2825"/>
                    </a:lnTo>
                    <a:lnTo>
                      <a:pt x="1214" y="2867"/>
                    </a:lnTo>
                    <a:lnTo>
                      <a:pt x="1194" y="2950"/>
                    </a:lnTo>
                    <a:lnTo>
                      <a:pt x="1110" y="3139"/>
                    </a:lnTo>
                    <a:lnTo>
                      <a:pt x="1152" y="3243"/>
                    </a:lnTo>
                    <a:lnTo>
                      <a:pt x="1089" y="3264"/>
                    </a:lnTo>
                    <a:lnTo>
                      <a:pt x="1173" y="3348"/>
                    </a:lnTo>
                    <a:lnTo>
                      <a:pt x="1152" y="3369"/>
                    </a:lnTo>
                    <a:lnTo>
                      <a:pt x="1068" y="3369"/>
                    </a:lnTo>
                    <a:lnTo>
                      <a:pt x="1005" y="3474"/>
                    </a:lnTo>
                    <a:lnTo>
                      <a:pt x="1005" y="3536"/>
                    </a:lnTo>
                    <a:lnTo>
                      <a:pt x="1068" y="3599"/>
                    </a:lnTo>
                    <a:lnTo>
                      <a:pt x="1005" y="3641"/>
                    </a:lnTo>
                    <a:lnTo>
                      <a:pt x="942" y="3641"/>
                    </a:lnTo>
                    <a:lnTo>
                      <a:pt x="880" y="3767"/>
                    </a:lnTo>
                    <a:lnTo>
                      <a:pt x="796" y="4164"/>
                    </a:lnTo>
                    <a:lnTo>
                      <a:pt x="796" y="4269"/>
                    </a:lnTo>
                    <a:lnTo>
                      <a:pt x="733" y="4331"/>
                    </a:lnTo>
                    <a:lnTo>
                      <a:pt x="629" y="4331"/>
                    </a:lnTo>
                    <a:lnTo>
                      <a:pt x="545" y="4290"/>
                    </a:lnTo>
                    <a:lnTo>
                      <a:pt x="419" y="4311"/>
                    </a:lnTo>
                    <a:lnTo>
                      <a:pt x="210" y="4415"/>
                    </a:lnTo>
                    <a:lnTo>
                      <a:pt x="106" y="4520"/>
                    </a:lnTo>
                    <a:lnTo>
                      <a:pt x="64" y="4645"/>
                    </a:lnTo>
                    <a:lnTo>
                      <a:pt x="106" y="4834"/>
                    </a:lnTo>
                    <a:lnTo>
                      <a:pt x="210" y="4917"/>
                    </a:lnTo>
                    <a:lnTo>
                      <a:pt x="357" y="5022"/>
                    </a:lnTo>
                    <a:lnTo>
                      <a:pt x="440" y="5168"/>
                    </a:lnTo>
                    <a:lnTo>
                      <a:pt x="587" y="5231"/>
                    </a:lnTo>
                    <a:lnTo>
                      <a:pt x="650" y="5273"/>
                    </a:lnTo>
                    <a:lnTo>
                      <a:pt x="670" y="5545"/>
                    </a:lnTo>
                    <a:lnTo>
                      <a:pt x="691" y="5566"/>
                    </a:lnTo>
                    <a:lnTo>
                      <a:pt x="670" y="5587"/>
                    </a:lnTo>
                    <a:lnTo>
                      <a:pt x="670" y="5733"/>
                    </a:lnTo>
                    <a:lnTo>
                      <a:pt x="629" y="5838"/>
                    </a:lnTo>
                    <a:lnTo>
                      <a:pt x="378" y="6110"/>
                    </a:lnTo>
                    <a:lnTo>
                      <a:pt x="231" y="6277"/>
                    </a:lnTo>
                    <a:lnTo>
                      <a:pt x="43" y="6424"/>
                    </a:lnTo>
                    <a:lnTo>
                      <a:pt x="1" y="6508"/>
                    </a:lnTo>
                    <a:lnTo>
                      <a:pt x="22" y="6549"/>
                    </a:lnTo>
                    <a:lnTo>
                      <a:pt x="126" y="6591"/>
                    </a:lnTo>
                    <a:lnTo>
                      <a:pt x="147" y="6528"/>
                    </a:lnTo>
                    <a:lnTo>
                      <a:pt x="210" y="6528"/>
                    </a:lnTo>
                    <a:lnTo>
                      <a:pt x="210" y="6612"/>
                    </a:lnTo>
                    <a:lnTo>
                      <a:pt x="210" y="6675"/>
                    </a:lnTo>
                    <a:lnTo>
                      <a:pt x="231" y="6696"/>
                    </a:lnTo>
                    <a:lnTo>
                      <a:pt x="273" y="6675"/>
                    </a:lnTo>
                    <a:lnTo>
                      <a:pt x="315" y="6717"/>
                    </a:lnTo>
                    <a:lnTo>
                      <a:pt x="315" y="6800"/>
                    </a:lnTo>
                    <a:lnTo>
                      <a:pt x="336" y="6842"/>
                    </a:lnTo>
                    <a:lnTo>
                      <a:pt x="419" y="6821"/>
                    </a:lnTo>
                    <a:lnTo>
                      <a:pt x="629" y="6675"/>
                    </a:lnTo>
                    <a:lnTo>
                      <a:pt x="796" y="6528"/>
                    </a:lnTo>
                    <a:lnTo>
                      <a:pt x="984" y="6361"/>
                    </a:lnTo>
                    <a:lnTo>
                      <a:pt x="1152" y="6173"/>
                    </a:lnTo>
                    <a:lnTo>
                      <a:pt x="1319" y="5901"/>
                    </a:lnTo>
                    <a:lnTo>
                      <a:pt x="1424" y="5859"/>
                    </a:lnTo>
                    <a:lnTo>
                      <a:pt x="1507" y="5859"/>
                    </a:lnTo>
                    <a:lnTo>
                      <a:pt x="1570" y="5775"/>
                    </a:lnTo>
                    <a:lnTo>
                      <a:pt x="1570" y="5691"/>
                    </a:lnTo>
                    <a:lnTo>
                      <a:pt x="1612" y="5650"/>
                    </a:lnTo>
                    <a:lnTo>
                      <a:pt x="1717" y="5587"/>
                    </a:lnTo>
                    <a:lnTo>
                      <a:pt x="1800" y="5357"/>
                    </a:lnTo>
                    <a:lnTo>
                      <a:pt x="1905" y="5210"/>
                    </a:lnTo>
                    <a:lnTo>
                      <a:pt x="1905" y="5147"/>
                    </a:lnTo>
                    <a:lnTo>
                      <a:pt x="1989" y="5106"/>
                    </a:lnTo>
                    <a:lnTo>
                      <a:pt x="1884" y="4980"/>
                    </a:lnTo>
                    <a:lnTo>
                      <a:pt x="1717" y="4980"/>
                    </a:lnTo>
                    <a:lnTo>
                      <a:pt x="1800" y="4938"/>
                    </a:lnTo>
                    <a:lnTo>
                      <a:pt x="1884" y="4917"/>
                    </a:lnTo>
                    <a:lnTo>
                      <a:pt x="2114" y="4624"/>
                    </a:lnTo>
                    <a:lnTo>
                      <a:pt x="2240" y="4603"/>
                    </a:lnTo>
                    <a:lnTo>
                      <a:pt x="2428" y="4624"/>
                    </a:lnTo>
                    <a:lnTo>
                      <a:pt x="2512" y="4624"/>
                    </a:lnTo>
                    <a:lnTo>
                      <a:pt x="2512" y="4708"/>
                    </a:lnTo>
                    <a:lnTo>
                      <a:pt x="2512" y="4792"/>
                    </a:lnTo>
                    <a:lnTo>
                      <a:pt x="2616" y="4708"/>
                    </a:lnTo>
                    <a:lnTo>
                      <a:pt x="2679" y="4645"/>
                    </a:lnTo>
                    <a:lnTo>
                      <a:pt x="2533" y="4603"/>
                    </a:lnTo>
                    <a:lnTo>
                      <a:pt x="2554" y="4499"/>
                    </a:lnTo>
                    <a:lnTo>
                      <a:pt x="2637" y="4311"/>
                    </a:lnTo>
                    <a:lnTo>
                      <a:pt x="2679" y="4227"/>
                    </a:lnTo>
                    <a:lnTo>
                      <a:pt x="2784" y="4227"/>
                    </a:lnTo>
                    <a:lnTo>
                      <a:pt x="2826" y="4290"/>
                    </a:lnTo>
                    <a:lnTo>
                      <a:pt x="2867" y="4227"/>
                    </a:lnTo>
                    <a:lnTo>
                      <a:pt x="2930" y="4122"/>
                    </a:lnTo>
                    <a:lnTo>
                      <a:pt x="3077" y="3892"/>
                    </a:lnTo>
                    <a:lnTo>
                      <a:pt x="3077" y="3808"/>
                    </a:lnTo>
                    <a:lnTo>
                      <a:pt x="3077" y="3746"/>
                    </a:lnTo>
                    <a:lnTo>
                      <a:pt x="3098" y="3599"/>
                    </a:lnTo>
                    <a:lnTo>
                      <a:pt x="3202" y="3495"/>
                    </a:lnTo>
                    <a:lnTo>
                      <a:pt x="3286" y="3453"/>
                    </a:lnTo>
                    <a:lnTo>
                      <a:pt x="3286" y="3411"/>
                    </a:lnTo>
                    <a:lnTo>
                      <a:pt x="3160" y="3369"/>
                    </a:lnTo>
                    <a:lnTo>
                      <a:pt x="3098" y="3285"/>
                    </a:lnTo>
                    <a:lnTo>
                      <a:pt x="3139" y="3285"/>
                    </a:lnTo>
                    <a:lnTo>
                      <a:pt x="3160" y="3243"/>
                    </a:lnTo>
                    <a:lnTo>
                      <a:pt x="3035" y="3222"/>
                    </a:lnTo>
                    <a:lnTo>
                      <a:pt x="2888" y="3327"/>
                    </a:lnTo>
                    <a:lnTo>
                      <a:pt x="2679" y="3536"/>
                    </a:lnTo>
                    <a:lnTo>
                      <a:pt x="2554" y="3536"/>
                    </a:lnTo>
                    <a:lnTo>
                      <a:pt x="2470" y="3578"/>
                    </a:lnTo>
                    <a:lnTo>
                      <a:pt x="2365" y="3536"/>
                    </a:lnTo>
                    <a:lnTo>
                      <a:pt x="2135" y="3285"/>
                    </a:lnTo>
                    <a:lnTo>
                      <a:pt x="2051" y="3285"/>
                    </a:lnTo>
                    <a:lnTo>
                      <a:pt x="1989" y="3181"/>
                    </a:lnTo>
                    <a:lnTo>
                      <a:pt x="1947" y="3118"/>
                    </a:lnTo>
                    <a:lnTo>
                      <a:pt x="2010" y="3034"/>
                    </a:lnTo>
                    <a:lnTo>
                      <a:pt x="2030" y="2888"/>
                    </a:lnTo>
                    <a:lnTo>
                      <a:pt x="1926" y="2720"/>
                    </a:lnTo>
                    <a:lnTo>
                      <a:pt x="1926" y="2637"/>
                    </a:lnTo>
                    <a:lnTo>
                      <a:pt x="1905" y="2595"/>
                    </a:lnTo>
                    <a:lnTo>
                      <a:pt x="1905" y="2448"/>
                    </a:lnTo>
                    <a:lnTo>
                      <a:pt x="1947" y="2365"/>
                    </a:lnTo>
                    <a:lnTo>
                      <a:pt x="1884" y="2365"/>
                    </a:lnTo>
                    <a:lnTo>
                      <a:pt x="1884" y="2239"/>
                    </a:lnTo>
                    <a:lnTo>
                      <a:pt x="1842" y="2176"/>
                    </a:lnTo>
                    <a:lnTo>
                      <a:pt x="1800" y="2197"/>
                    </a:lnTo>
                    <a:lnTo>
                      <a:pt x="1717" y="2134"/>
                    </a:lnTo>
                    <a:lnTo>
                      <a:pt x="1675" y="2197"/>
                    </a:lnTo>
                    <a:lnTo>
                      <a:pt x="1779" y="2281"/>
                    </a:lnTo>
                    <a:lnTo>
                      <a:pt x="1738" y="2365"/>
                    </a:lnTo>
                    <a:lnTo>
                      <a:pt x="1779" y="2427"/>
                    </a:lnTo>
                    <a:lnTo>
                      <a:pt x="1696" y="2511"/>
                    </a:lnTo>
                    <a:lnTo>
                      <a:pt x="1696" y="2595"/>
                    </a:lnTo>
                    <a:lnTo>
                      <a:pt x="1779" y="2699"/>
                    </a:lnTo>
                    <a:lnTo>
                      <a:pt x="1779" y="2741"/>
                    </a:lnTo>
                    <a:lnTo>
                      <a:pt x="1675" y="2762"/>
                    </a:lnTo>
                    <a:lnTo>
                      <a:pt x="1612" y="2720"/>
                    </a:lnTo>
                    <a:lnTo>
                      <a:pt x="1591" y="2616"/>
                    </a:lnTo>
                    <a:lnTo>
                      <a:pt x="1486" y="2595"/>
                    </a:lnTo>
                    <a:lnTo>
                      <a:pt x="1486" y="2532"/>
                    </a:lnTo>
                    <a:lnTo>
                      <a:pt x="1382" y="2511"/>
                    </a:lnTo>
                    <a:lnTo>
                      <a:pt x="1319" y="2511"/>
                    </a:lnTo>
                    <a:lnTo>
                      <a:pt x="1298" y="2448"/>
                    </a:lnTo>
                    <a:lnTo>
                      <a:pt x="1403" y="2406"/>
                    </a:lnTo>
                    <a:lnTo>
                      <a:pt x="1424" y="2323"/>
                    </a:lnTo>
                    <a:lnTo>
                      <a:pt x="1319" y="2239"/>
                    </a:lnTo>
                    <a:lnTo>
                      <a:pt x="1403" y="2114"/>
                    </a:lnTo>
                    <a:lnTo>
                      <a:pt x="1486" y="2093"/>
                    </a:lnTo>
                    <a:lnTo>
                      <a:pt x="1507" y="1988"/>
                    </a:lnTo>
                    <a:lnTo>
                      <a:pt x="1486" y="1904"/>
                    </a:lnTo>
                    <a:lnTo>
                      <a:pt x="1507" y="1821"/>
                    </a:lnTo>
                    <a:lnTo>
                      <a:pt x="1466" y="1758"/>
                    </a:lnTo>
                    <a:lnTo>
                      <a:pt x="1486" y="1611"/>
                    </a:lnTo>
                    <a:lnTo>
                      <a:pt x="1361" y="1507"/>
                    </a:lnTo>
                    <a:lnTo>
                      <a:pt x="1361" y="1465"/>
                    </a:lnTo>
                    <a:lnTo>
                      <a:pt x="1424" y="1507"/>
                    </a:lnTo>
                    <a:lnTo>
                      <a:pt x="1528" y="1486"/>
                    </a:lnTo>
                    <a:lnTo>
                      <a:pt x="1570" y="1360"/>
                    </a:lnTo>
                    <a:lnTo>
                      <a:pt x="1591" y="1318"/>
                    </a:lnTo>
                    <a:lnTo>
                      <a:pt x="1591" y="1151"/>
                    </a:lnTo>
                    <a:lnTo>
                      <a:pt x="1570" y="1026"/>
                    </a:lnTo>
                    <a:lnTo>
                      <a:pt x="1570" y="921"/>
                    </a:lnTo>
                    <a:lnTo>
                      <a:pt x="1507" y="942"/>
                    </a:lnTo>
                    <a:lnTo>
                      <a:pt x="1382" y="984"/>
                    </a:lnTo>
                    <a:lnTo>
                      <a:pt x="1277" y="879"/>
                    </a:lnTo>
                    <a:lnTo>
                      <a:pt x="1361" y="837"/>
                    </a:lnTo>
                    <a:lnTo>
                      <a:pt x="1277" y="774"/>
                    </a:lnTo>
                    <a:lnTo>
                      <a:pt x="1214" y="754"/>
                    </a:lnTo>
                    <a:lnTo>
                      <a:pt x="1277" y="712"/>
                    </a:lnTo>
                    <a:lnTo>
                      <a:pt x="1361" y="649"/>
                    </a:lnTo>
                    <a:lnTo>
                      <a:pt x="1361" y="607"/>
                    </a:lnTo>
                    <a:lnTo>
                      <a:pt x="1256" y="565"/>
                    </a:lnTo>
                    <a:lnTo>
                      <a:pt x="1173" y="502"/>
                    </a:lnTo>
                    <a:lnTo>
                      <a:pt x="1089" y="544"/>
                    </a:lnTo>
                    <a:lnTo>
                      <a:pt x="1089" y="440"/>
                    </a:lnTo>
                    <a:lnTo>
                      <a:pt x="1110" y="440"/>
                    </a:lnTo>
                    <a:lnTo>
                      <a:pt x="1173" y="356"/>
                    </a:lnTo>
                    <a:lnTo>
                      <a:pt x="1110" y="356"/>
                    </a:lnTo>
                    <a:lnTo>
                      <a:pt x="1047" y="398"/>
                    </a:lnTo>
                    <a:lnTo>
                      <a:pt x="1047" y="461"/>
                    </a:lnTo>
                    <a:lnTo>
                      <a:pt x="1005" y="544"/>
                    </a:lnTo>
                    <a:lnTo>
                      <a:pt x="942" y="523"/>
                    </a:lnTo>
                    <a:lnTo>
                      <a:pt x="963" y="419"/>
                    </a:lnTo>
                    <a:lnTo>
                      <a:pt x="901" y="335"/>
                    </a:lnTo>
                    <a:lnTo>
                      <a:pt x="880" y="209"/>
                    </a:lnTo>
                    <a:lnTo>
                      <a:pt x="880" y="105"/>
                    </a:lnTo>
                    <a:lnTo>
                      <a:pt x="880" y="42"/>
                    </a:lnTo>
                    <a:lnTo>
                      <a:pt x="942" y="42"/>
                    </a:lnTo>
                    <a:lnTo>
                      <a:pt x="88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06" name="Google Shape;12179;p43">
              <a:extLst>
                <a:ext uri="{FF2B5EF4-FFF2-40B4-BE49-F238E27FC236}">
                  <a16:creationId xmlns:a16="http://schemas.microsoft.com/office/drawing/2014/main" id="{639B3CEE-8E29-7709-FAC7-AFB995E15389}"/>
                </a:ext>
              </a:extLst>
            </p:cNvPr>
            <p:cNvSpPr/>
            <p:nvPr/>
          </p:nvSpPr>
          <p:spPr>
            <a:xfrm>
              <a:off x="3608564" y="2619698"/>
              <a:ext cx="60550" cy="35232"/>
            </a:xfrm>
            <a:custGeom>
              <a:avLst/>
              <a:gdLst/>
              <a:ahLst/>
              <a:cxnLst/>
              <a:rect l="l" t="t" r="r" b="b"/>
              <a:pathLst>
                <a:path w="5085" h="3098" extrusionOk="0">
                  <a:moveTo>
                    <a:pt x="900" y="1"/>
                  </a:moveTo>
                  <a:lnTo>
                    <a:pt x="733" y="22"/>
                  </a:lnTo>
                  <a:lnTo>
                    <a:pt x="733" y="64"/>
                  </a:lnTo>
                  <a:lnTo>
                    <a:pt x="775" y="126"/>
                  </a:lnTo>
                  <a:lnTo>
                    <a:pt x="837" y="126"/>
                  </a:lnTo>
                  <a:lnTo>
                    <a:pt x="858" y="64"/>
                  </a:lnTo>
                  <a:lnTo>
                    <a:pt x="942" y="64"/>
                  </a:lnTo>
                  <a:lnTo>
                    <a:pt x="984" y="126"/>
                  </a:lnTo>
                  <a:lnTo>
                    <a:pt x="1088" y="147"/>
                  </a:lnTo>
                  <a:lnTo>
                    <a:pt x="1047" y="210"/>
                  </a:lnTo>
                  <a:lnTo>
                    <a:pt x="942" y="168"/>
                  </a:lnTo>
                  <a:lnTo>
                    <a:pt x="837" y="168"/>
                  </a:lnTo>
                  <a:lnTo>
                    <a:pt x="858" y="231"/>
                  </a:lnTo>
                  <a:lnTo>
                    <a:pt x="1005" y="315"/>
                  </a:lnTo>
                  <a:lnTo>
                    <a:pt x="1109" y="440"/>
                  </a:lnTo>
                  <a:lnTo>
                    <a:pt x="1088" y="524"/>
                  </a:lnTo>
                  <a:lnTo>
                    <a:pt x="1047" y="545"/>
                  </a:lnTo>
                  <a:lnTo>
                    <a:pt x="1047" y="461"/>
                  </a:lnTo>
                  <a:lnTo>
                    <a:pt x="900" y="377"/>
                  </a:lnTo>
                  <a:lnTo>
                    <a:pt x="837" y="461"/>
                  </a:lnTo>
                  <a:lnTo>
                    <a:pt x="775" y="440"/>
                  </a:lnTo>
                  <a:lnTo>
                    <a:pt x="796" y="356"/>
                  </a:lnTo>
                  <a:lnTo>
                    <a:pt x="691" y="252"/>
                  </a:lnTo>
                  <a:lnTo>
                    <a:pt x="586" y="210"/>
                  </a:lnTo>
                  <a:lnTo>
                    <a:pt x="524" y="252"/>
                  </a:lnTo>
                  <a:lnTo>
                    <a:pt x="586" y="356"/>
                  </a:lnTo>
                  <a:lnTo>
                    <a:pt x="565" y="419"/>
                  </a:lnTo>
                  <a:lnTo>
                    <a:pt x="524" y="315"/>
                  </a:lnTo>
                  <a:lnTo>
                    <a:pt x="419" y="273"/>
                  </a:lnTo>
                  <a:lnTo>
                    <a:pt x="377" y="356"/>
                  </a:lnTo>
                  <a:lnTo>
                    <a:pt x="461" y="440"/>
                  </a:lnTo>
                  <a:lnTo>
                    <a:pt x="524" y="482"/>
                  </a:lnTo>
                  <a:lnTo>
                    <a:pt x="565" y="545"/>
                  </a:lnTo>
                  <a:lnTo>
                    <a:pt x="461" y="482"/>
                  </a:lnTo>
                  <a:lnTo>
                    <a:pt x="356" y="545"/>
                  </a:lnTo>
                  <a:lnTo>
                    <a:pt x="419" y="608"/>
                  </a:lnTo>
                  <a:lnTo>
                    <a:pt x="565" y="670"/>
                  </a:lnTo>
                  <a:lnTo>
                    <a:pt x="482" y="670"/>
                  </a:lnTo>
                  <a:lnTo>
                    <a:pt x="461" y="733"/>
                  </a:lnTo>
                  <a:lnTo>
                    <a:pt x="482" y="775"/>
                  </a:lnTo>
                  <a:lnTo>
                    <a:pt x="461" y="775"/>
                  </a:lnTo>
                  <a:lnTo>
                    <a:pt x="272" y="649"/>
                  </a:lnTo>
                  <a:lnTo>
                    <a:pt x="231" y="608"/>
                  </a:lnTo>
                  <a:lnTo>
                    <a:pt x="168" y="670"/>
                  </a:lnTo>
                  <a:lnTo>
                    <a:pt x="252" y="796"/>
                  </a:lnTo>
                  <a:lnTo>
                    <a:pt x="314" y="880"/>
                  </a:lnTo>
                  <a:lnTo>
                    <a:pt x="252" y="900"/>
                  </a:lnTo>
                  <a:lnTo>
                    <a:pt x="147" y="775"/>
                  </a:lnTo>
                  <a:lnTo>
                    <a:pt x="63" y="754"/>
                  </a:lnTo>
                  <a:lnTo>
                    <a:pt x="0" y="859"/>
                  </a:lnTo>
                  <a:lnTo>
                    <a:pt x="126" y="900"/>
                  </a:lnTo>
                  <a:lnTo>
                    <a:pt x="231" y="1005"/>
                  </a:lnTo>
                  <a:lnTo>
                    <a:pt x="356" y="1047"/>
                  </a:lnTo>
                  <a:lnTo>
                    <a:pt x="440" y="942"/>
                  </a:lnTo>
                  <a:lnTo>
                    <a:pt x="565" y="900"/>
                  </a:lnTo>
                  <a:lnTo>
                    <a:pt x="628" y="796"/>
                  </a:lnTo>
                  <a:lnTo>
                    <a:pt x="649" y="859"/>
                  </a:lnTo>
                  <a:lnTo>
                    <a:pt x="649" y="900"/>
                  </a:lnTo>
                  <a:lnTo>
                    <a:pt x="691" y="900"/>
                  </a:lnTo>
                  <a:lnTo>
                    <a:pt x="775" y="880"/>
                  </a:lnTo>
                  <a:lnTo>
                    <a:pt x="796" y="984"/>
                  </a:lnTo>
                  <a:lnTo>
                    <a:pt x="858" y="984"/>
                  </a:lnTo>
                  <a:lnTo>
                    <a:pt x="942" y="900"/>
                  </a:lnTo>
                  <a:lnTo>
                    <a:pt x="963" y="859"/>
                  </a:lnTo>
                  <a:lnTo>
                    <a:pt x="984" y="963"/>
                  </a:lnTo>
                  <a:lnTo>
                    <a:pt x="1005" y="963"/>
                  </a:lnTo>
                  <a:lnTo>
                    <a:pt x="1151" y="859"/>
                  </a:lnTo>
                  <a:lnTo>
                    <a:pt x="1109" y="900"/>
                  </a:lnTo>
                  <a:lnTo>
                    <a:pt x="1088" y="1005"/>
                  </a:lnTo>
                  <a:lnTo>
                    <a:pt x="1151" y="1047"/>
                  </a:lnTo>
                  <a:lnTo>
                    <a:pt x="1214" y="984"/>
                  </a:lnTo>
                  <a:lnTo>
                    <a:pt x="1360" y="1068"/>
                  </a:lnTo>
                  <a:lnTo>
                    <a:pt x="1277" y="1089"/>
                  </a:lnTo>
                  <a:lnTo>
                    <a:pt x="1193" y="1089"/>
                  </a:lnTo>
                  <a:lnTo>
                    <a:pt x="1109" y="1131"/>
                  </a:lnTo>
                  <a:lnTo>
                    <a:pt x="1047" y="1131"/>
                  </a:lnTo>
                  <a:lnTo>
                    <a:pt x="879" y="1214"/>
                  </a:lnTo>
                  <a:lnTo>
                    <a:pt x="879" y="1256"/>
                  </a:lnTo>
                  <a:lnTo>
                    <a:pt x="1068" y="1298"/>
                  </a:lnTo>
                  <a:lnTo>
                    <a:pt x="1172" y="1298"/>
                  </a:lnTo>
                  <a:lnTo>
                    <a:pt x="1214" y="1214"/>
                  </a:lnTo>
                  <a:lnTo>
                    <a:pt x="1277" y="1193"/>
                  </a:lnTo>
                  <a:lnTo>
                    <a:pt x="1277" y="1298"/>
                  </a:lnTo>
                  <a:lnTo>
                    <a:pt x="1193" y="1382"/>
                  </a:lnTo>
                  <a:lnTo>
                    <a:pt x="1005" y="1403"/>
                  </a:lnTo>
                  <a:lnTo>
                    <a:pt x="942" y="1382"/>
                  </a:lnTo>
                  <a:lnTo>
                    <a:pt x="858" y="1486"/>
                  </a:lnTo>
                  <a:lnTo>
                    <a:pt x="796" y="1403"/>
                  </a:lnTo>
                  <a:lnTo>
                    <a:pt x="775" y="1382"/>
                  </a:lnTo>
                  <a:lnTo>
                    <a:pt x="775" y="1319"/>
                  </a:lnTo>
                  <a:lnTo>
                    <a:pt x="691" y="1319"/>
                  </a:lnTo>
                  <a:lnTo>
                    <a:pt x="691" y="1361"/>
                  </a:lnTo>
                  <a:lnTo>
                    <a:pt x="691" y="1382"/>
                  </a:lnTo>
                  <a:lnTo>
                    <a:pt x="628" y="1465"/>
                  </a:lnTo>
                  <a:lnTo>
                    <a:pt x="544" y="1403"/>
                  </a:lnTo>
                  <a:lnTo>
                    <a:pt x="461" y="1424"/>
                  </a:lnTo>
                  <a:lnTo>
                    <a:pt x="356" y="1486"/>
                  </a:lnTo>
                  <a:lnTo>
                    <a:pt x="252" y="1424"/>
                  </a:lnTo>
                  <a:lnTo>
                    <a:pt x="168" y="1465"/>
                  </a:lnTo>
                  <a:lnTo>
                    <a:pt x="126" y="1465"/>
                  </a:lnTo>
                  <a:lnTo>
                    <a:pt x="168" y="1591"/>
                  </a:lnTo>
                  <a:lnTo>
                    <a:pt x="231" y="1654"/>
                  </a:lnTo>
                  <a:lnTo>
                    <a:pt x="377" y="1696"/>
                  </a:lnTo>
                  <a:lnTo>
                    <a:pt x="377" y="1633"/>
                  </a:lnTo>
                  <a:lnTo>
                    <a:pt x="565" y="1696"/>
                  </a:lnTo>
                  <a:lnTo>
                    <a:pt x="900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837" y="1842"/>
                  </a:lnTo>
                  <a:lnTo>
                    <a:pt x="942" y="1926"/>
                  </a:lnTo>
                  <a:lnTo>
                    <a:pt x="963" y="2009"/>
                  </a:lnTo>
                  <a:lnTo>
                    <a:pt x="1005" y="2009"/>
                  </a:lnTo>
                  <a:lnTo>
                    <a:pt x="1172" y="1905"/>
                  </a:lnTo>
                  <a:lnTo>
                    <a:pt x="1151" y="1988"/>
                  </a:lnTo>
                  <a:lnTo>
                    <a:pt x="1047" y="2030"/>
                  </a:lnTo>
                  <a:lnTo>
                    <a:pt x="984" y="2135"/>
                  </a:lnTo>
                  <a:lnTo>
                    <a:pt x="1068" y="2177"/>
                  </a:lnTo>
                  <a:lnTo>
                    <a:pt x="1214" y="2051"/>
                  </a:lnTo>
                  <a:lnTo>
                    <a:pt x="1360" y="2114"/>
                  </a:lnTo>
                  <a:lnTo>
                    <a:pt x="1381" y="2156"/>
                  </a:lnTo>
                  <a:lnTo>
                    <a:pt x="1298" y="2114"/>
                  </a:lnTo>
                  <a:lnTo>
                    <a:pt x="1193" y="2156"/>
                  </a:lnTo>
                  <a:lnTo>
                    <a:pt x="1109" y="2240"/>
                  </a:lnTo>
                  <a:lnTo>
                    <a:pt x="984" y="2240"/>
                  </a:lnTo>
                  <a:lnTo>
                    <a:pt x="984" y="2323"/>
                  </a:lnTo>
                  <a:lnTo>
                    <a:pt x="942" y="2365"/>
                  </a:lnTo>
                  <a:lnTo>
                    <a:pt x="879" y="2365"/>
                  </a:lnTo>
                  <a:lnTo>
                    <a:pt x="796" y="2407"/>
                  </a:lnTo>
                  <a:lnTo>
                    <a:pt x="775" y="2344"/>
                  </a:lnTo>
                  <a:lnTo>
                    <a:pt x="670" y="2261"/>
                  </a:lnTo>
                  <a:lnTo>
                    <a:pt x="670" y="2323"/>
                  </a:lnTo>
                  <a:lnTo>
                    <a:pt x="628" y="2323"/>
                  </a:lnTo>
                  <a:lnTo>
                    <a:pt x="649" y="2449"/>
                  </a:lnTo>
                  <a:lnTo>
                    <a:pt x="691" y="2470"/>
                  </a:lnTo>
                  <a:lnTo>
                    <a:pt x="670" y="2512"/>
                  </a:lnTo>
                  <a:lnTo>
                    <a:pt x="649" y="2700"/>
                  </a:lnTo>
                  <a:lnTo>
                    <a:pt x="775" y="2679"/>
                  </a:lnTo>
                  <a:lnTo>
                    <a:pt x="837" y="2658"/>
                  </a:lnTo>
                  <a:lnTo>
                    <a:pt x="900" y="2700"/>
                  </a:lnTo>
                  <a:lnTo>
                    <a:pt x="1088" y="2742"/>
                  </a:lnTo>
                  <a:lnTo>
                    <a:pt x="1214" y="2637"/>
                  </a:lnTo>
                  <a:lnTo>
                    <a:pt x="1360" y="2679"/>
                  </a:lnTo>
                  <a:lnTo>
                    <a:pt x="1423" y="2637"/>
                  </a:lnTo>
                  <a:lnTo>
                    <a:pt x="1465" y="2679"/>
                  </a:lnTo>
                  <a:lnTo>
                    <a:pt x="1528" y="2700"/>
                  </a:lnTo>
                  <a:lnTo>
                    <a:pt x="1632" y="2679"/>
                  </a:lnTo>
                  <a:lnTo>
                    <a:pt x="1632" y="2784"/>
                  </a:lnTo>
                  <a:lnTo>
                    <a:pt x="1779" y="2930"/>
                  </a:lnTo>
                  <a:lnTo>
                    <a:pt x="1842" y="2972"/>
                  </a:lnTo>
                  <a:lnTo>
                    <a:pt x="1946" y="2888"/>
                  </a:lnTo>
                  <a:lnTo>
                    <a:pt x="2051" y="2888"/>
                  </a:lnTo>
                  <a:lnTo>
                    <a:pt x="2239" y="3077"/>
                  </a:lnTo>
                  <a:lnTo>
                    <a:pt x="2469" y="3077"/>
                  </a:lnTo>
                  <a:lnTo>
                    <a:pt x="2574" y="3097"/>
                  </a:lnTo>
                  <a:lnTo>
                    <a:pt x="2741" y="3056"/>
                  </a:lnTo>
                  <a:lnTo>
                    <a:pt x="2721" y="2951"/>
                  </a:lnTo>
                  <a:lnTo>
                    <a:pt x="2741" y="2867"/>
                  </a:lnTo>
                  <a:lnTo>
                    <a:pt x="2762" y="2951"/>
                  </a:lnTo>
                  <a:lnTo>
                    <a:pt x="2888" y="2972"/>
                  </a:lnTo>
                  <a:lnTo>
                    <a:pt x="3034" y="2867"/>
                  </a:lnTo>
                  <a:lnTo>
                    <a:pt x="3034" y="2700"/>
                  </a:lnTo>
                  <a:lnTo>
                    <a:pt x="3181" y="2700"/>
                  </a:lnTo>
                  <a:lnTo>
                    <a:pt x="3139" y="2763"/>
                  </a:lnTo>
                  <a:lnTo>
                    <a:pt x="3181" y="2846"/>
                  </a:lnTo>
                  <a:lnTo>
                    <a:pt x="3202" y="2763"/>
                  </a:lnTo>
                  <a:lnTo>
                    <a:pt x="3306" y="2763"/>
                  </a:lnTo>
                  <a:lnTo>
                    <a:pt x="3411" y="2637"/>
                  </a:lnTo>
                  <a:lnTo>
                    <a:pt x="3474" y="2658"/>
                  </a:lnTo>
                  <a:lnTo>
                    <a:pt x="3495" y="2637"/>
                  </a:lnTo>
                  <a:lnTo>
                    <a:pt x="3599" y="2658"/>
                  </a:lnTo>
                  <a:lnTo>
                    <a:pt x="3599" y="2679"/>
                  </a:lnTo>
                  <a:lnTo>
                    <a:pt x="3662" y="2658"/>
                  </a:lnTo>
                  <a:lnTo>
                    <a:pt x="3892" y="2449"/>
                  </a:lnTo>
                  <a:lnTo>
                    <a:pt x="3976" y="2323"/>
                  </a:lnTo>
                  <a:lnTo>
                    <a:pt x="4248" y="2261"/>
                  </a:lnTo>
                  <a:lnTo>
                    <a:pt x="4332" y="2177"/>
                  </a:lnTo>
                  <a:lnTo>
                    <a:pt x="4290" y="2135"/>
                  </a:lnTo>
                  <a:lnTo>
                    <a:pt x="4311" y="2051"/>
                  </a:lnTo>
                  <a:lnTo>
                    <a:pt x="4353" y="2051"/>
                  </a:lnTo>
                  <a:lnTo>
                    <a:pt x="4394" y="2156"/>
                  </a:lnTo>
                  <a:lnTo>
                    <a:pt x="4541" y="2177"/>
                  </a:lnTo>
                  <a:lnTo>
                    <a:pt x="4625" y="2114"/>
                  </a:lnTo>
                  <a:lnTo>
                    <a:pt x="4625" y="2030"/>
                  </a:lnTo>
                  <a:lnTo>
                    <a:pt x="4604" y="2009"/>
                  </a:lnTo>
                  <a:lnTo>
                    <a:pt x="4604" y="1926"/>
                  </a:lnTo>
                  <a:lnTo>
                    <a:pt x="4666" y="1905"/>
                  </a:lnTo>
                  <a:lnTo>
                    <a:pt x="4625" y="1779"/>
                  </a:lnTo>
                  <a:lnTo>
                    <a:pt x="4666" y="1716"/>
                  </a:lnTo>
                  <a:lnTo>
                    <a:pt x="4771" y="1779"/>
                  </a:lnTo>
                  <a:lnTo>
                    <a:pt x="4771" y="1884"/>
                  </a:lnTo>
                  <a:lnTo>
                    <a:pt x="4876" y="1842"/>
                  </a:lnTo>
                  <a:lnTo>
                    <a:pt x="4938" y="1716"/>
                  </a:lnTo>
                  <a:lnTo>
                    <a:pt x="4917" y="1612"/>
                  </a:lnTo>
                  <a:lnTo>
                    <a:pt x="4813" y="1507"/>
                  </a:lnTo>
                  <a:lnTo>
                    <a:pt x="4813" y="1403"/>
                  </a:lnTo>
                  <a:lnTo>
                    <a:pt x="4855" y="1361"/>
                  </a:lnTo>
                  <a:lnTo>
                    <a:pt x="4855" y="1256"/>
                  </a:lnTo>
                  <a:lnTo>
                    <a:pt x="4959" y="1193"/>
                  </a:lnTo>
                  <a:lnTo>
                    <a:pt x="5043" y="1193"/>
                  </a:lnTo>
                  <a:lnTo>
                    <a:pt x="5085" y="1110"/>
                  </a:lnTo>
                  <a:lnTo>
                    <a:pt x="5022" y="1005"/>
                  </a:lnTo>
                  <a:lnTo>
                    <a:pt x="4771" y="984"/>
                  </a:lnTo>
                  <a:lnTo>
                    <a:pt x="4708" y="1068"/>
                  </a:lnTo>
                  <a:lnTo>
                    <a:pt x="4750" y="963"/>
                  </a:lnTo>
                  <a:lnTo>
                    <a:pt x="4750" y="859"/>
                  </a:lnTo>
                  <a:lnTo>
                    <a:pt x="4625" y="859"/>
                  </a:lnTo>
                  <a:lnTo>
                    <a:pt x="4604" y="880"/>
                  </a:lnTo>
                  <a:lnTo>
                    <a:pt x="4541" y="775"/>
                  </a:lnTo>
                  <a:lnTo>
                    <a:pt x="4625" y="670"/>
                  </a:lnTo>
                  <a:lnTo>
                    <a:pt x="4708" y="649"/>
                  </a:lnTo>
                  <a:lnTo>
                    <a:pt x="4708" y="482"/>
                  </a:lnTo>
                  <a:lnTo>
                    <a:pt x="4645" y="461"/>
                  </a:lnTo>
                  <a:lnTo>
                    <a:pt x="4562" y="545"/>
                  </a:lnTo>
                  <a:lnTo>
                    <a:pt x="4457" y="482"/>
                  </a:lnTo>
                  <a:lnTo>
                    <a:pt x="4415" y="377"/>
                  </a:lnTo>
                  <a:lnTo>
                    <a:pt x="4520" y="336"/>
                  </a:lnTo>
                  <a:lnTo>
                    <a:pt x="4541" y="252"/>
                  </a:lnTo>
                  <a:lnTo>
                    <a:pt x="4604" y="210"/>
                  </a:lnTo>
                  <a:lnTo>
                    <a:pt x="4708" y="168"/>
                  </a:lnTo>
                  <a:lnTo>
                    <a:pt x="4562" y="126"/>
                  </a:lnTo>
                  <a:lnTo>
                    <a:pt x="4499" y="147"/>
                  </a:lnTo>
                  <a:lnTo>
                    <a:pt x="4311" y="336"/>
                  </a:lnTo>
                  <a:lnTo>
                    <a:pt x="4290" y="419"/>
                  </a:lnTo>
                  <a:lnTo>
                    <a:pt x="4206" y="440"/>
                  </a:lnTo>
                  <a:lnTo>
                    <a:pt x="4122" y="315"/>
                  </a:lnTo>
                  <a:lnTo>
                    <a:pt x="4185" y="252"/>
                  </a:lnTo>
                  <a:lnTo>
                    <a:pt x="4122" y="210"/>
                  </a:lnTo>
                  <a:lnTo>
                    <a:pt x="4101" y="84"/>
                  </a:lnTo>
                  <a:lnTo>
                    <a:pt x="3997" y="64"/>
                  </a:lnTo>
                  <a:lnTo>
                    <a:pt x="3913" y="126"/>
                  </a:lnTo>
                  <a:lnTo>
                    <a:pt x="3829" y="84"/>
                  </a:lnTo>
                  <a:lnTo>
                    <a:pt x="3788" y="168"/>
                  </a:lnTo>
                  <a:lnTo>
                    <a:pt x="3829" y="315"/>
                  </a:lnTo>
                  <a:lnTo>
                    <a:pt x="3788" y="377"/>
                  </a:lnTo>
                  <a:lnTo>
                    <a:pt x="3683" y="377"/>
                  </a:lnTo>
                  <a:lnTo>
                    <a:pt x="3578" y="440"/>
                  </a:lnTo>
                  <a:lnTo>
                    <a:pt x="3557" y="336"/>
                  </a:lnTo>
                  <a:lnTo>
                    <a:pt x="3495" y="315"/>
                  </a:lnTo>
                  <a:lnTo>
                    <a:pt x="3453" y="377"/>
                  </a:lnTo>
                  <a:lnTo>
                    <a:pt x="3369" y="545"/>
                  </a:lnTo>
                  <a:lnTo>
                    <a:pt x="3265" y="545"/>
                  </a:lnTo>
                  <a:lnTo>
                    <a:pt x="3160" y="356"/>
                  </a:lnTo>
                  <a:lnTo>
                    <a:pt x="3076" y="356"/>
                  </a:lnTo>
                  <a:lnTo>
                    <a:pt x="3034" y="336"/>
                  </a:lnTo>
                  <a:lnTo>
                    <a:pt x="2951" y="356"/>
                  </a:lnTo>
                  <a:lnTo>
                    <a:pt x="2888" y="545"/>
                  </a:lnTo>
                  <a:lnTo>
                    <a:pt x="2993" y="754"/>
                  </a:lnTo>
                  <a:lnTo>
                    <a:pt x="2888" y="1047"/>
                  </a:lnTo>
                  <a:lnTo>
                    <a:pt x="2930" y="775"/>
                  </a:lnTo>
                  <a:lnTo>
                    <a:pt x="2825" y="608"/>
                  </a:lnTo>
                  <a:lnTo>
                    <a:pt x="2825" y="524"/>
                  </a:lnTo>
                  <a:lnTo>
                    <a:pt x="2762" y="482"/>
                  </a:lnTo>
                  <a:lnTo>
                    <a:pt x="2783" y="356"/>
                  </a:lnTo>
                  <a:lnTo>
                    <a:pt x="2658" y="273"/>
                  </a:lnTo>
                  <a:lnTo>
                    <a:pt x="2448" y="440"/>
                  </a:lnTo>
                  <a:lnTo>
                    <a:pt x="2428" y="566"/>
                  </a:lnTo>
                  <a:lnTo>
                    <a:pt x="2448" y="649"/>
                  </a:lnTo>
                  <a:lnTo>
                    <a:pt x="2344" y="796"/>
                  </a:lnTo>
                  <a:lnTo>
                    <a:pt x="2260" y="796"/>
                  </a:lnTo>
                  <a:lnTo>
                    <a:pt x="2260" y="649"/>
                  </a:lnTo>
                  <a:lnTo>
                    <a:pt x="2156" y="587"/>
                  </a:lnTo>
                  <a:lnTo>
                    <a:pt x="2156" y="356"/>
                  </a:lnTo>
                  <a:lnTo>
                    <a:pt x="2093" y="315"/>
                  </a:lnTo>
                  <a:lnTo>
                    <a:pt x="1925" y="440"/>
                  </a:lnTo>
                  <a:lnTo>
                    <a:pt x="1946" y="691"/>
                  </a:lnTo>
                  <a:lnTo>
                    <a:pt x="2009" y="775"/>
                  </a:lnTo>
                  <a:lnTo>
                    <a:pt x="2009" y="963"/>
                  </a:lnTo>
                  <a:lnTo>
                    <a:pt x="1925" y="1047"/>
                  </a:lnTo>
                  <a:lnTo>
                    <a:pt x="1842" y="1047"/>
                  </a:lnTo>
                  <a:lnTo>
                    <a:pt x="1821" y="900"/>
                  </a:lnTo>
                  <a:lnTo>
                    <a:pt x="1716" y="963"/>
                  </a:lnTo>
                  <a:lnTo>
                    <a:pt x="1674" y="1110"/>
                  </a:lnTo>
                  <a:lnTo>
                    <a:pt x="1612" y="1131"/>
                  </a:lnTo>
                  <a:lnTo>
                    <a:pt x="1591" y="1319"/>
                  </a:lnTo>
                  <a:lnTo>
                    <a:pt x="1507" y="1131"/>
                  </a:lnTo>
                  <a:lnTo>
                    <a:pt x="1423" y="1131"/>
                  </a:lnTo>
                  <a:lnTo>
                    <a:pt x="1465" y="1068"/>
                  </a:lnTo>
                  <a:lnTo>
                    <a:pt x="1528" y="963"/>
                  </a:lnTo>
                  <a:lnTo>
                    <a:pt x="1528" y="859"/>
                  </a:lnTo>
                  <a:lnTo>
                    <a:pt x="1402" y="859"/>
                  </a:lnTo>
                  <a:lnTo>
                    <a:pt x="1465" y="775"/>
                  </a:lnTo>
                  <a:lnTo>
                    <a:pt x="1402" y="649"/>
                  </a:lnTo>
                  <a:lnTo>
                    <a:pt x="1486" y="691"/>
                  </a:lnTo>
                  <a:lnTo>
                    <a:pt x="1570" y="608"/>
                  </a:lnTo>
                  <a:lnTo>
                    <a:pt x="1528" y="545"/>
                  </a:lnTo>
                  <a:lnTo>
                    <a:pt x="1423" y="482"/>
                  </a:lnTo>
                  <a:lnTo>
                    <a:pt x="1528" y="440"/>
                  </a:lnTo>
                  <a:lnTo>
                    <a:pt x="1465" y="336"/>
                  </a:lnTo>
                  <a:lnTo>
                    <a:pt x="1381" y="377"/>
                  </a:lnTo>
                  <a:lnTo>
                    <a:pt x="1319" y="315"/>
                  </a:lnTo>
                  <a:lnTo>
                    <a:pt x="1193" y="231"/>
                  </a:lnTo>
                  <a:lnTo>
                    <a:pt x="1193" y="126"/>
                  </a:lnTo>
                  <a:lnTo>
                    <a:pt x="1109" y="22"/>
                  </a:lnTo>
                  <a:lnTo>
                    <a:pt x="1005" y="43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Google Shape;12180;p43">
              <a:extLst>
                <a:ext uri="{FF2B5EF4-FFF2-40B4-BE49-F238E27FC236}">
                  <a16:creationId xmlns:a16="http://schemas.microsoft.com/office/drawing/2014/main" id="{A3A4E031-A8F6-248F-A238-A43AF1AE1A1B}"/>
                </a:ext>
              </a:extLst>
            </p:cNvPr>
            <p:cNvSpPr/>
            <p:nvPr/>
          </p:nvSpPr>
          <p:spPr>
            <a:xfrm>
              <a:off x="4188328" y="2704412"/>
              <a:ext cx="421823" cy="300791"/>
            </a:xfrm>
            <a:custGeom>
              <a:avLst/>
              <a:gdLst/>
              <a:ahLst/>
              <a:cxnLst/>
              <a:rect l="l" t="t" r="r" b="b"/>
              <a:pathLst>
                <a:path w="35425" h="26449" extrusionOk="0">
                  <a:moveTo>
                    <a:pt x="27390" y="1"/>
                  </a:moveTo>
                  <a:lnTo>
                    <a:pt x="27369" y="21"/>
                  </a:lnTo>
                  <a:lnTo>
                    <a:pt x="27180" y="42"/>
                  </a:lnTo>
                  <a:lnTo>
                    <a:pt x="27139" y="126"/>
                  </a:lnTo>
                  <a:lnTo>
                    <a:pt x="27097" y="126"/>
                  </a:lnTo>
                  <a:lnTo>
                    <a:pt x="27055" y="189"/>
                  </a:lnTo>
                  <a:lnTo>
                    <a:pt x="26867" y="189"/>
                  </a:lnTo>
                  <a:lnTo>
                    <a:pt x="26741" y="147"/>
                  </a:lnTo>
                  <a:lnTo>
                    <a:pt x="26678" y="231"/>
                  </a:lnTo>
                  <a:lnTo>
                    <a:pt x="26574" y="231"/>
                  </a:lnTo>
                  <a:lnTo>
                    <a:pt x="26532" y="335"/>
                  </a:lnTo>
                  <a:lnTo>
                    <a:pt x="26448" y="356"/>
                  </a:lnTo>
                  <a:lnTo>
                    <a:pt x="26344" y="356"/>
                  </a:lnTo>
                  <a:lnTo>
                    <a:pt x="26260" y="398"/>
                  </a:lnTo>
                  <a:lnTo>
                    <a:pt x="26176" y="419"/>
                  </a:lnTo>
                  <a:lnTo>
                    <a:pt x="26051" y="419"/>
                  </a:lnTo>
                  <a:lnTo>
                    <a:pt x="25967" y="461"/>
                  </a:lnTo>
                  <a:lnTo>
                    <a:pt x="25967" y="545"/>
                  </a:lnTo>
                  <a:lnTo>
                    <a:pt x="25904" y="649"/>
                  </a:lnTo>
                  <a:lnTo>
                    <a:pt x="25862" y="754"/>
                  </a:lnTo>
                  <a:lnTo>
                    <a:pt x="25820" y="817"/>
                  </a:lnTo>
                  <a:lnTo>
                    <a:pt x="25820" y="858"/>
                  </a:lnTo>
                  <a:lnTo>
                    <a:pt x="25800" y="921"/>
                  </a:lnTo>
                  <a:lnTo>
                    <a:pt x="25800" y="1068"/>
                  </a:lnTo>
                  <a:lnTo>
                    <a:pt x="25820" y="1089"/>
                  </a:lnTo>
                  <a:lnTo>
                    <a:pt x="25862" y="1130"/>
                  </a:lnTo>
                  <a:lnTo>
                    <a:pt x="26009" y="1047"/>
                  </a:lnTo>
                  <a:lnTo>
                    <a:pt x="26072" y="984"/>
                  </a:lnTo>
                  <a:lnTo>
                    <a:pt x="26155" y="1005"/>
                  </a:lnTo>
                  <a:lnTo>
                    <a:pt x="26239" y="1151"/>
                  </a:lnTo>
                  <a:lnTo>
                    <a:pt x="26281" y="1256"/>
                  </a:lnTo>
                  <a:lnTo>
                    <a:pt x="26364" y="1340"/>
                  </a:lnTo>
                  <a:lnTo>
                    <a:pt x="26364" y="1402"/>
                  </a:lnTo>
                  <a:lnTo>
                    <a:pt x="26385" y="1486"/>
                  </a:lnTo>
                  <a:lnTo>
                    <a:pt x="26385" y="1612"/>
                  </a:lnTo>
                  <a:lnTo>
                    <a:pt x="26323" y="1674"/>
                  </a:lnTo>
                  <a:lnTo>
                    <a:pt x="26239" y="1779"/>
                  </a:lnTo>
                  <a:lnTo>
                    <a:pt x="26218" y="1926"/>
                  </a:lnTo>
                  <a:lnTo>
                    <a:pt x="26134" y="1988"/>
                  </a:lnTo>
                  <a:lnTo>
                    <a:pt x="26072" y="2093"/>
                  </a:lnTo>
                  <a:lnTo>
                    <a:pt x="26051" y="2198"/>
                  </a:lnTo>
                  <a:lnTo>
                    <a:pt x="26134" y="2281"/>
                  </a:lnTo>
                  <a:lnTo>
                    <a:pt x="26092" y="2344"/>
                  </a:lnTo>
                  <a:lnTo>
                    <a:pt x="26134" y="2490"/>
                  </a:lnTo>
                  <a:lnTo>
                    <a:pt x="26176" y="2532"/>
                  </a:lnTo>
                  <a:lnTo>
                    <a:pt x="26176" y="2658"/>
                  </a:lnTo>
                  <a:lnTo>
                    <a:pt x="26092" y="2700"/>
                  </a:lnTo>
                  <a:lnTo>
                    <a:pt x="26072" y="2742"/>
                  </a:lnTo>
                  <a:lnTo>
                    <a:pt x="26134" y="2846"/>
                  </a:lnTo>
                  <a:lnTo>
                    <a:pt x="26134" y="3034"/>
                  </a:lnTo>
                  <a:lnTo>
                    <a:pt x="26092" y="3076"/>
                  </a:lnTo>
                  <a:lnTo>
                    <a:pt x="26092" y="3244"/>
                  </a:lnTo>
                  <a:lnTo>
                    <a:pt x="26155" y="3244"/>
                  </a:lnTo>
                  <a:lnTo>
                    <a:pt x="26218" y="3265"/>
                  </a:lnTo>
                  <a:lnTo>
                    <a:pt x="26260" y="3244"/>
                  </a:lnTo>
                  <a:lnTo>
                    <a:pt x="26281" y="3265"/>
                  </a:lnTo>
                  <a:lnTo>
                    <a:pt x="26323" y="3390"/>
                  </a:lnTo>
                  <a:lnTo>
                    <a:pt x="26281" y="3495"/>
                  </a:lnTo>
                  <a:lnTo>
                    <a:pt x="26218" y="3578"/>
                  </a:lnTo>
                  <a:lnTo>
                    <a:pt x="26009" y="3620"/>
                  </a:lnTo>
                  <a:lnTo>
                    <a:pt x="25862" y="3704"/>
                  </a:lnTo>
                  <a:lnTo>
                    <a:pt x="25569" y="3976"/>
                  </a:lnTo>
                  <a:lnTo>
                    <a:pt x="25527" y="3997"/>
                  </a:lnTo>
                  <a:lnTo>
                    <a:pt x="25444" y="3913"/>
                  </a:lnTo>
                  <a:lnTo>
                    <a:pt x="25276" y="3892"/>
                  </a:lnTo>
                  <a:lnTo>
                    <a:pt x="25172" y="3913"/>
                  </a:lnTo>
                  <a:lnTo>
                    <a:pt x="25130" y="3871"/>
                  </a:lnTo>
                  <a:lnTo>
                    <a:pt x="25004" y="3871"/>
                  </a:lnTo>
                  <a:lnTo>
                    <a:pt x="25004" y="3892"/>
                  </a:lnTo>
                  <a:lnTo>
                    <a:pt x="24879" y="4792"/>
                  </a:lnTo>
                  <a:lnTo>
                    <a:pt x="24900" y="4959"/>
                  </a:lnTo>
                  <a:lnTo>
                    <a:pt x="24858" y="5148"/>
                  </a:lnTo>
                  <a:lnTo>
                    <a:pt x="24879" y="5252"/>
                  </a:lnTo>
                  <a:lnTo>
                    <a:pt x="24795" y="5524"/>
                  </a:lnTo>
                  <a:lnTo>
                    <a:pt x="24900" y="5692"/>
                  </a:lnTo>
                  <a:lnTo>
                    <a:pt x="25172" y="5838"/>
                  </a:lnTo>
                  <a:lnTo>
                    <a:pt x="25339" y="5671"/>
                  </a:lnTo>
                  <a:lnTo>
                    <a:pt x="25569" y="5671"/>
                  </a:lnTo>
                  <a:lnTo>
                    <a:pt x="25841" y="5734"/>
                  </a:lnTo>
                  <a:lnTo>
                    <a:pt x="25946" y="5838"/>
                  </a:lnTo>
                  <a:lnTo>
                    <a:pt x="26072" y="5629"/>
                  </a:lnTo>
                  <a:lnTo>
                    <a:pt x="26072" y="5483"/>
                  </a:lnTo>
                  <a:lnTo>
                    <a:pt x="26072" y="5378"/>
                  </a:lnTo>
                  <a:lnTo>
                    <a:pt x="26239" y="5336"/>
                  </a:lnTo>
                  <a:lnTo>
                    <a:pt x="26281" y="5273"/>
                  </a:lnTo>
                  <a:lnTo>
                    <a:pt x="26553" y="5357"/>
                  </a:lnTo>
                  <a:lnTo>
                    <a:pt x="26699" y="5545"/>
                  </a:lnTo>
                  <a:lnTo>
                    <a:pt x="26908" y="5734"/>
                  </a:lnTo>
                  <a:lnTo>
                    <a:pt x="27076" y="5943"/>
                  </a:lnTo>
                  <a:lnTo>
                    <a:pt x="27285" y="6089"/>
                  </a:lnTo>
                  <a:lnTo>
                    <a:pt x="27306" y="6194"/>
                  </a:lnTo>
                  <a:lnTo>
                    <a:pt x="27327" y="6278"/>
                  </a:lnTo>
                  <a:lnTo>
                    <a:pt x="27327" y="6382"/>
                  </a:lnTo>
                  <a:lnTo>
                    <a:pt x="27285" y="6424"/>
                  </a:lnTo>
                  <a:lnTo>
                    <a:pt x="27285" y="6508"/>
                  </a:lnTo>
                  <a:lnTo>
                    <a:pt x="27264" y="6591"/>
                  </a:lnTo>
                  <a:lnTo>
                    <a:pt x="27139" y="6571"/>
                  </a:lnTo>
                  <a:lnTo>
                    <a:pt x="27097" y="6508"/>
                  </a:lnTo>
                  <a:lnTo>
                    <a:pt x="26992" y="6529"/>
                  </a:lnTo>
                  <a:lnTo>
                    <a:pt x="26908" y="6591"/>
                  </a:lnTo>
                  <a:lnTo>
                    <a:pt x="26762" y="6508"/>
                  </a:lnTo>
                  <a:lnTo>
                    <a:pt x="26657" y="6529"/>
                  </a:lnTo>
                  <a:lnTo>
                    <a:pt x="26553" y="6675"/>
                  </a:lnTo>
                  <a:lnTo>
                    <a:pt x="26385" y="6801"/>
                  </a:lnTo>
                  <a:lnTo>
                    <a:pt x="26323" y="6843"/>
                  </a:lnTo>
                  <a:lnTo>
                    <a:pt x="26218" y="6780"/>
                  </a:lnTo>
                  <a:lnTo>
                    <a:pt x="26155" y="6801"/>
                  </a:lnTo>
                  <a:lnTo>
                    <a:pt x="26155" y="6905"/>
                  </a:lnTo>
                  <a:lnTo>
                    <a:pt x="26092" y="6947"/>
                  </a:lnTo>
                  <a:lnTo>
                    <a:pt x="26030" y="6989"/>
                  </a:lnTo>
                  <a:lnTo>
                    <a:pt x="25967" y="6947"/>
                  </a:lnTo>
                  <a:lnTo>
                    <a:pt x="25925" y="7031"/>
                  </a:lnTo>
                  <a:lnTo>
                    <a:pt x="25820" y="7198"/>
                  </a:lnTo>
                  <a:lnTo>
                    <a:pt x="25800" y="7366"/>
                  </a:lnTo>
                  <a:lnTo>
                    <a:pt x="25800" y="7470"/>
                  </a:lnTo>
                  <a:lnTo>
                    <a:pt x="25737" y="7554"/>
                  </a:lnTo>
                  <a:lnTo>
                    <a:pt x="25611" y="7575"/>
                  </a:lnTo>
                  <a:lnTo>
                    <a:pt x="25381" y="7763"/>
                  </a:lnTo>
                  <a:lnTo>
                    <a:pt x="25214" y="7763"/>
                  </a:lnTo>
                  <a:lnTo>
                    <a:pt x="25088" y="7742"/>
                  </a:lnTo>
                  <a:lnTo>
                    <a:pt x="25004" y="7784"/>
                  </a:lnTo>
                  <a:lnTo>
                    <a:pt x="24900" y="7993"/>
                  </a:lnTo>
                  <a:lnTo>
                    <a:pt x="24795" y="8077"/>
                  </a:lnTo>
                  <a:lnTo>
                    <a:pt x="24670" y="8182"/>
                  </a:lnTo>
                  <a:lnTo>
                    <a:pt x="24586" y="8265"/>
                  </a:lnTo>
                  <a:lnTo>
                    <a:pt x="24565" y="8370"/>
                  </a:lnTo>
                  <a:lnTo>
                    <a:pt x="24502" y="8370"/>
                  </a:lnTo>
                  <a:lnTo>
                    <a:pt x="24377" y="8307"/>
                  </a:lnTo>
                  <a:lnTo>
                    <a:pt x="24251" y="8286"/>
                  </a:lnTo>
                  <a:lnTo>
                    <a:pt x="24063" y="8203"/>
                  </a:lnTo>
                  <a:lnTo>
                    <a:pt x="23937" y="8140"/>
                  </a:lnTo>
                  <a:lnTo>
                    <a:pt x="23770" y="8098"/>
                  </a:lnTo>
                  <a:lnTo>
                    <a:pt x="23561" y="8161"/>
                  </a:lnTo>
                  <a:lnTo>
                    <a:pt x="23435" y="8265"/>
                  </a:lnTo>
                  <a:lnTo>
                    <a:pt x="23331" y="8391"/>
                  </a:lnTo>
                  <a:lnTo>
                    <a:pt x="23331" y="8621"/>
                  </a:lnTo>
                  <a:lnTo>
                    <a:pt x="23351" y="8768"/>
                  </a:lnTo>
                  <a:lnTo>
                    <a:pt x="23331" y="8830"/>
                  </a:lnTo>
                  <a:lnTo>
                    <a:pt x="23603" y="9019"/>
                  </a:lnTo>
                  <a:lnTo>
                    <a:pt x="23833" y="9144"/>
                  </a:lnTo>
                  <a:lnTo>
                    <a:pt x="23833" y="9228"/>
                  </a:lnTo>
                  <a:lnTo>
                    <a:pt x="23770" y="9332"/>
                  </a:lnTo>
                  <a:lnTo>
                    <a:pt x="23707" y="9437"/>
                  </a:lnTo>
                  <a:lnTo>
                    <a:pt x="23435" y="9730"/>
                  </a:lnTo>
                  <a:lnTo>
                    <a:pt x="23310" y="9960"/>
                  </a:lnTo>
                  <a:lnTo>
                    <a:pt x="23226" y="10169"/>
                  </a:lnTo>
                  <a:lnTo>
                    <a:pt x="23121" y="10169"/>
                  </a:lnTo>
                  <a:lnTo>
                    <a:pt x="22933" y="10232"/>
                  </a:lnTo>
                  <a:lnTo>
                    <a:pt x="22807" y="10232"/>
                  </a:lnTo>
                  <a:lnTo>
                    <a:pt x="22661" y="10337"/>
                  </a:lnTo>
                  <a:lnTo>
                    <a:pt x="22494" y="10462"/>
                  </a:lnTo>
                  <a:lnTo>
                    <a:pt x="22347" y="10462"/>
                  </a:lnTo>
                  <a:lnTo>
                    <a:pt x="22096" y="10483"/>
                  </a:lnTo>
                  <a:lnTo>
                    <a:pt x="21908" y="10546"/>
                  </a:lnTo>
                  <a:lnTo>
                    <a:pt x="21740" y="10588"/>
                  </a:lnTo>
                  <a:lnTo>
                    <a:pt x="21322" y="10755"/>
                  </a:lnTo>
                  <a:lnTo>
                    <a:pt x="21008" y="10860"/>
                  </a:lnTo>
                  <a:lnTo>
                    <a:pt x="20841" y="11027"/>
                  </a:lnTo>
                  <a:lnTo>
                    <a:pt x="20590" y="11216"/>
                  </a:lnTo>
                  <a:lnTo>
                    <a:pt x="20485" y="11320"/>
                  </a:lnTo>
                  <a:lnTo>
                    <a:pt x="20338" y="11320"/>
                  </a:lnTo>
                  <a:lnTo>
                    <a:pt x="20192" y="11278"/>
                  </a:lnTo>
                  <a:lnTo>
                    <a:pt x="20192" y="11216"/>
                  </a:lnTo>
                  <a:lnTo>
                    <a:pt x="20171" y="11111"/>
                  </a:lnTo>
                  <a:lnTo>
                    <a:pt x="19899" y="11195"/>
                  </a:lnTo>
                  <a:lnTo>
                    <a:pt x="19732" y="11216"/>
                  </a:lnTo>
                  <a:lnTo>
                    <a:pt x="19522" y="11111"/>
                  </a:lnTo>
                  <a:lnTo>
                    <a:pt x="19355" y="11090"/>
                  </a:lnTo>
                  <a:lnTo>
                    <a:pt x="18999" y="10965"/>
                  </a:lnTo>
                  <a:lnTo>
                    <a:pt x="18623" y="10797"/>
                  </a:lnTo>
                  <a:lnTo>
                    <a:pt x="18413" y="10609"/>
                  </a:lnTo>
                  <a:lnTo>
                    <a:pt x="18288" y="10588"/>
                  </a:lnTo>
                  <a:lnTo>
                    <a:pt x="17869" y="10567"/>
                  </a:lnTo>
                  <a:lnTo>
                    <a:pt x="17493" y="10567"/>
                  </a:lnTo>
                  <a:lnTo>
                    <a:pt x="17430" y="10546"/>
                  </a:lnTo>
                  <a:lnTo>
                    <a:pt x="17367" y="10588"/>
                  </a:lnTo>
                  <a:lnTo>
                    <a:pt x="17325" y="10651"/>
                  </a:lnTo>
                  <a:lnTo>
                    <a:pt x="17137" y="10713"/>
                  </a:lnTo>
                  <a:lnTo>
                    <a:pt x="16865" y="10755"/>
                  </a:lnTo>
                  <a:lnTo>
                    <a:pt x="16384" y="10693"/>
                  </a:lnTo>
                  <a:lnTo>
                    <a:pt x="16028" y="10713"/>
                  </a:lnTo>
                  <a:lnTo>
                    <a:pt x="15777" y="10693"/>
                  </a:lnTo>
                  <a:lnTo>
                    <a:pt x="15547" y="10713"/>
                  </a:lnTo>
                  <a:lnTo>
                    <a:pt x="15442" y="10755"/>
                  </a:lnTo>
                  <a:lnTo>
                    <a:pt x="15338" y="10713"/>
                  </a:lnTo>
                  <a:lnTo>
                    <a:pt x="15191" y="10462"/>
                  </a:lnTo>
                  <a:lnTo>
                    <a:pt x="15149" y="10337"/>
                  </a:lnTo>
                  <a:lnTo>
                    <a:pt x="15024" y="10169"/>
                  </a:lnTo>
                  <a:lnTo>
                    <a:pt x="14919" y="10044"/>
                  </a:lnTo>
                  <a:lnTo>
                    <a:pt x="14856" y="9877"/>
                  </a:lnTo>
                  <a:lnTo>
                    <a:pt x="14856" y="9814"/>
                  </a:lnTo>
                  <a:lnTo>
                    <a:pt x="14752" y="9709"/>
                  </a:lnTo>
                  <a:lnTo>
                    <a:pt x="14668" y="9667"/>
                  </a:lnTo>
                  <a:lnTo>
                    <a:pt x="14626" y="9667"/>
                  </a:lnTo>
                  <a:lnTo>
                    <a:pt x="14584" y="9604"/>
                  </a:lnTo>
                  <a:lnTo>
                    <a:pt x="14564" y="9500"/>
                  </a:lnTo>
                  <a:lnTo>
                    <a:pt x="14333" y="9500"/>
                  </a:lnTo>
                  <a:lnTo>
                    <a:pt x="14187" y="9416"/>
                  </a:lnTo>
                  <a:lnTo>
                    <a:pt x="13978" y="9249"/>
                  </a:lnTo>
                  <a:lnTo>
                    <a:pt x="13873" y="9249"/>
                  </a:lnTo>
                  <a:lnTo>
                    <a:pt x="13768" y="9228"/>
                  </a:lnTo>
                  <a:lnTo>
                    <a:pt x="13706" y="9186"/>
                  </a:lnTo>
                  <a:lnTo>
                    <a:pt x="13517" y="9040"/>
                  </a:lnTo>
                  <a:lnTo>
                    <a:pt x="13141" y="8977"/>
                  </a:lnTo>
                  <a:lnTo>
                    <a:pt x="13099" y="8977"/>
                  </a:lnTo>
                  <a:lnTo>
                    <a:pt x="13057" y="9019"/>
                  </a:lnTo>
                  <a:lnTo>
                    <a:pt x="12890" y="9019"/>
                  </a:lnTo>
                  <a:lnTo>
                    <a:pt x="12639" y="9040"/>
                  </a:lnTo>
                  <a:lnTo>
                    <a:pt x="12053" y="8914"/>
                  </a:lnTo>
                  <a:lnTo>
                    <a:pt x="11948" y="8830"/>
                  </a:lnTo>
                  <a:lnTo>
                    <a:pt x="11823" y="8663"/>
                  </a:lnTo>
                  <a:lnTo>
                    <a:pt x="11802" y="8558"/>
                  </a:lnTo>
                  <a:lnTo>
                    <a:pt x="11802" y="8475"/>
                  </a:lnTo>
                  <a:lnTo>
                    <a:pt x="11823" y="8412"/>
                  </a:lnTo>
                  <a:lnTo>
                    <a:pt x="11906" y="8349"/>
                  </a:lnTo>
                  <a:lnTo>
                    <a:pt x="11948" y="8244"/>
                  </a:lnTo>
                  <a:lnTo>
                    <a:pt x="11885" y="8161"/>
                  </a:lnTo>
                  <a:lnTo>
                    <a:pt x="11843" y="8035"/>
                  </a:lnTo>
                  <a:lnTo>
                    <a:pt x="11885" y="7952"/>
                  </a:lnTo>
                  <a:lnTo>
                    <a:pt x="11885" y="7826"/>
                  </a:lnTo>
                  <a:lnTo>
                    <a:pt x="11823" y="7763"/>
                  </a:lnTo>
                  <a:lnTo>
                    <a:pt x="11739" y="7638"/>
                  </a:lnTo>
                  <a:lnTo>
                    <a:pt x="11676" y="7575"/>
                  </a:lnTo>
                  <a:lnTo>
                    <a:pt x="11592" y="7533"/>
                  </a:lnTo>
                  <a:lnTo>
                    <a:pt x="11530" y="7428"/>
                  </a:lnTo>
                  <a:lnTo>
                    <a:pt x="11488" y="7345"/>
                  </a:lnTo>
                  <a:lnTo>
                    <a:pt x="11446" y="7240"/>
                  </a:lnTo>
                  <a:lnTo>
                    <a:pt x="11425" y="7136"/>
                  </a:lnTo>
                  <a:lnTo>
                    <a:pt x="11383" y="7052"/>
                  </a:lnTo>
                  <a:lnTo>
                    <a:pt x="11279" y="6989"/>
                  </a:lnTo>
                  <a:lnTo>
                    <a:pt x="11195" y="6947"/>
                  </a:lnTo>
                  <a:lnTo>
                    <a:pt x="11153" y="6884"/>
                  </a:lnTo>
                  <a:lnTo>
                    <a:pt x="11069" y="6843"/>
                  </a:lnTo>
                  <a:lnTo>
                    <a:pt x="10965" y="6843"/>
                  </a:lnTo>
                  <a:lnTo>
                    <a:pt x="10902" y="6905"/>
                  </a:lnTo>
                  <a:lnTo>
                    <a:pt x="10860" y="6926"/>
                  </a:lnTo>
                  <a:lnTo>
                    <a:pt x="10776" y="6905"/>
                  </a:lnTo>
                  <a:lnTo>
                    <a:pt x="10693" y="6801"/>
                  </a:lnTo>
                  <a:lnTo>
                    <a:pt x="10672" y="6738"/>
                  </a:lnTo>
                  <a:lnTo>
                    <a:pt x="10567" y="6738"/>
                  </a:lnTo>
                  <a:lnTo>
                    <a:pt x="10442" y="6801"/>
                  </a:lnTo>
                  <a:lnTo>
                    <a:pt x="10400" y="6843"/>
                  </a:lnTo>
                  <a:lnTo>
                    <a:pt x="10379" y="6926"/>
                  </a:lnTo>
                  <a:lnTo>
                    <a:pt x="10337" y="6926"/>
                  </a:lnTo>
                  <a:lnTo>
                    <a:pt x="10211" y="6843"/>
                  </a:lnTo>
                  <a:lnTo>
                    <a:pt x="10170" y="6780"/>
                  </a:lnTo>
                  <a:lnTo>
                    <a:pt x="10170" y="6717"/>
                  </a:lnTo>
                  <a:lnTo>
                    <a:pt x="10107" y="6633"/>
                  </a:lnTo>
                  <a:lnTo>
                    <a:pt x="10002" y="6571"/>
                  </a:lnTo>
                  <a:lnTo>
                    <a:pt x="9877" y="6466"/>
                  </a:lnTo>
                  <a:lnTo>
                    <a:pt x="9835" y="6424"/>
                  </a:lnTo>
                  <a:lnTo>
                    <a:pt x="9751" y="6382"/>
                  </a:lnTo>
                  <a:lnTo>
                    <a:pt x="9730" y="6299"/>
                  </a:lnTo>
                  <a:lnTo>
                    <a:pt x="9730" y="6215"/>
                  </a:lnTo>
                  <a:lnTo>
                    <a:pt x="9709" y="6173"/>
                  </a:lnTo>
                  <a:lnTo>
                    <a:pt x="9688" y="6173"/>
                  </a:lnTo>
                  <a:lnTo>
                    <a:pt x="9688" y="6215"/>
                  </a:lnTo>
                  <a:lnTo>
                    <a:pt x="9646" y="6215"/>
                  </a:lnTo>
                  <a:lnTo>
                    <a:pt x="9605" y="6152"/>
                  </a:lnTo>
                  <a:lnTo>
                    <a:pt x="9584" y="6110"/>
                  </a:lnTo>
                  <a:lnTo>
                    <a:pt x="9584" y="5985"/>
                  </a:lnTo>
                  <a:lnTo>
                    <a:pt x="9542" y="5943"/>
                  </a:lnTo>
                  <a:lnTo>
                    <a:pt x="9521" y="5943"/>
                  </a:lnTo>
                  <a:lnTo>
                    <a:pt x="9395" y="5880"/>
                  </a:lnTo>
                  <a:lnTo>
                    <a:pt x="9312" y="5880"/>
                  </a:lnTo>
                  <a:lnTo>
                    <a:pt x="9333" y="5901"/>
                  </a:lnTo>
                  <a:lnTo>
                    <a:pt x="9228" y="6006"/>
                  </a:lnTo>
                  <a:lnTo>
                    <a:pt x="9123" y="6068"/>
                  </a:lnTo>
                  <a:lnTo>
                    <a:pt x="8998" y="6215"/>
                  </a:lnTo>
                  <a:lnTo>
                    <a:pt x="8977" y="6319"/>
                  </a:lnTo>
                  <a:lnTo>
                    <a:pt x="9019" y="6382"/>
                  </a:lnTo>
                  <a:lnTo>
                    <a:pt x="8956" y="6508"/>
                  </a:lnTo>
                  <a:lnTo>
                    <a:pt x="8768" y="6571"/>
                  </a:lnTo>
                  <a:lnTo>
                    <a:pt x="8684" y="6633"/>
                  </a:lnTo>
                  <a:lnTo>
                    <a:pt x="8663" y="6780"/>
                  </a:lnTo>
                  <a:lnTo>
                    <a:pt x="8663" y="7010"/>
                  </a:lnTo>
                  <a:lnTo>
                    <a:pt x="8768" y="7240"/>
                  </a:lnTo>
                  <a:lnTo>
                    <a:pt x="8872" y="7408"/>
                  </a:lnTo>
                  <a:lnTo>
                    <a:pt x="8872" y="7470"/>
                  </a:lnTo>
                  <a:lnTo>
                    <a:pt x="8705" y="7638"/>
                  </a:lnTo>
                  <a:lnTo>
                    <a:pt x="8579" y="7680"/>
                  </a:lnTo>
                  <a:lnTo>
                    <a:pt x="8496" y="7784"/>
                  </a:lnTo>
                  <a:lnTo>
                    <a:pt x="8433" y="7826"/>
                  </a:lnTo>
                  <a:lnTo>
                    <a:pt x="8349" y="7826"/>
                  </a:lnTo>
                  <a:lnTo>
                    <a:pt x="8307" y="7742"/>
                  </a:lnTo>
                  <a:lnTo>
                    <a:pt x="8245" y="7742"/>
                  </a:lnTo>
                  <a:lnTo>
                    <a:pt x="8014" y="7784"/>
                  </a:lnTo>
                  <a:lnTo>
                    <a:pt x="7847" y="7763"/>
                  </a:lnTo>
                  <a:lnTo>
                    <a:pt x="7638" y="7680"/>
                  </a:lnTo>
                  <a:lnTo>
                    <a:pt x="7429" y="7680"/>
                  </a:lnTo>
                  <a:lnTo>
                    <a:pt x="7387" y="7952"/>
                  </a:lnTo>
                  <a:lnTo>
                    <a:pt x="7324" y="8098"/>
                  </a:lnTo>
                  <a:lnTo>
                    <a:pt x="7324" y="8244"/>
                  </a:lnTo>
                  <a:lnTo>
                    <a:pt x="7261" y="8579"/>
                  </a:lnTo>
                  <a:lnTo>
                    <a:pt x="7261" y="8830"/>
                  </a:lnTo>
                  <a:lnTo>
                    <a:pt x="7240" y="8914"/>
                  </a:lnTo>
                  <a:lnTo>
                    <a:pt x="7303" y="8977"/>
                  </a:lnTo>
                  <a:lnTo>
                    <a:pt x="7429" y="9019"/>
                  </a:lnTo>
                  <a:lnTo>
                    <a:pt x="7387" y="9144"/>
                  </a:lnTo>
                  <a:lnTo>
                    <a:pt x="7387" y="9228"/>
                  </a:lnTo>
                  <a:lnTo>
                    <a:pt x="7303" y="9228"/>
                  </a:lnTo>
                  <a:lnTo>
                    <a:pt x="7219" y="9291"/>
                  </a:lnTo>
                  <a:lnTo>
                    <a:pt x="7136" y="9291"/>
                  </a:lnTo>
                  <a:lnTo>
                    <a:pt x="7073" y="9228"/>
                  </a:lnTo>
                  <a:lnTo>
                    <a:pt x="6989" y="9249"/>
                  </a:lnTo>
                  <a:lnTo>
                    <a:pt x="6864" y="9291"/>
                  </a:lnTo>
                  <a:lnTo>
                    <a:pt x="6592" y="9332"/>
                  </a:lnTo>
                  <a:lnTo>
                    <a:pt x="6445" y="9416"/>
                  </a:lnTo>
                  <a:lnTo>
                    <a:pt x="6341" y="9416"/>
                  </a:lnTo>
                  <a:lnTo>
                    <a:pt x="6278" y="9353"/>
                  </a:lnTo>
                  <a:lnTo>
                    <a:pt x="6173" y="9416"/>
                  </a:lnTo>
                  <a:lnTo>
                    <a:pt x="6069" y="9521"/>
                  </a:lnTo>
                  <a:lnTo>
                    <a:pt x="6069" y="9604"/>
                  </a:lnTo>
                  <a:lnTo>
                    <a:pt x="6173" y="9667"/>
                  </a:lnTo>
                  <a:lnTo>
                    <a:pt x="6341" y="9646"/>
                  </a:lnTo>
                  <a:lnTo>
                    <a:pt x="6466" y="9667"/>
                  </a:lnTo>
                  <a:lnTo>
                    <a:pt x="6466" y="9730"/>
                  </a:lnTo>
                  <a:lnTo>
                    <a:pt x="6382" y="9814"/>
                  </a:lnTo>
                  <a:lnTo>
                    <a:pt x="6445" y="9981"/>
                  </a:lnTo>
                  <a:lnTo>
                    <a:pt x="6445" y="10065"/>
                  </a:lnTo>
                  <a:lnTo>
                    <a:pt x="6487" y="10149"/>
                  </a:lnTo>
                  <a:lnTo>
                    <a:pt x="6508" y="10253"/>
                  </a:lnTo>
                  <a:lnTo>
                    <a:pt x="6613" y="10441"/>
                  </a:lnTo>
                  <a:lnTo>
                    <a:pt x="6654" y="10546"/>
                  </a:lnTo>
                  <a:lnTo>
                    <a:pt x="6780" y="10609"/>
                  </a:lnTo>
                  <a:lnTo>
                    <a:pt x="6822" y="10860"/>
                  </a:lnTo>
                  <a:lnTo>
                    <a:pt x="6738" y="10923"/>
                  </a:lnTo>
                  <a:lnTo>
                    <a:pt x="6696" y="11027"/>
                  </a:lnTo>
                  <a:lnTo>
                    <a:pt x="6801" y="11132"/>
                  </a:lnTo>
                  <a:lnTo>
                    <a:pt x="6738" y="11174"/>
                  </a:lnTo>
                  <a:lnTo>
                    <a:pt x="6738" y="11216"/>
                  </a:lnTo>
                  <a:lnTo>
                    <a:pt x="6613" y="11299"/>
                  </a:lnTo>
                  <a:lnTo>
                    <a:pt x="6654" y="11446"/>
                  </a:lnTo>
                  <a:lnTo>
                    <a:pt x="6508" y="11509"/>
                  </a:lnTo>
                  <a:lnTo>
                    <a:pt x="6278" y="11446"/>
                  </a:lnTo>
                  <a:lnTo>
                    <a:pt x="6027" y="11174"/>
                  </a:lnTo>
                  <a:lnTo>
                    <a:pt x="5922" y="11195"/>
                  </a:lnTo>
                  <a:lnTo>
                    <a:pt x="5671" y="11090"/>
                  </a:lnTo>
                  <a:lnTo>
                    <a:pt x="5336" y="11090"/>
                  </a:lnTo>
                  <a:lnTo>
                    <a:pt x="5148" y="11132"/>
                  </a:lnTo>
                  <a:lnTo>
                    <a:pt x="4876" y="11069"/>
                  </a:lnTo>
                  <a:lnTo>
                    <a:pt x="4583" y="11132"/>
                  </a:lnTo>
                  <a:lnTo>
                    <a:pt x="4457" y="11132"/>
                  </a:lnTo>
                  <a:lnTo>
                    <a:pt x="4311" y="11111"/>
                  </a:lnTo>
                  <a:lnTo>
                    <a:pt x="4206" y="11195"/>
                  </a:lnTo>
                  <a:lnTo>
                    <a:pt x="4102" y="11237"/>
                  </a:lnTo>
                  <a:lnTo>
                    <a:pt x="3767" y="11195"/>
                  </a:lnTo>
                  <a:lnTo>
                    <a:pt x="3558" y="11132"/>
                  </a:lnTo>
                  <a:lnTo>
                    <a:pt x="3432" y="11069"/>
                  </a:lnTo>
                  <a:lnTo>
                    <a:pt x="3244" y="11069"/>
                  </a:lnTo>
                  <a:lnTo>
                    <a:pt x="3202" y="11111"/>
                  </a:lnTo>
                  <a:lnTo>
                    <a:pt x="3035" y="11090"/>
                  </a:lnTo>
                  <a:lnTo>
                    <a:pt x="2930" y="11069"/>
                  </a:lnTo>
                  <a:lnTo>
                    <a:pt x="2888" y="11111"/>
                  </a:lnTo>
                  <a:lnTo>
                    <a:pt x="2888" y="11237"/>
                  </a:lnTo>
                  <a:lnTo>
                    <a:pt x="2909" y="11383"/>
                  </a:lnTo>
                  <a:lnTo>
                    <a:pt x="2930" y="11509"/>
                  </a:lnTo>
                  <a:lnTo>
                    <a:pt x="2742" y="11550"/>
                  </a:lnTo>
                  <a:lnTo>
                    <a:pt x="2386" y="11550"/>
                  </a:lnTo>
                  <a:lnTo>
                    <a:pt x="1968" y="11509"/>
                  </a:lnTo>
                  <a:lnTo>
                    <a:pt x="1863" y="11446"/>
                  </a:lnTo>
                  <a:lnTo>
                    <a:pt x="1675" y="11425"/>
                  </a:lnTo>
                  <a:lnTo>
                    <a:pt x="1570" y="11550"/>
                  </a:lnTo>
                  <a:lnTo>
                    <a:pt x="1591" y="11613"/>
                  </a:lnTo>
                  <a:lnTo>
                    <a:pt x="1465" y="11697"/>
                  </a:lnTo>
                  <a:lnTo>
                    <a:pt x="1465" y="11739"/>
                  </a:lnTo>
                  <a:lnTo>
                    <a:pt x="1507" y="11739"/>
                  </a:lnTo>
                  <a:lnTo>
                    <a:pt x="1507" y="11864"/>
                  </a:lnTo>
                  <a:lnTo>
                    <a:pt x="1340" y="12157"/>
                  </a:lnTo>
                  <a:lnTo>
                    <a:pt x="1256" y="12283"/>
                  </a:lnTo>
                  <a:lnTo>
                    <a:pt x="1361" y="12366"/>
                  </a:lnTo>
                  <a:lnTo>
                    <a:pt x="1633" y="12450"/>
                  </a:lnTo>
                  <a:lnTo>
                    <a:pt x="1737" y="12555"/>
                  </a:lnTo>
                  <a:lnTo>
                    <a:pt x="1842" y="12576"/>
                  </a:lnTo>
                  <a:lnTo>
                    <a:pt x="1947" y="12471"/>
                  </a:lnTo>
                  <a:lnTo>
                    <a:pt x="1947" y="12325"/>
                  </a:lnTo>
                  <a:lnTo>
                    <a:pt x="2009" y="12325"/>
                  </a:lnTo>
                  <a:lnTo>
                    <a:pt x="2302" y="12555"/>
                  </a:lnTo>
                  <a:lnTo>
                    <a:pt x="2323" y="12659"/>
                  </a:lnTo>
                  <a:lnTo>
                    <a:pt x="2177" y="12848"/>
                  </a:lnTo>
                  <a:lnTo>
                    <a:pt x="1968" y="12848"/>
                  </a:lnTo>
                  <a:lnTo>
                    <a:pt x="1675" y="12890"/>
                  </a:lnTo>
                  <a:lnTo>
                    <a:pt x="1654" y="12785"/>
                  </a:lnTo>
                  <a:lnTo>
                    <a:pt x="1507" y="12659"/>
                  </a:lnTo>
                  <a:lnTo>
                    <a:pt x="1340" y="12869"/>
                  </a:lnTo>
                  <a:lnTo>
                    <a:pt x="1235" y="12848"/>
                  </a:lnTo>
                  <a:lnTo>
                    <a:pt x="1068" y="12973"/>
                  </a:lnTo>
                  <a:lnTo>
                    <a:pt x="921" y="13015"/>
                  </a:lnTo>
                  <a:lnTo>
                    <a:pt x="921" y="13162"/>
                  </a:lnTo>
                  <a:lnTo>
                    <a:pt x="1110" y="13224"/>
                  </a:lnTo>
                  <a:lnTo>
                    <a:pt x="1068" y="13371"/>
                  </a:lnTo>
                  <a:lnTo>
                    <a:pt x="900" y="13434"/>
                  </a:lnTo>
                  <a:lnTo>
                    <a:pt x="628" y="13496"/>
                  </a:lnTo>
                  <a:lnTo>
                    <a:pt x="691" y="13538"/>
                  </a:lnTo>
                  <a:lnTo>
                    <a:pt x="733" y="13622"/>
                  </a:lnTo>
                  <a:lnTo>
                    <a:pt x="503" y="13706"/>
                  </a:lnTo>
                  <a:lnTo>
                    <a:pt x="503" y="13831"/>
                  </a:lnTo>
                  <a:lnTo>
                    <a:pt x="398" y="13852"/>
                  </a:lnTo>
                  <a:lnTo>
                    <a:pt x="126" y="13831"/>
                  </a:lnTo>
                  <a:lnTo>
                    <a:pt x="1" y="13936"/>
                  </a:lnTo>
                  <a:lnTo>
                    <a:pt x="1" y="14103"/>
                  </a:lnTo>
                  <a:lnTo>
                    <a:pt x="168" y="14333"/>
                  </a:lnTo>
                  <a:lnTo>
                    <a:pt x="273" y="14270"/>
                  </a:lnTo>
                  <a:lnTo>
                    <a:pt x="419" y="14250"/>
                  </a:lnTo>
                  <a:lnTo>
                    <a:pt x="440" y="14375"/>
                  </a:lnTo>
                  <a:lnTo>
                    <a:pt x="398" y="14522"/>
                  </a:lnTo>
                  <a:lnTo>
                    <a:pt x="461" y="14668"/>
                  </a:lnTo>
                  <a:lnTo>
                    <a:pt x="587" y="14731"/>
                  </a:lnTo>
                  <a:lnTo>
                    <a:pt x="607" y="14877"/>
                  </a:lnTo>
                  <a:lnTo>
                    <a:pt x="545" y="14940"/>
                  </a:lnTo>
                  <a:lnTo>
                    <a:pt x="419" y="15212"/>
                  </a:lnTo>
                  <a:lnTo>
                    <a:pt x="377" y="15589"/>
                  </a:lnTo>
                  <a:lnTo>
                    <a:pt x="335" y="15526"/>
                  </a:lnTo>
                  <a:lnTo>
                    <a:pt x="440" y="15693"/>
                  </a:lnTo>
                  <a:lnTo>
                    <a:pt x="545" y="15714"/>
                  </a:lnTo>
                  <a:lnTo>
                    <a:pt x="733" y="15693"/>
                  </a:lnTo>
                  <a:lnTo>
                    <a:pt x="859" y="15610"/>
                  </a:lnTo>
                  <a:lnTo>
                    <a:pt x="921" y="15526"/>
                  </a:lnTo>
                  <a:lnTo>
                    <a:pt x="984" y="15505"/>
                  </a:lnTo>
                  <a:lnTo>
                    <a:pt x="1047" y="15463"/>
                  </a:lnTo>
                  <a:lnTo>
                    <a:pt x="1110" y="15484"/>
                  </a:lnTo>
                  <a:lnTo>
                    <a:pt x="1172" y="15568"/>
                  </a:lnTo>
                  <a:lnTo>
                    <a:pt x="1361" y="15589"/>
                  </a:lnTo>
                  <a:lnTo>
                    <a:pt x="1361" y="15505"/>
                  </a:lnTo>
                  <a:lnTo>
                    <a:pt x="1319" y="15463"/>
                  </a:lnTo>
                  <a:lnTo>
                    <a:pt x="1319" y="15358"/>
                  </a:lnTo>
                  <a:lnTo>
                    <a:pt x="1444" y="15317"/>
                  </a:lnTo>
                  <a:lnTo>
                    <a:pt x="1486" y="15275"/>
                  </a:lnTo>
                  <a:lnTo>
                    <a:pt x="1549" y="15275"/>
                  </a:lnTo>
                  <a:lnTo>
                    <a:pt x="1570" y="15317"/>
                  </a:lnTo>
                  <a:lnTo>
                    <a:pt x="1695" y="15317"/>
                  </a:lnTo>
                  <a:lnTo>
                    <a:pt x="1779" y="15191"/>
                  </a:lnTo>
                  <a:lnTo>
                    <a:pt x="1758" y="15045"/>
                  </a:lnTo>
                  <a:lnTo>
                    <a:pt x="1779" y="14961"/>
                  </a:lnTo>
                  <a:lnTo>
                    <a:pt x="1863" y="14898"/>
                  </a:lnTo>
                  <a:lnTo>
                    <a:pt x="1884" y="14731"/>
                  </a:lnTo>
                  <a:lnTo>
                    <a:pt x="1947" y="14626"/>
                  </a:lnTo>
                  <a:lnTo>
                    <a:pt x="2072" y="14626"/>
                  </a:lnTo>
                  <a:lnTo>
                    <a:pt x="2177" y="14689"/>
                  </a:lnTo>
                  <a:lnTo>
                    <a:pt x="2281" y="14752"/>
                  </a:lnTo>
                  <a:lnTo>
                    <a:pt x="2281" y="14835"/>
                  </a:lnTo>
                  <a:lnTo>
                    <a:pt x="2260" y="14982"/>
                  </a:lnTo>
                  <a:lnTo>
                    <a:pt x="2281" y="15086"/>
                  </a:lnTo>
                  <a:lnTo>
                    <a:pt x="2386" y="15086"/>
                  </a:lnTo>
                  <a:lnTo>
                    <a:pt x="2428" y="15191"/>
                  </a:lnTo>
                  <a:lnTo>
                    <a:pt x="2407" y="15317"/>
                  </a:lnTo>
                  <a:lnTo>
                    <a:pt x="2428" y="15463"/>
                  </a:lnTo>
                  <a:lnTo>
                    <a:pt x="2428" y="15672"/>
                  </a:lnTo>
                  <a:lnTo>
                    <a:pt x="2532" y="15798"/>
                  </a:lnTo>
                  <a:lnTo>
                    <a:pt x="2532" y="15882"/>
                  </a:lnTo>
                  <a:lnTo>
                    <a:pt x="2637" y="15903"/>
                  </a:lnTo>
                  <a:lnTo>
                    <a:pt x="2784" y="15903"/>
                  </a:lnTo>
                  <a:lnTo>
                    <a:pt x="2888" y="15819"/>
                  </a:lnTo>
                  <a:lnTo>
                    <a:pt x="2909" y="15777"/>
                  </a:lnTo>
                  <a:lnTo>
                    <a:pt x="3076" y="15693"/>
                  </a:lnTo>
                  <a:lnTo>
                    <a:pt x="3202" y="15610"/>
                  </a:lnTo>
                  <a:lnTo>
                    <a:pt x="3223" y="15484"/>
                  </a:lnTo>
                  <a:lnTo>
                    <a:pt x="3307" y="15421"/>
                  </a:lnTo>
                  <a:lnTo>
                    <a:pt x="3558" y="15275"/>
                  </a:lnTo>
                  <a:lnTo>
                    <a:pt x="3725" y="15212"/>
                  </a:lnTo>
                  <a:lnTo>
                    <a:pt x="3746" y="15358"/>
                  </a:lnTo>
                  <a:lnTo>
                    <a:pt x="3976" y="15317"/>
                  </a:lnTo>
                  <a:lnTo>
                    <a:pt x="4039" y="15212"/>
                  </a:lnTo>
                  <a:lnTo>
                    <a:pt x="4290" y="15212"/>
                  </a:lnTo>
                  <a:lnTo>
                    <a:pt x="4311" y="15317"/>
                  </a:lnTo>
                  <a:lnTo>
                    <a:pt x="4123" y="15484"/>
                  </a:lnTo>
                  <a:lnTo>
                    <a:pt x="4248" y="15505"/>
                  </a:lnTo>
                  <a:lnTo>
                    <a:pt x="4290" y="15463"/>
                  </a:lnTo>
                  <a:lnTo>
                    <a:pt x="4374" y="15463"/>
                  </a:lnTo>
                  <a:lnTo>
                    <a:pt x="4478" y="15526"/>
                  </a:lnTo>
                  <a:lnTo>
                    <a:pt x="4520" y="15505"/>
                  </a:lnTo>
                  <a:lnTo>
                    <a:pt x="4625" y="15505"/>
                  </a:lnTo>
                  <a:lnTo>
                    <a:pt x="4688" y="15463"/>
                  </a:lnTo>
                  <a:lnTo>
                    <a:pt x="4729" y="15400"/>
                  </a:lnTo>
                  <a:lnTo>
                    <a:pt x="4813" y="15400"/>
                  </a:lnTo>
                  <a:lnTo>
                    <a:pt x="4897" y="15484"/>
                  </a:lnTo>
                  <a:lnTo>
                    <a:pt x="4981" y="15672"/>
                  </a:lnTo>
                  <a:lnTo>
                    <a:pt x="5232" y="16049"/>
                  </a:lnTo>
                  <a:lnTo>
                    <a:pt x="5357" y="16133"/>
                  </a:lnTo>
                  <a:lnTo>
                    <a:pt x="5399" y="16300"/>
                  </a:lnTo>
                  <a:lnTo>
                    <a:pt x="5462" y="16363"/>
                  </a:lnTo>
                  <a:lnTo>
                    <a:pt x="5545" y="16447"/>
                  </a:lnTo>
                  <a:lnTo>
                    <a:pt x="5776" y="16467"/>
                  </a:lnTo>
                  <a:lnTo>
                    <a:pt x="5985" y="16467"/>
                  </a:lnTo>
                  <a:lnTo>
                    <a:pt x="6089" y="16509"/>
                  </a:lnTo>
                  <a:lnTo>
                    <a:pt x="6131" y="16635"/>
                  </a:lnTo>
                  <a:lnTo>
                    <a:pt x="6361" y="16719"/>
                  </a:lnTo>
                  <a:lnTo>
                    <a:pt x="6550" y="16823"/>
                  </a:lnTo>
                  <a:lnTo>
                    <a:pt x="6654" y="17095"/>
                  </a:lnTo>
                  <a:lnTo>
                    <a:pt x="6801" y="17263"/>
                  </a:lnTo>
                  <a:lnTo>
                    <a:pt x="6989" y="17367"/>
                  </a:lnTo>
                  <a:lnTo>
                    <a:pt x="7073" y="17514"/>
                  </a:lnTo>
                  <a:lnTo>
                    <a:pt x="7073" y="17786"/>
                  </a:lnTo>
                  <a:lnTo>
                    <a:pt x="7177" y="18037"/>
                  </a:lnTo>
                  <a:lnTo>
                    <a:pt x="7324" y="18079"/>
                  </a:lnTo>
                  <a:lnTo>
                    <a:pt x="7387" y="18330"/>
                  </a:lnTo>
                  <a:lnTo>
                    <a:pt x="7429" y="18539"/>
                  </a:lnTo>
                  <a:lnTo>
                    <a:pt x="7345" y="18664"/>
                  </a:lnTo>
                  <a:lnTo>
                    <a:pt x="7324" y="18602"/>
                  </a:lnTo>
                  <a:lnTo>
                    <a:pt x="7219" y="18539"/>
                  </a:lnTo>
                  <a:lnTo>
                    <a:pt x="7073" y="18727"/>
                  </a:lnTo>
                  <a:lnTo>
                    <a:pt x="7094" y="18811"/>
                  </a:lnTo>
                  <a:lnTo>
                    <a:pt x="7115" y="18874"/>
                  </a:lnTo>
                  <a:lnTo>
                    <a:pt x="7261" y="18957"/>
                  </a:lnTo>
                  <a:lnTo>
                    <a:pt x="7240" y="19188"/>
                  </a:lnTo>
                  <a:lnTo>
                    <a:pt x="7303" y="19292"/>
                  </a:lnTo>
                  <a:lnTo>
                    <a:pt x="7261" y="19376"/>
                  </a:lnTo>
                  <a:lnTo>
                    <a:pt x="7324" y="19397"/>
                  </a:lnTo>
                  <a:lnTo>
                    <a:pt x="7408" y="19501"/>
                  </a:lnTo>
                  <a:lnTo>
                    <a:pt x="7408" y="19606"/>
                  </a:lnTo>
                  <a:lnTo>
                    <a:pt x="7449" y="19606"/>
                  </a:lnTo>
                  <a:lnTo>
                    <a:pt x="7491" y="19752"/>
                  </a:lnTo>
                  <a:lnTo>
                    <a:pt x="7617" y="19794"/>
                  </a:lnTo>
                  <a:lnTo>
                    <a:pt x="7701" y="19690"/>
                  </a:lnTo>
                  <a:lnTo>
                    <a:pt x="7826" y="19690"/>
                  </a:lnTo>
                  <a:lnTo>
                    <a:pt x="7868" y="19773"/>
                  </a:lnTo>
                  <a:lnTo>
                    <a:pt x="8014" y="19794"/>
                  </a:lnTo>
                  <a:lnTo>
                    <a:pt x="8119" y="19899"/>
                  </a:lnTo>
                  <a:lnTo>
                    <a:pt x="8182" y="19920"/>
                  </a:lnTo>
                  <a:lnTo>
                    <a:pt x="8266" y="20087"/>
                  </a:lnTo>
                  <a:lnTo>
                    <a:pt x="8370" y="20087"/>
                  </a:lnTo>
                  <a:lnTo>
                    <a:pt x="8391" y="20192"/>
                  </a:lnTo>
                  <a:lnTo>
                    <a:pt x="8433" y="20171"/>
                  </a:lnTo>
                  <a:lnTo>
                    <a:pt x="8454" y="20129"/>
                  </a:lnTo>
                  <a:lnTo>
                    <a:pt x="8600" y="20213"/>
                  </a:lnTo>
                  <a:lnTo>
                    <a:pt x="8663" y="20296"/>
                  </a:lnTo>
                  <a:lnTo>
                    <a:pt x="8768" y="20296"/>
                  </a:lnTo>
                  <a:lnTo>
                    <a:pt x="8830" y="20317"/>
                  </a:lnTo>
                  <a:lnTo>
                    <a:pt x="8893" y="20213"/>
                  </a:lnTo>
                  <a:lnTo>
                    <a:pt x="9061" y="20192"/>
                  </a:lnTo>
                  <a:lnTo>
                    <a:pt x="9270" y="20276"/>
                  </a:lnTo>
                  <a:lnTo>
                    <a:pt x="9312" y="20338"/>
                  </a:lnTo>
                  <a:lnTo>
                    <a:pt x="9437" y="20338"/>
                  </a:lnTo>
                  <a:lnTo>
                    <a:pt x="9542" y="20401"/>
                  </a:lnTo>
                  <a:lnTo>
                    <a:pt x="9709" y="20589"/>
                  </a:lnTo>
                  <a:lnTo>
                    <a:pt x="9835" y="20589"/>
                  </a:lnTo>
                  <a:lnTo>
                    <a:pt x="9960" y="20652"/>
                  </a:lnTo>
                  <a:lnTo>
                    <a:pt x="10023" y="20715"/>
                  </a:lnTo>
                  <a:lnTo>
                    <a:pt x="10128" y="20840"/>
                  </a:lnTo>
                  <a:lnTo>
                    <a:pt x="10170" y="20966"/>
                  </a:lnTo>
                  <a:lnTo>
                    <a:pt x="10232" y="20945"/>
                  </a:lnTo>
                  <a:lnTo>
                    <a:pt x="10232" y="20757"/>
                  </a:lnTo>
                  <a:lnTo>
                    <a:pt x="10316" y="20715"/>
                  </a:lnTo>
                  <a:lnTo>
                    <a:pt x="10337" y="20757"/>
                  </a:lnTo>
                  <a:lnTo>
                    <a:pt x="10462" y="20757"/>
                  </a:lnTo>
                  <a:lnTo>
                    <a:pt x="10588" y="20840"/>
                  </a:lnTo>
                  <a:lnTo>
                    <a:pt x="10588" y="21008"/>
                  </a:lnTo>
                  <a:lnTo>
                    <a:pt x="10755" y="21133"/>
                  </a:lnTo>
                  <a:lnTo>
                    <a:pt x="10923" y="21071"/>
                  </a:lnTo>
                  <a:lnTo>
                    <a:pt x="11069" y="21071"/>
                  </a:lnTo>
                  <a:lnTo>
                    <a:pt x="11048" y="21322"/>
                  </a:lnTo>
                  <a:lnTo>
                    <a:pt x="11090" y="21468"/>
                  </a:lnTo>
                  <a:lnTo>
                    <a:pt x="11195" y="21447"/>
                  </a:lnTo>
                  <a:lnTo>
                    <a:pt x="11362" y="21531"/>
                  </a:lnTo>
                  <a:lnTo>
                    <a:pt x="11425" y="21447"/>
                  </a:lnTo>
                  <a:lnTo>
                    <a:pt x="11571" y="21426"/>
                  </a:lnTo>
                  <a:lnTo>
                    <a:pt x="11676" y="21322"/>
                  </a:lnTo>
                  <a:lnTo>
                    <a:pt x="11885" y="21322"/>
                  </a:lnTo>
                  <a:lnTo>
                    <a:pt x="12011" y="21384"/>
                  </a:lnTo>
                  <a:lnTo>
                    <a:pt x="12053" y="21531"/>
                  </a:lnTo>
                  <a:lnTo>
                    <a:pt x="12220" y="21594"/>
                  </a:lnTo>
                  <a:lnTo>
                    <a:pt x="12346" y="21761"/>
                  </a:lnTo>
                  <a:lnTo>
                    <a:pt x="12429" y="21782"/>
                  </a:lnTo>
                  <a:lnTo>
                    <a:pt x="12576" y="21740"/>
                  </a:lnTo>
                  <a:lnTo>
                    <a:pt x="12639" y="21761"/>
                  </a:lnTo>
                  <a:lnTo>
                    <a:pt x="12785" y="21698"/>
                  </a:lnTo>
                  <a:lnTo>
                    <a:pt x="12931" y="21698"/>
                  </a:lnTo>
                  <a:lnTo>
                    <a:pt x="13015" y="21594"/>
                  </a:lnTo>
                  <a:lnTo>
                    <a:pt x="13162" y="21594"/>
                  </a:lnTo>
                  <a:lnTo>
                    <a:pt x="13203" y="21698"/>
                  </a:lnTo>
                  <a:lnTo>
                    <a:pt x="13245" y="21866"/>
                  </a:lnTo>
                  <a:lnTo>
                    <a:pt x="13350" y="21949"/>
                  </a:lnTo>
                  <a:lnTo>
                    <a:pt x="13475" y="21887"/>
                  </a:lnTo>
                  <a:lnTo>
                    <a:pt x="13601" y="21636"/>
                  </a:lnTo>
                  <a:lnTo>
                    <a:pt x="13873" y="21468"/>
                  </a:lnTo>
                  <a:lnTo>
                    <a:pt x="14040" y="21447"/>
                  </a:lnTo>
                  <a:lnTo>
                    <a:pt x="14124" y="21552"/>
                  </a:lnTo>
                  <a:lnTo>
                    <a:pt x="14396" y="21573"/>
                  </a:lnTo>
                  <a:lnTo>
                    <a:pt x="14501" y="21636"/>
                  </a:lnTo>
                  <a:lnTo>
                    <a:pt x="14647" y="21552"/>
                  </a:lnTo>
                  <a:lnTo>
                    <a:pt x="14815" y="21573"/>
                  </a:lnTo>
                  <a:lnTo>
                    <a:pt x="14877" y="21677"/>
                  </a:lnTo>
                  <a:lnTo>
                    <a:pt x="14982" y="21677"/>
                  </a:lnTo>
                  <a:lnTo>
                    <a:pt x="15191" y="21636"/>
                  </a:lnTo>
                  <a:lnTo>
                    <a:pt x="15296" y="21636"/>
                  </a:lnTo>
                  <a:lnTo>
                    <a:pt x="15359" y="21468"/>
                  </a:lnTo>
                  <a:lnTo>
                    <a:pt x="15442" y="21426"/>
                  </a:lnTo>
                  <a:lnTo>
                    <a:pt x="15547" y="21447"/>
                  </a:lnTo>
                  <a:lnTo>
                    <a:pt x="15547" y="21364"/>
                  </a:lnTo>
                  <a:lnTo>
                    <a:pt x="15631" y="21343"/>
                  </a:lnTo>
                  <a:lnTo>
                    <a:pt x="15693" y="21217"/>
                  </a:lnTo>
                  <a:lnTo>
                    <a:pt x="15798" y="21112"/>
                  </a:lnTo>
                  <a:lnTo>
                    <a:pt x="15903" y="21071"/>
                  </a:lnTo>
                  <a:lnTo>
                    <a:pt x="16133" y="21029"/>
                  </a:lnTo>
                  <a:lnTo>
                    <a:pt x="16237" y="20861"/>
                  </a:lnTo>
                  <a:lnTo>
                    <a:pt x="16237" y="20736"/>
                  </a:lnTo>
                  <a:lnTo>
                    <a:pt x="16321" y="20736"/>
                  </a:lnTo>
                  <a:lnTo>
                    <a:pt x="16447" y="20631"/>
                  </a:lnTo>
                  <a:lnTo>
                    <a:pt x="16551" y="20799"/>
                  </a:lnTo>
                  <a:lnTo>
                    <a:pt x="16719" y="20736"/>
                  </a:lnTo>
                  <a:lnTo>
                    <a:pt x="16928" y="20820"/>
                  </a:lnTo>
                  <a:lnTo>
                    <a:pt x="17012" y="20757"/>
                  </a:lnTo>
                  <a:lnTo>
                    <a:pt x="16970" y="20652"/>
                  </a:lnTo>
                  <a:lnTo>
                    <a:pt x="17242" y="20506"/>
                  </a:lnTo>
                  <a:lnTo>
                    <a:pt x="17325" y="20527"/>
                  </a:lnTo>
                  <a:lnTo>
                    <a:pt x="17367" y="20610"/>
                  </a:lnTo>
                  <a:lnTo>
                    <a:pt x="17451" y="20610"/>
                  </a:lnTo>
                  <a:lnTo>
                    <a:pt x="17472" y="20652"/>
                  </a:lnTo>
                  <a:lnTo>
                    <a:pt x="17388" y="20820"/>
                  </a:lnTo>
                  <a:lnTo>
                    <a:pt x="17451" y="20903"/>
                  </a:lnTo>
                  <a:lnTo>
                    <a:pt x="17535" y="20903"/>
                  </a:lnTo>
                  <a:lnTo>
                    <a:pt x="17597" y="20861"/>
                  </a:lnTo>
                  <a:lnTo>
                    <a:pt x="17639" y="20945"/>
                  </a:lnTo>
                  <a:lnTo>
                    <a:pt x="17702" y="21050"/>
                  </a:lnTo>
                  <a:lnTo>
                    <a:pt x="17702" y="21133"/>
                  </a:lnTo>
                  <a:lnTo>
                    <a:pt x="17597" y="21238"/>
                  </a:lnTo>
                  <a:lnTo>
                    <a:pt x="17639" y="21343"/>
                  </a:lnTo>
                  <a:lnTo>
                    <a:pt x="17765" y="21364"/>
                  </a:lnTo>
                  <a:lnTo>
                    <a:pt x="17849" y="21322"/>
                  </a:lnTo>
                  <a:lnTo>
                    <a:pt x="17953" y="21364"/>
                  </a:lnTo>
                  <a:lnTo>
                    <a:pt x="18016" y="21468"/>
                  </a:lnTo>
                  <a:lnTo>
                    <a:pt x="18121" y="21426"/>
                  </a:lnTo>
                  <a:lnTo>
                    <a:pt x="18246" y="21468"/>
                  </a:lnTo>
                  <a:lnTo>
                    <a:pt x="18330" y="21426"/>
                  </a:lnTo>
                  <a:lnTo>
                    <a:pt x="18497" y="21426"/>
                  </a:lnTo>
                  <a:lnTo>
                    <a:pt x="18539" y="21573"/>
                  </a:lnTo>
                  <a:lnTo>
                    <a:pt x="18685" y="21677"/>
                  </a:lnTo>
                  <a:lnTo>
                    <a:pt x="18706" y="21845"/>
                  </a:lnTo>
                  <a:lnTo>
                    <a:pt x="18811" y="21845"/>
                  </a:lnTo>
                  <a:lnTo>
                    <a:pt x="18916" y="21970"/>
                  </a:lnTo>
                  <a:lnTo>
                    <a:pt x="18916" y="22117"/>
                  </a:lnTo>
                  <a:lnTo>
                    <a:pt x="18999" y="22326"/>
                  </a:lnTo>
                  <a:lnTo>
                    <a:pt x="19020" y="22493"/>
                  </a:lnTo>
                  <a:lnTo>
                    <a:pt x="18999" y="22745"/>
                  </a:lnTo>
                  <a:lnTo>
                    <a:pt x="18999" y="22849"/>
                  </a:lnTo>
                  <a:lnTo>
                    <a:pt x="18957" y="22933"/>
                  </a:lnTo>
                  <a:lnTo>
                    <a:pt x="18853" y="22996"/>
                  </a:lnTo>
                  <a:lnTo>
                    <a:pt x="18832" y="23100"/>
                  </a:lnTo>
                  <a:lnTo>
                    <a:pt x="18769" y="23121"/>
                  </a:lnTo>
                  <a:lnTo>
                    <a:pt x="18748" y="23205"/>
                  </a:lnTo>
                  <a:lnTo>
                    <a:pt x="18811" y="23309"/>
                  </a:lnTo>
                  <a:lnTo>
                    <a:pt x="18748" y="23351"/>
                  </a:lnTo>
                  <a:lnTo>
                    <a:pt x="18685" y="23330"/>
                  </a:lnTo>
                  <a:lnTo>
                    <a:pt x="18602" y="23435"/>
                  </a:lnTo>
                  <a:lnTo>
                    <a:pt x="18539" y="23519"/>
                  </a:lnTo>
                  <a:lnTo>
                    <a:pt x="18602" y="23581"/>
                  </a:lnTo>
                  <a:lnTo>
                    <a:pt x="18539" y="23665"/>
                  </a:lnTo>
                  <a:lnTo>
                    <a:pt x="18539" y="23770"/>
                  </a:lnTo>
                  <a:lnTo>
                    <a:pt x="18644" y="23833"/>
                  </a:lnTo>
                  <a:lnTo>
                    <a:pt x="18706" y="23895"/>
                  </a:lnTo>
                  <a:lnTo>
                    <a:pt x="18769" y="23958"/>
                  </a:lnTo>
                  <a:lnTo>
                    <a:pt x="18748" y="24105"/>
                  </a:lnTo>
                  <a:lnTo>
                    <a:pt x="18811" y="24251"/>
                  </a:lnTo>
                  <a:lnTo>
                    <a:pt x="18937" y="24146"/>
                  </a:lnTo>
                  <a:lnTo>
                    <a:pt x="19209" y="24084"/>
                  </a:lnTo>
                  <a:lnTo>
                    <a:pt x="19229" y="24167"/>
                  </a:lnTo>
                  <a:lnTo>
                    <a:pt x="19209" y="24251"/>
                  </a:lnTo>
                  <a:lnTo>
                    <a:pt x="19271" y="24293"/>
                  </a:lnTo>
                  <a:lnTo>
                    <a:pt x="19418" y="24272"/>
                  </a:lnTo>
                  <a:lnTo>
                    <a:pt x="19439" y="24377"/>
                  </a:lnTo>
                  <a:lnTo>
                    <a:pt x="19418" y="24481"/>
                  </a:lnTo>
                  <a:lnTo>
                    <a:pt x="19481" y="24565"/>
                  </a:lnTo>
                  <a:lnTo>
                    <a:pt x="19627" y="24586"/>
                  </a:lnTo>
                  <a:lnTo>
                    <a:pt x="19585" y="24628"/>
                  </a:lnTo>
                  <a:lnTo>
                    <a:pt x="19648" y="24711"/>
                  </a:lnTo>
                  <a:lnTo>
                    <a:pt x="19669" y="24670"/>
                  </a:lnTo>
                  <a:lnTo>
                    <a:pt x="19815" y="24670"/>
                  </a:lnTo>
                  <a:lnTo>
                    <a:pt x="19941" y="24732"/>
                  </a:lnTo>
                  <a:lnTo>
                    <a:pt x="19941" y="24816"/>
                  </a:lnTo>
                  <a:lnTo>
                    <a:pt x="19878" y="24921"/>
                  </a:lnTo>
                  <a:lnTo>
                    <a:pt x="19899" y="25004"/>
                  </a:lnTo>
                  <a:lnTo>
                    <a:pt x="19753" y="25193"/>
                  </a:lnTo>
                  <a:lnTo>
                    <a:pt x="19648" y="25297"/>
                  </a:lnTo>
                  <a:lnTo>
                    <a:pt x="19669" y="25360"/>
                  </a:lnTo>
                  <a:lnTo>
                    <a:pt x="19753" y="25339"/>
                  </a:lnTo>
                  <a:lnTo>
                    <a:pt x="19941" y="25339"/>
                  </a:lnTo>
                  <a:lnTo>
                    <a:pt x="19983" y="25402"/>
                  </a:lnTo>
                  <a:lnTo>
                    <a:pt x="20066" y="25318"/>
                  </a:lnTo>
                  <a:lnTo>
                    <a:pt x="20150" y="25423"/>
                  </a:lnTo>
                  <a:lnTo>
                    <a:pt x="20108" y="25548"/>
                  </a:lnTo>
                  <a:lnTo>
                    <a:pt x="20150" y="25674"/>
                  </a:lnTo>
                  <a:lnTo>
                    <a:pt x="20276" y="25737"/>
                  </a:lnTo>
                  <a:lnTo>
                    <a:pt x="20338" y="25653"/>
                  </a:lnTo>
                  <a:lnTo>
                    <a:pt x="20485" y="25653"/>
                  </a:lnTo>
                  <a:lnTo>
                    <a:pt x="20736" y="25548"/>
                  </a:lnTo>
                  <a:lnTo>
                    <a:pt x="20841" y="25569"/>
                  </a:lnTo>
                  <a:lnTo>
                    <a:pt x="20841" y="25716"/>
                  </a:lnTo>
                  <a:lnTo>
                    <a:pt x="20799" y="25737"/>
                  </a:lnTo>
                  <a:lnTo>
                    <a:pt x="20862" y="25778"/>
                  </a:lnTo>
                  <a:lnTo>
                    <a:pt x="20924" y="25883"/>
                  </a:lnTo>
                  <a:lnTo>
                    <a:pt x="21050" y="25841"/>
                  </a:lnTo>
                  <a:lnTo>
                    <a:pt x="21154" y="25862"/>
                  </a:lnTo>
                  <a:lnTo>
                    <a:pt x="21134" y="25716"/>
                  </a:lnTo>
                  <a:lnTo>
                    <a:pt x="21134" y="25569"/>
                  </a:lnTo>
                  <a:lnTo>
                    <a:pt x="21092" y="25465"/>
                  </a:lnTo>
                  <a:lnTo>
                    <a:pt x="21092" y="25255"/>
                  </a:lnTo>
                  <a:lnTo>
                    <a:pt x="21154" y="25214"/>
                  </a:lnTo>
                  <a:lnTo>
                    <a:pt x="21154" y="25130"/>
                  </a:lnTo>
                  <a:lnTo>
                    <a:pt x="21364" y="25130"/>
                  </a:lnTo>
                  <a:lnTo>
                    <a:pt x="21426" y="25109"/>
                  </a:lnTo>
                  <a:lnTo>
                    <a:pt x="21468" y="25088"/>
                  </a:lnTo>
                  <a:lnTo>
                    <a:pt x="21510" y="25025"/>
                  </a:lnTo>
                  <a:lnTo>
                    <a:pt x="21552" y="24983"/>
                  </a:lnTo>
                  <a:lnTo>
                    <a:pt x="21678" y="24921"/>
                  </a:lnTo>
                  <a:lnTo>
                    <a:pt x="21761" y="24942"/>
                  </a:lnTo>
                  <a:lnTo>
                    <a:pt x="21740" y="25025"/>
                  </a:lnTo>
                  <a:lnTo>
                    <a:pt x="21782" y="25046"/>
                  </a:lnTo>
                  <a:lnTo>
                    <a:pt x="21866" y="25046"/>
                  </a:lnTo>
                  <a:lnTo>
                    <a:pt x="21887" y="24942"/>
                  </a:lnTo>
                  <a:lnTo>
                    <a:pt x="21970" y="24900"/>
                  </a:lnTo>
                  <a:lnTo>
                    <a:pt x="22096" y="25004"/>
                  </a:lnTo>
                  <a:lnTo>
                    <a:pt x="22159" y="24921"/>
                  </a:lnTo>
                  <a:lnTo>
                    <a:pt x="22242" y="24921"/>
                  </a:lnTo>
                  <a:lnTo>
                    <a:pt x="22263" y="25004"/>
                  </a:lnTo>
                  <a:lnTo>
                    <a:pt x="22389" y="24942"/>
                  </a:lnTo>
                  <a:lnTo>
                    <a:pt x="22389" y="24879"/>
                  </a:lnTo>
                  <a:lnTo>
                    <a:pt x="22556" y="24816"/>
                  </a:lnTo>
                  <a:lnTo>
                    <a:pt x="22661" y="24900"/>
                  </a:lnTo>
                  <a:lnTo>
                    <a:pt x="22870" y="24816"/>
                  </a:lnTo>
                  <a:lnTo>
                    <a:pt x="22828" y="24628"/>
                  </a:lnTo>
                  <a:lnTo>
                    <a:pt x="22954" y="24586"/>
                  </a:lnTo>
                  <a:lnTo>
                    <a:pt x="23100" y="24586"/>
                  </a:lnTo>
                  <a:lnTo>
                    <a:pt x="23184" y="24502"/>
                  </a:lnTo>
                  <a:lnTo>
                    <a:pt x="23310" y="24586"/>
                  </a:lnTo>
                  <a:lnTo>
                    <a:pt x="23310" y="24670"/>
                  </a:lnTo>
                  <a:lnTo>
                    <a:pt x="23435" y="24690"/>
                  </a:lnTo>
                  <a:lnTo>
                    <a:pt x="23477" y="24774"/>
                  </a:lnTo>
                  <a:lnTo>
                    <a:pt x="23749" y="24774"/>
                  </a:lnTo>
                  <a:lnTo>
                    <a:pt x="23812" y="24816"/>
                  </a:lnTo>
                  <a:lnTo>
                    <a:pt x="23958" y="24774"/>
                  </a:lnTo>
                  <a:lnTo>
                    <a:pt x="24042" y="24837"/>
                  </a:lnTo>
                  <a:lnTo>
                    <a:pt x="24042" y="24942"/>
                  </a:lnTo>
                  <a:lnTo>
                    <a:pt x="23937" y="24983"/>
                  </a:lnTo>
                  <a:lnTo>
                    <a:pt x="23875" y="25193"/>
                  </a:lnTo>
                  <a:lnTo>
                    <a:pt x="23958" y="25214"/>
                  </a:lnTo>
                  <a:lnTo>
                    <a:pt x="23979" y="25318"/>
                  </a:lnTo>
                  <a:lnTo>
                    <a:pt x="24230" y="25402"/>
                  </a:lnTo>
                  <a:lnTo>
                    <a:pt x="24251" y="25506"/>
                  </a:lnTo>
                  <a:lnTo>
                    <a:pt x="24377" y="25527"/>
                  </a:lnTo>
                  <a:lnTo>
                    <a:pt x="24481" y="25611"/>
                  </a:lnTo>
                  <a:lnTo>
                    <a:pt x="24586" y="25548"/>
                  </a:lnTo>
                  <a:lnTo>
                    <a:pt x="24649" y="25611"/>
                  </a:lnTo>
                  <a:lnTo>
                    <a:pt x="24711" y="25569"/>
                  </a:lnTo>
                  <a:lnTo>
                    <a:pt x="24816" y="25632"/>
                  </a:lnTo>
                  <a:lnTo>
                    <a:pt x="24858" y="25632"/>
                  </a:lnTo>
                  <a:lnTo>
                    <a:pt x="24900" y="25611"/>
                  </a:lnTo>
                  <a:lnTo>
                    <a:pt x="24963" y="25653"/>
                  </a:lnTo>
                  <a:lnTo>
                    <a:pt x="25046" y="25611"/>
                  </a:lnTo>
                  <a:lnTo>
                    <a:pt x="25046" y="25548"/>
                  </a:lnTo>
                  <a:lnTo>
                    <a:pt x="25088" y="25423"/>
                  </a:lnTo>
                  <a:lnTo>
                    <a:pt x="25130" y="25527"/>
                  </a:lnTo>
                  <a:lnTo>
                    <a:pt x="25235" y="25653"/>
                  </a:lnTo>
                  <a:lnTo>
                    <a:pt x="25297" y="25632"/>
                  </a:lnTo>
                  <a:lnTo>
                    <a:pt x="25444" y="25737"/>
                  </a:lnTo>
                  <a:lnTo>
                    <a:pt x="25569" y="25737"/>
                  </a:lnTo>
                  <a:lnTo>
                    <a:pt x="25632" y="25632"/>
                  </a:lnTo>
                  <a:lnTo>
                    <a:pt x="25716" y="25716"/>
                  </a:lnTo>
                  <a:lnTo>
                    <a:pt x="25820" y="25674"/>
                  </a:lnTo>
                  <a:lnTo>
                    <a:pt x="25862" y="25716"/>
                  </a:lnTo>
                  <a:lnTo>
                    <a:pt x="25862" y="25737"/>
                  </a:lnTo>
                  <a:lnTo>
                    <a:pt x="25800" y="25758"/>
                  </a:lnTo>
                  <a:lnTo>
                    <a:pt x="25758" y="25862"/>
                  </a:lnTo>
                  <a:lnTo>
                    <a:pt x="25695" y="25967"/>
                  </a:lnTo>
                  <a:lnTo>
                    <a:pt x="25695" y="26030"/>
                  </a:lnTo>
                  <a:lnTo>
                    <a:pt x="25820" y="26197"/>
                  </a:lnTo>
                  <a:lnTo>
                    <a:pt x="25904" y="26260"/>
                  </a:lnTo>
                  <a:lnTo>
                    <a:pt x="25904" y="26302"/>
                  </a:lnTo>
                  <a:lnTo>
                    <a:pt x="25925" y="26448"/>
                  </a:lnTo>
                  <a:lnTo>
                    <a:pt x="25946" y="26406"/>
                  </a:lnTo>
                  <a:lnTo>
                    <a:pt x="26009" y="26343"/>
                  </a:lnTo>
                  <a:lnTo>
                    <a:pt x="26092" y="26364"/>
                  </a:lnTo>
                  <a:lnTo>
                    <a:pt x="26134" y="26385"/>
                  </a:lnTo>
                  <a:lnTo>
                    <a:pt x="26176" y="26385"/>
                  </a:lnTo>
                  <a:lnTo>
                    <a:pt x="26281" y="26281"/>
                  </a:lnTo>
                  <a:lnTo>
                    <a:pt x="26260" y="26239"/>
                  </a:lnTo>
                  <a:lnTo>
                    <a:pt x="26218" y="26197"/>
                  </a:lnTo>
                  <a:lnTo>
                    <a:pt x="26218" y="26176"/>
                  </a:lnTo>
                  <a:lnTo>
                    <a:pt x="26155" y="26071"/>
                  </a:lnTo>
                  <a:lnTo>
                    <a:pt x="26072" y="26071"/>
                  </a:lnTo>
                  <a:lnTo>
                    <a:pt x="26030" y="25967"/>
                  </a:lnTo>
                  <a:lnTo>
                    <a:pt x="26051" y="25925"/>
                  </a:lnTo>
                  <a:lnTo>
                    <a:pt x="26155" y="25841"/>
                  </a:lnTo>
                  <a:lnTo>
                    <a:pt x="26155" y="25758"/>
                  </a:lnTo>
                  <a:lnTo>
                    <a:pt x="26155" y="25716"/>
                  </a:lnTo>
                  <a:lnTo>
                    <a:pt x="26176" y="25716"/>
                  </a:lnTo>
                  <a:lnTo>
                    <a:pt x="26218" y="25653"/>
                  </a:lnTo>
                  <a:lnTo>
                    <a:pt x="26239" y="25716"/>
                  </a:lnTo>
                  <a:lnTo>
                    <a:pt x="26260" y="25737"/>
                  </a:lnTo>
                  <a:lnTo>
                    <a:pt x="26281" y="25737"/>
                  </a:lnTo>
                  <a:lnTo>
                    <a:pt x="26260" y="25758"/>
                  </a:lnTo>
                  <a:lnTo>
                    <a:pt x="26260" y="25778"/>
                  </a:lnTo>
                  <a:lnTo>
                    <a:pt x="26323" y="25778"/>
                  </a:lnTo>
                  <a:lnTo>
                    <a:pt x="26281" y="25820"/>
                  </a:lnTo>
                  <a:lnTo>
                    <a:pt x="26344" y="25841"/>
                  </a:lnTo>
                  <a:lnTo>
                    <a:pt x="26385" y="25758"/>
                  </a:lnTo>
                  <a:lnTo>
                    <a:pt x="26490" y="25737"/>
                  </a:lnTo>
                  <a:lnTo>
                    <a:pt x="26553" y="25653"/>
                  </a:lnTo>
                  <a:lnTo>
                    <a:pt x="26616" y="25716"/>
                  </a:lnTo>
                  <a:lnTo>
                    <a:pt x="26741" y="25653"/>
                  </a:lnTo>
                  <a:lnTo>
                    <a:pt x="26867" y="25611"/>
                  </a:lnTo>
                  <a:lnTo>
                    <a:pt x="26804" y="25527"/>
                  </a:lnTo>
                  <a:lnTo>
                    <a:pt x="26908" y="25527"/>
                  </a:lnTo>
                  <a:lnTo>
                    <a:pt x="27013" y="25465"/>
                  </a:lnTo>
                  <a:lnTo>
                    <a:pt x="27139" y="25527"/>
                  </a:lnTo>
                  <a:lnTo>
                    <a:pt x="27201" y="25506"/>
                  </a:lnTo>
                  <a:lnTo>
                    <a:pt x="27327" y="25444"/>
                  </a:lnTo>
                  <a:lnTo>
                    <a:pt x="27432" y="25339"/>
                  </a:lnTo>
                  <a:lnTo>
                    <a:pt x="27515" y="25234"/>
                  </a:lnTo>
                  <a:lnTo>
                    <a:pt x="27536" y="25193"/>
                  </a:lnTo>
                  <a:lnTo>
                    <a:pt x="27578" y="25214"/>
                  </a:lnTo>
                  <a:lnTo>
                    <a:pt x="27620" y="25255"/>
                  </a:lnTo>
                  <a:lnTo>
                    <a:pt x="27662" y="25214"/>
                  </a:lnTo>
                  <a:lnTo>
                    <a:pt x="27724" y="25130"/>
                  </a:lnTo>
                  <a:lnTo>
                    <a:pt x="27808" y="25088"/>
                  </a:lnTo>
                  <a:lnTo>
                    <a:pt x="27787" y="24942"/>
                  </a:lnTo>
                  <a:lnTo>
                    <a:pt x="27745" y="24837"/>
                  </a:lnTo>
                  <a:lnTo>
                    <a:pt x="27787" y="24774"/>
                  </a:lnTo>
                  <a:lnTo>
                    <a:pt x="27745" y="24690"/>
                  </a:lnTo>
                  <a:lnTo>
                    <a:pt x="27808" y="24732"/>
                  </a:lnTo>
                  <a:lnTo>
                    <a:pt x="27934" y="24816"/>
                  </a:lnTo>
                  <a:lnTo>
                    <a:pt x="27955" y="24900"/>
                  </a:lnTo>
                  <a:lnTo>
                    <a:pt x="28059" y="25004"/>
                  </a:lnTo>
                  <a:lnTo>
                    <a:pt x="28143" y="24983"/>
                  </a:lnTo>
                  <a:lnTo>
                    <a:pt x="28143" y="24983"/>
                  </a:lnTo>
                  <a:lnTo>
                    <a:pt x="28101" y="25046"/>
                  </a:lnTo>
                  <a:lnTo>
                    <a:pt x="28017" y="25109"/>
                  </a:lnTo>
                  <a:lnTo>
                    <a:pt x="28038" y="25151"/>
                  </a:lnTo>
                  <a:lnTo>
                    <a:pt x="28248" y="25046"/>
                  </a:lnTo>
                  <a:lnTo>
                    <a:pt x="28248" y="24921"/>
                  </a:lnTo>
                  <a:lnTo>
                    <a:pt x="28352" y="24900"/>
                  </a:lnTo>
                  <a:lnTo>
                    <a:pt x="28415" y="24837"/>
                  </a:lnTo>
                  <a:lnTo>
                    <a:pt x="28520" y="24900"/>
                  </a:lnTo>
                  <a:lnTo>
                    <a:pt x="28582" y="24879"/>
                  </a:lnTo>
                  <a:lnTo>
                    <a:pt x="28624" y="24795"/>
                  </a:lnTo>
                  <a:lnTo>
                    <a:pt x="28687" y="24795"/>
                  </a:lnTo>
                  <a:lnTo>
                    <a:pt x="28708" y="24711"/>
                  </a:lnTo>
                  <a:lnTo>
                    <a:pt x="28771" y="24795"/>
                  </a:lnTo>
                  <a:lnTo>
                    <a:pt x="28854" y="24900"/>
                  </a:lnTo>
                  <a:lnTo>
                    <a:pt x="28896" y="24837"/>
                  </a:lnTo>
                  <a:lnTo>
                    <a:pt x="28938" y="24732"/>
                  </a:lnTo>
                  <a:lnTo>
                    <a:pt x="28980" y="24732"/>
                  </a:lnTo>
                  <a:lnTo>
                    <a:pt x="29001" y="24774"/>
                  </a:lnTo>
                  <a:lnTo>
                    <a:pt x="29085" y="24774"/>
                  </a:lnTo>
                  <a:lnTo>
                    <a:pt x="29105" y="24711"/>
                  </a:lnTo>
                  <a:lnTo>
                    <a:pt x="29231" y="24711"/>
                  </a:lnTo>
                  <a:lnTo>
                    <a:pt x="29294" y="24628"/>
                  </a:lnTo>
                  <a:lnTo>
                    <a:pt x="29357" y="24586"/>
                  </a:lnTo>
                  <a:lnTo>
                    <a:pt x="29377" y="24670"/>
                  </a:lnTo>
                  <a:lnTo>
                    <a:pt x="29398" y="24607"/>
                  </a:lnTo>
                  <a:lnTo>
                    <a:pt x="29482" y="24607"/>
                  </a:lnTo>
                  <a:lnTo>
                    <a:pt x="29566" y="24586"/>
                  </a:lnTo>
                  <a:lnTo>
                    <a:pt x="29524" y="24502"/>
                  </a:lnTo>
                  <a:lnTo>
                    <a:pt x="29587" y="24418"/>
                  </a:lnTo>
                  <a:lnTo>
                    <a:pt x="29608" y="24293"/>
                  </a:lnTo>
                  <a:lnTo>
                    <a:pt x="29566" y="24188"/>
                  </a:lnTo>
                  <a:lnTo>
                    <a:pt x="29566" y="24188"/>
                  </a:lnTo>
                  <a:lnTo>
                    <a:pt x="29608" y="24209"/>
                  </a:lnTo>
                  <a:lnTo>
                    <a:pt x="29670" y="24146"/>
                  </a:lnTo>
                  <a:lnTo>
                    <a:pt x="29796" y="24105"/>
                  </a:lnTo>
                  <a:lnTo>
                    <a:pt x="29817" y="24167"/>
                  </a:lnTo>
                  <a:lnTo>
                    <a:pt x="29921" y="24167"/>
                  </a:lnTo>
                  <a:lnTo>
                    <a:pt x="29942" y="24042"/>
                  </a:lnTo>
                  <a:lnTo>
                    <a:pt x="30005" y="24042"/>
                  </a:lnTo>
                  <a:lnTo>
                    <a:pt x="30026" y="23958"/>
                  </a:lnTo>
                  <a:lnTo>
                    <a:pt x="30089" y="23958"/>
                  </a:lnTo>
                  <a:lnTo>
                    <a:pt x="30089" y="23979"/>
                  </a:lnTo>
                  <a:lnTo>
                    <a:pt x="30110" y="23979"/>
                  </a:lnTo>
                  <a:lnTo>
                    <a:pt x="30193" y="23874"/>
                  </a:lnTo>
                  <a:lnTo>
                    <a:pt x="30256" y="23958"/>
                  </a:lnTo>
                  <a:lnTo>
                    <a:pt x="30256" y="23833"/>
                  </a:lnTo>
                  <a:lnTo>
                    <a:pt x="30340" y="23833"/>
                  </a:lnTo>
                  <a:lnTo>
                    <a:pt x="30361" y="23728"/>
                  </a:lnTo>
                  <a:lnTo>
                    <a:pt x="30277" y="23686"/>
                  </a:lnTo>
                  <a:lnTo>
                    <a:pt x="30193" y="23749"/>
                  </a:lnTo>
                  <a:lnTo>
                    <a:pt x="30047" y="23623"/>
                  </a:lnTo>
                  <a:lnTo>
                    <a:pt x="30235" y="23623"/>
                  </a:lnTo>
                  <a:lnTo>
                    <a:pt x="30340" y="23477"/>
                  </a:lnTo>
                  <a:lnTo>
                    <a:pt x="30361" y="23540"/>
                  </a:lnTo>
                  <a:lnTo>
                    <a:pt x="30445" y="23477"/>
                  </a:lnTo>
                  <a:lnTo>
                    <a:pt x="30612" y="23581"/>
                  </a:lnTo>
                  <a:lnTo>
                    <a:pt x="30633" y="23456"/>
                  </a:lnTo>
                  <a:lnTo>
                    <a:pt x="30549" y="23435"/>
                  </a:lnTo>
                  <a:lnTo>
                    <a:pt x="30507" y="23372"/>
                  </a:lnTo>
                  <a:lnTo>
                    <a:pt x="30528" y="23309"/>
                  </a:lnTo>
                  <a:lnTo>
                    <a:pt x="30633" y="23372"/>
                  </a:lnTo>
                  <a:lnTo>
                    <a:pt x="30717" y="23309"/>
                  </a:lnTo>
                  <a:lnTo>
                    <a:pt x="30675" y="23268"/>
                  </a:lnTo>
                  <a:lnTo>
                    <a:pt x="30612" y="23268"/>
                  </a:lnTo>
                  <a:lnTo>
                    <a:pt x="30612" y="23163"/>
                  </a:lnTo>
                  <a:lnTo>
                    <a:pt x="30528" y="23121"/>
                  </a:lnTo>
                  <a:lnTo>
                    <a:pt x="30612" y="23100"/>
                  </a:lnTo>
                  <a:lnTo>
                    <a:pt x="30654" y="23142"/>
                  </a:lnTo>
                  <a:lnTo>
                    <a:pt x="30717" y="23142"/>
                  </a:lnTo>
                  <a:lnTo>
                    <a:pt x="30758" y="23205"/>
                  </a:lnTo>
                  <a:lnTo>
                    <a:pt x="30758" y="23121"/>
                  </a:lnTo>
                  <a:lnTo>
                    <a:pt x="30654" y="23037"/>
                  </a:lnTo>
                  <a:lnTo>
                    <a:pt x="30654" y="22933"/>
                  </a:lnTo>
                  <a:lnTo>
                    <a:pt x="30737" y="22933"/>
                  </a:lnTo>
                  <a:lnTo>
                    <a:pt x="30758" y="22891"/>
                  </a:lnTo>
                  <a:lnTo>
                    <a:pt x="30863" y="22954"/>
                  </a:lnTo>
                  <a:lnTo>
                    <a:pt x="30863" y="23037"/>
                  </a:lnTo>
                  <a:lnTo>
                    <a:pt x="30926" y="23037"/>
                  </a:lnTo>
                  <a:lnTo>
                    <a:pt x="30968" y="23121"/>
                  </a:lnTo>
                  <a:lnTo>
                    <a:pt x="30989" y="22996"/>
                  </a:lnTo>
                  <a:lnTo>
                    <a:pt x="30947" y="22912"/>
                  </a:lnTo>
                  <a:lnTo>
                    <a:pt x="30884" y="22912"/>
                  </a:lnTo>
                  <a:lnTo>
                    <a:pt x="30863" y="22828"/>
                  </a:lnTo>
                  <a:lnTo>
                    <a:pt x="30947" y="22828"/>
                  </a:lnTo>
                  <a:lnTo>
                    <a:pt x="30947" y="22745"/>
                  </a:lnTo>
                  <a:lnTo>
                    <a:pt x="30863" y="22724"/>
                  </a:lnTo>
                  <a:lnTo>
                    <a:pt x="30989" y="22598"/>
                  </a:lnTo>
                  <a:lnTo>
                    <a:pt x="30926" y="22535"/>
                  </a:lnTo>
                  <a:lnTo>
                    <a:pt x="30842" y="22535"/>
                  </a:lnTo>
                  <a:lnTo>
                    <a:pt x="30779" y="22598"/>
                  </a:lnTo>
                  <a:lnTo>
                    <a:pt x="30800" y="22493"/>
                  </a:lnTo>
                  <a:lnTo>
                    <a:pt x="30947" y="22410"/>
                  </a:lnTo>
                  <a:lnTo>
                    <a:pt x="31135" y="22326"/>
                  </a:lnTo>
                  <a:lnTo>
                    <a:pt x="31072" y="22263"/>
                  </a:lnTo>
                  <a:lnTo>
                    <a:pt x="30989" y="22326"/>
                  </a:lnTo>
                  <a:lnTo>
                    <a:pt x="30863" y="22201"/>
                  </a:lnTo>
                  <a:lnTo>
                    <a:pt x="30968" y="22201"/>
                  </a:lnTo>
                  <a:lnTo>
                    <a:pt x="30884" y="22096"/>
                  </a:lnTo>
                  <a:lnTo>
                    <a:pt x="30800" y="22096"/>
                  </a:lnTo>
                  <a:lnTo>
                    <a:pt x="30863" y="22054"/>
                  </a:lnTo>
                  <a:lnTo>
                    <a:pt x="30800" y="21991"/>
                  </a:lnTo>
                  <a:lnTo>
                    <a:pt x="30884" y="21991"/>
                  </a:lnTo>
                  <a:lnTo>
                    <a:pt x="30926" y="21908"/>
                  </a:lnTo>
                  <a:lnTo>
                    <a:pt x="31030" y="21908"/>
                  </a:lnTo>
                  <a:lnTo>
                    <a:pt x="30989" y="22012"/>
                  </a:lnTo>
                  <a:lnTo>
                    <a:pt x="31072" y="22012"/>
                  </a:lnTo>
                  <a:lnTo>
                    <a:pt x="31240" y="21866"/>
                  </a:lnTo>
                  <a:lnTo>
                    <a:pt x="31240" y="21782"/>
                  </a:lnTo>
                  <a:lnTo>
                    <a:pt x="31365" y="21803"/>
                  </a:lnTo>
                  <a:lnTo>
                    <a:pt x="31281" y="21698"/>
                  </a:lnTo>
                  <a:lnTo>
                    <a:pt x="31198" y="21698"/>
                  </a:lnTo>
                  <a:lnTo>
                    <a:pt x="31240" y="21594"/>
                  </a:lnTo>
                  <a:lnTo>
                    <a:pt x="31302" y="21677"/>
                  </a:lnTo>
                  <a:lnTo>
                    <a:pt x="31386" y="21636"/>
                  </a:lnTo>
                  <a:lnTo>
                    <a:pt x="31386" y="21531"/>
                  </a:lnTo>
                  <a:lnTo>
                    <a:pt x="31449" y="21489"/>
                  </a:lnTo>
                  <a:lnTo>
                    <a:pt x="31386" y="21426"/>
                  </a:lnTo>
                  <a:lnTo>
                    <a:pt x="31386" y="21343"/>
                  </a:lnTo>
                  <a:lnTo>
                    <a:pt x="31470" y="21322"/>
                  </a:lnTo>
                  <a:lnTo>
                    <a:pt x="31407" y="21238"/>
                  </a:lnTo>
                  <a:lnTo>
                    <a:pt x="31407" y="21175"/>
                  </a:lnTo>
                  <a:lnTo>
                    <a:pt x="31302" y="21112"/>
                  </a:lnTo>
                  <a:lnTo>
                    <a:pt x="31470" y="21154"/>
                  </a:lnTo>
                  <a:lnTo>
                    <a:pt x="31512" y="21112"/>
                  </a:lnTo>
                  <a:lnTo>
                    <a:pt x="31616" y="20903"/>
                  </a:lnTo>
                  <a:lnTo>
                    <a:pt x="31700" y="20903"/>
                  </a:lnTo>
                  <a:lnTo>
                    <a:pt x="31721" y="20966"/>
                  </a:lnTo>
                  <a:lnTo>
                    <a:pt x="31763" y="21029"/>
                  </a:lnTo>
                  <a:lnTo>
                    <a:pt x="31784" y="20924"/>
                  </a:lnTo>
                  <a:lnTo>
                    <a:pt x="31846" y="20861"/>
                  </a:lnTo>
                  <a:lnTo>
                    <a:pt x="31805" y="20736"/>
                  </a:lnTo>
                  <a:lnTo>
                    <a:pt x="31679" y="20736"/>
                  </a:lnTo>
                  <a:lnTo>
                    <a:pt x="31616" y="20694"/>
                  </a:lnTo>
                  <a:lnTo>
                    <a:pt x="31679" y="20652"/>
                  </a:lnTo>
                  <a:lnTo>
                    <a:pt x="31763" y="20652"/>
                  </a:lnTo>
                  <a:lnTo>
                    <a:pt x="31826" y="20610"/>
                  </a:lnTo>
                  <a:lnTo>
                    <a:pt x="31784" y="20548"/>
                  </a:lnTo>
                  <a:lnTo>
                    <a:pt x="31700" y="20506"/>
                  </a:lnTo>
                  <a:lnTo>
                    <a:pt x="31784" y="20443"/>
                  </a:lnTo>
                  <a:lnTo>
                    <a:pt x="31826" y="20443"/>
                  </a:lnTo>
                  <a:lnTo>
                    <a:pt x="31826" y="20401"/>
                  </a:lnTo>
                  <a:lnTo>
                    <a:pt x="31784" y="20338"/>
                  </a:lnTo>
                  <a:lnTo>
                    <a:pt x="31574" y="20338"/>
                  </a:lnTo>
                  <a:lnTo>
                    <a:pt x="31595" y="20296"/>
                  </a:lnTo>
                  <a:lnTo>
                    <a:pt x="31721" y="20192"/>
                  </a:lnTo>
                  <a:lnTo>
                    <a:pt x="31826" y="20213"/>
                  </a:lnTo>
                  <a:lnTo>
                    <a:pt x="31846" y="20192"/>
                  </a:lnTo>
                  <a:lnTo>
                    <a:pt x="31888" y="20129"/>
                  </a:lnTo>
                  <a:lnTo>
                    <a:pt x="31930" y="20192"/>
                  </a:lnTo>
                  <a:lnTo>
                    <a:pt x="31972" y="20213"/>
                  </a:lnTo>
                  <a:lnTo>
                    <a:pt x="32014" y="20171"/>
                  </a:lnTo>
                  <a:lnTo>
                    <a:pt x="31993" y="20087"/>
                  </a:lnTo>
                  <a:lnTo>
                    <a:pt x="31972" y="19920"/>
                  </a:lnTo>
                  <a:lnTo>
                    <a:pt x="31909" y="19878"/>
                  </a:lnTo>
                  <a:lnTo>
                    <a:pt x="31826" y="19962"/>
                  </a:lnTo>
                  <a:lnTo>
                    <a:pt x="31846" y="19983"/>
                  </a:lnTo>
                  <a:lnTo>
                    <a:pt x="31846" y="20024"/>
                  </a:lnTo>
                  <a:lnTo>
                    <a:pt x="31763" y="20004"/>
                  </a:lnTo>
                  <a:lnTo>
                    <a:pt x="31595" y="20129"/>
                  </a:lnTo>
                  <a:lnTo>
                    <a:pt x="31512" y="20108"/>
                  </a:lnTo>
                  <a:lnTo>
                    <a:pt x="31512" y="20004"/>
                  </a:lnTo>
                  <a:lnTo>
                    <a:pt x="31679" y="19983"/>
                  </a:lnTo>
                  <a:lnTo>
                    <a:pt x="31930" y="19752"/>
                  </a:lnTo>
                  <a:lnTo>
                    <a:pt x="31909" y="19711"/>
                  </a:lnTo>
                  <a:lnTo>
                    <a:pt x="31805" y="19711"/>
                  </a:lnTo>
                  <a:lnTo>
                    <a:pt x="31763" y="19648"/>
                  </a:lnTo>
                  <a:lnTo>
                    <a:pt x="31721" y="19690"/>
                  </a:lnTo>
                  <a:lnTo>
                    <a:pt x="31553" y="19460"/>
                  </a:lnTo>
                  <a:lnTo>
                    <a:pt x="31386" y="19439"/>
                  </a:lnTo>
                  <a:lnTo>
                    <a:pt x="31240" y="19585"/>
                  </a:lnTo>
                  <a:lnTo>
                    <a:pt x="31135" y="19564"/>
                  </a:lnTo>
                  <a:lnTo>
                    <a:pt x="31030" y="19397"/>
                  </a:lnTo>
                  <a:lnTo>
                    <a:pt x="30884" y="19439"/>
                  </a:lnTo>
                  <a:lnTo>
                    <a:pt x="30779" y="19501"/>
                  </a:lnTo>
                  <a:lnTo>
                    <a:pt x="30737" y="19606"/>
                  </a:lnTo>
                  <a:lnTo>
                    <a:pt x="30758" y="19480"/>
                  </a:lnTo>
                  <a:lnTo>
                    <a:pt x="30884" y="19376"/>
                  </a:lnTo>
                  <a:lnTo>
                    <a:pt x="30968" y="19376"/>
                  </a:lnTo>
                  <a:lnTo>
                    <a:pt x="31051" y="19334"/>
                  </a:lnTo>
                  <a:lnTo>
                    <a:pt x="31177" y="19376"/>
                  </a:lnTo>
                  <a:lnTo>
                    <a:pt x="31281" y="19355"/>
                  </a:lnTo>
                  <a:lnTo>
                    <a:pt x="31281" y="19250"/>
                  </a:lnTo>
                  <a:lnTo>
                    <a:pt x="31323" y="19188"/>
                  </a:lnTo>
                  <a:lnTo>
                    <a:pt x="31407" y="19188"/>
                  </a:lnTo>
                  <a:lnTo>
                    <a:pt x="31553" y="19041"/>
                  </a:lnTo>
                  <a:lnTo>
                    <a:pt x="31700" y="19020"/>
                  </a:lnTo>
                  <a:lnTo>
                    <a:pt x="31700" y="18936"/>
                  </a:lnTo>
                  <a:lnTo>
                    <a:pt x="31574" y="18727"/>
                  </a:lnTo>
                  <a:lnTo>
                    <a:pt x="31281" y="18539"/>
                  </a:lnTo>
                  <a:lnTo>
                    <a:pt x="31072" y="18413"/>
                  </a:lnTo>
                  <a:lnTo>
                    <a:pt x="30842" y="18204"/>
                  </a:lnTo>
                  <a:lnTo>
                    <a:pt x="30737" y="18204"/>
                  </a:lnTo>
                  <a:lnTo>
                    <a:pt x="30549" y="18330"/>
                  </a:lnTo>
                  <a:lnTo>
                    <a:pt x="30445" y="18309"/>
                  </a:lnTo>
                  <a:lnTo>
                    <a:pt x="30319" y="18183"/>
                  </a:lnTo>
                  <a:lnTo>
                    <a:pt x="30319" y="18099"/>
                  </a:lnTo>
                  <a:lnTo>
                    <a:pt x="30235" y="18079"/>
                  </a:lnTo>
                  <a:lnTo>
                    <a:pt x="30110" y="18120"/>
                  </a:lnTo>
                  <a:lnTo>
                    <a:pt x="29984" y="18120"/>
                  </a:lnTo>
                  <a:lnTo>
                    <a:pt x="29838" y="18141"/>
                  </a:lnTo>
                  <a:lnTo>
                    <a:pt x="29691" y="18351"/>
                  </a:lnTo>
                  <a:lnTo>
                    <a:pt x="29817" y="18099"/>
                  </a:lnTo>
                  <a:lnTo>
                    <a:pt x="29921" y="18037"/>
                  </a:lnTo>
                  <a:lnTo>
                    <a:pt x="29984" y="18079"/>
                  </a:lnTo>
                  <a:lnTo>
                    <a:pt x="30047" y="18079"/>
                  </a:lnTo>
                  <a:lnTo>
                    <a:pt x="30089" y="18016"/>
                  </a:lnTo>
                  <a:lnTo>
                    <a:pt x="30193" y="18079"/>
                  </a:lnTo>
                  <a:lnTo>
                    <a:pt x="30340" y="17995"/>
                  </a:lnTo>
                  <a:lnTo>
                    <a:pt x="30403" y="18183"/>
                  </a:lnTo>
                  <a:lnTo>
                    <a:pt x="30465" y="18225"/>
                  </a:lnTo>
                  <a:lnTo>
                    <a:pt x="30570" y="18225"/>
                  </a:lnTo>
                  <a:lnTo>
                    <a:pt x="30654" y="18120"/>
                  </a:lnTo>
                  <a:lnTo>
                    <a:pt x="30842" y="18141"/>
                  </a:lnTo>
                  <a:lnTo>
                    <a:pt x="30968" y="18246"/>
                  </a:lnTo>
                  <a:lnTo>
                    <a:pt x="31051" y="18246"/>
                  </a:lnTo>
                  <a:lnTo>
                    <a:pt x="31177" y="18351"/>
                  </a:lnTo>
                  <a:lnTo>
                    <a:pt x="31323" y="18288"/>
                  </a:lnTo>
                  <a:lnTo>
                    <a:pt x="31574" y="18351"/>
                  </a:lnTo>
                  <a:lnTo>
                    <a:pt x="31658" y="18330"/>
                  </a:lnTo>
                  <a:lnTo>
                    <a:pt x="31553" y="18141"/>
                  </a:lnTo>
                  <a:lnTo>
                    <a:pt x="31491" y="18120"/>
                  </a:lnTo>
                  <a:lnTo>
                    <a:pt x="31323" y="17974"/>
                  </a:lnTo>
                  <a:lnTo>
                    <a:pt x="31323" y="17911"/>
                  </a:lnTo>
                  <a:lnTo>
                    <a:pt x="31281" y="17869"/>
                  </a:lnTo>
                  <a:lnTo>
                    <a:pt x="31177" y="17890"/>
                  </a:lnTo>
                  <a:lnTo>
                    <a:pt x="31051" y="17827"/>
                  </a:lnTo>
                  <a:lnTo>
                    <a:pt x="30884" y="17597"/>
                  </a:lnTo>
                  <a:lnTo>
                    <a:pt x="30884" y="17451"/>
                  </a:lnTo>
                  <a:lnTo>
                    <a:pt x="30675" y="17283"/>
                  </a:lnTo>
                  <a:lnTo>
                    <a:pt x="30675" y="17095"/>
                  </a:lnTo>
                  <a:lnTo>
                    <a:pt x="30549" y="17074"/>
                  </a:lnTo>
                  <a:lnTo>
                    <a:pt x="30612" y="16949"/>
                  </a:lnTo>
                  <a:lnTo>
                    <a:pt x="30570" y="16928"/>
                  </a:lnTo>
                  <a:lnTo>
                    <a:pt x="30403" y="16572"/>
                  </a:lnTo>
                  <a:lnTo>
                    <a:pt x="30089" y="16405"/>
                  </a:lnTo>
                  <a:lnTo>
                    <a:pt x="30005" y="16447"/>
                  </a:lnTo>
                  <a:lnTo>
                    <a:pt x="30005" y="16363"/>
                  </a:lnTo>
                  <a:lnTo>
                    <a:pt x="29712" y="16237"/>
                  </a:lnTo>
                  <a:lnTo>
                    <a:pt x="29670" y="16237"/>
                  </a:lnTo>
                  <a:lnTo>
                    <a:pt x="29670" y="15944"/>
                  </a:lnTo>
                  <a:lnTo>
                    <a:pt x="29712" y="15735"/>
                  </a:lnTo>
                  <a:lnTo>
                    <a:pt x="29670" y="15610"/>
                  </a:lnTo>
                  <a:lnTo>
                    <a:pt x="29691" y="15463"/>
                  </a:lnTo>
                  <a:lnTo>
                    <a:pt x="29712" y="15484"/>
                  </a:lnTo>
                  <a:lnTo>
                    <a:pt x="29817" y="15463"/>
                  </a:lnTo>
                  <a:lnTo>
                    <a:pt x="29921" y="15296"/>
                  </a:lnTo>
                  <a:lnTo>
                    <a:pt x="29984" y="15317"/>
                  </a:lnTo>
                  <a:lnTo>
                    <a:pt x="30089" y="15191"/>
                  </a:lnTo>
                  <a:lnTo>
                    <a:pt x="29984" y="15149"/>
                  </a:lnTo>
                  <a:lnTo>
                    <a:pt x="29921" y="15066"/>
                  </a:lnTo>
                  <a:lnTo>
                    <a:pt x="30005" y="14961"/>
                  </a:lnTo>
                  <a:lnTo>
                    <a:pt x="30193" y="14982"/>
                  </a:lnTo>
                  <a:lnTo>
                    <a:pt x="30193" y="14856"/>
                  </a:lnTo>
                  <a:lnTo>
                    <a:pt x="30319" y="14835"/>
                  </a:lnTo>
                  <a:lnTo>
                    <a:pt x="30319" y="14731"/>
                  </a:lnTo>
                  <a:lnTo>
                    <a:pt x="30193" y="14647"/>
                  </a:lnTo>
                  <a:lnTo>
                    <a:pt x="30319" y="14647"/>
                  </a:lnTo>
                  <a:lnTo>
                    <a:pt x="30424" y="14689"/>
                  </a:lnTo>
                  <a:lnTo>
                    <a:pt x="30445" y="14647"/>
                  </a:lnTo>
                  <a:lnTo>
                    <a:pt x="30549" y="14647"/>
                  </a:lnTo>
                  <a:lnTo>
                    <a:pt x="30654" y="14563"/>
                  </a:lnTo>
                  <a:lnTo>
                    <a:pt x="30717" y="14563"/>
                  </a:lnTo>
                  <a:lnTo>
                    <a:pt x="30842" y="14375"/>
                  </a:lnTo>
                  <a:lnTo>
                    <a:pt x="30884" y="14459"/>
                  </a:lnTo>
                  <a:lnTo>
                    <a:pt x="30947" y="14417"/>
                  </a:lnTo>
                  <a:lnTo>
                    <a:pt x="30947" y="14459"/>
                  </a:lnTo>
                  <a:lnTo>
                    <a:pt x="31093" y="14563"/>
                  </a:lnTo>
                  <a:lnTo>
                    <a:pt x="31240" y="14438"/>
                  </a:lnTo>
                  <a:lnTo>
                    <a:pt x="31240" y="14375"/>
                  </a:lnTo>
                  <a:lnTo>
                    <a:pt x="31156" y="14354"/>
                  </a:lnTo>
                  <a:lnTo>
                    <a:pt x="31135" y="14250"/>
                  </a:lnTo>
                  <a:lnTo>
                    <a:pt x="31198" y="14208"/>
                  </a:lnTo>
                  <a:lnTo>
                    <a:pt x="31261" y="14208"/>
                  </a:lnTo>
                  <a:lnTo>
                    <a:pt x="31177" y="14061"/>
                  </a:lnTo>
                  <a:lnTo>
                    <a:pt x="31177" y="13998"/>
                  </a:lnTo>
                  <a:lnTo>
                    <a:pt x="31302" y="13957"/>
                  </a:lnTo>
                  <a:lnTo>
                    <a:pt x="31240" y="13936"/>
                  </a:lnTo>
                  <a:lnTo>
                    <a:pt x="31093" y="13957"/>
                  </a:lnTo>
                  <a:lnTo>
                    <a:pt x="30947" y="13957"/>
                  </a:lnTo>
                  <a:lnTo>
                    <a:pt x="30947" y="13915"/>
                  </a:lnTo>
                  <a:lnTo>
                    <a:pt x="30800" y="13915"/>
                  </a:lnTo>
                  <a:lnTo>
                    <a:pt x="30758" y="13957"/>
                  </a:lnTo>
                  <a:lnTo>
                    <a:pt x="30403" y="13998"/>
                  </a:lnTo>
                  <a:lnTo>
                    <a:pt x="30319" y="13915"/>
                  </a:lnTo>
                  <a:lnTo>
                    <a:pt x="30256" y="13894"/>
                  </a:lnTo>
                  <a:lnTo>
                    <a:pt x="30193" y="13789"/>
                  </a:lnTo>
                  <a:lnTo>
                    <a:pt x="30131" y="13747"/>
                  </a:lnTo>
                  <a:lnTo>
                    <a:pt x="30089" y="13706"/>
                  </a:lnTo>
                  <a:lnTo>
                    <a:pt x="29817" y="13831"/>
                  </a:lnTo>
                  <a:lnTo>
                    <a:pt x="29691" y="13831"/>
                  </a:lnTo>
                  <a:lnTo>
                    <a:pt x="29733" y="13894"/>
                  </a:lnTo>
                  <a:lnTo>
                    <a:pt x="29733" y="13998"/>
                  </a:lnTo>
                  <a:lnTo>
                    <a:pt x="29670" y="14040"/>
                  </a:lnTo>
                  <a:lnTo>
                    <a:pt x="29503" y="14103"/>
                  </a:lnTo>
                  <a:lnTo>
                    <a:pt x="29524" y="14124"/>
                  </a:lnTo>
                  <a:lnTo>
                    <a:pt x="29587" y="14208"/>
                  </a:lnTo>
                  <a:lnTo>
                    <a:pt x="29524" y="14312"/>
                  </a:lnTo>
                  <a:lnTo>
                    <a:pt x="29482" y="14354"/>
                  </a:lnTo>
                  <a:lnTo>
                    <a:pt x="29357" y="14312"/>
                  </a:lnTo>
                  <a:lnTo>
                    <a:pt x="29231" y="14375"/>
                  </a:lnTo>
                  <a:lnTo>
                    <a:pt x="29085" y="14354"/>
                  </a:lnTo>
                  <a:lnTo>
                    <a:pt x="28938" y="14061"/>
                  </a:lnTo>
                  <a:lnTo>
                    <a:pt x="28938" y="13915"/>
                  </a:lnTo>
                  <a:lnTo>
                    <a:pt x="28896" y="13810"/>
                  </a:lnTo>
                  <a:lnTo>
                    <a:pt x="28750" y="13810"/>
                  </a:lnTo>
                  <a:lnTo>
                    <a:pt x="28687" y="13831"/>
                  </a:lnTo>
                  <a:lnTo>
                    <a:pt x="28687" y="13789"/>
                  </a:lnTo>
                  <a:lnTo>
                    <a:pt x="28624" y="13789"/>
                  </a:lnTo>
                  <a:lnTo>
                    <a:pt x="28561" y="13852"/>
                  </a:lnTo>
                  <a:lnTo>
                    <a:pt x="28540" y="13789"/>
                  </a:lnTo>
                  <a:lnTo>
                    <a:pt x="28540" y="13831"/>
                  </a:lnTo>
                  <a:lnTo>
                    <a:pt x="28436" y="13706"/>
                  </a:lnTo>
                  <a:lnTo>
                    <a:pt x="28436" y="13622"/>
                  </a:lnTo>
                  <a:lnTo>
                    <a:pt x="28227" y="13496"/>
                  </a:lnTo>
                  <a:lnTo>
                    <a:pt x="28122" y="13413"/>
                  </a:lnTo>
                  <a:lnTo>
                    <a:pt x="28101" y="13287"/>
                  </a:lnTo>
                  <a:lnTo>
                    <a:pt x="28038" y="13162"/>
                  </a:lnTo>
                  <a:lnTo>
                    <a:pt x="28101" y="13099"/>
                  </a:lnTo>
                  <a:lnTo>
                    <a:pt x="28101" y="13057"/>
                  </a:lnTo>
                  <a:lnTo>
                    <a:pt x="28101" y="12994"/>
                  </a:lnTo>
                  <a:lnTo>
                    <a:pt x="28122" y="12869"/>
                  </a:lnTo>
                  <a:lnTo>
                    <a:pt x="28164" y="12806"/>
                  </a:lnTo>
                  <a:lnTo>
                    <a:pt x="28185" y="12764"/>
                  </a:lnTo>
                  <a:lnTo>
                    <a:pt x="28415" y="12848"/>
                  </a:lnTo>
                  <a:lnTo>
                    <a:pt x="28750" y="12848"/>
                  </a:lnTo>
                  <a:lnTo>
                    <a:pt x="28792" y="12701"/>
                  </a:lnTo>
                  <a:lnTo>
                    <a:pt x="28771" y="12659"/>
                  </a:lnTo>
                  <a:lnTo>
                    <a:pt x="28854" y="12659"/>
                  </a:lnTo>
                  <a:lnTo>
                    <a:pt x="28833" y="12492"/>
                  </a:lnTo>
                  <a:lnTo>
                    <a:pt x="28792" y="12471"/>
                  </a:lnTo>
                  <a:lnTo>
                    <a:pt x="28854" y="12429"/>
                  </a:lnTo>
                  <a:lnTo>
                    <a:pt x="28896" y="12136"/>
                  </a:lnTo>
                  <a:lnTo>
                    <a:pt x="29105" y="12011"/>
                  </a:lnTo>
                  <a:lnTo>
                    <a:pt x="29210" y="12011"/>
                  </a:lnTo>
                  <a:lnTo>
                    <a:pt x="29315" y="11843"/>
                  </a:lnTo>
                  <a:lnTo>
                    <a:pt x="29377" y="11843"/>
                  </a:lnTo>
                  <a:lnTo>
                    <a:pt x="29398" y="11613"/>
                  </a:lnTo>
                  <a:lnTo>
                    <a:pt x="29503" y="11488"/>
                  </a:lnTo>
                  <a:lnTo>
                    <a:pt x="29524" y="11341"/>
                  </a:lnTo>
                  <a:lnTo>
                    <a:pt x="29587" y="11320"/>
                  </a:lnTo>
                  <a:lnTo>
                    <a:pt x="29670" y="11195"/>
                  </a:lnTo>
                  <a:lnTo>
                    <a:pt x="29796" y="11195"/>
                  </a:lnTo>
                  <a:lnTo>
                    <a:pt x="29838" y="11216"/>
                  </a:lnTo>
                  <a:lnTo>
                    <a:pt x="29942" y="11216"/>
                  </a:lnTo>
                  <a:lnTo>
                    <a:pt x="29984" y="11111"/>
                  </a:lnTo>
                  <a:lnTo>
                    <a:pt x="30152" y="11320"/>
                  </a:lnTo>
                  <a:lnTo>
                    <a:pt x="30424" y="11488"/>
                  </a:lnTo>
                  <a:lnTo>
                    <a:pt x="30424" y="11592"/>
                  </a:lnTo>
                  <a:lnTo>
                    <a:pt x="30361" y="11613"/>
                  </a:lnTo>
                  <a:lnTo>
                    <a:pt x="30340" y="11697"/>
                  </a:lnTo>
                  <a:lnTo>
                    <a:pt x="30214" y="11843"/>
                  </a:lnTo>
                  <a:lnTo>
                    <a:pt x="30193" y="12011"/>
                  </a:lnTo>
                  <a:lnTo>
                    <a:pt x="30089" y="12011"/>
                  </a:lnTo>
                  <a:lnTo>
                    <a:pt x="30110" y="12032"/>
                  </a:lnTo>
                  <a:lnTo>
                    <a:pt x="30089" y="12178"/>
                  </a:lnTo>
                  <a:lnTo>
                    <a:pt x="30214" y="12325"/>
                  </a:lnTo>
                  <a:lnTo>
                    <a:pt x="30193" y="12387"/>
                  </a:lnTo>
                  <a:lnTo>
                    <a:pt x="30131" y="12429"/>
                  </a:lnTo>
                  <a:lnTo>
                    <a:pt x="30131" y="12471"/>
                  </a:lnTo>
                  <a:lnTo>
                    <a:pt x="30193" y="12555"/>
                  </a:lnTo>
                  <a:lnTo>
                    <a:pt x="30319" y="12492"/>
                  </a:lnTo>
                  <a:lnTo>
                    <a:pt x="30445" y="12387"/>
                  </a:lnTo>
                  <a:lnTo>
                    <a:pt x="30403" y="12492"/>
                  </a:lnTo>
                  <a:lnTo>
                    <a:pt x="30277" y="12576"/>
                  </a:lnTo>
                  <a:lnTo>
                    <a:pt x="30319" y="12638"/>
                  </a:lnTo>
                  <a:lnTo>
                    <a:pt x="30361" y="12659"/>
                  </a:lnTo>
                  <a:lnTo>
                    <a:pt x="30361" y="12701"/>
                  </a:lnTo>
                  <a:lnTo>
                    <a:pt x="30319" y="12743"/>
                  </a:lnTo>
                  <a:lnTo>
                    <a:pt x="30193" y="12743"/>
                  </a:lnTo>
                  <a:lnTo>
                    <a:pt x="30131" y="12806"/>
                  </a:lnTo>
                  <a:lnTo>
                    <a:pt x="30026" y="12806"/>
                  </a:lnTo>
                  <a:lnTo>
                    <a:pt x="29984" y="12890"/>
                  </a:lnTo>
                  <a:lnTo>
                    <a:pt x="30089" y="12973"/>
                  </a:lnTo>
                  <a:lnTo>
                    <a:pt x="30089" y="13057"/>
                  </a:lnTo>
                  <a:lnTo>
                    <a:pt x="30152" y="13057"/>
                  </a:lnTo>
                  <a:lnTo>
                    <a:pt x="30235" y="12952"/>
                  </a:lnTo>
                  <a:lnTo>
                    <a:pt x="30277" y="12952"/>
                  </a:lnTo>
                  <a:lnTo>
                    <a:pt x="30403" y="12806"/>
                  </a:lnTo>
                  <a:lnTo>
                    <a:pt x="30549" y="12743"/>
                  </a:lnTo>
                  <a:lnTo>
                    <a:pt x="30570" y="12701"/>
                  </a:lnTo>
                  <a:lnTo>
                    <a:pt x="30528" y="12576"/>
                  </a:lnTo>
                  <a:lnTo>
                    <a:pt x="30654" y="12471"/>
                  </a:lnTo>
                  <a:lnTo>
                    <a:pt x="30926" y="12283"/>
                  </a:lnTo>
                  <a:lnTo>
                    <a:pt x="30989" y="12283"/>
                  </a:lnTo>
                  <a:lnTo>
                    <a:pt x="31030" y="12178"/>
                  </a:lnTo>
                  <a:lnTo>
                    <a:pt x="31156" y="12178"/>
                  </a:lnTo>
                  <a:lnTo>
                    <a:pt x="31302" y="12053"/>
                  </a:lnTo>
                  <a:lnTo>
                    <a:pt x="31365" y="12115"/>
                  </a:lnTo>
                  <a:lnTo>
                    <a:pt x="31407" y="12115"/>
                  </a:lnTo>
                  <a:lnTo>
                    <a:pt x="31553" y="12073"/>
                  </a:lnTo>
                  <a:lnTo>
                    <a:pt x="31721" y="11906"/>
                  </a:lnTo>
                  <a:lnTo>
                    <a:pt x="31763" y="12011"/>
                  </a:lnTo>
                  <a:lnTo>
                    <a:pt x="31763" y="11655"/>
                  </a:lnTo>
                  <a:lnTo>
                    <a:pt x="31909" y="11550"/>
                  </a:lnTo>
                  <a:lnTo>
                    <a:pt x="31972" y="11404"/>
                  </a:lnTo>
                  <a:lnTo>
                    <a:pt x="31972" y="11299"/>
                  </a:lnTo>
                  <a:lnTo>
                    <a:pt x="32118" y="11195"/>
                  </a:lnTo>
                  <a:lnTo>
                    <a:pt x="32223" y="11006"/>
                  </a:lnTo>
                  <a:lnTo>
                    <a:pt x="32328" y="10965"/>
                  </a:lnTo>
                  <a:lnTo>
                    <a:pt x="32411" y="10672"/>
                  </a:lnTo>
                  <a:lnTo>
                    <a:pt x="32453" y="10567"/>
                  </a:lnTo>
                  <a:lnTo>
                    <a:pt x="32453" y="10504"/>
                  </a:lnTo>
                  <a:lnTo>
                    <a:pt x="32453" y="10337"/>
                  </a:lnTo>
                  <a:lnTo>
                    <a:pt x="32600" y="10190"/>
                  </a:lnTo>
                  <a:lnTo>
                    <a:pt x="32704" y="10358"/>
                  </a:lnTo>
                  <a:lnTo>
                    <a:pt x="32767" y="10400"/>
                  </a:lnTo>
                  <a:lnTo>
                    <a:pt x="32851" y="10483"/>
                  </a:lnTo>
                  <a:lnTo>
                    <a:pt x="32955" y="10441"/>
                  </a:lnTo>
                  <a:lnTo>
                    <a:pt x="33081" y="10483"/>
                  </a:lnTo>
                  <a:lnTo>
                    <a:pt x="33332" y="10462"/>
                  </a:lnTo>
                  <a:lnTo>
                    <a:pt x="33478" y="10483"/>
                  </a:lnTo>
                  <a:lnTo>
                    <a:pt x="33541" y="10337"/>
                  </a:lnTo>
                  <a:lnTo>
                    <a:pt x="33541" y="10253"/>
                  </a:lnTo>
                  <a:lnTo>
                    <a:pt x="33395" y="10128"/>
                  </a:lnTo>
                  <a:lnTo>
                    <a:pt x="33290" y="10044"/>
                  </a:lnTo>
                  <a:lnTo>
                    <a:pt x="33374" y="9960"/>
                  </a:lnTo>
                  <a:lnTo>
                    <a:pt x="33499" y="9960"/>
                  </a:lnTo>
                  <a:lnTo>
                    <a:pt x="33750" y="9772"/>
                  </a:lnTo>
                  <a:lnTo>
                    <a:pt x="33750" y="9646"/>
                  </a:lnTo>
                  <a:lnTo>
                    <a:pt x="33855" y="9521"/>
                  </a:lnTo>
                  <a:lnTo>
                    <a:pt x="33939" y="9521"/>
                  </a:lnTo>
                  <a:lnTo>
                    <a:pt x="34002" y="9416"/>
                  </a:lnTo>
                  <a:lnTo>
                    <a:pt x="33939" y="9312"/>
                  </a:lnTo>
                  <a:lnTo>
                    <a:pt x="33939" y="9207"/>
                  </a:lnTo>
                  <a:lnTo>
                    <a:pt x="33939" y="9081"/>
                  </a:lnTo>
                  <a:lnTo>
                    <a:pt x="34022" y="9040"/>
                  </a:lnTo>
                  <a:lnTo>
                    <a:pt x="34127" y="9123"/>
                  </a:lnTo>
                  <a:lnTo>
                    <a:pt x="34127" y="9228"/>
                  </a:lnTo>
                  <a:lnTo>
                    <a:pt x="34190" y="9312"/>
                  </a:lnTo>
                  <a:lnTo>
                    <a:pt x="34378" y="9332"/>
                  </a:lnTo>
                  <a:lnTo>
                    <a:pt x="34399" y="9395"/>
                  </a:lnTo>
                  <a:lnTo>
                    <a:pt x="34399" y="9353"/>
                  </a:lnTo>
                  <a:lnTo>
                    <a:pt x="34399" y="9291"/>
                  </a:lnTo>
                  <a:lnTo>
                    <a:pt x="34378" y="9249"/>
                  </a:lnTo>
                  <a:lnTo>
                    <a:pt x="34336" y="9144"/>
                  </a:lnTo>
                  <a:lnTo>
                    <a:pt x="34336" y="9123"/>
                  </a:lnTo>
                  <a:lnTo>
                    <a:pt x="34420" y="9081"/>
                  </a:lnTo>
                  <a:lnTo>
                    <a:pt x="34546" y="9102"/>
                  </a:lnTo>
                  <a:lnTo>
                    <a:pt x="34608" y="9081"/>
                  </a:lnTo>
                  <a:lnTo>
                    <a:pt x="34608" y="8977"/>
                  </a:lnTo>
                  <a:lnTo>
                    <a:pt x="34587" y="8914"/>
                  </a:lnTo>
                  <a:lnTo>
                    <a:pt x="34587" y="8830"/>
                  </a:lnTo>
                  <a:lnTo>
                    <a:pt x="34608" y="8788"/>
                  </a:lnTo>
                  <a:lnTo>
                    <a:pt x="34608" y="8684"/>
                  </a:lnTo>
                  <a:lnTo>
                    <a:pt x="34608" y="8579"/>
                  </a:lnTo>
                  <a:lnTo>
                    <a:pt x="34525" y="8516"/>
                  </a:lnTo>
                  <a:lnTo>
                    <a:pt x="34525" y="8349"/>
                  </a:lnTo>
                  <a:lnTo>
                    <a:pt x="34525" y="8244"/>
                  </a:lnTo>
                  <a:lnTo>
                    <a:pt x="34504" y="8098"/>
                  </a:lnTo>
                  <a:lnTo>
                    <a:pt x="34504" y="7993"/>
                  </a:lnTo>
                  <a:lnTo>
                    <a:pt x="34441" y="7889"/>
                  </a:lnTo>
                  <a:lnTo>
                    <a:pt x="34399" y="7826"/>
                  </a:lnTo>
                  <a:lnTo>
                    <a:pt x="34378" y="7742"/>
                  </a:lnTo>
                  <a:lnTo>
                    <a:pt x="34232" y="7533"/>
                  </a:lnTo>
                  <a:lnTo>
                    <a:pt x="34190" y="7428"/>
                  </a:lnTo>
                  <a:lnTo>
                    <a:pt x="34211" y="7366"/>
                  </a:lnTo>
                  <a:lnTo>
                    <a:pt x="34294" y="7345"/>
                  </a:lnTo>
                  <a:lnTo>
                    <a:pt x="34378" y="7324"/>
                  </a:lnTo>
                  <a:lnTo>
                    <a:pt x="34420" y="7261"/>
                  </a:lnTo>
                  <a:lnTo>
                    <a:pt x="34441" y="7198"/>
                  </a:lnTo>
                  <a:lnTo>
                    <a:pt x="34546" y="7010"/>
                  </a:lnTo>
                  <a:lnTo>
                    <a:pt x="34587" y="7010"/>
                  </a:lnTo>
                  <a:lnTo>
                    <a:pt x="34692" y="7031"/>
                  </a:lnTo>
                  <a:lnTo>
                    <a:pt x="34755" y="7052"/>
                  </a:lnTo>
                  <a:lnTo>
                    <a:pt x="35131" y="7115"/>
                  </a:lnTo>
                  <a:lnTo>
                    <a:pt x="35173" y="7136"/>
                  </a:lnTo>
                  <a:lnTo>
                    <a:pt x="35236" y="7136"/>
                  </a:lnTo>
                  <a:lnTo>
                    <a:pt x="35278" y="7094"/>
                  </a:lnTo>
                  <a:lnTo>
                    <a:pt x="35257" y="7010"/>
                  </a:lnTo>
                  <a:lnTo>
                    <a:pt x="35236" y="6926"/>
                  </a:lnTo>
                  <a:lnTo>
                    <a:pt x="35236" y="6884"/>
                  </a:lnTo>
                  <a:lnTo>
                    <a:pt x="35257" y="6822"/>
                  </a:lnTo>
                  <a:lnTo>
                    <a:pt x="35236" y="6780"/>
                  </a:lnTo>
                  <a:lnTo>
                    <a:pt x="35215" y="6696"/>
                  </a:lnTo>
                  <a:lnTo>
                    <a:pt x="35257" y="6591"/>
                  </a:lnTo>
                  <a:lnTo>
                    <a:pt x="35320" y="6571"/>
                  </a:lnTo>
                  <a:lnTo>
                    <a:pt x="35278" y="6466"/>
                  </a:lnTo>
                  <a:lnTo>
                    <a:pt x="35257" y="6403"/>
                  </a:lnTo>
                  <a:lnTo>
                    <a:pt x="35257" y="6382"/>
                  </a:lnTo>
                  <a:lnTo>
                    <a:pt x="35341" y="6319"/>
                  </a:lnTo>
                  <a:lnTo>
                    <a:pt x="35320" y="6278"/>
                  </a:lnTo>
                  <a:lnTo>
                    <a:pt x="35320" y="6215"/>
                  </a:lnTo>
                  <a:lnTo>
                    <a:pt x="35278" y="6152"/>
                  </a:lnTo>
                  <a:lnTo>
                    <a:pt x="35320" y="6068"/>
                  </a:lnTo>
                  <a:lnTo>
                    <a:pt x="35362" y="6047"/>
                  </a:lnTo>
                  <a:lnTo>
                    <a:pt x="35362" y="5985"/>
                  </a:lnTo>
                  <a:lnTo>
                    <a:pt x="35341" y="5943"/>
                  </a:lnTo>
                  <a:lnTo>
                    <a:pt x="35278" y="5796"/>
                  </a:lnTo>
                  <a:lnTo>
                    <a:pt x="35278" y="5671"/>
                  </a:lnTo>
                  <a:lnTo>
                    <a:pt x="35320" y="5650"/>
                  </a:lnTo>
                  <a:lnTo>
                    <a:pt x="35341" y="5629"/>
                  </a:lnTo>
                  <a:lnTo>
                    <a:pt x="35341" y="5587"/>
                  </a:lnTo>
                  <a:lnTo>
                    <a:pt x="35320" y="5545"/>
                  </a:lnTo>
                  <a:lnTo>
                    <a:pt x="35320" y="5483"/>
                  </a:lnTo>
                  <a:lnTo>
                    <a:pt x="35257" y="5441"/>
                  </a:lnTo>
                  <a:lnTo>
                    <a:pt x="35236" y="5378"/>
                  </a:lnTo>
                  <a:lnTo>
                    <a:pt x="35257" y="5315"/>
                  </a:lnTo>
                  <a:lnTo>
                    <a:pt x="35257" y="5231"/>
                  </a:lnTo>
                  <a:lnTo>
                    <a:pt x="35236" y="5169"/>
                  </a:lnTo>
                  <a:lnTo>
                    <a:pt x="35173" y="5127"/>
                  </a:lnTo>
                  <a:lnTo>
                    <a:pt x="35173" y="5064"/>
                  </a:lnTo>
                  <a:lnTo>
                    <a:pt x="35257" y="4959"/>
                  </a:lnTo>
                  <a:lnTo>
                    <a:pt x="35362" y="4939"/>
                  </a:lnTo>
                  <a:lnTo>
                    <a:pt x="35383" y="4918"/>
                  </a:lnTo>
                  <a:lnTo>
                    <a:pt x="35383" y="4813"/>
                  </a:lnTo>
                  <a:lnTo>
                    <a:pt x="35424" y="4687"/>
                  </a:lnTo>
                  <a:lnTo>
                    <a:pt x="35341" y="4646"/>
                  </a:lnTo>
                  <a:lnTo>
                    <a:pt x="35278" y="4583"/>
                  </a:lnTo>
                  <a:lnTo>
                    <a:pt x="35257" y="4499"/>
                  </a:lnTo>
                  <a:lnTo>
                    <a:pt x="35173" y="4395"/>
                  </a:lnTo>
                  <a:lnTo>
                    <a:pt x="35152" y="4332"/>
                  </a:lnTo>
                  <a:lnTo>
                    <a:pt x="35215" y="4290"/>
                  </a:lnTo>
                  <a:lnTo>
                    <a:pt x="35152" y="4185"/>
                  </a:lnTo>
                  <a:lnTo>
                    <a:pt x="35131" y="4123"/>
                  </a:lnTo>
                  <a:lnTo>
                    <a:pt x="35027" y="4102"/>
                  </a:lnTo>
                  <a:lnTo>
                    <a:pt x="34964" y="4081"/>
                  </a:lnTo>
                  <a:lnTo>
                    <a:pt x="34859" y="4018"/>
                  </a:lnTo>
                  <a:lnTo>
                    <a:pt x="34797" y="4081"/>
                  </a:lnTo>
                  <a:lnTo>
                    <a:pt x="34713" y="4102"/>
                  </a:lnTo>
                  <a:lnTo>
                    <a:pt x="34629" y="4143"/>
                  </a:lnTo>
                  <a:lnTo>
                    <a:pt x="34629" y="4227"/>
                  </a:lnTo>
                  <a:lnTo>
                    <a:pt x="34587" y="4269"/>
                  </a:lnTo>
                  <a:lnTo>
                    <a:pt x="34504" y="4269"/>
                  </a:lnTo>
                  <a:lnTo>
                    <a:pt x="34483" y="4395"/>
                  </a:lnTo>
                  <a:lnTo>
                    <a:pt x="34294" y="4395"/>
                  </a:lnTo>
                  <a:lnTo>
                    <a:pt x="34232" y="4478"/>
                  </a:lnTo>
                  <a:lnTo>
                    <a:pt x="34232" y="4583"/>
                  </a:lnTo>
                  <a:lnTo>
                    <a:pt x="34190" y="4604"/>
                  </a:lnTo>
                  <a:lnTo>
                    <a:pt x="34169" y="4729"/>
                  </a:lnTo>
                  <a:lnTo>
                    <a:pt x="34169" y="4792"/>
                  </a:lnTo>
                  <a:lnTo>
                    <a:pt x="34106" y="4813"/>
                  </a:lnTo>
                  <a:lnTo>
                    <a:pt x="34022" y="4897"/>
                  </a:lnTo>
                  <a:lnTo>
                    <a:pt x="33876" y="4918"/>
                  </a:lnTo>
                  <a:lnTo>
                    <a:pt x="33709" y="4918"/>
                  </a:lnTo>
                  <a:lnTo>
                    <a:pt x="33667" y="4939"/>
                  </a:lnTo>
                  <a:lnTo>
                    <a:pt x="33604" y="5001"/>
                  </a:lnTo>
                  <a:lnTo>
                    <a:pt x="33583" y="4918"/>
                  </a:lnTo>
                  <a:lnTo>
                    <a:pt x="33541" y="4834"/>
                  </a:lnTo>
                  <a:lnTo>
                    <a:pt x="33458" y="4834"/>
                  </a:lnTo>
                  <a:lnTo>
                    <a:pt x="33374" y="4897"/>
                  </a:lnTo>
                  <a:lnTo>
                    <a:pt x="33269" y="4918"/>
                  </a:lnTo>
                  <a:lnTo>
                    <a:pt x="33248" y="4834"/>
                  </a:lnTo>
                  <a:lnTo>
                    <a:pt x="33165" y="4729"/>
                  </a:lnTo>
                  <a:lnTo>
                    <a:pt x="33123" y="4708"/>
                  </a:lnTo>
                  <a:lnTo>
                    <a:pt x="32976" y="4583"/>
                  </a:lnTo>
                  <a:lnTo>
                    <a:pt x="32976" y="4478"/>
                  </a:lnTo>
                  <a:lnTo>
                    <a:pt x="33018" y="4436"/>
                  </a:lnTo>
                  <a:lnTo>
                    <a:pt x="33039" y="4332"/>
                  </a:lnTo>
                  <a:lnTo>
                    <a:pt x="33018" y="4227"/>
                  </a:lnTo>
                  <a:lnTo>
                    <a:pt x="32976" y="4123"/>
                  </a:lnTo>
                  <a:lnTo>
                    <a:pt x="32872" y="4143"/>
                  </a:lnTo>
                  <a:lnTo>
                    <a:pt x="32872" y="4081"/>
                  </a:lnTo>
                  <a:lnTo>
                    <a:pt x="32872" y="3997"/>
                  </a:lnTo>
                  <a:lnTo>
                    <a:pt x="32934" y="3913"/>
                  </a:lnTo>
                  <a:lnTo>
                    <a:pt x="32934" y="3871"/>
                  </a:lnTo>
                  <a:lnTo>
                    <a:pt x="32872" y="3851"/>
                  </a:lnTo>
                  <a:lnTo>
                    <a:pt x="32851" y="3851"/>
                  </a:lnTo>
                  <a:lnTo>
                    <a:pt x="32767" y="3892"/>
                  </a:lnTo>
                  <a:lnTo>
                    <a:pt x="32725" y="3892"/>
                  </a:lnTo>
                  <a:lnTo>
                    <a:pt x="32642" y="3913"/>
                  </a:lnTo>
                  <a:lnTo>
                    <a:pt x="32558" y="3892"/>
                  </a:lnTo>
                  <a:lnTo>
                    <a:pt x="32516" y="3871"/>
                  </a:lnTo>
                  <a:lnTo>
                    <a:pt x="32453" y="3851"/>
                  </a:lnTo>
                  <a:lnTo>
                    <a:pt x="32432" y="3809"/>
                  </a:lnTo>
                  <a:lnTo>
                    <a:pt x="32307" y="3767"/>
                  </a:lnTo>
                  <a:lnTo>
                    <a:pt x="32307" y="3704"/>
                  </a:lnTo>
                  <a:lnTo>
                    <a:pt x="32244" y="3662"/>
                  </a:lnTo>
                  <a:lnTo>
                    <a:pt x="32202" y="3662"/>
                  </a:lnTo>
                  <a:lnTo>
                    <a:pt x="32139" y="3599"/>
                  </a:lnTo>
                  <a:lnTo>
                    <a:pt x="32139" y="3558"/>
                  </a:lnTo>
                  <a:lnTo>
                    <a:pt x="32077" y="3558"/>
                  </a:lnTo>
                  <a:lnTo>
                    <a:pt x="32014" y="3474"/>
                  </a:lnTo>
                  <a:lnTo>
                    <a:pt x="31993" y="3432"/>
                  </a:lnTo>
                  <a:lnTo>
                    <a:pt x="31930" y="3369"/>
                  </a:lnTo>
                  <a:lnTo>
                    <a:pt x="31888" y="3369"/>
                  </a:lnTo>
                  <a:lnTo>
                    <a:pt x="31846" y="3453"/>
                  </a:lnTo>
                  <a:lnTo>
                    <a:pt x="31805" y="3432"/>
                  </a:lnTo>
                  <a:lnTo>
                    <a:pt x="31763" y="3453"/>
                  </a:lnTo>
                  <a:lnTo>
                    <a:pt x="31721" y="3495"/>
                  </a:lnTo>
                  <a:lnTo>
                    <a:pt x="31658" y="3453"/>
                  </a:lnTo>
                  <a:lnTo>
                    <a:pt x="31616" y="3390"/>
                  </a:lnTo>
                  <a:lnTo>
                    <a:pt x="31574" y="3369"/>
                  </a:lnTo>
                  <a:lnTo>
                    <a:pt x="31449" y="3369"/>
                  </a:lnTo>
                  <a:lnTo>
                    <a:pt x="31386" y="3348"/>
                  </a:lnTo>
                  <a:lnTo>
                    <a:pt x="31449" y="3286"/>
                  </a:lnTo>
                  <a:lnTo>
                    <a:pt x="31449" y="3244"/>
                  </a:lnTo>
                  <a:lnTo>
                    <a:pt x="31365" y="3244"/>
                  </a:lnTo>
                  <a:lnTo>
                    <a:pt x="31302" y="3286"/>
                  </a:lnTo>
                  <a:lnTo>
                    <a:pt x="31177" y="3286"/>
                  </a:lnTo>
                  <a:lnTo>
                    <a:pt x="31135" y="3327"/>
                  </a:lnTo>
                  <a:lnTo>
                    <a:pt x="31072" y="3265"/>
                  </a:lnTo>
                  <a:lnTo>
                    <a:pt x="31030" y="3286"/>
                  </a:lnTo>
                  <a:lnTo>
                    <a:pt x="30947" y="3286"/>
                  </a:lnTo>
                  <a:lnTo>
                    <a:pt x="30884" y="3223"/>
                  </a:lnTo>
                  <a:lnTo>
                    <a:pt x="30800" y="3181"/>
                  </a:lnTo>
                  <a:lnTo>
                    <a:pt x="30675" y="3055"/>
                  </a:lnTo>
                  <a:lnTo>
                    <a:pt x="30633" y="2930"/>
                  </a:lnTo>
                  <a:lnTo>
                    <a:pt x="30633" y="2846"/>
                  </a:lnTo>
                  <a:lnTo>
                    <a:pt x="30612" y="2742"/>
                  </a:lnTo>
                  <a:lnTo>
                    <a:pt x="30549" y="2742"/>
                  </a:lnTo>
                  <a:lnTo>
                    <a:pt x="30465" y="2721"/>
                  </a:lnTo>
                  <a:lnTo>
                    <a:pt x="30465" y="2574"/>
                  </a:lnTo>
                  <a:lnTo>
                    <a:pt x="30424" y="2553"/>
                  </a:lnTo>
                  <a:lnTo>
                    <a:pt x="30403" y="2428"/>
                  </a:lnTo>
                  <a:lnTo>
                    <a:pt x="30361" y="2323"/>
                  </a:lnTo>
                  <a:lnTo>
                    <a:pt x="30152" y="2198"/>
                  </a:lnTo>
                  <a:lnTo>
                    <a:pt x="30047" y="2030"/>
                  </a:lnTo>
                  <a:lnTo>
                    <a:pt x="30026" y="1988"/>
                  </a:lnTo>
                  <a:lnTo>
                    <a:pt x="29984" y="1884"/>
                  </a:lnTo>
                  <a:lnTo>
                    <a:pt x="29921" y="1905"/>
                  </a:lnTo>
                  <a:lnTo>
                    <a:pt x="29901" y="1905"/>
                  </a:lnTo>
                  <a:lnTo>
                    <a:pt x="29901" y="1821"/>
                  </a:lnTo>
                  <a:lnTo>
                    <a:pt x="29921" y="1779"/>
                  </a:lnTo>
                  <a:lnTo>
                    <a:pt x="29838" y="1716"/>
                  </a:lnTo>
                  <a:lnTo>
                    <a:pt x="29796" y="1612"/>
                  </a:lnTo>
                  <a:lnTo>
                    <a:pt x="29733" y="1591"/>
                  </a:lnTo>
                  <a:lnTo>
                    <a:pt x="29712" y="1507"/>
                  </a:lnTo>
                  <a:lnTo>
                    <a:pt x="29670" y="1444"/>
                  </a:lnTo>
                  <a:lnTo>
                    <a:pt x="29608" y="1340"/>
                  </a:lnTo>
                  <a:lnTo>
                    <a:pt x="29482" y="1256"/>
                  </a:lnTo>
                  <a:lnTo>
                    <a:pt x="29461" y="1193"/>
                  </a:lnTo>
                  <a:lnTo>
                    <a:pt x="29503" y="1130"/>
                  </a:lnTo>
                  <a:lnTo>
                    <a:pt x="29482" y="1047"/>
                  </a:lnTo>
                  <a:lnTo>
                    <a:pt x="29315" y="1047"/>
                  </a:lnTo>
                  <a:lnTo>
                    <a:pt x="29294" y="984"/>
                  </a:lnTo>
                  <a:lnTo>
                    <a:pt x="29294" y="942"/>
                  </a:lnTo>
                  <a:lnTo>
                    <a:pt x="29273" y="879"/>
                  </a:lnTo>
                  <a:lnTo>
                    <a:pt x="29273" y="817"/>
                  </a:lnTo>
                  <a:lnTo>
                    <a:pt x="29231" y="733"/>
                  </a:lnTo>
                  <a:lnTo>
                    <a:pt x="29168" y="712"/>
                  </a:lnTo>
                  <a:lnTo>
                    <a:pt x="29168" y="649"/>
                  </a:lnTo>
                  <a:lnTo>
                    <a:pt x="29147" y="607"/>
                  </a:lnTo>
                  <a:lnTo>
                    <a:pt x="29085" y="628"/>
                  </a:lnTo>
                  <a:lnTo>
                    <a:pt x="28980" y="607"/>
                  </a:lnTo>
                  <a:lnTo>
                    <a:pt x="28959" y="545"/>
                  </a:lnTo>
                  <a:lnTo>
                    <a:pt x="28980" y="482"/>
                  </a:lnTo>
                  <a:lnTo>
                    <a:pt x="28959" y="440"/>
                  </a:lnTo>
                  <a:lnTo>
                    <a:pt x="28875" y="419"/>
                  </a:lnTo>
                  <a:lnTo>
                    <a:pt x="28833" y="461"/>
                  </a:lnTo>
                  <a:lnTo>
                    <a:pt x="28792" y="419"/>
                  </a:lnTo>
                  <a:lnTo>
                    <a:pt x="28750" y="419"/>
                  </a:lnTo>
                  <a:lnTo>
                    <a:pt x="28708" y="356"/>
                  </a:lnTo>
                  <a:lnTo>
                    <a:pt x="28750" y="293"/>
                  </a:lnTo>
                  <a:lnTo>
                    <a:pt x="28687" y="231"/>
                  </a:lnTo>
                  <a:lnTo>
                    <a:pt x="28624" y="210"/>
                  </a:lnTo>
                  <a:lnTo>
                    <a:pt x="28561" y="231"/>
                  </a:lnTo>
                  <a:lnTo>
                    <a:pt x="28520" y="147"/>
                  </a:lnTo>
                  <a:lnTo>
                    <a:pt x="28457" y="189"/>
                  </a:lnTo>
                  <a:lnTo>
                    <a:pt x="28373" y="189"/>
                  </a:lnTo>
                  <a:lnTo>
                    <a:pt x="28331" y="147"/>
                  </a:lnTo>
                  <a:lnTo>
                    <a:pt x="28268" y="189"/>
                  </a:lnTo>
                  <a:lnTo>
                    <a:pt x="28268" y="252"/>
                  </a:lnTo>
                  <a:lnTo>
                    <a:pt x="28248" y="293"/>
                  </a:lnTo>
                  <a:lnTo>
                    <a:pt x="28143" y="231"/>
                  </a:lnTo>
                  <a:lnTo>
                    <a:pt x="28101" y="189"/>
                  </a:lnTo>
                  <a:lnTo>
                    <a:pt x="28017" y="210"/>
                  </a:lnTo>
                  <a:lnTo>
                    <a:pt x="27892" y="210"/>
                  </a:lnTo>
                  <a:lnTo>
                    <a:pt x="27892" y="189"/>
                  </a:lnTo>
                  <a:lnTo>
                    <a:pt x="27808" y="105"/>
                  </a:lnTo>
                  <a:lnTo>
                    <a:pt x="27620" y="84"/>
                  </a:lnTo>
                  <a:lnTo>
                    <a:pt x="27536" y="21"/>
                  </a:lnTo>
                  <a:lnTo>
                    <a:pt x="27432" y="21"/>
                  </a:lnTo>
                  <a:lnTo>
                    <a:pt x="27390" y="1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Google Shape;12181;p43">
              <a:extLst>
                <a:ext uri="{FF2B5EF4-FFF2-40B4-BE49-F238E27FC236}">
                  <a16:creationId xmlns:a16="http://schemas.microsoft.com/office/drawing/2014/main" id="{BF208624-2CC5-9D3D-4D98-BEBA761992F2}"/>
                </a:ext>
              </a:extLst>
            </p:cNvPr>
            <p:cNvSpPr/>
            <p:nvPr/>
          </p:nvSpPr>
          <p:spPr>
            <a:xfrm>
              <a:off x="4442708" y="2990191"/>
              <a:ext cx="762" cy="967"/>
            </a:xfrm>
            <a:custGeom>
              <a:avLst/>
              <a:gdLst/>
              <a:ahLst/>
              <a:cxnLst/>
              <a:rect l="l" t="t" r="r" b="b"/>
              <a:pathLst>
                <a:path w="64" h="85" extrusionOk="0">
                  <a:moveTo>
                    <a:pt x="63" y="85"/>
                  </a:move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Google Shape;12182;p43">
              <a:extLst>
                <a:ext uri="{FF2B5EF4-FFF2-40B4-BE49-F238E27FC236}">
                  <a16:creationId xmlns:a16="http://schemas.microsoft.com/office/drawing/2014/main" id="{E35CC908-007E-FC73-C969-2FFAAF6F5602}"/>
                </a:ext>
              </a:extLst>
            </p:cNvPr>
            <p:cNvSpPr/>
            <p:nvPr/>
          </p:nvSpPr>
          <p:spPr>
            <a:xfrm>
              <a:off x="4434742" y="2997094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extrusionOk="0">
                  <a:moveTo>
                    <a:pt x="0" y="105"/>
                  </a:moveTo>
                  <a:lnTo>
                    <a:pt x="105" y="1"/>
                  </a:lnTo>
                  <a:lnTo>
                    <a:pt x="10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Google Shape;12183;p43">
              <a:extLst>
                <a:ext uri="{FF2B5EF4-FFF2-40B4-BE49-F238E27FC236}">
                  <a16:creationId xmlns:a16="http://schemas.microsoft.com/office/drawing/2014/main" id="{894DFBF7-1552-1FAE-E006-830FAF540992}"/>
                </a:ext>
              </a:extLst>
            </p:cNvPr>
            <p:cNvSpPr/>
            <p:nvPr/>
          </p:nvSpPr>
          <p:spPr>
            <a:xfrm>
              <a:off x="4184339" y="2879787"/>
              <a:ext cx="2512" cy="728"/>
            </a:xfrm>
            <a:custGeom>
              <a:avLst/>
              <a:gdLst/>
              <a:ahLst/>
              <a:cxnLst/>
              <a:rect l="l" t="t" r="r" b="b"/>
              <a:pathLst>
                <a:path w="211" h="64" extrusionOk="0">
                  <a:moveTo>
                    <a:pt x="210" y="0"/>
                  </a:moveTo>
                  <a:lnTo>
                    <a:pt x="1" y="63"/>
                  </a:lnTo>
                  <a:lnTo>
                    <a:pt x="22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Google Shape;12184;p43">
              <a:extLst>
                <a:ext uri="{FF2B5EF4-FFF2-40B4-BE49-F238E27FC236}">
                  <a16:creationId xmlns:a16="http://schemas.microsoft.com/office/drawing/2014/main" id="{57A57BC3-45DE-108F-E5E4-CA144E848713}"/>
                </a:ext>
              </a:extLst>
            </p:cNvPr>
            <p:cNvSpPr/>
            <p:nvPr/>
          </p:nvSpPr>
          <p:spPr>
            <a:xfrm>
              <a:off x="4038591" y="2720356"/>
              <a:ext cx="260870" cy="130886"/>
            </a:xfrm>
            <a:custGeom>
              <a:avLst/>
              <a:gdLst/>
              <a:ahLst/>
              <a:cxnLst/>
              <a:rect l="l" t="t" r="r" b="b"/>
              <a:pathLst>
                <a:path w="21908" h="11509" extrusionOk="0">
                  <a:moveTo>
                    <a:pt x="10860" y="0"/>
                  </a:moveTo>
                  <a:lnTo>
                    <a:pt x="10755" y="84"/>
                  </a:lnTo>
                  <a:lnTo>
                    <a:pt x="10713" y="189"/>
                  </a:lnTo>
                  <a:lnTo>
                    <a:pt x="10567" y="189"/>
                  </a:lnTo>
                  <a:lnTo>
                    <a:pt x="10483" y="252"/>
                  </a:lnTo>
                  <a:lnTo>
                    <a:pt x="10546" y="314"/>
                  </a:lnTo>
                  <a:lnTo>
                    <a:pt x="10546" y="398"/>
                  </a:lnTo>
                  <a:lnTo>
                    <a:pt x="10400" y="419"/>
                  </a:lnTo>
                  <a:lnTo>
                    <a:pt x="10337" y="419"/>
                  </a:lnTo>
                  <a:lnTo>
                    <a:pt x="10253" y="524"/>
                  </a:lnTo>
                  <a:lnTo>
                    <a:pt x="10128" y="524"/>
                  </a:lnTo>
                  <a:lnTo>
                    <a:pt x="10044" y="586"/>
                  </a:lnTo>
                  <a:lnTo>
                    <a:pt x="9981" y="586"/>
                  </a:lnTo>
                  <a:lnTo>
                    <a:pt x="9751" y="733"/>
                  </a:lnTo>
                  <a:lnTo>
                    <a:pt x="9625" y="796"/>
                  </a:lnTo>
                  <a:lnTo>
                    <a:pt x="9521" y="837"/>
                  </a:lnTo>
                  <a:lnTo>
                    <a:pt x="9437" y="837"/>
                  </a:lnTo>
                  <a:lnTo>
                    <a:pt x="9353" y="775"/>
                  </a:lnTo>
                  <a:lnTo>
                    <a:pt x="9312" y="837"/>
                  </a:lnTo>
                  <a:lnTo>
                    <a:pt x="9291" y="921"/>
                  </a:lnTo>
                  <a:lnTo>
                    <a:pt x="9144" y="921"/>
                  </a:lnTo>
                  <a:lnTo>
                    <a:pt x="9102" y="984"/>
                  </a:lnTo>
                  <a:lnTo>
                    <a:pt x="9102" y="1088"/>
                  </a:lnTo>
                  <a:lnTo>
                    <a:pt x="9040" y="1130"/>
                  </a:lnTo>
                  <a:lnTo>
                    <a:pt x="8977" y="1109"/>
                  </a:lnTo>
                  <a:lnTo>
                    <a:pt x="8893" y="1109"/>
                  </a:lnTo>
                  <a:lnTo>
                    <a:pt x="8789" y="1151"/>
                  </a:lnTo>
                  <a:lnTo>
                    <a:pt x="8663" y="1172"/>
                  </a:lnTo>
                  <a:lnTo>
                    <a:pt x="8496" y="1256"/>
                  </a:lnTo>
                  <a:lnTo>
                    <a:pt x="8475" y="1319"/>
                  </a:lnTo>
                  <a:lnTo>
                    <a:pt x="8307" y="1340"/>
                  </a:lnTo>
                  <a:lnTo>
                    <a:pt x="8182" y="1402"/>
                  </a:lnTo>
                  <a:lnTo>
                    <a:pt x="8035" y="1423"/>
                  </a:lnTo>
                  <a:lnTo>
                    <a:pt x="7847" y="1465"/>
                  </a:lnTo>
                  <a:lnTo>
                    <a:pt x="7826" y="1549"/>
                  </a:lnTo>
                  <a:lnTo>
                    <a:pt x="7763" y="1632"/>
                  </a:lnTo>
                  <a:lnTo>
                    <a:pt x="7721" y="1528"/>
                  </a:lnTo>
                  <a:lnTo>
                    <a:pt x="7617" y="1528"/>
                  </a:lnTo>
                  <a:lnTo>
                    <a:pt x="7512" y="1570"/>
                  </a:lnTo>
                  <a:lnTo>
                    <a:pt x="7512" y="1653"/>
                  </a:lnTo>
                  <a:lnTo>
                    <a:pt x="7449" y="1695"/>
                  </a:lnTo>
                  <a:lnTo>
                    <a:pt x="7345" y="1653"/>
                  </a:lnTo>
                  <a:lnTo>
                    <a:pt x="7219" y="1653"/>
                  </a:lnTo>
                  <a:lnTo>
                    <a:pt x="7198" y="1612"/>
                  </a:lnTo>
                  <a:lnTo>
                    <a:pt x="7115" y="1612"/>
                  </a:lnTo>
                  <a:lnTo>
                    <a:pt x="7031" y="1653"/>
                  </a:lnTo>
                  <a:lnTo>
                    <a:pt x="6926" y="1674"/>
                  </a:lnTo>
                  <a:lnTo>
                    <a:pt x="6884" y="1695"/>
                  </a:lnTo>
                  <a:lnTo>
                    <a:pt x="6926" y="1842"/>
                  </a:lnTo>
                  <a:lnTo>
                    <a:pt x="6884" y="1925"/>
                  </a:lnTo>
                  <a:lnTo>
                    <a:pt x="6989" y="1946"/>
                  </a:lnTo>
                  <a:lnTo>
                    <a:pt x="7136" y="1925"/>
                  </a:lnTo>
                  <a:lnTo>
                    <a:pt x="7198" y="2051"/>
                  </a:lnTo>
                  <a:lnTo>
                    <a:pt x="7031" y="2051"/>
                  </a:lnTo>
                  <a:lnTo>
                    <a:pt x="6989" y="2093"/>
                  </a:lnTo>
                  <a:lnTo>
                    <a:pt x="6989" y="2156"/>
                  </a:lnTo>
                  <a:lnTo>
                    <a:pt x="7136" y="2176"/>
                  </a:lnTo>
                  <a:lnTo>
                    <a:pt x="7240" y="2197"/>
                  </a:lnTo>
                  <a:lnTo>
                    <a:pt x="7324" y="2156"/>
                  </a:lnTo>
                  <a:lnTo>
                    <a:pt x="7408" y="2156"/>
                  </a:lnTo>
                  <a:lnTo>
                    <a:pt x="7512" y="2260"/>
                  </a:lnTo>
                  <a:lnTo>
                    <a:pt x="7617" y="2281"/>
                  </a:lnTo>
                  <a:lnTo>
                    <a:pt x="7617" y="2386"/>
                  </a:lnTo>
                  <a:lnTo>
                    <a:pt x="7554" y="2449"/>
                  </a:lnTo>
                  <a:lnTo>
                    <a:pt x="7449" y="2407"/>
                  </a:lnTo>
                  <a:lnTo>
                    <a:pt x="7219" y="2449"/>
                  </a:lnTo>
                  <a:lnTo>
                    <a:pt x="7094" y="2553"/>
                  </a:lnTo>
                  <a:lnTo>
                    <a:pt x="6947" y="2741"/>
                  </a:lnTo>
                  <a:lnTo>
                    <a:pt x="6947" y="2867"/>
                  </a:lnTo>
                  <a:lnTo>
                    <a:pt x="7031" y="2888"/>
                  </a:lnTo>
                  <a:lnTo>
                    <a:pt x="7052" y="3013"/>
                  </a:lnTo>
                  <a:lnTo>
                    <a:pt x="6989" y="3118"/>
                  </a:lnTo>
                  <a:lnTo>
                    <a:pt x="6947" y="3244"/>
                  </a:lnTo>
                  <a:lnTo>
                    <a:pt x="6843" y="3244"/>
                  </a:lnTo>
                  <a:lnTo>
                    <a:pt x="6843" y="3306"/>
                  </a:lnTo>
                  <a:lnTo>
                    <a:pt x="6884" y="3390"/>
                  </a:lnTo>
                  <a:lnTo>
                    <a:pt x="6884" y="3453"/>
                  </a:lnTo>
                  <a:lnTo>
                    <a:pt x="7031" y="3453"/>
                  </a:lnTo>
                  <a:lnTo>
                    <a:pt x="7115" y="3537"/>
                  </a:lnTo>
                  <a:lnTo>
                    <a:pt x="7240" y="3557"/>
                  </a:lnTo>
                  <a:lnTo>
                    <a:pt x="7240" y="3620"/>
                  </a:lnTo>
                  <a:lnTo>
                    <a:pt x="7366" y="3704"/>
                  </a:lnTo>
                  <a:lnTo>
                    <a:pt x="7533" y="3725"/>
                  </a:lnTo>
                  <a:lnTo>
                    <a:pt x="7575" y="3746"/>
                  </a:lnTo>
                  <a:lnTo>
                    <a:pt x="7617" y="4227"/>
                  </a:lnTo>
                  <a:lnTo>
                    <a:pt x="7554" y="4290"/>
                  </a:lnTo>
                  <a:lnTo>
                    <a:pt x="7366" y="4373"/>
                  </a:lnTo>
                  <a:lnTo>
                    <a:pt x="7219" y="4353"/>
                  </a:lnTo>
                  <a:lnTo>
                    <a:pt x="7031" y="4248"/>
                  </a:lnTo>
                  <a:lnTo>
                    <a:pt x="6947" y="4290"/>
                  </a:lnTo>
                  <a:lnTo>
                    <a:pt x="6947" y="4394"/>
                  </a:lnTo>
                  <a:lnTo>
                    <a:pt x="6905" y="4541"/>
                  </a:lnTo>
                  <a:lnTo>
                    <a:pt x="6780" y="4562"/>
                  </a:lnTo>
                  <a:lnTo>
                    <a:pt x="6571" y="4457"/>
                  </a:lnTo>
                  <a:lnTo>
                    <a:pt x="6403" y="4457"/>
                  </a:lnTo>
                  <a:lnTo>
                    <a:pt x="6320" y="4394"/>
                  </a:lnTo>
                  <a:lnTo>
                    <a:pt x="6278" y="4436"/>
                  </a:lnTo>
                  <a:lnTo>
                    <a:pt x="6173" y="4394"/>
                  </a:lnTo>
                  <a:lnTo>
                    <a:pt x="6048" y="4269"/>
                  </a:lnTo>
                  <a:lnTo>
                    <a:pt x="6152" y="4227"/>
                  </a:lnTo>
                  <a:lnTo>
                    <a:pt x="6173" y="4143"/>
                  </a:lnTo>
                  <a:lnTo>
                    <a:pt x="6089" y="4122"/>
                  </a:lnTo>
                  <a:lnTo>
                    <a:pt x="5964" y="4039"/>
                  </a:lnTo>
                  <a:lnTo>
                    <a:pt x="5880" y="4122"/>
                  </a:lnTo>
                  <a:lnTo>
                    <a:pt x="5755" y="4081"/>
                  </a:lnTo>
                  <a:lnTo>
                    <a:pt x="5671" y="4122"/>
                  </a:lnTo>
                  <a:lnTo>
                    <a:pt x="5692" y="4269"/>
                  </a:lnTo>
                  <a:lnTo>
                    <a:pt x="5545" y="4290"/>
                  </a:lnTo>
                  <a:lnTo>
                    <a:pt x="5483" y="4227"/>
                  </a:lnTo>
                  <a:lnTo>
                    <a:pt x="5336" y="4060"/>
                  </a:lnTo>
                  <a:lnTo>
                    <a:pt x="5211" y="4081"/>
                  </a:lnTo>
                  <a:lnTo>
                    <a:pt x="5148" y="4185"/>
                  </a:lnTo>
                  <a:lnTo>
                    <a:pt x="5064" y="4081"/>
                  </a:lnTo>
                  <a:lnTo>
                    <a:pt x="5001" y="4122"/>
                  </a:lnTo>
                  <a:lnTo>
                    <a:pt x="5001" y="4248"/>
                  </a:lnTo>
                  <a:lnTo>
                    <a:pt x="4855" y="4248"/>
                  </a:lnTo>
                  <a:lnTo>
                    <a:pt x="4834" y="4457"/>
                  </a:lnTo>
                  <a:lnTo>
                    <a:pt x="4708" y="4562"/>
                  </a:lnTo>
                  <a:lnTo>
                    <a:pt x="4625" y="4541"/>
                  </a:lnTo>
                  <a:lnTo>
                    <a:pt x="4541" y="4436"/>
                  </a:lnTo>
                  <a:lnTo>
                    <a:pt x="4332" y="4394"/>
                  </a:lnTo>
                  <a:lnTo>
                    <a:pt x="4269" y="4269"/>
                  </a:lnTo>
                  <a:lnTo>
                    <a:pt x="4123" y="4353"/>
                  </a:lnTo>
                  <a:lnTo>
                    <a:pt x="4164" y="4478"/>
                  </a:lnTo>
                  <a:lnTo>
                    <a:pt x="4081" y="4604"/>
                  </a:lnTo>
                  <a:lnTo>
                    <a:pt x="3997" y="4583"/>
                  </a:lnTo>
                  <a:lnTo>
                    <a:pt x="3997" y="4457"/>
                  </a:lnTo>
                  <a:lnTo>
                    <a:pt x="3955" y="4373"/>
                  </a:lnTo>
                  <a:lnTo>
                    <a:pt x="3871" y="4373"/>
                  </a:lnTo>
                  <a:lnTo>
                    <a:pt x="3704" y="4248"/>
                  </a:lnTo>
                  <a:lnTo>
                    <a:pt x="3599" y="4122"/>
                  </a:lnTo>
                  <a:lnTo>
                    <a:pt x="3474" y="4122"/>
                  </a:lnTo>
                  <a:lnTo>
                    <a:pt x="3369" y="3976"/>
                  </a:lnTo>
                  <a:lnTo>
                    <a:pt x="3286" y="3955"/>
                  </a:lnTo>
                  <a:lnTo>
                    <a:pt x="3244" y="3871"/>
                  </a:lnTo>
                  <a:lnTo>
                    <a:pt x="3160" y="3871"/>
                  </a:lnTo>
                  <a:lnTo>
                    <a:pt x="2951" y="3955"/>
                  </a:lnTo>
                  <a:lnTo>
                    <a:pt x="2825" y="3850"/>
                  </a:lnTo>
                  <a:lnTo>
                    <a:pt x="2742" y="3704"/>
                  </a:lnTo>
                  <a:lnTo>
                    <a:pt x="2637" y="3704"/>
                  </a:lnTo>
                  <a:lnTo>
                    <a:pt x="2532" y="3809"/>
                  </a:lnTo>
                  <a:lnTo>
                    <a:pt x="2407" y="3809"/>
                  </a:lnTo>
                  <a:lnTo>
                    <a:pt x="2407" y="3871"/>
                  </a:lnTo>
                  <a:lnTo>
                    <a:pt x="2323" y="3955"/>
                  </a:lnTo>
                  <a:lnTo>
                    <a:pt x="2323" y="3850"/>
                  </a:lnTo>
                  <a:lnTo>
                    <a:pt x="2239" y="3913"/>
                  </a:lnTo>
                  <a:lnTo>
                    <a:pt x="2218" y="3976"/>
                  </a:lnTo>
                  <a:lnTo>
                    <a:pt x="2114" y="4060"/>
                  </a:lnTo>
                  <a:lnTo>
                    <a:pt x="2030" y="3976"/>
                  </a:lnTo>
                  <a:lnTo>
                    <a:pt x="2114" y="3913"/>
                  </a:lnTo>
                  <a:lnTo>
                    <a:pt x="2135" y="3829"/>
                  </a:lnTo>
                  <a:lnTo>
                    <a:pt x="2009" y="3767"/>
                  </a:lnTo>
                  <a:lnTo>
                    <a:pt x="1821" y="3662"/>
                  </a:lnTo>
                  <a:lnTo>
                    <a:pt x="1800" y="3746"/>
                  </a:lnTo>
                  <a:lnTo>
                    <a:pt x="1821" y="3850"/>
                  </a:lnTo>
                  <a:lnTo>
                    <a:pt x="1821" y="3955"/>
                  </a:lnTo>
                  <a:lnTo>
                    <a:pt x="1695" y="3913"/>
                  </a:lnTo>
                  <a:lnTo>
                    <a:pt x="1612" y="3976"/>
                  </a:lnTo>
                  <a:lnTo>
                    <a:pt x="1570" y="4143"/>
                  </a:lnTo>
                  <a:lnTo>
                    <a:pt x="1486" y="4143"/>
                  </a:lnTo>
                  <a:lnTo>
                    <a:pt x="1298" y="4248"/>
                  </a:lnTo>
                  <a:lnTo>
                    <a:pt x="1277" y="4373"/>
                  </a:lnTo>
                  <a:lnTo>
                    <a:pt x="1361" y="4478"/>
                  </a:lnTo>
                  <a:lnTo>
                    <a:pt x="1361" y="4604"/>
                  </a:lnTo>
                  <a:lnTo>
                    <a:pt x="1172" y="4604"/>
                  </a:lnTo>
                  <a:lnTo>
                    <a:pt x="984" y="4645"/>
                  </a:lnTo>
                  <a:lnTo>
                    <a:pt x="1130" y="5106"/>
                  </a:lnTo>
                  <a:lnTo>
                    <a:pt x="1047" y="5169"/>
                  </a:lnTo>
                  <a:lnTo>
                    <a:pt x="1068" y="5336"/>
                  </a:lnTo>
                  <a:lnTo>
                    <a:pt x="879" y="5336"/>
                  </a:lnTo>
                  <a:lnTo>
                    <a:pt x="733" y="5231"/>
                  </a:lnTo>
                  <a:lnTo>
                    <a:pt x="670" y="5127"/>
                  </a:lnTo>
                  <a:lnTo>
                    <a:pt x="356" y="4876"/>
                  </a:lnTo>
                  <a:lnTo>
                    <a:pt x="294" y="4980"/>
                  </a:lnTo>
                  <a:lnTo>
                    <a:pt x="294" y="5106"/>
                  </a:lnTo>
                  <a:lnTo>
                    <a:pt x="126" y="5315"/>
                  </a:lnTo>
                  <a:lnTo>
                    <a:pt x="22" y="5378"/>
                  </a:lnTo>
                  <a:lnTo>
                    <a:pt x="42" y="5629"/>
                  </a:lnTo>
                  <a:lnTo>
                    <a:pt x="126" y="5734"/>
                  </a:lnTo>
                  <a:lnTo>
                    <a:pt x="105" y="6068"/>
                  </a:lnTo>
                  <a:lnTo>
                    <a:pt x="1" y="6278"/>
                  </a:lnTo>
                  <a:lnTo>
                    <a:pt x="231" y="6382"/>
                  </a:lnTo>
                  <a:lnTo>
                    <a:pt x="335" y="6550"/>
                  </a:lnTo>
                  <a:lnTo>
                    <a:pt x="314" y="6633"/>
                  </a:lnTo>
                  <a:lnTo>
                    <a:pt x="503" y="6780"/>
                  </a:lnTo>
                  <a:lnTo>
                    <a:pt x="545" y="6696"/>
                  </a:lnTo>
                  <a:lnTo>
                    <a:pt x="921" y="6801"/>
                  </a:lnTo>
                  <a:lnTo>
                    <a:pt x="1172" y="7052"/>
                  </a:lnTo>
                  <a:lnTo>
                    <a:pt x="1402" y="7428"/>
                  </a:lnTo>
                  <a:lnTo>
                    <a:pt x="1172" y="7428"/>
                  </a:lnTo>
                  <a:lnTo>
                    <a:pt x="1172" y="7533"/>
                  </a:lnTo>
                  <a:lnTo>
                    <a:pt x="1382" y="7679"/>
                  </a:lnTo>
                  <a:lnTo>
                    <a:pt x="1549" y="7617"/>
                  </a:lnTo>
                  <a:lnTo>
                    <a:pt x="1674" y="7721"/>
                  </a:lnTo>
                  <a:lnTo>
                    <a:pt x="1716" y="7721"/>
                  </a:lnTo>
                  <a:lnTo>
                    <a:pt x="1758" y="7784"/>
                  </a:lnTo>
                  <a:lnTo>
                    <a:pt x="1821" y="7784"/>
                  </a:lnTo>
                  <a:lnTo>
                    <a:pt x="1863" y="7721"/>
                  </a:lnTo>
                  <a:lnTo>
                    <a:pt x="1905" y="7721"/>
                  </a:lnTo>
                  <a:lnTo>
                    <a:pt x="1967" y="7784"/>
                  </a:lnTo>
                  <a:lnTo>
                    <a:pt x="2009" y="7721"/>
                  </a:lnTo>
                  <a:lnTo>
                    <a:pt x="2009" y="7638"/>
                  </a:lnTo>
                  <a:lnTo>
                    <a:pt x="2072" y="7679"/>
                  </a:lnTo>
                  <a:lnTo>
                    <a:pt x="2177" y="7596"/>
                  </a:lnTo>
                  <a:lnTo>
                    <a:pt x="2218" y="7512"/>
                  </a:lnTo>
                  <a:lnTo>
                    <a:pt x="2281" y="7512"/>
                  </a:lnTo>
                  <a:lnTo>
                    <a:pt x="2344" y="7428"/>
                  </a:lnTo>
                  <a:lnTo>
                    <a:pt x="2407" y="7428"/>
                  </a:lnTo>
                  <a:lnTo>
                    <a:pt x="2428" y="7470"/>
                  </a:lnTo>
                  <a:lnTo>
                    <a:pt x="2491" y="7428"/>
                  </a:lnTo>
                  <a:lnTo>
                    <a:pt x="2511" y="7366"/>
                  </a:lnTo>
                  <a:lnTo>
                    <a:pt x="2595" y="7282"/>
                  </a:lnTo>
                  <a:lnTo>
                    <a:pt x="2721" y="7282"/>
                  </a:lnTo>
                  <a:lnTo>
                    <a:pt x="2763" y="7303"/>
                  </a:lnTo>
                  <a:lnTo>
                    <a:pt x="2846" y="7303"/>
                  </a:lnTo>
                  <a:lnTo>
                    <a:pt x="2909" y="7282"/>
                  </a:lnTo>
                  <a:lnTo>
                    <a:pt x="2930" y="7303"/>
                  </a:lnTo>
                  <a:lnTo>
                    <a:pt x="2930" y="7386"/>
                  </a:lnTo>
                  <a:lnTo>
                    <a:pt x="2972" y="7470"/>
                  </a:lnTo>
                  <a:lnTo>
                    <a:pt x="3014" y="7407"/>
                  </a:lnTo>
                  <a:lnTo>
                    <a:pt x="3076" y="7407"/>
                  </a:lnTo>
                  <a:lnTo>
                    <a:pt x="3076" y="7470"/>
                  </a:lnTo>
                  <a:lnTo>
                    <a:pt x="3160" y="7491"/>
                  </a:lnTo>
                  <a:lnTo>
                    <a:pt x="3223" y="7470"/>
                  </a:lnTo>
                  <a:lnTo>
                    <a:pt x="3244" y="7407"/>
                  </a:lnTo>
                  <a:lnTo>
                    <a:pt x="3286" y="7386"/>
                  </a:lnTo>
                  <a:lnTo>
                    <a:pt x="3286" y="7324"/>
                  </a:lnTo>
                  <a:lnTo>
                    <a:pt x="3369" y="7303"/>
                  </a:lnTo>
                  <a:lnTo>
                    <a:pt x="3453" y="7324"/>
                  </a:lnTo>
                  <a:lnTo>
                    <a:pt x="3662" y="7324"/>
                  </a:lnTo>
                  <a:lnTo>
                    <a:pt x="3662" y="7386"/>
                  </a:lnTo>
                  <a:lnTo>
                    <a:pt x="3704" y="7470"/>
                  </a:lnTo>
                  <a:lnTo>
                    <a:pt x="3788" y="7491"/>
                  </a:lnTo>
                  <a:lnTo>
                    <a:pt x="3788" y="7512"/>
                  </a:lnTo>
                  <a:lnTo>
                    <a:pt x="3746" y="7596"/>
                  </a:lnTo>
                  <a:lnTo>
                    <a:pt x="3767" y="7638"/>
                  </a:lnTo>
                  <a:lnTo>
                    <a:pt x="3871" y="7742"/>
                  </a:lnTo>
                  <a:lnTo>
                    <a:pt x="3851" y="7826"/>
                  </a:lnTo>
                  <a:lnTo>
                    <a:pt x="3788" y="7951"/>
                  </a:lnTo>
                  <a:lnTo>
                    <a:pt x="3809" y="8014"/>
                  </a:lnTo>
                  <a:lnTo>
                    <a:pt x="3851" y="8056"/>
                  </a:lnTo>
                  <a:lnTo>
                    <a:pt x="3871" y="8098"/>
                  </a:lnTo>
                  <a:lnTo>
                    <a:pt x="3851" y="8140"/>
                  </a:lnTo>
                  <a:lnTo>
                    <a:pt x="3767" y="8161"/>
                  </a:lnTo>
                  <a:lnTo>
                    <a:pt x="3746" y="8307"/>
                  </a:lnTo>
                  <a:lnTo>
                    <a:pt x="3809" y="8454"/>
                  </a:lnTo>
                  <a:lnTo>
                    <a:pt x="3913" y="8475"/>
                  </a:lnTo>
                  <a:lnTo>
                    <a:pt x="3997" y="8516"/>
                  </a:lnTo>
                  <a:lnTo>
                    <a:pt x="3997" y="8558"/>
                  </a:lnTo>
                  <a:lnTo>
                    <a:pt x="3871" y="8621"/>
                  </a:lnTo>
                  <a:lnTo>
                    <a:pt x="3788" y="8621"/>
                  </a:lnTo>
                  <a:lnTo>
                    <a:pt x="3683" y="8516"/>
                  </a:lnTo>
                  <a:lnTo>
                    <a:pt x="3599" y="8516"/>
                  </a:lnTo>
                  <a:lnTo>
                    <a:pt x="3558" y="8558"/>
                  </a:lnTo>
                  <a:lnTo>
                    <a:pt x="3495" y="8516"/>
                  </a:lnTo>
                  <a:lnTo>
                    <a:pt x="3432" y="8516"/>
                  </a:lnTo>
                  <a:lnTo>
                    <a:pt x="3286" y="8558"/>
                  </a:lnTo>
                  <a:lnTo>
                    <a:pt x="3223" y="8516"/>
                  </a:lnTo>
                  <a:lnTo>
                    <a:pt x="3118" y="8537"/>
                  </a:lnTo>
                  <a:lnTo>
                    <a:pt x="2972" y="8579"/>
                  </a:lnTo>
                  <a:lnTo>
                    <a:pt x="2930" y="8663"/>
                  </a:lnTo>
                  <a:lnTo>
                    <a:pt x="2930" y="8726"/>
                  </a:lnTo>
                  <a:lnTo>
                    <a:pt x="2930" y="8788"/>
                  </a:lnTo>
                  <a:lnTo>
                    <a:pt x="2867" y="8830"/>
                  </a:lnTo>
                  <a:lnTo>
                    <a:pt x="2867" y="8893"/>
                  </a:lnTo>
                  <a:lnTo>
                    <a:pt x="3014" y="9039"/>
                  </a:lnTo>
                  <a:lnTo>
                    <a:pt x="3014" y="9102"/>
                  </a:lnTo>
                  <a:lnTo>
                    <a:pt x="3035" y="9144"/>
                  </a:lnTo>
                  <a:lnTo>
                    <a:pt x="3139" y="9102"/>
                  </a:lnTo>
                  <a:lnTo>
                    <a:pt x="3160" y="9186"/>
                  </a:lnTo>
                  <a:lnTo>
                    <a:pt x="3139" y="9207"/>
                  </a:lnTo>
                  <a:lnTo>
                    <a:pt x="3055" y="9165"/>
                  </a:lnTo>
                  <a:lnTo>
                    <a:pt x="3014" y="9186"/>
                  </a:lnTo>
                  <a:lnTo>
                    <a:pt x="2930" y="9249"/>
                  </a:lnTo>
                  <a:lnTo>
                    <a:pt x="2867" y="9207"/>
                  </a:lnTo>
                  <a:lnTo>
                    <a:pt x="2825" y="9207"/>
                  </a:lnTo>
                  <a:lnTo>
                    <a:pt x="2763" y="9186"/>
                  </a:lnTo>
                  <a:lnTo>
                    <a:pt x="2616" y="9207"/>
                  </a:lnTo>
                  <a:lnTo>
                    <a:pt x="2532" y="9186"/>
                  </a:lnTo>
                  <a:lnTo>
                    <a:pt x="2491" y="9249"/>
                  </a:lnTo>
                  <a:lnTo>
                    <a:pt x="2491" y="9291"/>
                  </a:lnTo>
                  <a:lnTo>
                    <a:pt x="2553" y="9395"/>
                  </a:lnTo>
                  <a:lnTo>
                    <a:pt x="2637" y="9395"/>
                  </a:lnTo>
                  <a:lnTo>
                    <a:pt x="2742" y="9416"/>
                  </a:lnTo>
                  <a:lnTo>
                    <a:pt x="2804" y="9521"/>
                  </a:lnTo>
                  <a:lnTo>
                    <a:pt x="2846" y="9563"/>
                  </a:lnTo>
                  <a:lnTo>
                    <a:pt x="2909" y="9688"/>
                  </a:lnTo>
                  <a:lnTo>
                    <a:pt x="2951" y="9709"/>
                  </a:lnTo>
                  <a:lnTo>
                    <a:pt x="2972" y="9772"/>
                  </a:lnTo>
                  <a:lnTo>
                    <a:pt x="3139" y="9939"/>
                  </a:lnTo>
                  <a:lnTo>
                    <a:pt x="3139" y="10086"/>
                  </a:lnTo>
                  <a:lnTo>
                    <a:pt x="3139" y="10211"/>
                  </a:lnTo>
                  <a:lnTo>
                    <a:pt x="3181" y="10211"/>
                  </a:lnTo>
                  <a:lnTo>
                    <a:pt x="3286" y="10190"/>
                  </a:lnTo>
                  <a:lnTo>
                    <a:pt x="3327" y="10190"/>
                  </a:lnTo>
                  <a:lnTo>
                    <a:pt x="3369" y="10211"/>
                  </a:lnTo>
                  <a:lnTo>
                    <a:pt x="3432" y="10295"/>
                  </a:lnTo>
                  <a:lnTo>
                    <a:pt x="3474" y="10337"/>
                  </a:lnTo>
                  <a:lnTo>
                    <a:pt x="3537" y="10441"/>
                  </a:lnTo>
                  <a:lnTo>
                    <a:pt x="3579" y="10441"/>
                  </a:lnTo>
                  <a:lnTo>
                    <a:pt x="3662" y="10420"/>
                  </a:lnTo>
                  <a:lnTo>
                    <a:pt x="3767" y="10441"/>
                  </a:lnTo>
                  <a:lnTo>
                    <a:pt x="3871" y="10462"/>
                  </a:lnTo>
                  <a:lnTo>
                    <a:pt x="3976" y="10462"/>
                  </a:lnTo>
                  <a:lnTo>
                    <a:pt x="4018" y="10504"/>
                  </a:lnTo>
                  <a:lnTo>
                    <a:pt x="3997" y="10546"/>
                  </a:lnTo>
                  <a:lnTo>
                    <a:pt x="3997" y="10609"/>
                  </a:lnTo>
                  <a:lnTo>
                    <a:pt x="3997" y="10755"/>
                  </a:lnTo>
                  <a:lnTo>
                    <a:pt x="3913" y="10923"/>
                  </a:lnTo>
                  <a:lnTo>
                    <a:pt x="3955" y="11048"/>
                  </a:lnTo>
                  <a:lnTo>
                    <a:pt x="3976" y="11195"/>
                  </a:lnTo>
                  <a:lnTo>
                    <a:pt x="4311" y="10881"/>
                  </a:lnTo>
                  <a:lnTo>
                    <a:pt x="4604" y="10776"/>
                  </a:lnTo>
                  <a:lnTo>
                    <a:pt x="4959" y="10839"/>
                  </a:lnTo>
                  <a:lnTo>
                    <a:pt x="5378" y="11069"/>
                  </a:lnTo>
                  <a:lnTo>
                    <a:pt x="5755" y="11508"/>
                  </a:lnTo>
                  <a:lnTo>
                    <a:pt x="5985" y="11467"/>
                  </a:lnTo>
                  <a:lnTo>
                    <a:pt x="6068" y="11446"/>
                  </a:lnTo>
                  <a:lnTo>
                    <a:pt x="5629" y="8726"/>
                  </a:lnTo>
                  <a:lnTo>
                    <a:pt x="7136" y="8433"/>
                  </a:lnTo>
                  <a:lnTo>
                    <a:pt x="8056" y="9060"/>
                  </a:lnTo>
                  <a:lnTo>
                    <a:pt x="8391" y="9186"/>
                  </a:lnTo>
                  <a:lnTo>
                    <a:pt x="8893" y="9479"/>
                  </a:lnTo>
                  <a:lnTo>
                    <a:pt x="9751" y="9395"/>
                  </a:lnTo>
                  <a:lnTo>
                    <a:pt x="10693" y="9395"/>
                  </a:lnTo>
                  <a:lnTo>
                    <a:pt x="10985" y="9604"/>
                  </a:lnTo>
                  <a:lnTo>
                    <a:pt x="11132" y="9981"/>
                  </a:lnTo>
                  <a:lnTo>
                    <a:pt x="11320" y="9897"/>
                  </a:lnTo>
                  <a:lnTo>
                    <a:pt x="11341" y="10713"/>
                  </a:lnTo>
                  <a:lnTo>
                    <a:pt x="11760" y="10755"/>
                  </a:lnTo>
                  <a:lnTo>
                    <a:pt x="11990" y="11446"/>
                  </a:lnTo>
                  <a:lnTo>
                    <a:pt x="12115" y="11446"/>
                  </a:lnTo>
                  <a:lnTo>
                    <a:pt x="12366" y="11299"/>
                  </a:lnTo>
                  <a:lnTo>
                    <a:pt x="12555" y="11278"/>
                  </a:lnTo>
                  <a:lnTo>
                    <a:pt x="12743" y="11299"/>
                  </a:lnTo>
                  <a:lnTo>
                    <a:pt x="12994" y="11446"/>
                  </a:lnTo>
                  <a:lnTo>
                    <a:pt x="13078" y="11467"/>
                  </a:lnTo>
                  <a:lnTo>
                    <a:pt x="13287" y="11257"/>
                  </a:lnTo>
                  <a:lnTo>
                    <a:pt x="13413" y="11048"/>
                  </a:lnTo>
                  <a:lnTo>
                    <a:pt x="13475" y="10964"/>
                  </a:lnTo>
                  <a:lnTo>
                    <a:pt x="13538" y="10818"/>
                  </a:lnTo>
                  <a:lnTo>
                    <a:pt x="13789" y="10525"/>
                  </a:lnTo>
                  <a:lnTo>
                    <a:pt x="13894" y="10504"/>
                  </a:lnTo>
                  <a:lnTo>
                    <a:pt x="13998" y="10337"/>
                  </a:lnTo>
                  <a:lnTo>
                    <a:pt x="14040" y="10337"/>
                  </a:lnTo>
                  <a:lnTo>
                    <a:pt x="14040" y="10295"/>
                  </a:lnTo>
                  <a:lnTo>
                    <a:pt x="14166" y="10211"/>
                  </a:lnTo>
                  <a:lnTo>
                    <a:pt x="14145" y="10148"/>
                  </a:lnTo>
                  <a:lnTo>
                    <a:pt x="14250" y="10023"/>
                  </a:lnTo>
                  <a:lnTo>
                    <a:pt x="14438" y="10044"/>
                  </a:lnTo>
                  <a:lnTo>
                    <a:pt x="14543" y="10107"/>
                  </a:lnTo>
                  <a:lnTo>
                    <a:pt x="14961" y="10148"/>
                  </a:lnTo>
                  <a:lnTo>
                    <a:pt x="15317" y="10148"/>
                  </a:lnTo>
                  <a:lnTo>
                    <a:pt x="15505" y="10107"/>
                  </a:lnTo>
                  <a:lnTo>
                    <a:pt x="15484" y="9981"/>
                  </a:lnTo>
                  <a:lnTo>
                    <a:pt x="15463" y="9835"/>
                  </a:lnTo>
                  <a:lnTo>
                    <a:pt x="15463" y="9709"/>
                  </a:lnTo>
                  <a:lnTo>
                    <a:pt x="15505" y="9667"/>
                  </a:lnTo>
                  <a:lnTo>
                    <a:pt x="15610" y="9688"/>
                  </a:lnTo>
                  <a:lnTo>
                    <a:pt x="15777" y="9709"/>
                  </a:lnTo>
                  <a:lnTo>
                    <a:pt x="15819" y="9667"/>
                  </a:lnTo>
                  <a:lnTo>
                    <a:pt x="16007" y="9667"/>
                  </a:lnTo>
                  <a:lnTo>
                    <a:pt x="16133" y="9730"/>
                  </a:lnTo>
                  <a:lnTo>
                    <a:pt x="16342" y="9793"/>
                  </a:lnTo>
                  <a:lnTo>
                    <a:pt x="16677" y="9835"/>
                  </a:lnTo>
                  <a:lnTo>
                    <a:pt x="16781" y="9793"/>
                  </a:lnTo>
                  <a:lnTo>
                    <a:pt x="16886" y="9709"/>
                  </a:lnTo>
                  <a:lnTo>
                    <a:pt x="17032" y="9730"/>
                  </a:lnTo>
                  <a:lnTo>
                    <a:pt x="17158" y="9730"/>
                  </a:lnTo>
                  <a:lnTo>
                    <a:pt x="17451" y="9667"/>
                  </a:lnTo>
                  <a:lnTo>
                    <a:pt x="17723" y="9730"/>
                  </a:lnTo>
                  <a:lnTo>
                    <a:pt x="17911" y="9688"/>
                  </a:lnTo>
                  <a:lnTo>
                    <a:pt x="18246" y="9688"/>
                  </a:lnTo>
                  <a:lnTo>
                    <a:pt x="18497" y="9793"/>
                  </a:lnTo>
                  <a:lnTo>
                    <a:pt x="18602" y="9772"/>
                  </a:lnTo>
                  <a:lnTo>
                    <a:pt x="18853" y="10044"/>
                  </a:lnTo>
                  <a:lnTo>
                    <a:pt x="19083" y="10107"/>
                  </a:lnTo>
                  <a:lnTo>
                    <a:pt x="19229" y="10044"/>
                  </a:lnTo>
                  <a:lnTo>
                    <a:pt x="19188" y="9897"/>
                  </a:lnTo>
                  <a:lnTo>
                    <a:pt x="19313" y="9814"/>
                  </a:lnTo>
                  <a:lnTo>
                    <a:pt x="19313" y="9772"/>
                  </a:lnTo>
                  <a:lnTo>
                    <a:pt x="19376" y="9730"/>
                  </a:lnTo>
                  <a:lnTo>
                    <a:pt x="19271" y="9625"/>
                  </a:lnTo>
                  <a:lnTo>
                    <a:pt x="19313" y="9521"/>
                  </a:lnTo>
                  <a:lnTo>
                    <a:pt x="19397" y="9458"/>
                  </a:lnTo>
                  <a:lnTo>
                    <a:pt x="19355" y="9207"/>
                  </a:lnTo>
                  <a:lnTo>
                    <a:pt x="19229" y="9144"/>
                  </a:lnTo>
                  <a:lnTo>
                    <a:pt x="19188" y="9039"/>
                  </a:lnTo>
                  <a:lnTo>
                    <a:pt x="19083" y="8851"/>
                  </a:lnTo>
                  <a:lnTo>
                    <a:pt x="19062" y="8747"/>
                  </a:lnTo>
                  <a:lnTo>
                    <a:pt x="19020" y="8663"/>
                  </a:lnTo>
                  <a:lnTo>
                    <a:pt x="19020" y="8579"/>
                  </a:lnTo>
                  <a:lnTo>
                    <a:pt x="18957" y="8412"/>
                  </a:lnTo>
                  <a:lnTo>
                    <a:pt x="19041" y="8328"/>
                  </a:lnTo>
                  <a:lnTo>
                    <a:pt x="19041" y="8265"/>
                  </a:lnTo>
                  <a:lnTo>
                    <a:pt x="18916" y="8244"/>
                  </a:lnTo>
                  <a:lnTo>
                    <a:pt x="18748" y="8265"/>
                  </a:lnTo>
                  <a:lnTo>
                    <a:pt x="18644" y="8202"/>
                  </a:lnTo>
                  <a:lnTo>
                    <a:pt x="18644" y="8119"/>
                  </a:lnTo>
                  <a:lnTo>
                    <a:pt x="18748" y="8014"/>
                  </a:lnTo>
                  <a:lnTo>
                    <a:pt x="18853" y="7951"/>
                  </a:lnTo>
                  <a:lnTo>
                    <a:pt x="18916" y="8014"/>
                  </a:lnTo>
                  <a:lnTo>
                    <a:pt x="19020" y="8014"/>
                  </a:lnTo>
                  <a:lnTo>
                    <a:pt x="19167" y="7930"/>
                  </a:lnTo>
                  <a:lnTo>
                    <a:pt x="19439" y="7889"/>
                  </a:lnTo>
                  <a:lnTo>
                    <a:pt x="19564" y="7847"/>
                  </a:lnTo>
                  <a:lnTo>
                    <a:pt x="19648" y="7826"/>
                  </a:lnTo>
                  <a:lnTo>
                    <a:pt x="19711" y="7889"/>
                  </a:lnTo>
                  <a:lnTo>
                    <a:pt x="19794" y="7889"/>
                  </a:lnTo>
                  <a:lnTo>
                    <a:pt x="19878" y="7826"/>
                  </a:lnTo>
                  <a:lnTo>
                    <a:pt x="19962" y="7826"/>
                  </a:lnTo>
                  <a:lnTo>
                    <a:pt x="19962" y="7742"/>
                  </a:lnTo>
                  <a:lnTo>
                    <a:pt x="20004" y="7617"/>
                  </a:lnTo>
                  <a:lnTo>
                    <a:pt x="19878" y="7575"/>
                  </a:lnTo>
                  <a:lnTo>
                    <a:pt x="19815" y="7512"/>
                  </a:lnTo>
                  <a:lnTo>
                    <a:pt x="19836" y="7428"/>
                  </a:lnTo>
                  <a:lnTo>
                    <a:pt x="19836" y="7177"/>
                  </a:lnTo>
                  <a:lnTo>
                    <a:pt x="19899" y="6842"/>
                  </a:lnTo>
                  <a:lnTo>
                    <a:pt x="19899" y="6696"/>
                  </a:lnTo>
                  <a:lnTo>
                    <a:pt x="19962" y="6550"/>
                  </a:lnTo>
                  <a:lnTo>
                    <a:pt x="20004" y="6278"/>
                  </a:lnTo>
                  <a:lnTo>
                    <a:pt x="20213" y="6278"/>
                  </a:lnTo>
                  <a:lnTo>
                    <a:pt x="20422" y="6361"/>
                  </a:lnTo>
                  <a:lnTo>
                    <a:pt x="20589" y="6382"/>
                  </a:lnTo>
                  <a:lnTo>
                    <a:pt x="20820" y="6340"/>
                  </a:lnTo>
                  <a:lnTo>
                    <a:pt x="20882" y="6340"/>
                  </a:lnTo>
                  <a:lnTo>
                    <a:pt x="20924" y="6424"/>
                  </a:lnTo>
                  <a:lnTo>
                    <a:pt x="21008" y="6424"/>
                  </a:lnTo>
                  <a:lnTo>
                    <a:pt x="21071" y="6382"/>
                  </a:lnTo>
                  <a:lnTo>
                    <a:pt x="21154" y="6278"/>
                  </a:lnTo>
                  <a:lnTo>
                    <a:pt x="21280" y="6236"/>
                  </a:lnTo>
                  <a:lnTo>
                    <a:pt x="21447" y="6068"/>
                  </a:lnTo>
                  <a:lnTo>
                    <a:pt x="21447" y="6006"/>
                  </a:lnTo>
                  <a:lnTo>
                    <a:pt x="21343" y="5838"/>
                  </a:lnTo>
                  <a:lnTo>
                    <a:pt x="21238" y="5608"/>
                  </a:lnTo>
                  <a:lnTo>
                    <a:pt x="21238" y="5378"/>
                  </a:lnTo>
                  <a:lnTo>
                    <a:pt x="21259" y="5231"/>
                  </a:lnTo>
                  <a:lnTo>
                    <a:pt x="21343" y="5169"/>
                  </a:lnTo>
                  <a:lnTo>
                    <a:pt x="21531" y="5106"/>
                  </a:lnTo>
                  <a:lnTo>
                    <a:pt x="21594" y="4980"/>
                  </a:lnTo>
                  <a:lnTo>
                    <a:pt x="21552" y="4917"/>
                  </a:lnTo>
                  <a:lnTo>
                    <a:pt x="21573" y="4813"/>
                  </a:lnTo>
                  <a:lnTo>
                    <a:pt x="21698" y="4666"/>
                  </a:lnTo>
                  <a:lnTo>
                    <a:pt x="21803" y="4604"/>
                  </a:lnTo>
                  <a:lnTo>
                    <a:pt x="21908" y="4499"/>
                  </a:lnTo>
                  <a:lnTo>
                    <a:pt x="21887" y="4478"/>
                  </a:lnTo>
                  <a:lnTo>
                    <a:pt x="21866" y="4457"/>
                  </a:lnTo>
                  <a:lnTo>
                    <a:pt x="21698" y="4394"/>
                  </a:lnTo>
                  <a:lnTo>
                    <a:pt x="21573" y="4269"/>
                  </a:lnTo>
                  <a:lnTo>
                    <a:pt x="21489" y="4269"/>
                  </a:lnTo>
                  <a:lnTo>
                    <a:pt x="21447" y="4164"/>
                  </a:lnTo>
                  <a:lnTo>
                    <a:pt x="21489" y="4039"/>
                  </a:lnTo>
                  <a:lnTo>
                    <a:pt x="21447" y="3976"/>
                  </a:lnTo>
                  <a:lnTo>
                    <a:pt x="21343" y="4060"/>
                  </a:lnTo>
                  <a:lnTo>
                    <a:pt x="21259" y="4164"/>
                  </a:lnTo>
                  <a:lnTo>
                    <a:pt x="21154" y="4185"/>
                  </a:lnTo>
                  <a:lnTo>
                    <a:pt x="20861" y="4227"/>
                  </a:lnTo>
                  <a:lnTo>
                    <a:pt x="20799" y="4269"/>
                  </a:lnTo>
                  <a:lnTo>
                    <a:pt x="20757" y="4332"/>
                  </a:lnTo>
                  <a:lnTo>
                    <a:pt x="20652" y="4269"/>
                  </a:lnTo>
                  <a:lnTo>
                    <a:pt x="20548" y="4227"/>
                  </a:lnTo>
                  <a:lnTo>
                    <a:pt x="20506" y="4227"/>
                  </a:lnTo>
                  <a:lnTo>
                    <a:pt x="20485" y="4185"/>
                  </a:lnTo>
                  <a:lnTo>
                    <a:pt x="20422" y="4143"/>
                  </a:lnTo>
                  <a:lnTo>
                    <a:pt x="20401" y="4060"/>
                  </a:lnTo>
                  <a:lnTo>
                    <a:pt x="20359" y="3976"/>
                  </a:lnTo>
                  <a:lnTo>
                    <a:pt x="20401" y="3934"/>
                  </a:lnTo>
                  <a:lnTo>
                    <a:pt x="20401" y="3850"/>
                  </a:lnTo>
                  <a:lnTo>
                    <a:pt x="20317" y="3809"/>
                  </a:lnTo>
                  <a:lnTo>
                    <a:pt x="20276" y="3809"/>
                  </a:lnTo>
                  <a:lnTo>
                    <a:pt x="20129" y="3725"/>
                  </a:lnTo>
                  <a:lnTo>
                    <a:pt x="20004" y="3704"/>
                  </a:lnTo>
                  <a:lnTo>
                    <a:pt x="19962" y="3704"/>
                  </a:lnTo>
                  <a:lnTo>
                    <a:pt x="19899" y="3557"/>
                  </a:lnTo>
                  <a:lnTo>
                    <a:pt x="19794" y="3390"/>
                  </a:lnTo>
                  <a:lnTo>
                    <a:pt x="19648" y="3244"/>
                  </a:lnTo>
                  <a:lnTo>
                    <a:pt x="19460" y="3223"/>
                  </a:lnTo>
                  <a:lnTo>
                    <a:pt x="19250" y="3223"/>
                  </a:lnTo>
                  <a:lnTo>
                    <a:pt x="19062" y="3244"/>
                  </a:lnTo>
                  <a:lnTo>
                    <a:pt x="19041" y="3306"/>
                  </a:lnTo>
                  <a:lnTo>
                    <a:pt x="19083" y="3348"/>
                  </a:lnTo>
                  <a:lnTo>
                    <a:pt x="19062" y="3411"/>
                  </a:lnTo>
                  <a:lnTo>
                    <a:pt x="18936" y="3453"/>
                  </a:lnTo>
                  <a:lnTo>
                    <a:pt x="18853" y="3432"/>
                  </a:lnTo>
                  <a:lnTo>
                    <a:pt x="18727" y="3495"/>
                  </a:lnTo>
                  <a:lnTo>
                    <a:pt x="18560" y="3411"/>
                  </a:lnTo>
                  <a:lnTo>
                    <a:pt x="18497" y="3432"/>
                  </a:lnTo>
                  <a:lnTo>
                    <a:pt x="18413" y="3495"/>
                  </a:lnTo>
                  <a:lnTo>
                    <a:pt x="18309" y="3495"/>
                  </a:lnTo>
                  <a:lnTo>
                    <a:pt x="18204" y="3411"/>
                  </a:lnTo>
                  <a:lnTo>
                    <a:pt x="18079" y="3348"/>
                  </a:lnTo>
                  <a:lnTo>
                    <a:pt x="18079" y="3285"/>
                  </a:lnTo>
                  <a:lnTo>
                    <a:pt x="18100" y="3202"/>
                  </a:lnTo>
                  <a:lnTo>
                    <a:pt x="17911" y="3118"/>
                  </a:lnTo>
                  <a:lnTo>
                    <a:pt x="17828" y="3181"/>
                  </a:lnTo>
                  <a:lnTo>
                    <a:pt x="17828" y="3306"/>
                  </a:lnTo>
                  <a:lnTo>
                    <a:pt x="17869" y="3327"/>
                  </a:lnTo>
                  <a:lnTo>
                    <a:pt x="17828" y="3390"/>
                  </a:lnTo>
                  <a:lnTo>
                    <a:pt x="17744" y="3453"/>
                  </a:lnTo>
                  <a:lnTo>
                    <a:pt x="17597" y="3453"/>
                  </a:lnTo>
                  <a:lnTo>
                    <a:pt x="16175" y="1695"/>
                  </a:lnTo>
                  <a:lnTo>
                    <a:pt x="15170" y="921"/>
                  </a:lnTo>
                  <a:lnTo>
                    <a:pt x="15107" y="837"/>
                  </a:lnTo>
                  <a:lnTo>
                    <a:pt x="15191" y="816"/>
                  </a:lnTo>
                  <a:lnTo>
                    <a:pt x="15296" y="712"/>
                  </a:lnTo>
                  <a:lnTo>
                    <a:pt x="15296" y="607"/>
                  </a:lnTo>
                  <a:lnTo>
                    <a:pt x="15254" y="565"/>
                  </a:lnTo>
                  <a:lnTo>
                    <a:pt x="15087" y="607"/>
                  </a:lnTo>
                  <a:lnTo>
                    <a:pt x="14961" y="628"/>
                  </a:lnTo>
                  <a:lnTo>
                    <a:pt x="14877" y="733"/>
                  </a:lnTo>
                  <a:lnTo>
                    <a:pt x="14773" y="775"/>
                  </a:lnTo>
                  <a:lnTo>
                    <a:pt x="14647" y="900"/>
                  </a:lnTo>
                  <a:lnTo>
                    <a:pt x="14647" y="984"/>
                  </a:lnTo>
                  <a:lnTo>
                    <a:pt x="14563" y="1047"/>
                  </a:lnTo>
                  <a:lnTo>
                    <a:pt x="14522" y="1151"/>
                  </a:lnTo>
                  <a:lnTo>
                    <a:pt x="14417" y="1235"/>
                  </a:lnTo>
                  <a:lnTo>
                    <a:pt x="14229" y="1235"/>
                  </a:lnTo>
                  <a:lnTo>
                    <a:pt x="14124" y="1298"/>
                  </a:lnTo>
                  <a:lnTo>
                    <a:pt x="14145" y="1423"/>
                  </a:lnTo>
                  <a:lnTo>
                    <a:pt x="14061" y="1465"/>
                  </a:lnTo>
                  <a:lnTo>
                    <a:pt x="14019" y="1423"/>
                  </a:lnTo>
                  <a:lnTo>
                    <a:pt x="13789" y="1360"/>
                  </a:lnTo>
                  <a:lnTo>
                    <a:pt x="13643" y="1423"/>
                  </a:lnTo>
                  <a:lnTo>
                    <a:pt x="13601" y="1507"/>
                  </a:lnTo>
                  <a:lnTo>
                    <a:pt x="13517" y="1507"/>
                  </a:lnTo>
                  <a:lnTo>
                    <a:pt x="13434" y="1402"/>
                  </a:lnTo>
                  <a:lnTo>
                    <a:pt x="13434" y="1235"/>
                  </a:lnTo>
                  <a:lnTo>
                    <a:pt x="13517" y="1172"/>
                  </a:lnTo>
                  <a:lnTo>
                    <a:pt x="13538" y="1088"/>
                  </a:lnTo>
                  <a:lnTo>
                    <a:pt x="13496" y="1026"/>
                  </a:lnTo>
                  <a:lnTo>
                    <a:pt x="13413" y="1109"/>
                  </a:lnTo>
                  <a:lnTo>
                    <a:pt x="13329" y="1109"/>
                  </a:lnTo>
                  <a:lnTo>
                    <a:pt x="13120" y="1005"/>
                  </a:lnTo>
                  <a:lnTo>
                    <a:pt x="12994" y="1026"/>
                  </a:lnTo>
                  <a:lnTo>
                    <a:pt x="13015" y="1109"/>
                  </a:lnTo>
                  <a:lnTo>
                    <a:pt x="13078" y="1130"/>
                  </a:lnTo>
                  <a:lnTo>
                    <a:pt x="12994" y="1214"/>
                  </a:lnTo>
                  <a:lnTo>
                    <a:pt x="12952" y="1214"/>
                  </a:lnTo>
                  <a:lnTo>
                    <a:pt x="12869" y="1088"/>
                  </a:lnTo>
                  <a:lnTo>
                    <a:pt x="12848" y="900"/>
                  </a:lnTo>
                  <a:lnTo>
                    <a:pt x="12638" y="733"/>
                  </a:lnTo>
                  <a:lnTo>
                    <a:pt x="12597" y="775"/>
                  </a:lnTo>
                  <a:lnTo>
                    <a:pt x="12638" y="900"/>
                  </a:lnTo>
                  <a:lnTo>
                    <a:pt x="12638" y="984"/>
                  </a:lnTo>
                  <a:lnTo>
                    <a:pt x="12555" y="984"/>
                  </a:lnTo>
                  <a:lnTo>
                    <a:pt x="12513" y="879"/>
                  </a:lnTo>
                  <a:lnTo>
                    <a:pt x="12450" y="900"/>
                  </a:lnTo>
                  <a:lnTo>
                    <a:pt x="12429" y="1005"/>
                  </a:lnTo>
                  <a:lnTo>
                    <a:pt x="12366" y="1026"/>
                  </a:lnTo>
                  <a:lnTo>
                    <a:pt x="12262" y="942"/>
                  </a:lnTo>
                  <a:lnTo>
                    <a:pt x="12136" y="1026"/>
                  </a:lnTo>
                  <a:lnTo>
                    <a:pt x="12074" y="984"/>
                  </a:lnTo>
                  <a:lnTo>
                    <a:pt x="12032" y="879"/>
                  </a:lnTo>
                  <a:lnTo>
                    <a:pt x="12115" y="837"/>
                  </a:lnTo>
                  <a:lnTo>
                    <a:pt x="12136" y="796"/>
                  </a:lnTo>
                  <a:lnTo>
                    <a:pt x="12115" y="691"/>
                  </a:lnTo>
                  <a:lnTo>
                    <a:pt x="12136" y="586"/>
                  </a:lnTo>
                  <a:lnTo>
                    <a:pt x="12115" y="524"/>
                  </a:lnTo>
                  <a:lnTo>
                    <a:pt x="12032" y="482"/>
                  </a:lnTo>
                  <a:lnTo>
                    <a:pt x="11948" y="398"/>
                  </a:lnTo>
                  <a:lnTo>
                    <a:pt x="11927" y="272"/>
                  </a:lnTo>
                  <a:lnTo>
                    <a:pt x="11864" y="252"/>
                  </a:lnTo>
                  <a:lnTo>
                    <a:pt x="11822" y="84"/>
                  </a:lnTo>
                  <a:lnTo>
                    <a:pt x="11718" y="84"/>
                  </a:lnTo>
                  <a:lnTo>
                    <a:pt x="11592" y="126"/>
                  </a:lnTo>
                  <a:lnTo>
                    <a:pt x="11446" y="126"/>
                  </a:lnTo>
                  <a:lnTo>
                    <a:pt x="11299" y="42"/>
                  </a:lnTo>
                  <a:lnTo>
                    <a:pt x="11132" y="63"/>
                  </a:lnTo>
                  <a:lnTo>
                    <a:pt x="11006" y="0"/>
                  </a:lnTo>
                  <a:lnTo>
                    <a:pt x="10902" y="42"/>
                  </a:lnTo>
                  <a:lnTo>
                    <a:pt x="108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Google Shape;12185;p43">
              <a:extLst>
                <a:ext uri="{FF2B5EF4-FFF2-40B4-BE49-F238E27FC236}">
                  <a16:creationId xmlns:a16="http://schemas.microsoft.com/office/drawing/2014/main" id="{F6810319-CC32-4411-CD52-7A31A47547E4}"/>
                </a:ext>
              </a:extLst>
            </p:cNvPr>
            <p:cNvSpPr/>
            <p:nvPr/>
          </p:nvSpPr>
          <p:spPr>
            <a:xfrm>
              <a:off x="4105619" y="2816249"/>
              <a:ext cx="110383" cy="65688"/>
            </a:xfrm>
            <a:custGeom>
              <a:avLst/>
              <a:gdLst/>
              <a:ahLst/>
              <a:cxnLst/>
              <a:rect l="l" t="t" r="r" b="b"/>
              <a:pathLst>
                <a:path w="9270" h="5776" extrusionOk="0">
                  <a:moveTo>
                    <a:pt x="1507" y="1"/>
                  </a:moveTo>
                  <a:lnTo>
                    <a:pt x="0" y="294"/>
                  </a:lnTo>
                  <a:lnTo>
                    <a:pt x="439" y="3014"/>
                  </a:lnTo>
                  <a:lnTo>
                    <a:pt x="732" y="3014"/>
                  </a:lnTo>
                  <a:lnTo>
                    <a:pt x="963" y="3035"/>
                  </a:lnTo>
                  <a:lnTo>
                    <a:pt x="1004" y="2909"/>
                  </a:lnTo>
                  <a:lnTo>
                    <a:pt x="900" y="2804"/>
                  </a:lnTo>
                  <a:lnTo>
                    <a:pt x="879" y="2595"/>
                  </a:lnTo>
                  <a:lnTo>
                    <a:pt x="983" y="2344"/>
                  </a:lnTo>
                  <a:lnTo>
                    <a:pt x="1172" y="2323"/>
                  </a:lnTo>
                  <a:lnTo>
                    <a:pt x="1276" y="2198"/>
                  </a:lnTo>
                  <a:lnTo>
                    <a:pt x="1402" y="2114"/>
                  </a:lnTo>
                  <a:lnTo>
                    <a:pt x="1527" y="2198"/>
                  </a:lnTo>
                  <a:lnTo>
                    <a:pt x="1611" y="2135"/>
                  </a:lnTo>
                  <a:lnTo>
                    <a:pt x="1507" y="2009"/>
                  </a:lnTo>
                  <a:lnTo>
                    <a:pt x="1779" y="2030"/>
                  </a:lnTo>
                  <a:lnTo>
                    <a:pt x="2155" y="2219"/>
                  </a:lnTo>
                  <a:lnTo>
                    <a:pt x="2511" y="2428"/>
                  </a:lnTo>
                  <a:lnTo>
                    <a:pt x="2532" y="2553"/>
                  </a:lnTo>
                  <a:lnTo>
                    <a:pt x="2971" y="2804"/>
                  </a:lnTo>
                  <a:lnTo>
                    <a:pt x="3306" y="2951"/>
                  </a:lnTo>
                  <a:lnTo>
                    <a:pt x="3390" y="2909"/>
                  </a:lnTo>
                  <a:lnTo>
                    <a:pt x="3515" y="2930"/>
                  </a:lnTo>
                  <a:lnTo>
                    <a:pt x="3766" y="3076"/>
                  </a:lnTo>
                  <a:lnTo>
                    <a:pt x="3871" y="3432"/>
                  </a:lnTo>
                  <a:lnTo>
                    <a:pt x="3976" y="3537"/>
                  </a:lnTo>
                  <a:lnTo>
                    <a:pt x="4017" y="3662"/>
                  </a:lnTo>
                  <a:lnTo>
                    <a:pt x="4143" y="3913"/>
                  </a:lnTo>
                  <a:lnTo>
                    <a:pt x="4352" y="3997"/>
                  </a:lnTo>
                  <a:lnTo>
                    <a:pt x="4729" y="4227"/>
                  </a:lnTo>
                  <a:lnTo>
                    <a:pt x="5126" y="4520"/>
                  </a:lnTo>
                  <a:lnTo>
                    <a:pt x="5545" y="4708"/>
                  </a:lnTo>
                  <a:lnTo>
                    <a:pt x="5921" y="5001"/>
                  </a:lnTo>
                  <a:lnTo>
                    <a:pt x="6235" y="5022"/>
                  </a:lnTo>
                  <a:lnTo>
                    <a:pt x="6319" y="5106"/>
                  </a:lnTo>
                  <a:lnTo>
                    <a:pt x="6403" y="5106"/>
                  </a:lnTo>
                  <a:lnTo>
                    <a:pt x="6612" y="5232"/>
                  </a:lnTo>
                  <a:lnTo>
                    <a:pt x="6612" y="5378"/>
                  </a:lnTo>
                  <a:lnTo>
                    <a:pt x="6633" y="5650"/>
                  </a:lnTo>
                  <a:lnTo>
                    <a:pt x="6821" y="5587"/>
                  </a:lnTo>
                  <a:lnTo>
                    <a:pt x="6926" y="5671"/>
                  </a:lnTo>
                  <a:lnTo>
                    <a:pt x="7009" y="5776"/>
                  </a:lnTo>
                  <a:lnTo>
                    <a:pt x="7072" y="5776"/>
                  </a:lnTo>
                  <a:lnTo>
                    <a:pt x="7177" y="5671"/>
                  </a:lnTo>
                  <a:lnTo>
                    <a:pt x="7281" y="5692"/>
                  </a:lnTo>
                  <a:lnTo>
                    <a:pt x="7323" y="5755"/>
                  </a:lnTo>
                  <a:lnTo>
                    <a:pt x="7365" y="5378"/>
                  </a:lnTo>
                  <a:lnTo>
                    <a:pt x="7491" y="5106"/>
                  </a:lnTo>
                  <a:lnTo>
                    <a:pt x="7553" y="5043"/>
                  </a:lnTo>
                  <a:lnTo>
                    <a:pt x="7533" y="4897"/>
                  </a:lnTo>
                  <a:lnTo>
                    <a:pt x="7407" y="4834"/>
                  </a:lnTo>
                  <a:lnTo>
                    <a:pt x="7344" y="4688"/>
                  </a:lnTo>
                  <a:lnTo>
                    <a:pt x="7386" y="4541"/>
                  </a:lnTo>
                  <a:lnTo>
                    <a:pt x="7365" y="4416"/>
                  </a:lnTo>
                  <a:lnTo>
                    <a:pt x="7219" y="4436"/>
                  </a:lnTo>
                  <a:lnTo>
                    <a:pt x="7114" y="4499"/>
                  </a:lnTo>
                  <a:lnTo>
                    <a:pt x="6947" y="4269"/>
                  </a:lnTo>
                  <a:lnTo>
                    <a:pt x="6947" y="4102"/>
                  </a:lnTo>
                  <a:lnTo>
                    <a:pt x="7072" y="3997"/>
                  </a:lnTo>
                  <a:lnTo>
                    <a:pt x="7344" y="4018"/>
                  </a:lnTo>
                  <a:lnTo>
                    <a:pt x="7449" y="3997"/>
                  </a:lnTo>
                  <a:lnTo>
                    <a:pt x="7449" y="3872"/>
                  </a:lnTo>
                  <a:lnTo>
                    <a:pt x="7679" y="3788"/>
                  </a:lnTo>
                  <a:lnTo>
                    <a:pt x="7637" y="3704"/>
                  </a:lnTo>
                  <a:lnTo>
                    <a:pt x="7574" y="3662"/>
                  </a:lnTo>
                  <a:lnTo>
                    <a:pt x="7846" y="3600"/>
                  </a:lnTo>
                  <a:lnTo>
                    <a:pt x="8014" y="3537"/>
                  </a:lnTo>
                  <a:lnTo>
                    <a:pt x="8056" y="3390"/>
                  </a:lnTo>
                  <a:lnTo>
                    <a:pt x="7867" y="3328"/>
                  </a:lnTo>
                  <a:lnTo>
                    <a:pt x="7867" y="3181"/>
                  </a:lnTo>
                  <a:lnTo>
                    <a:pt x="8014" y="3139"/>
                  </a:lnTo>
                  <a:lnTo>
                    <a:pt x="8181" y="3014"/>
                  </a:lnTo>
                  <a:lnTo>
                    <a:pt x="8286" y="3035"/>
                  </a:lnTo>
                  <a:lnTo>
                    <a:pt x="8453" y="2825"/>
                  </a:lnTo>
                  <a:lnTo>
                    <a:pt x="8600" y="2951"/>
                  </a:lnTo>
                  <a:lnTo>
                    <a:pt x="8621" y="3056"/>
                  </a:lnTo>
                  <a:lnTo>
                    <a:pt x="8914" y="3014"/>
                  </a:lnTo>
                  <a:lnTo>
                    <a:pt x="9123" y="3014"/>
                  </a:lnTo>
                  <a:lnTo>
                    <a:pt x="9269" y="2825"/>
                  </a:lnTo>
                  <a:lnTo>
                    <a:pt x="9248" y="2721"/>
                  </a:lnTo>
                  <a:lnTo>
                    <a:pt x="8955" y="2491"/>
                  </a:lnTo>
                  <a:lnTo>
                    <a:pt x="8893" y="2491"/>
                  </a:lnTo>
                  <a:lnTo>
                    <a:pt x="8893" y="2637"/>
                  </a:lnTo>
                  <a:lnTo>
                    <a:pt x="8788" y="2742"/>
                  </a:lnTo>
                  <a:lnTo>
                    <a:pt x="8683" y="2721"/>
                  </a:lnTo>
                  <a:lnTo>
                    <a:pt x="8579" y="2616"/>
                  </a:lnTo>
                  <a:lnTo>
                    <a:pt x="8307" y="2532"/>
                  </a:lnTo>
                  <a:lnTo>
                    <a:pt x="8202" y="2449"/>
                  </a:lnTo>
                  <a:lnTo>
                    <a:pt x="8286" y="2323"/>
                  </a:lnTo>
                  <a:lnTo>
                    <a:pt x="8453" y="2030"/>
                  </a:lnTo>
                  <a:lnTo>
                    <a:pt x="8453" y="1905"/>
                  </a:lnTo>
                  <a:lnTo>
                    <a:pt x="8369" y="1905"/>
                  </a:lnTo>
                  <a:lnTo>
                    <a:pt x="8265" y="2072"/>
                  </a:lnTo>
                  <a:lnTo>
                    <a:pt x="8160" y="2093"/>
                  </a:lnTo>
                  <a:lnTo>
                    <a:pt x="7909" y="2386"/>
                  </a:lnTo>
                  <a:lnTo>
                    <a:pt x="7846" y="2532"/>
                  </a:lnTo>
                  <a:lnTo>
                    <a:pt x="7784" y="2616"/>
                  </a:lnTo>
                  <a:lnTo>
                    <a:pt x="7658" y="2825"/>
                  </a:lnTo>
                  <a:lnTo>
                    <a:pt x="7449" y="3035"/>
                  </a:lnTo>
                  <a:lnTo>
                    <a:pt x="7365" y="3014"/>
                  </a:lnTo>
                  <a:lnTo>
                    <a:pt x="7114" y="2867"/>
                  </a:lnTo>
                  <a:lnTo>
                    <a:pt x="6926" y="2846"/>
                  </a:lnTo>
                  <a:lnTo>
                    <a:pt x="6737" y="2867"/>
                  </a:lnTo>
                  <a:lnTo>
                    <a:pt x="6486" y="3014"/>
                  </a:lnTo>
                  <a:lnTo>
                    <a:pt x="6361" y="3014"/>
                  </a:lnTo>
                  <a:lnTo>
                    <a:pt x="6131" y="2323"/>
                  </a:lnTo>
                  <a:lnTo>
                    <a:pt x="5712" y="2281"/>
                  </a:lnTo>
                  <a:lnTo>
                    <a:pt x="5691" y="1465"/>
                  </a:lnTo>
                  <a:lnTo>
                    <a:pt x="5503" y="1549"/>
                  </a:lnTo>
                  <a:lnTo>
                    <a:pt x="5356" y="1172"/>
                  </a:lnTo>
                  <a:lnTo>
                    <a:pt x="5064" y="963"/>
                  </a:lnTo>
                  <a:lnTo>
                    <a:pt x="4122" y="963"/>
                  </a:lnTo>
                  <a:lnTo>
                    <a:pt x="3264" y="1047"/>
                  </a:lnTo>
                  <a:lnTo>
                    <a:pt x="2762" y="754"/>
                  </a:lnTo>
                  <a:lnTo>
                    <a:pt x="2427" y="628"/>
                  </a:lnTo>
                  <a:lnTo>
                    <a:pt x="15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Google Shape;12186;p43">
              <a:extLst>
                <a:ext uri="{FF2B5EF4-FFF2-40B4-BE49-F238E27FC236}">
                  <a16:creationId xmlns:a16="http://schemas.microsoft.com/office/drawing/2014/main" id="{9DF40AF0-6077-6975-3ECC-EC19F0A19D46}"/>
                </a:ext>
              </a:extLst>
            </p:cNvPr>
            <p:cNvSpPr/>
            <p:nvPr/>
          </p:nvSpPr>
          <p:spPr>
            <a:xfrm>
              <a:off x="4085936" y="2839096"/>
              <a:ext cx="98666" cy="59262"/>
            </a:xfrm>
            <a:custGeom>
              <a:avLst/>
              <a:gdLst/>
              <a:ahLst/>
              <a:cxnLst/>
              <a:rect l="l" t="t" r="r" b="b"/>
              <a:pathLst>
                <a:path w="8286" h="5211" extrusionOk="0">
                  <a:moveTo>
                    <a:pt x="3160" y="0"/>
                  </a:moveTo>
                  <a:lnTo>
                    <a:pt x="3264" y="126"/>
                  </a:lnTo>
                  <a:lnTo>
                    <a:pt x="3180" y="189"/>
                  </a:lnTo>
                  <a:lnTo>
                    <a:pt x="3055" y="105"/>
                  </a:lnTo>
                  <a:lnTo>
                    <a:pt x="2929" y="189"/>
                  </a:lnTo>
                  <a:lnTo>
                    <a:pt x="2825" y="314"/>
                  </a:lnTo>
                  <a:lnTo>
                    <a:pt x="2636" y="335"/>
                  </a:lnTo>
                  <a:lnTo>
                    <a:pt x="2532" y="586"/>
                  </a:lnTo>
                  <a:lnTo>
                    <a:pt x="2553" y="795"/>
                  </a:lnTo>
                  <a:lnTo>
                    <a:pt x="2657" y="900"/>
                  </a:lnTo>
                  <a:lnTo>
                    <a:pt x="2616" y="1026"/>
                  </a:lnTo>
                  <a:lnTo>
                    <a:pt x="2385" y="1005"/>
                  </a:lnTo>
                  <a:lnTo>
                    <a:pt x="2092" y="1005"/>
                  </a:lnTo>
                  <a:lnTo>
                    <a:pt x="2009" y="1026"/>
                  </a:lnTo>
                  <a:lnTo>
                    <a:pt x="1779" y="1067"/>
                  </a:lnTo>
                  <a:lnTo>
                    <a:pt x="1402" y="628"/>
                  </a:lnTo>
                  <a:lnTo>
                    <a:pt x="983" y="398"/>
                  </a:lnTo>
                  <a:lnTo>
                    <a:pt x="628" y="335"/>
                  </a:lnTo>
                  <a:lnTo>
                    <a:pt x="335" y="440"/>
                  </a:lnTo>
                  <a:lnTo>
                    <a:pt x="0" y="754"/>
                  </a:lnTo>
                  <a:lnTo>
                    <a:pt x="0" y="816"/>
                  </a:lnTo>
                  <a:lnTo>
                    <a:pt x="84" y="900"/>
                  </a:lnTo>
                  <a:lnTo>
                    <a:pt x="126" y="963"/>
                  </a:lnTo>
                  <a:lnTo>
                    <a:pt x="209" y="1047"/>
                  </a:lnTo>
                  <a:lnTo>
                    <a:pt x="251" y="1151"/>
                  </a:lnTo>
                  <a:lnTo>
                    <a:pt x="356" y="1360"/>
                  </a:lnTo>
                  <a:lnTo>
                    <a:pt x="335" y="1528"/>
                  </a:lnTo>
                  <a:lnTo>
                    <a:pt x="293" y="1653"/>
                  </a:lnTo>
                  <a:lnTo>
                    <a:pt x="314" y="1946"/>
                  </a:lnTo>
                  <a:lnTo>
                    <a:pt x="356" y="2009"/>
                  </a:lnTo>
                  <a:lnTo>
                    <a:pt x="398" y="2093"/>
                  </a:lnTo>
                  <a:lnTo>
                    <a:pt x="607" y="2302"/>
                  </a:lnTo>
                  <a:lnTo>
                    <a:pt x="565" y="2218"/>
                  </a:lnTo>
                  <a:lnTo>
                    <a:pt x="523" y="2155"/>
                  </a:lnTo>
                  <a:lnTo>
                    <a:pt x="544" y="2114"/>
                  </a:lnTo>
                  <a:lnTo>
                    <a:pt x="732" y="2155"/>
                  </a:lnTo>
                  <a:lnTo>
                    <a:pt x="816" y="2093"/>
                  </a:lnTo>
                  <a:lnTo>
                    <a:pt x="858" y="2114"/>
                  </a:lnTo>
                  <a:lnTo>
                    <a:pt x="837" y="2260"/>
                  </a:lnTo>
                  <a:lnTo>
                    <a:pt x="858" y="2365"/>
                  </a:lnTo>
                  <a:lnTo>
                    <a:pt x="942" y="2323"/>
                  </a:lnTo>
                  <a:lnTo>
                    <a:pt x="983" y="2427"/>
                  </a:lnTo>
                  <a:lnTo>
                    <a:pt x="963" y="2490"/>
                  </a:lnTo>
                  <a:lnTo>
                    <a:pt x="858" y="2469"/>
                  </a:lnTo>
                  <a:lnTo>
                    <a:pt x="816" y="2469"/>
                  </a:lnTo>
                  <a:lnTo>
                    <a:pt x="753" y="2427"/>
                  </a:lnTo>
                  <a:lnTo>
                    <a:pt x="649" y="2511"/>
                  </a:lnTo>
                  <a:lnTo>
                    <a:pt x="649" y="2616"/>
                  </a:lnTo>
                  <a:lnTo>
                    <a:pt x="732" y="2699"/>
                  </a:lnTo>
                  <a:lnTo>
                    <a:pt x="711" y="2574"/>
                  </a:lnTo>
                  <a:lnTo>
                    <a:pt x="774" y="2574"/>
                  </a:lnTo>
                  <a:lnTo>
                    <a:pt x="837" y="2595"/>
                  </a:lnTo>
                  <a:lnTo>
                    <a:pt x="921" y="2616"/>
                  </a:lnTo>
                  <a:lnTo>
                    <a:pt x="963" y="2720"/>
                  </a:lnTo>
                  <a:lnTo>
                    <a:pt x="1130" y="2804"/>
                  </a:lnTo>
                  <a:lnTo>
                    <a:pt x="1172" y="2909"/>
                  </a:lnTo>
                  <a:lnTo>
                    <a:pt x="1151" y="3097"/>
                  </a:lnTo>
                  <a:lnTo>
                    <a:pt x="1172" y="3160"/>
                  </a:lnTo>
                  <a:lnTo>
                    <a:pt x="1172" y="3453"/>
                  </a:lnTo>
                  <a:lnTo>
                    <a:pt x="1235" y="3662"/>
                  </a:lnTo>
                  <a:lnTo>
                    <a:pt x="1339" y="3955"/>
                  </a:lnTo>
                  <a:lnTo>
                    <a:pt x="1444" y="3871"/>
                  </a:lnTo>
                  <a:lnTo>
                    <a:pt x="1716" y="3871"/>
                  </a:lnTo>
                  <a:lnTo>
                    <a:pt x="1779" y="3725"/>
                  </a:lnTo>
                  <a:lnTo>
                    <a:pt x="1862" y="3620"/>
                  </a:lnTo>
                  <a:lnTo>
                    <a:pt x="1967" y="3620"/>
                  </a:lnTo>
                  <a:lnTo>
                    <a:pt x="2197" y="3411"/>
                  </a:lnTo>
                  <a:lnTo>
                    <a:pt x="2427" y="3348"/>
                  </a:lnTo>
                  <a:lnTo>
                    <a:pt x="2636" y="3411"/>
                  </a:lnTo>
                  <a:lnTo>
                    <a:pt x="2699" y="3264"/>
                  </a:lnTo>
                  <a:lnTo>
                    <a:pt x="2804" y="3243"/>
                  </a:lnTo>
                  <a:lnTo>
                    <a:pt x="2929" y="3306"/>
                  </a:lnTo>
                  <a:lnTo>
                    <a:pt x="3055" y="3264"/>
                  </a:lnTo>
                  <a:lnTo>
                    <a:pt x="3264" y="3453"/>
                  </a:lnTo>
                  <a:lnTo>
                    <a:pt x="3432" y="3515"/>
                  </a:lnTo>
                  <a:lnTo>
                    <a:pt x="3766" y="3725"/>
                  </a:lnTo>
                  <a:lnTo>
                    <a:pt x="3871" y="3725"/>
                  </a:lnTo>
                  <a:lnTo>
                    <a:pt x="3955" y="3641"/>
                  </a:lnTo>
                  <a:lnTo>
                    <a:pt x="4185" y="3746"/>
                  </a:lnTo>
                  <a:lnTo>
                    <a:pt x="4310" y="3767"/>
                  </a:lnTo>
                  <a:lnTo>
                    <a:pt x="4331" y="3934"/>
                  </a:lnTo>
                  <a:lnTo>
                    <a:pt x="4394" y="3976"/>
                  </a:lnTo>
                  <a:lnTo>
                    <a:pt x="4520" y="3955"/>
                  </a:lnTo>
                  <a:lnTo>
                    <a:pt x="4729" y="3997"/>
                  </a:lnTo>
                  <a:lnTo>
                    <a:pt x="4959" y="4311"/>
                  </a:lnTo>
                  <a:lnTo>
                    <a:pt x="5231" y="4352"/>
                  </a:lnTo>
                  <a:lnTo>
                    <a:pt x="5357" y="4394"/>
                  </a:lnTo>
                  <a:lnTo>
                    <a:pt x="5461" y="4562"/>
                  </a:lnTo>
                  <a:lnTo>
                    <a:pt x="5419" y="4666"/>
                  </a:lnTo>
                  <a:lnTo>
                    <a:pt x="5461" y="4792"/>
                  </a:lnTo>
                  <a:lnTo>
                    <a:pt x="5461" y="4876"/>
                  </a:lnTo>
                  <a:lnTo>
                    <a:pt x="5524" y="4980"/>
                  </a:lnTo>
                  <a:lnTo>
                    <a:pt x="5566" y="4938"/>
                  </a:lnTo>
                  <a:lnTo>
                    <a:pt x="5691" y="4980"/>
                  </a:lnTo>
                  <a:lnTo>
                    <a:pt x="5775" y="5043"/>
                  </a:lnTo>
                  <a:lnTo>
                    <a:pt x="5880" y="5043"/>
                  </a:lnTo>
                  <a:lnTo>
                    <a:pt x="5963" y="4980"/>
                  </a:lnTo>
                  <a:lnTo>
                    <a:pt x="6047" y="4980"/>
                  </a:lnTo>
                  <a:lnTo>
                    <a:pt x="6173" y="5085"/>
                  </a:lnTo>
                  <a:lnTo>
                    <a:pt x="6214" y="5148"/>
                  </a:lnTo>
                  <a:lnTo>
                    <a:pt x="6277" y="5210"/>
                  </a:lnTo>
                  <a:lnTo>
                    <a:pt x="6319" y="5148"/>
                  </a:lnTo>
                  <a:lnTo>
                    <a:pt x="6486" y="5127"/>
                  </a:lnTo>
                  <a:lnTo>
                    <a:pt x="6570" y="5022"/>
                  </a:lnTo>
                  <a:lnTo>
                    <a:pt x="6591" y="4938"/>
                  </a:lnTo>
                  <a:lnTo>
                    <a:pt x="6675" y="4896"/>
                  </a:lnTo>
                  <a:lnTo>
                    <a:pt x="6633" y="4813"/>
                  </a:lnTo>
                  <a:lnTo>
                    <a:pt x="6821" y="4708"/>
                  </a:lnTo>
                  <a:lnTo>
                    <a:pt x="7030" y="4666"/>
                  </a:lnTo>
                  <a:lnTo>
                    <a:pt x="7051" y="4604"/>
                  </a:lnTo>
                  <a:lnTo>
                    <a:pt x="7135" y="4520"/>
                  </a:lnTo>
                  <a:lnTo>
                    <a:pt x="7240" y="4499"/>
                  </a:lnTo>
                  <a:lnTo>
                    <a:pt x="7261" y="4373"/>
                  </a:lnTo>
                  <a:lnTo>
                    <a:pt x="7261" y="4206"/>
                  </a:lnTo>
                  <a:lnTo>
                    <a:pt x="7407" y="4080"/>
                  </a:lnTo>
                  <a:lnTo>
                    <a:pt x="7407" y="3955"/>
                  </a:lnTo>
                  <a:lnTo>
                    <a:pt x="7344" y="3892"/>
                  </a:lnTo>
                  <a:lnTo>
                    <a:pt x="7365" y="3850"/>
                  </a:lnTo>
                  <a:lnTo>
                    <a:pt x="7428" y="3829"/>
                  </a:lnTo>
                  <a:lnTo>
                    <a:pt x="7470" y="3767"/>
                  </a:lnTo>
                  <a:lnTo>
                    <a:pt x="7637" y="3725"/>
                  </a:lnTo>
                  <a:lnTo>
                    <a:pt x="7679" y="3725"/>
                  </a:lnTo>
                  <a:lnTo>
                    <a:pt x="7846" y="3620"/>
                  </a:lnTo>
                  <a:lnTo>
                    <a:pt x="7993" y="3557"/>
                  </a:lnTo>
                  <a:lnTo>
                    <a:pt x="8098" y="3641"/>
                  </a:lnTo>
                  <a:lnTo>
                    <a:pt x="8244" y="3620"/>
                  </a:lnTo>
                  <a:lnTo>
                    <a:pt x="8265" y="3641"/>
                  </a:lnTo>
                  <a:lnTo>
                    <a:pt x="8286" y="3641"/>
                  </a:lnTo>
                  <a:lnTo>
                    <a:pt x="8265" y="3369"/>
                  </a:lnTo>
                  <a:lnTo>
                    <a:pt x="8265" y="3223"/>
                  </a:lnTo>
                  <a:lnTo>
                    <a:pt x="8056" y="3097"/>
                  </a:lnTo>
                  <a:lnTo>
                    <a:pt x="7972" y="3097"/>
                  </a:lnTo>
                  <a:lnTo>
                    <a:pt x="7888" y="3013"/>
                  </a:lnTo>
                  <a:lnTo>
                    <a:pt x="7574" y="2992"/>
                  </a:lnTo>
                  <a:lnTo>
                    <a:pt x="7198" y="2699"/>
                  </a:lnTo>
                  <a:lnTo>
                    <a:pt x="6779" y="2511"/>
                  </a:lnTo>
                  <a:lnTo>
                    <a:pt x="6382" y="2218"/>
                  </a:lnTo>
                  <a:lnTo>
                    <a:pt x="6005" y="1988"/>
                  </a:lnTo>
                  <a:lnTo>
                    <a:pt x="5796" y="1904"/>
                  </a:lnTo>
                  <a:lnTo>
                    <a:pt x="5670" y="1653"/>
                  </a:lnTo>
                  <a:lnTo>
                    <a:pt x="5629" y="1528"/>
                  </a:lnTo>
                  <a:lnTo>
                    <a:pt x="5524" y="1423"/>
                  </a:lnTo>
                  <a:lnTo>
                    <a:pt x="5419" y="1067"/>
                  </a:lnTo>
                  <a:lnTo>
                    <a:pt x="5168" y="921"/>
                  </a:lnTo>
                  <a:lnTo>
                    <a:pt x="5043" y="900"/>
                  </a:lnTo>
                  <a:lnTo>
                    <a:pt x="4959" y="942"/>
                  </a:lnTo>
                  <a:lnTo>
                    <a:pt x="4624" y="795"/>
                  </a:lnTo>
                  <a:lnTo>
                    <a:pt x="4185" y="544"/>
                  </a:lnTo>
                  <a:lnTo>
                    <a:pt x="4164" y="419"/>
                  </a:lnTo>
                  <a:lnTo>
                    <a:pt x="3808" y="210"/>
                  </a:lnTo>
                  <a:lnTo>
                    <a:pt x="3432" y="21"/>
                  </a:lnTo>
                  <a:lnTo>
                    <a:pt x="316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14" name="Google Shape;12187;p43">
              <a:extLst>
                <a:ext uri="{FF2B5EF4-FFF2-40B4-BE49-F238E27FC236}">
                  <a16:creationId xmlns:a16="http://schemas.microsoft.com/office/drawing/2014/main" id="{6795642F-6584-48B5-1444-38E981F5DBC7}"/>
                </a:ext>
              </a:extLst>
            </p:cNvPr>
            <p:cNvGrpSpPr/>
            <p:nvPr/>
          </p:nvGrpSpPr>
          <p:grpSpPr>
            <a:xfrm>
              <a:off x="4295710" y="3079670"/>
              <a:ext cx="14968" cy="27135"/>
              <a:chOff x="4842300" y="3099950"/>
              <a:chExt cx="31425" cy="59650"/>
            </a:xfrm>
          </p:grpSpPr>
          <p:sp>
            <p:nvSpPr>
              <p:cNvPr id="208" name="Google Shape;12188;p43">
                <a:extLst>
                  <a:ext uri="{FF2B5EF4-FFF2-40B4-BE49-F238E27FC236}">
                    <a16:creationId xmlns:a16="http://schemas.microsoft.com/office/drawing/2014/main" id="{9C759260-E6E7-554E-509B-A691A6895A45}"/>
                  </a:ext>
                </a:extLst>
              </p:cNvPr>
              <p:cNvSpPr/>
              <p:nvPr/>
            </p:nvSpPr>
            <p:spPr>
              <a:xfrm>
                <a:off x="4842300" y="3122950"/>
                <a:ext cx="2125" cy="6825"/>
              </a:xfrm>
              <a:custGeom>
                <a:avLst/>
                <a:gdLst/>
                <a:ahLst/>
                <a:cxnLst/>
                <a:rect l="l" t="t" r="r" b="b"/>
                <a:pathLst>
                  <a:path w="85" h="273" extrusionOk="0">
                    <a:moveTo>
                      <a:pt x="84" y="1"/>
                    </a:moveTo>
                    <a:lnTo>
                      <a:pt x="1" y="22"/>
                    </a:lnTo>
                    <a:lnTo>
                      <a:pt x="43" y="126"/>
                    </a:lnTo>
                    <a:lnTo>
                      <a:pt x="1" y="273"/>
                    </a:lnTo>
                    <a:lnTo>
                      <a:pt x="64" y="126"/>
                    </a:lnTo>
                    <a:lnTo>
                      <a:pt x="43" y="22"/>
                    </a:lnTo>
                    <a:lnTo>
                      <a:pt x="84" y="22"/>
                    </a:lnTo>
                    <a:lnTo>
                      <a:pt x="8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9" name="Google Shape;12189;p43">
                <a:extLst>
                  <a:ext uri="{FF2B5EF4-FFF2-40B4-BE49-F238E27FC236}">
                    <a16:creationId xmlns:a16="http://schemas.microsoft.com/office/drawing/2014/main" id="{6A2BC770-1F6A-4D3B-0556-325BCF35A573}"/>
                  </a:ext>
                </a:extLst>
              </p:cNvPr>
              <p:cNvSpPr/>
              <p:nvPr/>
            </p:nvSpPr>
            <p:spPr>
              <a:xfrm>
                <a:off x="4842300" y="3106225"/>
                <a:ext cx="31425" cy="53375"/>
              </a:xfrm>
              <a:custGeom>
                <a:avLst/>
                <a:gdLst/>
                <a:ahLst/>
                <a:cxnLst/>
                <a:rect l="l" t="t" r="r" b="b"/>
                <a:pathLst>
                  <a:path w="1257" h="2135" extrusionOk="0">
                    <a:moveTo>
                      <a:pt x="273" y="0"/>
                    </a:moveTo>
                    <a:lnTo>
                      <a:pt x="273" y="21"/>
                    </a:lnTo>
                    <a:lnTo>
                      <a:pt x="294" y="42"/>
                    </a:lnTo>
                    <a:lnTo>
                      <a:pt x="273" y="63"/>
                    </a:lnTo>
                    <a:lnTo>
                      <a:pt x="252" y="105"/>
                    </a:lnTo>
                    <a:lnTo>
                      <a:pt x="252" y="126"/>
                    </a:lnTo>
                    <a:lnTo>
                      <a:pt x="252" y="209"/>
                    </a:lnTo>
                    <a:lnTo>
                      <a:pt x="189" y="314"/>
                    </a:lnTo>
                    <a:lnTo>
                      <a:pt x="147" y="272"/>
                    </a:lnTo>
                    <a:lnTo>
                      <a:pt x="84" y="230"/>
                    </a:lnTo>
                    <a:lnTo>
                      <a:pt x="1" y="230"/>
                    </a:lnTo>
                    <a:lnTo>
                      <a:pt x="1" y="251"/>
                    </a:lnTo>
                    <a:lnTo>
                      <a:pt x="84" y="272"/>
                    </a:lnTo>
                    <a:lnTo>
                      <a:pt x="105" y="335"/>
                    </a:lnTo>
                    <a:lnTo>
                      <a:pt x="84" y="356"/>
                    </a:lnTo>
                    <a:lnTo>
                      <a:pt x="147" y="461"/>
                    </a:lnTo>
                    <a:lnTo>
                      <a:pt x="147" y="628"/>
                    </a:lnTo>
                    <a:lnTo>
                      <a:pt x="84" y="691"/>
                    </a:lnTo>
                    <a:lnTo>
                      <a:pt x="64" y="942"/>
                    </a:lnTo>
                    <a:lnTo>
                      <a:pt x="84" y="1005"/>
                    </a:lnTo>
                    <a:lnTo>
                      <a:pt x="43" y="1046"/>
                    </a:lnTo>
                    <a:lnTo>
                      <a:pt x="84" y="1277"/>
                    </a:lnTo>
                    <a:lnTo>
                      <a:pt x="84" y="1360"/>
                    </a:lnTo>
                    <a:lnTo>
                      <a:pt x="168" y="1611"/>
                    </a:lnTo>
                    <a:lnTo>
                      <a:pt x="252" y="1925"/>
                    </a:lnTo>
                    <a:lnTo>
                      <a:pt x="315" y="2051"/>
                    </a:lnTo>
                    <a:lnTo>
                      <a:pt x="461" y="2134"/>
                    </a:lnTo>
                    <a:lnTo>
                      <a:pt x="587" y="2113"/>
                    </a:lnTo>
                    <a:lnTo>
                      <a:pt x="775" y="2093"/>
                    </a:lnTo>
                    <a:lnTo>
                      <a:pt x="942" y="2030"/>
                    </a:lnTo>
                    <a:lnTo>
                      <a:pt x="1131" y="1821"/>
                    </a:lnTo>
                    <a:lnTo>
                      <a:pt x="1214" y="1674"/>
                    </a:lnTo>
                    <a:lnTo>
                      <a:pt x="1256" y="1569"/>
                    </a:lnTo>
                    <a:lnTo>
                      <a:pt x="1235" y="1486"/>
                    </a:lnTo>
                    <a:lnTo>
                      <a:pt x="1256" y="1423"/>
                    </a:lnTo>
                    <a:lnTo>
                      <a:pt x="1256" y="1277"/>
                    </a:lnTo>
                    <a:lnTo>
                      <a:pt x="1235" y="1214"/>
                    </a:lnTo>
                    <a:lnTo>
                      <a:pt x="1256" y="1109"/>
                    </a:lnTo>
                    <a:lnTo>
                      <a:pt x="1152" y="1046"/>
                    </a:lnTo>
                    <a:lnTo>
                      <a:pt x="1089" y="795"/>
                    </a:lnTo>
                    <a:lnTo>
                      <a:pt x="1005" y="628"/>
                    </a:lnTo>
                    <a:lnTo>
                      <a:pt x="900" y="628"/>
                    </a:lnTo>
                    <a:lnTo>
                      <a:pt x="900" y="586"/>
                    </a:lnTo>
                    <a:lnTo>
                      <a:pt x="796" y="586"/>
                    </a:lnTo>
                    <a:lnTo>
                      <a:pt x="921" y="544"/>
                    </a:lnTo>
                    <a:lnTo>
                      <a:pt x="900" y="481"/>
                    </a:lnTo>
                    <a:lnTo>
                      <a:pt x="838" y="461"/>
                    </a:lnTo>
                    <a:lnTo>
                      <a:pt x="775" y="335"/>
                    </a:lnTo>
                    <a:lnTo>
                      <a:pt x="712" y="335"/>
                    </a:lnTo>
                    <a:lnTo>
                      <a:pt x="691" y="230"/>
                    </a:lnTo>
                    <a:lnTo>
                      <a:pt x="670" y="168"/>
                    </a:lnTo>
                    <a:lnTo>
                      <a:pt x="670" y="126"/>
                    </a:lnTo>
                    <a:lnTo>
                      <a:pt x="482" y="42"/>
                    </a:lnTo>
                    <a:lnTo>
                      <a:pt x="461" y="105"/>
                    </a:lnTo>
                    <a:lnTo>
                      <a:pt x="377" y="63"/>
                    </a:lnTo>
                    <a:lnTo>
                      <a:pt x="398" y="21"/>
                    </a:lnTo>
                    <a:lnTo>
                      <a:pt x="27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0" name="Google Shape;12190;p43">
                <a:extLst>
                  <a:ext uri="{FF2B5EF4-FFF2-40B4-BE49-F238E27FC236}">
                    <a16:creationId xmlns:a16="http://schemas.microsoft.com/office/drawing/2014/main" id="{26890EDC-F087-2AB9-709E-1E049621ADB6}"/>
                  </a:ext>
                </a:extLst>
              </p:cNvPr>
              <p:cNvSpPr/>
              <p:nvPr/>
            </p:nvSpPr>
            <p:spPr>
              <a:xfrm>
                <a:off x="4844400" y="3099950"/>
                <a:ext cx="5250" cy="4725"/>
              </a:xfrm>
              <a:custGeom>
                <a:avLst/>
                <a:gdLst/>
                <a:ahLst/>
                <a:cxnLst/>
                <a:rect l="l" t="t" r="r" b="b"/>
                <a:pathLst>
                  <a:path w="210" h="189" extrusionOk="0">
                    <a:moveTo>
                      <a:pt x="189" y="0"/>
                    </a:moveTo>
                    <a:lnTo>
                      <a:pt x="0" y="42"/>
                    </a:lnTo>
                    <a:lnTo>
                      <a:pt x="0" y="105"/>
                    </a:lnTo>
                    <a:lnTo>
                      <a:pt x="126" y="188"/>
                    </a:lnTo>
                    <a:lnTo>
                      <a:pt x="126" y="147"/>
                    </a:lnTo>
                    <a:lnTo>
                      <a:pt x="168" y="147"/>
                    </a:lnTo>
                    <a:lnTo>
                      <a:pt x="210" y="42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1" name="Google Shape;12191;p43">
                <a:extLst>
                  <a:ext uri="{FF2B5EF4-FFF2-40B4-BE49-F238E27FC236}">
                    <a16:creationId xmlns:a16="http://schemas.microsoft.com/office/drawing/2014/main" id="{0CA6D2BC-338E-7B9E-8072-045DD72C3A92}"/>
                  </a:ext>
                </a:extLst>
              </p:cNvPr>
              <p:cNvSpPr/>
              <p:nvPr/>
            </p:nvSpPr>
            <p:spPr>
              <a:xfrm>
                <a:off x="4849625" y="3101500"/>
                <a:ext cx="787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315" h="252" extrusionOk="0">
                    <a:moveTo>
                      <a:pt x="43" y="1"/>
                    </a:moveTo>
                    <a:lnTo>
                      <a:pt x="43" y="43"/>
                    </a:lnTo>
                    <a:lnTo>
                      <a:pt x="84" y="85"/>
                    </a:lnTo>
                    <a:lnTo>
                      <a:pt x="1" y="85"/>
                    </a:lnTo>
                    <a:lnTo>
                      <a:pt x="1" y="105"/>
                    </a:lnTo>
                    <a:lnTo>
                      <a:pt x="126" y="147"/>
                    </a:lnTo>
                    <a:lnTo>
                      <a:pt x="189" y="210"/>
                    </a:lnTo>
                    <a:lnTo>
                      <a:pt x="273" y="210"/>
                    </a:lnTo>
                    <a:lnTo>
                      <a:pt x="315" y="252"/>
                    </a:lnTo>
                    <a:lnTo>
                      <a:pt x="294" y="210"/>
                    </a:lnTo>
                    <a:lnTo>
                      <a:pt x="168" y="105"/>
                    </a:lnTo>
                    <a:lnTo>
                      <a:pt x="168" y="22"/>
                    </a:lnTo>
                    <a:lnTo>
                      <a:pt x="4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15" name="Google Shape;12192;p43">
              <a:extLst>
                <a:ext uri="{FF2B5EF4-FFF2-40B4-BE49-F238E27FC236}">
                  <a16:creationId xmlns:a16="http://schemas.microsoft.com/office/drawing/2014/main" id="{FFBA7C66-81AC-BCCD-C39B-87421D2BF85C}"/>
                </a:ext>
              </a:extLst>
            </p:cNvPr>
            <p:cNvSpPr/>
            <p:nvPr/>
          </p:nvSpPr>
          <p:spPr>
            <a:xfrm>
              <a:off x="4210500" y="2911903"/>
              <a:ext cx="193104" cy="180152"/>
            </a:xfrm>
            <a:custGeom>
              <a:avLst/>
              <a:gdLst/>
              <a:ahLst/>
              <a:cxnLst/>
              <a:rect l="l" t="t" r="r" b="b"/>
              <a:pathLst>
                <a:path w="16217" h="15841" extrusionOk="0">
                  <a:moveTo>
                    <a:pt x="6906" y="15150"/>
                  </a:moveTo>
                  <a:lnTo>
                    <a:pt x="6927" y="15212"/>
                  </a:lnTo>
                  <a:lnTo>
                    <a:pt x="6927" y="15171"/>
                  </a:lnTo>
                  <a:lnTo>
                    <a:pt x="6906" y="15150"/>
                  </a:lnTo>
                  <a:close/>
                  <a:moveTo>
                    <a:pt x="3997" y="1"/>
                  </a:moveTo>
                  <a:lnTo>
                    <a:pt x="3914" y="147"/>
                  </a:lnTo>
                  <a:lnTo>
                    <a:pt x="3788" y="147"/>
                  </a:lnTo>
                  <a:lnTo>
                    <a:pt x="3600" y="294"/>
                  </a:lnTo>
                  <a:lnTo>
                    <a:pt x="3453" y="587"/>
                  </a:lnTo>
                  <a:lnTo>
                    <a:pt x="3391" y="629"/>
                  </a:lnTo>
                  <a:lnTo>
                    <a:pt x="3286" y="733"/>
                  </a:lnTo>
                  <a:lnTo>
                    <a:pt x="3223" y="733"/>
                  </a:lnTo>
                  <a:lnTo>
                    <a:pt x="3119" y="817"/>
                  </a:lnTo>
                  <a:lnTo>
                    <a:pt x="3014" y="838"/>
                  </a:lnTo>
                  <a:lnTo>
                    <a:pt x="2826" y="1026"/>
                  </a:lnTo>
                  <a:lnTo>
                    <a:pt x="2846" y="1089"/>
                  </a:lnTo>
                  <a:lnTo>
                    <a:pt x="2930" y="1298"/>
                  </a:lnTo>
                  <a:lnTo>
                    <a:pt x="2867" y="1570"/>
                  </a:lnTo>
                  <a:lnTo>
                    <a:pt x="2867" y="1717"/>
                  </a:lnTo>
                  <a:lnTo>
                    <a:pt x="2763" y="1779"/>
                  </a:lnTo>
                  <a:lnTo>
                    <a:pt x="2616" y="1968"/>
                  </a:lnTo>
                  <a:lnTo>
                    <a:pt x="2700" y="2031"/>
                  </a:lnTo>
                  <a:lnTo>
                    <a:pt x="2700" y="2135"/>
                  </a:lnTo>
                  <a:lnTo>
                    <a:pt x="2637" y="2261"/>
                  </a:lnTo>
                  <a:lnTo>
                    <a:pt x="2428" y="2365"/>
                  </a:lnTo>
                  <a:lnTo>
                    <a:pt x="2323" y="2554"/>
                  </a:lnTo>
                  <a:lnTo>
                    <a:pt x="2302" y="2721"/>
                  </a:lnTo>
                  <a:lnTo>
                    <a:pt x="2219" y="2867"/>
                  </a:lnTo>
                  <a:lnTo>
                    <a:pt x="1968" y="3035"/>
                  </a:lnTo>
                  <a:lnTo>
                    <a:pt x="1863" y="3391"/>
                  </a:lnTo>
                  <a:lnTo>
                    <a:pt x="1675" y="3600"/>
                  </a:lnTo>
                  <a:lnTo>
                    <a:pt x="1361" y="3600"/>
                  </a:lnTo>
                  <a:lnTo>
                    <a:pt x="1152" y="3725"/>
                  </a:lnTo>
                  <a:lnTo>
                    <a:pt x="1068" y="3704"/>
                  </a:lnTo>
                  <a:lnTo>
                    <a:pt x="1047" y="3600"/>
                  </a:lnTo>
                  <a:lnTo>
                    <a:pt x="922" y="3537"/>
                  </a:lnTo>
                  <a:lnTo>
                    <a:pt x="838" y="3600"/>
                  </a:lnTo>
                  <a:lnTo>
                    <a:pt x="733" y="3642"/>
                  </a:lnTo>
                  <a:lnTo>
                    <a:pt x="691" y="3746"/>
                  </a:lnTo>
                  <a:lnTo>
                    <a:pt x="545" y="3956"/>
                  </a:lnTo>
                  <a:lnTo>
                    <a:pt x="461" y="3976"/>
                  </a:lnTo>
                  <a:lnTo>
                    <a:pt x="357" y="4228"/>
                  </a:lnTo>
                  <a:lnTo>
                    <a:pt x="357" y="4374"/>
                  </a:lnTo>
                  <a:lnTo>
                    <a:pt x="461" y="4353"/>
                  </a:lnTo>
                  <a:lnTo>
                    <a:pt x="608" y="4395"/>
                  </a:lnTo>
                  <a:lnTo>
                    <a:pt x="670" y="4374"/>
                  </a:lnTo>
                  <a:lnTo>
                    <a:pt x="775" y="4374"/>
                  </a:lnTo>
                  <a:lnTo>
                    <a:pt x="859" y="4562"/>
                  </a:lnTo>
                  <a:lnTo>
                    <a:pt x="838" y="4688"/>
                  </a:lnTo>
                  <a:lnTo>
                    <a:pt x="859" y="4897"/>
                  </a:lnTo>
                  <a:lnTo>
                    <a:pt x="1068" y="5023"/>
                  </a:lnTo>
                  <a:lnTo>
                    <a:pt x="1173" y="5023"/>
                  </a:lnTo>
                  <a:lnTo>
                    <a:pt x="1256" y="5085"/>
                  </a:lnTo>
                  <a:lnTo>
                    <a:pt x="1214" y="5169"/>
                  </a:lnTo>
                  <a:lnTo>
                    <a:pt x="1340" y="5316"/>
                  </a:lnTo>
                  <a:lnTo>
                    <a:pt x="1466" y="5692"/>
                  </a:lnTo>
                  <a:lnTo>
                    <a:pt x="1445" y="5755"/>
                  </a:lnTo>
                  <a:lnTo>
                    <a:pt x="1486" y="5818"/>
                  </a:lnTo>
                  <a:lnTo>
                    <a:pt x="1382" y="5860"/>
                  </a:lnTo>
                  <a:lnTo>
                    <a:pt x="1256" y="5943"/>
                  </a:lnTo>
                  <a:lnTo>
                    <a:pt x="1194" y="5860"/>
                  </a:lnTo>
                  <a:lnTo>
                    <a:pt x="1256" y="5797"/>
                  </a:lnTo>
                  <a:lnTo>
                    <a:pt x="1256" y="5797"/>
                  </a:lnTo>
                  <a:lnTo>
                    <a:pt x="1131" y="5818"/>
                  </a:lnTo>
                  <a:lnTo>
                    <a:pt x="1068" y="5860"/>
                  </a:lnTo>
                  <a:lnTo>
                    <a:pt x="838" y="5964"/>
                  </a:lnTo>
                  <a:lnTo>
                    <a:pt x="440" y="5943"/>
                  </a:lnTo>
                  <a:lnTo>
                    <a:pt x="336" y="6006"/>
                  </a:lnTo>
                  <a:lnTo>
                    <a:pt x="252" y="5964"/>
                  </a:lnTo>
                  <a:lnTo>
                    <a:pt x="210" y="6111"/>
                  </a:lnTo>
                  <a:lnTo>
                    <a:pt x="126" y="6132"/>
                  </a:lnTo>
                  <a:lnTo>
                    <a:pt x="22" y="6215"/>
                  </a:lnTo>
                  <a:lnTo>
                    <a:pt x="1" y="6362"/>
                  </a:lnTo>
                  <a:lnTo>
                    <a:pt x="168" y="6257"/>
                  </a:lnTo>
                  <a:lnTo>
                    <a:pt x="336" y="6236"/>
                  </a:lnTo>
                  <a:lnTo>
                    <a:pt x="210" y="6320"/>
                  </a:lnTo>
                  <a:lnTo>
                    <a:pt x="106" y="6445"/>
                  </a:lnTo>
                  <a:lnTo>
                    <a:pt x="85" y="6571"/>
                  </a:lnTo>
                  <a:lnTo>
                    <a:pt x="147" y="6592"/>
                  </a:lnTo>
                  <a:lnTo>
                    <a:pt x="336" y="6780"/>
                  </a:lnTo>
                  <a:lnTo>
                    <a:pt x="691" y="6906"/>
                  </a:lnTo>
                  <a:lnTo>
                    <a:pt x="817" y="6885"/>
                  </a:lnTo>
                  <a:lnTo>
                    <a:pt x="963" y="6885"/>
                  </a:lnTo>
                  <a:lnTo>
                    <a:pt x="1194" y="6780"/>
                  </a:lnTo>
                  <a:lnTo>
                    <a:pt x="1194" y="6738"/>
                  </a:lnTo>
                  <a:lnTo>
                    <a:pt x="1194" y="6697"/>
                  </a:lnTo>
                  <a:lnTo>
                    <a:pt x="1214" y="6697"/>
                  </a:lnTo>
                  <a:lnTo>
                    <a:pt x="1340" y="6738"/>
                  </a:lnTo>
                  <a:lnTo>
                    <a:pt x="1298" y="6843"/>
                  </a:lnTo>
                  <a:lnTo>
                    <a:pt x="1256" y="6843"/>
                  </a:lnTo>
                  <a:lnTo>
                    <a:pt x="1152" y="6989"/>
                  </a:lnTo>
                  <a:lnTo>
                    <a:pt x="1068" y="6989"/>
                  </a:lnTo>
                  <a:lnTo>
                    <a:pt x="838" y="7178"/>
                  </a:lnTo>
                  <a:lnTo>
                    <a:pt x="838" y="7220"/>
                  </a:lnTo>
                  <a:lnTo>
                    <a:pt x="754" y="7199"/>
                  </a:lnTo>
                  <a:lnTo>
                    <a:pt x="733" y="7199"/>
                  </a:lnTo>
                  <a:lnTo>
                    <a:pt x="650" y="7261"/>
                  </a:lnTo>
                  <a:lnTo>
                    <a:pt x="566" y="7220"/>
                  </a:lnTo>
                  <a:lnTo>
                    <a:pt x="566" y="7115"/>
                  </a:lnTo>
                  <a:lnTo>
                    <a:pt x="503" y="7115"/>
                  </a:lnTo>
                  <a:lnTo>
                    <a:pt x="461" y="7094"/>
                  </a:lnTo>
                  <a:lnTo>
                    <a:pt x="419" y="7094"/>
                  </a:lnTo>
                  <a:lnTo>
                    <a:pt x="398" y="7178"/>
                  </a:lnTo>
                  <a:lnTo>
                    <a:pt x="419" y="7261"/>
                  </a:lnTo>
                  <a:lnTo>
                    <a:pt x="650" y="7492"/>
                  </a:lnTo>
                  <a:lnTo>
                    <a:pt x="733" y="7533"/>
                  </a:lnTo>
                  <a:lnTo>
                    <a:pt x="775" y="7533"/>
                  </a:lnTo>
                  <a:lnTo>
                    <a:pt x="817" y="7575"/>
                  </a:lnTo>
                  <a:lnTo>
                    <a:pt x="984" y="7826"/>
                  </a:lnTo>
                  <a:lnTo>
                    <a:pt x="1403" y="8161"/>
                  </a:lnTo>
                  <a:lnTo>
                    <a:pt x="1612" y="8224"/>
                  </a:lnTo>
                  <a:lnTo>
                    <a:pt x="1779" y="8161"/>
                  </a:lnTo>
                  <a:lnTo>
                    <a:pt x="2072" y="7994"/>
                  </a:lnTo>
                  <a:lnTo>
                    <a:pt x="2261" y="7889"/>
                  </a:lnTo>
                  <a:lnTo>
                    <a:pt x="2261" y="7826"/>
                  </a:lnTo>
                  <a:lnTo>
                    <a:pt x="2344" y="7722"/>
                  </a:lnTo>
                  <a:lnTo>
                    <a:pt x="2386" y="7513"/>
                  </a:lnTo>
                  <a:lnTo>
                    <a:pt x="2302" y="7408"/>
                  </a:lnTo>
                  <a:lnTo>
                    <a:pt x="2386" y="7199"/>
                  </a:lnTo>
                  <a:lnTo>
                    <a:pt x="2386" y="7094"/>
                  </a:lnTo>
                  <a:lnTo>
                    <a:pt x="2407" y="7010"/>
                  </a:lnTo>
                  <a:lnTo>
                    <a:pt x="2428" y="7094"/>
                  </a:lnTo>
                  <a:lnTo>
                    <a:pt x="2595" y="7094"/>
                  </a:lnTo>
                  <a:lnTo>
                    <a:pt x="2637" y="7115"/>
                  </a:lnTo>
                  <a:lnTo>
                    <a:pt x="2742" y="7073"/>
                  </a:lnTo>
                  <a:lnTo>
                    <a:pt x="2721" y="7115"/>
                  </a:lnTo>
                  <a:lnTo>
                    <a:pt x="2616" y="7220"/>
                  </a:lnTo>
                  <a:lnTo>
                    <a:pt x="2533" y="7199"/>
                  </a:lnTo>
                  <a:lnTo>
                    <a:pt x="2512" y="7220"/>
                  </a:lnTo>
                  <a:lnTo>
                    <a:pt x="2491" y="7366"/>
                  </a:lnTo>
                  <a:lnTo>
                    <a:pt x="2533" y="7429"/>
                  </a:lnTo>
                  <a:lnTo>
                    <a:pt x="2533" y="7533"/>
                  </a:lnTo>
                  <a:lnTo>
                    <a:pt x="2595" y="7575"/>
                  </a:lnTo>
                  <a:lnTo>
                    <a:pt x="2742" y="7533"/>
                  </a:lnTo>
                  <a:lnTo>
                    <a:pt x="2826" y="7575"/>
                  </a:lnTo>
                  <a:lnTo>
                    <a:pt x="2742" y="7575"/>
                  </a:lnTo>
                  <a:lnTo>
                    <a:pt x="2700" y="7617"/>
                  </a:lnTo>
                  <a:lnTo>
                    <a:pt x="2554" y="7701"/>
                  </a:lnTo>
                  <a:lnTo>
                    <a:pt x="2616" y="7952"/>
                  </a:lnTo>
                  <a:lnTo>
                    <a:pt x="2700" y="8015"/>
                  </a:lnTo>
                  <a:lnTo>
                    <a:pt x="2742" y="8203"/>
                  </a:lnTo>
                  <a:lnTo>
                    <a:pt x="2742" y="8349"/>
                  </a:lnTo>
                  <a:lnTo>
                    <a:pt x="2700" y="8475"/>
                  </a:lnTo>
                  <a:lnTo>
                    <a:pt x="2700" y="8580"/>
                  </a:lnTo>
                  <a:lnTo>
                    <a:pt x="2784" y="8642"/>
                  </a:lnTo>
                  <a:lnTo>
                    <a:pt x="2700" y="8684"/>
                  </a:lnTo>
                  <a:lnTo>
                    <a:pt x="2721" y="8873"/>
                  </a:lnTo>
                  <a:lnTo>
                    <a:pt x="2867" y="9186"/>
                  </a:lnTo>
                  <a:lnTo>
                    <a:pt x="2909" y="9291"/>
                  </a:lnTo>
                  <a:lnTo>
                    <a:pt x="2951" y="9375"/>
                  </a:lnTo>
                  <a:lnTo>
                    <a:pt x="2867" y="9396"/>
                  </a:lnTo>
                  <a:lnTo>
                    <a:pt x="2867" y="9521"/>
                  </a:lnTo>
                  <a:lnTo>
                    <a:pt x="3035" y="9730"/>
                  </a:lnTo>
                  <a:lnTo>
                    <a:pt x="2909" y="9730"/>
                  </a:lnTo>
                  <a:lnTo>
                    <a:pt x="3035" y="9919"/>
                  </a:lnTo>
                  <a:lnTo>
                    <a:pt x="3035" y="10086"/>
                  </a:lnTo>
                  <a:lnTo>
                    <a:pt x="3265" y="10546"/>
                  </a:lnTo>
                  <a:lnTo>
                    <a:pt x="3265" y="10860"/>
                  </a:lnTo>
                  <a:lnTo>
                    <a:pt x="3370" y="11132"/>
                  </a:lnTo>
                  <a:lnTo>
                    <a:pt x="3453" y="11174"/>
                  </a:lnTo>
                  <a:lnTo>
                    <a:pt x="3495" y="11342"/>
                  </a:lnTo>
                  <a:lnTo>
                    <a:pt x="3579" y="11383"/>
                  </a:lnTo>
                  <a:lnTo>
                    <a:pt x="3579" y="11467"/>
                  </a:lnTo>
                  <a:lnTo>
                    <a:pt x="3704" y="11697"/>
                  </a:lnTo>
                  <a:lnTo>
                    <a:pt x="3767" y="11718"/>
                  </a:lnTo>
                  <a:lnTo>
                    <a:pt x="3767" y="11781"/>
                  </a:lnTo>
                  <a:lnTo>
                    <a:pt x="3893" y="11969"/>
                  </a:lnTo>
                  <a:lnTo>
                    <a:pt x="3955" y="11969"/>
                  </a:lnTo>
                  <a:lnTo>
                    <a:pt x="3955" y="12178"/>
                  </a:lnTo>
                  <a:lnTo>
                    <a:pt x="3997" y="12241"/>
                  </a:lnTo>
                  <a:lnTo>
                    <a:pt x="4081" y="12388"/>
                  </a:lnTo>
                  <a:lnTo>
                    <a:pt x="4102" y="12555"/>
                  </a:lnTo>
                  <a:lnTo>
                    <a:pt x="4207" y="12827"/>
                  </a:lnTo>
                  <a:lnTo>
                    <a:pt x="4269" y="12932"/>
                  </a:lnTo>
                  <a:lnTo>
                    <a:pt x="4290" y="13162"/>
                  </a:lnTo>
                  <a:lnTo>
                    <a:pt x="4332" y="13225"/>
                  </a:lnTo>
                  <a:lnTo>
                    <a:pt x="4416" y="13371"/>
                  </a:lnTo>
                  <a:lnTo>
                    <a:pt x="4583" y="13539"/>
                  </a:lnTo>
                  <a:lnTo>
                    <a:pt x="4604" y="13539"/>
                  </a:lnTo>
                  <a:lnTo>
                    <a:pt x="4709" y="13685"/>
                  </a:lnTo>
                  <a:lnTo>
                    <a:pt x="4876" y="13894"/>
                  </a:lnTo>
                  <a:lnTo>
                    <a:pt x="4939" y="14083"/>
                  </a:lnTo>
                  <a:lnTo>
                    <a:pt x="5002" y="14229"/>
                  </a:lnTo>
                  <a:lnTo>
                    <a:pt x="5043" y="14271"/>
                  </a:lnTo>
                  <a:lnTo>
                    <a:pt x="5043" y="14375"/>
                  </a:lnTo>
                  <a:lnTo>
                    <a:pt x="5169" y="14606"/>
                  </a:lnTo>
                  <a:lnTo>
                    <a:pt x="5232" y="14815"/>
                  </a:lnTo>
                  <a:lnTo>
                    <a:pt x="5232" y="15045"/>
                  </a:lnTo>
                  <a:lnTo>
                    <a:pt x="5441" y="15484"/>
                  </a:lnTo>
                  <a:lnTo>
                    <a:pt x="5629" y="15673"/>
                  </a:lnTo>
                  <a:lnTo>
                    <a:pt x="5776" y="15798"/>
                  </a:lnTo>
                  <a:lnTo>
                    <a:pt x="5985" y="15840"/>
                  </a:lnTo>
                  <a:lnTo>
                    <a:pt x="6194" y="15673"/>
                  </a:lnTo>
                  <a:lnTo>
                    <a:pt x="6257" y="15547"/>
                  </a:lnTo>
                  <a:lnTo>
                    <a:pt x="6215" y="15484"/>
                  </a:lnTo>
                  <a:lnTo>
                    <a:pt x="6257" y="15464"/>
                  </a:lnTo>
                  <a:lnTo>
                    <a:pt x="6278" y="15422"/>
                  </a:lnTo>
                  <a:lnTo>
                    <a:pt x="6320" y="15317"/>
                  </a:lnTo>
                  <a:lnTo>
                    <a:pt x="6529" y="15212"/>
                  </a:lnTo>
                  <a:lnTo>
                    <a:pt x="6571" y="15212"/>
                  </a:lnTo>
                  <a:lnTo>
                    <a:pt x="6822" y="15129"/>
                  </a:lnTo>
                  <a:lnTo>
                    <a:pt x="6906" y="15150"/>
                  </a:lnTo>
                  <a:lnTo>
                    <a:pt x="6717" y="15045"/>
                  </a:lnTo>
                  <a:lnTo>
                    <a:pt x="6696" y="14961"/>
                  </a:lnTo>
                  <a:lnTo>
                    <a:pt x="6738" y="14919"/>
                  </a:lnTo>
                  <a:lnTo>
                    <a:pt x="6906" y="14710"/>
                  </a:lnTo>
                  <a:lnTo>
                    <a:pt x="6885" y="14647"/>
                  </a:lnTo>
                  <a:lnTo>
                    <a:pt x="6927" y="14543"/>
                  </a:lnTo>
                  <a:lnTo>
                    <a:pt x="7094" y="14522"/>
                  </a:lnTo>
                  <a:lnTo>
                    <a:pt x="7136" y="14543"/>
                  </a:lnTo>
                  <a:lnTo>
                    <a:pt x="7261" y="14522"/>
                  </a:lnTo>
                  <a:lnTo>
                    <a:pt x="7261" y="14375"/>
                  </a:lnTo>
                  <a:lnTo>
                    <a:pt x="7220" y="13894"/>
                  </a:lnTo>
                  <a:lnTo>
                    <a:pt x="7157" y="13811"/>
                  </a:lnTo>
                  <a:lnTo>
                    <a:pt x="7157" y="13580"/>
                  </a:lnTo>
                  <a:lnTo>
                    <a:pt x="7303" y="13329"/>
                  </a:lnTo>
                  <a:lnTo>
                    <a:pt x="7429" y="12953"/>
                  </a:lnTo>
                  <a:lnTo>
                    <a:pt x="7429" y="12660"/>
                  </a:lnTo>
                  <a:lnTo>
                    <a:pt x="7261" y="12618"/>
                  </a:lnTo>
                  <a:lnTo>
                    <a:pt x="7261" y="12178"/>
                  </a:lnTo>
                  <a:lnTo>
                    <a:pt x="7240" y="12011"/>
                  </a:lnTo>
                  <a:lnTo>
                    <a:pt x="7345" y="11906"/>
                  </a:lnTo>
                  <a:lnTo>
                    <a:pt x="7240" y="11614"/>
                  </a:lnTo>
                  <a:lnTo>
                    <a:pt x="7240" y="11404"/>
                  </a:lnTo>
                  <a:lnTo>
                    <a:pt x="7303" y="11300"/>
                  </a:lnTo>
                  <a:lnTo>
                    <a:pt x="7492" y="11132"/>
                  </a:lnTo>
                  <a:lnTo>
                    <a:pt x="7533" y="11132"/>
                  </a:lnTo>
                  <a:lnTo>
                    <a:pt x="7617" y="11195"/>
                  </a:lnTo>
                  <a:lnTo>
                    <a:pt x="7680" y="11237"/>
                  </a:lnTo>
                  <a:lnTo>
                    <a:pt x="7847" y="11028"/>
                  </a:lnTo>
                  <a:lnTo>
                    <a:pt x="7847" y="10881"/>
                  </a:lnTo>
                  <a:lnTo>
                    <a:pt x="7952" y="10818"/>
                  </a:lnTo>
                  <a:lnTo>
                    <a:pt x="8203" y="10839"/>
                  </a:lnTo>
                  <a:lnTo>
                    <a:pt x="8349" y="10756"/>
                  </a:lnTo>
                  <a:lnTo>
                    <a:pt x="8454" y="10609"/>
                  </a:lnTo>
                  <a:lnTo>
                    <a:pt x="8412" y="10463"/>
                  </a:lnTo>
                  <a:lnTo>
                    <a:pt x="8454" y="10358"/>
                  </a:lnTo>
                  <a:lnTo>
                    <a:pt x="8600" y="10212"/>
                  </a:lnTo>
                  <a:lnTo>
                    <a:pt x="8810" y="10149"/>
                  </a:lnTo>
                  <a:lnTo>
                    <a:pt x="8935" y="10023"/>
                  </a:lnTo>
                  <a:lnTo>
                    <a:pt x="9019" y="9877"/>
                  </a:lnTo>
                  <a:lnTo>
                    <a:pt x="9542" y="9479"/>
                  </a:lnTo>
                  <a:lnTo>
                    <a:pt x="9626" y="9186"/>
                  </a:lnTo>
                  <a:lnTo>
                    <a:pt x="10023" y="8852"/>
                  </a:lnTo>
                  <a:lnTo>
                    <a:pt x="9961" y="8831"/>
                  </a:lnTo>
                  <a:lnTo>
                    <a:pt x="9940" y="8852"/>
                  </a:lnTo>
                  <a:lnTo>
                    <a:pt x="9856" y="8893"/>
                  </a:lnTo>
                  <a:lnTo>
                    <a:pt x="9877" y="8747"/>
                  </a:lnTo>
                  <a:lnTo>
                    <a:pt x="9940" y="8747"/>
                  </a:lnTo>
                  <a:lnTo>
                    <a:pt x="10044" y="8663"/>
                  </a:lnTo>
                  <a:lnTo>
                    <a:pt x="10065" y="8663"/>
                  </a:lnTo>
                  <a:lnTo>
                    <a:pt x="10086" y="8684"/>
                  </a:lnTo>
                  <a:lnTo>
                    <a:pt x="10086" y="8747"/>
                  </a:lnTo>
                  <a:lnTo>
                    <a:pt x="10149" y="8789"/>
                  </a:lnTo>
                  <a:lnTo>
                    <a:pt x="10463" y="8621"/>
                  </a:lnTo>
                  <a:lnTo>
                    <a:pt x="10463" y="8559"/>
                  </a:lnTo>
                  <a:lnTo>
                    <a:pt x="10672" y="8412"/>
                  </a:lnTo>
                  <a:lnTo>
                    <a:pt x="10630" y="8329"/>
                  </a:lnTo>
                  <a:lnTo>
                    <a:pt x="10714" y="8329"/>
                  </a:lnTo>
                  <a:lnTo>
                    <a:pt x="10756" y="8224"/>
                  </a:lnTo>
                  <a:lnTo>
                    <a:pt x="10881" y="8119"/>
                  </a:lnTo>
                  <a:lnTo>
                    <a:pt x="10818" y="8098"/>
                  </a:lnTo>
                  <a:lnTo>
                    <a:pt x="10860" y="8057"/>
                  </a:lnTo>
                  <a:lnTo>
                    <a:pt x="10777" y="7931"/>
                  </a:lnTo>
                  <a:lnTo>
                    <a:pt x="10777" y="7847"/>
                  </a:lnTo>
                  <a:lnTo>
                    <a:pt x="10818" y="7743"/>
                  </a:lnTo>
                  <a:lnTo>
                    <a:pt x="10860" y="7680"/>
                  </a:lnTo>
                  <a:lnTo>
                    <a:pt x="10902" y="7617"/>
                  </a:lnTo>
                  <a:lnTo>
                    <a:pt x="11279" y="7492"/>
                  </a:lnTo>
                  <a:lnTo>
                    <a:pt x="11341" y="7387"/>
                  </a:lnTo>
                  <a:lnTo>
                    <a:pt x="11341" y="7303"/>
                  </a:lnTo>
                  <a:lnTo>
                    <a:pt x="11404" y="7220"/>
                  </a:lnTo>
                  <a:lnTo>
                    <a:pt x="11425" y="7178"/>
                  </a:lnTo>
                  <a:lnTo>
                    <a:pt x="11383" y="7115"/>
                  </a:lnTo>
                  <a:lnTo>
                    <a:pt x="11321" y="7115"/>
                  </a:lnTo>
                  <a:lnTo>
                    <a:pt x="11300" y="7073"/>
                  </a:lnTo>
                  <a:lnTo>
                    <a:pt x="11404" y="7073"/>
                  </a:lnTo>
                  <a:lnTo>
                    <a:pt x="11488" y="7157"/>
                  </a:lnTo>
                  <a:lnTo>
                    <a:pt x="11488" y="7261"/>
                  </a:lnTo>
                  <a:lnTo>
                    <a:pt x="11509" y="7387"/>
                  </a:lnTo>
                  <a:lnTo>
                    <a:pt x="11593" y="7408"/>
                  </a:lnTo>
                  <a:lnTo>
                    <a:pt x="11676" y="7408"/>
                  </a:lnTo>
                  <a:lnTo>
                    <a:pt x="11718" y="7366"/>
                  </a:lnTo>
                  <a:lnTo>
                    <a:pt x="11739" y="7387"/>
                  </a:lnTo>
                  <a:lnTo>
                    <a:pt x="11739" y="7324"/>
                  </a:lnTo>
                  <a:lnTo>
                    <a:pt x="11760" y="7282"/>
                  </a:lnTo>
                  <a:lnTo>
                    <a:pt x="11802" y="7324"/>
                  </a:lnTo>
                  <a:lnTo>
                    <a:pt x="11823" y="7492"/>
                  </a:lnTo>
                  <a:lnTo>
                    <a:pt x="11906" y="7513"/>
                  </a:lnTo>
                  <a:lnTo>
                    <a:pt x="11906" y="7429"/>
                  </a:lnTo>
                  <a:lnTo>
                    <a:pt x="11969" y="7533"/>
                  </a:lnTo>
                  <a:lnTo>
                    <a:pt x="12032" y="7429"/>
                  </a:lnTo>
                  <a:lnTo>
                    <a:pt x="11969" y="7303"/>
                  </a:lnTo>
                  <a:lnTo>
                    <a:pt x="12011" y="7303"/>
                  </a:lnTo>
                  <a:lnTo>
                    <a:pt x="11969" y="7115"/>
                  </a:lnTo>
                  <a:lnTo>
                    <a:pt x="11948" y="7010"/>
                  </a:lnTo>
                  <a:lnTo>
                    <a:pt x="11948" y="6864"/>
                  </a:lnTo>
                  <a:lnTo>
                    <a:pt x="11760" y="6634"/>
                  </a:lnTo>
                  <a:lnTo>
                    <a:pt x="11739" y="6445"/>
                  </a:lnTo>
                  <a:lnTo>
                    <a:pt x="11760" y="6341"/>
                  </a:lnTo>
                  <a:lnTo>
                    <a:pt x="11718" y="6215"/>
                  </a:lnTo>
                  <a:lnTo>
                    <a:pt x="11718" y="6027"/>
                  </a:lnTo>
                  <a:lnTo>
                    <a:pt x="11551" y="5839"/>
                  </a:lnTo>
                  <a:lnTo>
                    <a:pt x="11425" y="5797"/>
                  </a:lnTo>
                  <a:lnTo>
                    <a:pt x="11300" y="5629"/>
                  </a:lnTo>
                  <a:lnTo>
                    <a:pt x="11300" y="5399"/>
                  </a:lnTo>
                  <a:lnTo>
                    <a:pt x="11404" y="5378"/>
                  </a:lnTo>
                  <a:lnTo>
                    <a:pt x="11446" y="5211"/>
                  </a:lnTo>
                  <a:lnTo>
                    <a:pt x="11530" y="5169"/>
                  </a:lnTo>
                  <a:lnTo>
                    <a:pt x="11613" y="5190"/>
                  </a:lnTo>
                  <a:lnTo>
                    <a:pt x="11676" y="5127"/>
                  </a:lnTo>
                  <a:lnTo>
                    <a:pt x="11634" y="4981"/>
                  </a:lnTo>
                  <a:lnTo>
                    <a:pt x="11655" y="4918"/>
                  </a:lnTo>
                  <a:lnTo>
                    <a:pt x="11530" y="4897"/>
                  </a:lnTo>
                  <a:lnTo>
                    <a:pt x="11425" y="4960"/>
                  </a:lnTo>
                  <a:lnTo>
                    <a:pt x="11132" y="4855"/>
                  </a:lnTo>
                  <a:lnTo>
                    <a:pt x="11153" y="4709"/>
                  </a:lnTo>
                  <a:lnTo>
                    <a:pt x="11279" y="4583"/>
                  </a:lnTo>
                  <a:lnTo>
                    <a:pt x="11321" y="4437"/>
                  </a:lnTo>
                  <a:lnTo>
                    <a:pt x="11279" y="4374"/>
                  </a:lnTo>
                  <a:lnTo>
                    <a:pt x="11279" y="4290"/>
                  </a:lnTo>
                  <a:lnTo>
                    <a:pt x="11321" y="4290"/>
                  </a:lnTo>
                  <a:lnTo>
                    <a:pt x="11341" y="4228"/>
                  </a:lnTo>
                  <a:lnTo>
                    <a:pt x="11404" y="4269"/>
                  </a:lnTo>
                  <a:lnTo>
                    <a:pt x="11488" y="4374"/>
                  </a:lnTo>
                  <a:lnTo>
                    <a:pt x="11488" y="4437"/>
                  </a:lnTo>
                  <a:lnTo>
                    <a:pt x="11551" y="4541"/>
                  </a:lnTo>
                  <a:lnTo>
                    <a:pt x="11676" y="4562"/>
                  </a:lnTo>
                  <a:lnTo>
                    <a:pt x="11739" y="4541"/>
                  </a:lnTo>
                  <a:lnTo>
                    <a:pt x="11655" y="4479"/>
                  </a:lnTo>
                  <a:lnTo>
                    <a:pt x="11676" y="4395"/>
                  </a:lnTo>
                  <a:lnTo>
                    <a:pt x="11739" y="4395"/>
                  </a:lnTo>
                  <a:lnTo>
                    <a:pt x="11823" y="4479"/>
                  </a:lnTo>
                  <a:lnTo>
                    <a:pt x="11865" y="4541"/>
                  </a:lnTo>
                  <a:lnTo>
                    <a:pt x="11969" y="4583"/>
                  </a:lnTo>
                  <a:lnTo>
                    <a:pt x="12011" y="4541"/>
                  </a:lnTo>
                  <a:lnTo>
                    <a:pt x="12053" y="4541"/>
                  </a:lnTo>
                  <a:lnTo>
                    <a:pt x="12137" y="4667"/>
                  </a:lnTo>
                  <a:lnTo>
                    <a:pt x="12158" y="4792"/>
                  </a:lnTo>
                  <a:lnTo>
                    <a:pt x="12158" y="4876"/>
                  </a:lnTo>
                  <a:lnTo>
                    <a:pt x="12199" y="5002"/>
                  </a:lnTo>
                  <a:lnTo>
                    <a:pt x="12199" y="5085"/>
                  </a:lnTo>
                  <a:lnTo>
                    <a:pt x="12325" y="5127"/>
                  </a:lnTo>
                  <a:lnTo>
                    <a:pt x="12430" y="5106"/>
                  </a:lnTo>
                  <a:lnTo>
                    <a:pt x="12555" y="5169"/>
                  </a:lnTo>
                  <a:lnTo>
                    <a:pt x="12911" y="5169"/>
                  </a:lnTo>
                  <a:lnTo>
                    <a:pt x="13099" y="5190"/>
                  </a:lnTo>
                  <a:lnTo>
                    <a:pt x="13308" y="5169"/>
                  </a:lnTo>
                  <a:lnTo>
                    <a:pt x="13392" y="5169"/>
                  </a:lnTo>
                  <a:lnTo>
                    <a:pt x="13434" y="5190"/>
                  </a:lnTo>
                  <a:lnTo>
                    <a:pt x="13497" y="5169"/>
                  </a:lnTo>
                  <a:lnTo>
                    <a:pt x="13601" y="5274"/>
                  </a:lnTo>
                  <a:lnTo>
                    <a:pt x="13643" y="5295"/>
                  </a:lnTo>
                  <a:lnTo>
                    <a:pt x="13601" y="5420"/>
                  </a:lnTo>
                  <a:lnTo>
                    <a:pt x="13580" y="5546"/>
                  </a:lnTo>
                  <a:lnTo>
                    <a:pt x="13497" y="5755"/>
                  </a:lnTo>
                  <a:lnTo>
                    <a:pt x="13434" y="5797"/>
                  </a:lnTo>
                  <a:lnTo>
                    <a:pt x="13434" y="5860"/>
                  </a:lnTo>
                  <a:lnTo>
                    <a:pt x="13392" y="5922"/>
                  </a:lnTo>
                  <a:lnTo>
                    <a:pt x="13308" y="5922"/>
                  </a:lnTo>
                  <a:lnTo>
                    <a:pt x="13287" y="5860"/>
                  </a:lnTo>
                  <a:lnTo>
                    <a:pt x="13183" y="5943"/>
                  </a:lnTo>
                  <a:lnTo>
                    <a:pt x="13162" y="6027"/>
                  </a:lnTo>
                  <a:lnTo>
                    <a:pt x="13099" y="6048"/>
                  </a:lnTo>
                  <a:lnTo>
                    <a:pt x="13099" y="6132"/>
                  </a:lnTo>
                  <a:lnTo>
                    <a:pt x="13162" y="6278"/>
                  </a:lnTo>
                  <a:lnTo>
                    <a:pt x="13225" y="6341"/>
                  </a:lnTo>
                  <a:lnTo>
                    <a:pt x="13225" y="6383"/>
                  </a:lnTo>
                  <a:lnTo>
                    <a:pt x="13329" y="6487"/>
                  </a:lnTo>
                  <a:lnTo>
                    <a:pt x="13413" y="6592"/>
                  </a:lnTo>
                  <a:lnTo>
                    <a:pt x="13497" y="6592"/>
                  </a:lnTo>
                  <a:lnTo>
                    <a:pt x="13497" y="6529"/>
                  </a:lnTo>
                  <a:lnTo>
                    <a:pt x="13476" y="6466"/>
                  </a:lnTo>
                  <a:lnTo>
                    <a:pt x="13518" y="6383"/>
                  </a:lnTo>
                  <a:lnTo>
                    <a:pt x="13518" y="6341"/>
                  </a:lnTo>
                  <a:lnTo>
                    <a:pt x="13538" y="6278"/>
                  </a:lnTo>
                  <a:lnTo>
                    <a:pt x="13518" y="6236"/>
                  </a:lnTo>
                  <a:lnTo>
                    <a:pt x="13580" y="6173"/>
                  </a:lnTo>
                  <a:lnTo>
                    <a:pt x="13643" y="6236"/>
                  </a:lnTo>
                  <a:lnTo>
                    <a:pt x="13727" y="6236"/>
                  </a:lnTo>
                  <a:lnTo>
                    <a:pt x="13769" y="6278"/>
                  </a:lnTo>
                  <a:lnTo>
                    <a:pt x="13831" y="6362"/>
                  </a:lnTo>
                  <a:lnTo>
                    <a:pt x="13852" y="6529"/>
                  </a:lnTo>
                  <a:lnTo>
                    <a:pt x="13852" y="6655"/>
                  </a:lnTo>
                  <a:lnTo>
                    <a:pt x="13915" y="6738"/>
                  </a:lnTo>
                  <a:lnTo>
                    <a:pt x="13936" y="6969"/>
                  </a:lnTo>
                  <a:lnTo>
                    <a:pt x="13999" y="7115"/>
                  </a:lnTo>
                  <a:lnTo>
                    <a:pt x="14020" y="7199"/>
                  </a:lnTo>
                  <a:lnTo>
                    <a:pt x="14041" y="7261"/>
                  </a:lnTo>
                  <a:lnTo>
                    <a:pt x="14041" y="7303"/>
                  </a:lnTo>
                  <a:lnTo>
                    <a:pt x="14062" y="7366"/>
                  </a:lnTo>
                  <a:lnTo>
                    <a:pt x="14103" y="7387"/>
                  </a:lnTo>
                  <a:lnTo>
                    <a:pt x="14103" y="7303"/>
                  </a:lnTo>
                  <a:lnTo>
                    <a:pt x="14124" y="7199"/>
                  </a:lnTo>
                  <a:lnTo>
                    <a:pt x="14166" y="7220"/>
                  </a:lnTo>
                  <a:lnTo>
                    <a:pt x="14250" y="7199"/>
                  </a:lnTo>
                  <a:lnTo>
                    <a:pt x="14292" y="6989"/>
                  </a:lnTo>
                  <a:lnTo>
                    <a:pt x="14271" y="6885"/>
                  </a:lnTo>
                  <a:lnTo>
                    <a:pt x="14292" y="6759"/>
                  </a:lnTo>
                  <a:lnTo>
                    <a:pt x="14271" y="6592"/>
                  </a:lnTo>
                  <a:lnTo>
                    <a:pt x="14417" y="6592"/>
                  </a:lnTo>
                  <a:lnTo>
                    <a:pt x="14417" y="6383"/>
                  </a:lnTo>
                  <a:lnTo>
                    <a:pt x="14417" y="6257"/>
                  </a:lnTo>
                  <a:lnTo>
                    <a:pt x="14354" y="5964"/>
                  </a:lnTo>
                  <a:lnTo>
                    <a:pt x="14459" y="5964"/>
                  </a:lnTo>
                  <a:lnTo>
                    <a:pt x="14564" y="6006"/>
                  </a:lnTo>
                  <a:lnTo>
                    <a:pt x="14731" y="6006"/>
                  </a:lnTo>
                  <a:lnTo>
                    <a:pt x="14794" y="5797"/>
                  </a:lnTo>
                  <a:lnTo>
                    <a:pt x="14857" y="5546"/>
                  </a:lnTo>
                  <a:lnTo>
                    <a:pt x="14982" y="5232"/>
                  </a:lnTo>
                  <a:lnTo>
                    <a:pt x="14857" y="5190"/>
                  </a:lnTo>
                  <a:lnTo>
                    <a:pt x="14857" y="5085"/>
                  </a:lnTo>
                  <a:lnTo>
                    <a:pt x="15003" y="4813"/>
                  </a:lnTo>
                  <a:lnTo>
                    <a:pt x="15087" y="4583"/>
                  </a:lnTo>
                  <a:lnTo>
                    <a:pt x="15045" y="4541"/>
                  </a:lnTo>
                  <a:lnTo>
                    <a:pt x="15066" y="4374"/>
                  </a:lnTo>
                  <a:lnTo>
                    <a:pt x="15254" y="4081"/>
                  </a:lnTo>
                  <a:lnTo>
                    <a:pt x="15380" y="4039"/>
                  </a:lnTo>
                  <a:lnTo>
                    <a:pt x="15505" y="3872"/>
                  </a:lnTo>
                  <a:lnTo>
                    <a:pt x="15568" y="3725"/>
                  </a:lnTo>
                  <a:lnTo>
                    <a:pt x="15777" y="3663"/>
                  </a:lnTo>
                  <a:lnTo>
                    <a:pt x="15924" y="3558"/>
                  </a:lnTo>
                  <a:lnTo>
                    <a:pt x="16007" y="3642"/>
                  </a:lnTo>
                  <a:lnTo>
                    <a:pt x="16133" y="3704"/>
                  </a:lnTo>
                  <a:lnTo>
                    <a:pt x="16112" y="3600"/>
                  </a:lnTo>
                  <a:lnTo>
                    <a:pt x="16112" y="3432"/>
                  </a:lnTo>
                  <a:lnTo>
                    <a:pt x="16217" y="3328"/>
                  </a:lnTo>
                  <a:lnTo>
                    <a:pt x="16196" y="3244"/>
                  </a:lnTo>
                  <a:lnTo>
                    <a:pt x="16154" y="3223"/>
                  </a:lnTo>
                  <a:lnTo>
                    <a:pt x="16091" y="3119"/>
                  </a:lnTo>
                  <a:lnTo>
                    <a:pt x="15987" y="3077"/>
                  </a:lnTo>
                  <a:lnTo>
                    <a:pt x="15903" y="3119"/>
                  </a:lnTo>
                  <a:lnTo>
                    <a:pt x="15777" y="3098"/>
                  </a:lnTo>
                  <a:lnTo>
                    <a:pt x="15735" y="2993"/>
                  </a:lnTo>
                  <a:lnTo>
                    <a:pt x="15840" y="2888"/>
                  </a:lnTo>
                  <a:lnTo>
                    <a:pt x="15840" y="2805"/>
                  </a:lnTo>
                  <a:lnTo>
                    <a:pt x="15777" y="2700"/>
                  </a:lnTo>
                  <a:lnTo>
                    <a:pt x="15735" y="2616"/>
                  </a:lnTo>
                  <a:lnTo>
                    <a:pt x="15673" y="2658"/>
                  </a:lnTo>
                  <a:lnTo>
                    <a:pt x="15589" y="2658"/>
                  </a:lnTo>
                  <a:lnTo>
                    <a:pt x="15526" y="2575"/>
                  </a:lnTo>
                  <a:lnTo>
                    <a:pt x="15610" y="2407"/>
                  </a:lnTo>
                  <a:lnTo>
                    <a:pt x="15589" y="2365"/>
                  </a:lnTo>
                  <a:lnTo>
                    <a:pt x="15505" y="2365"/>
                  </a:lnTo>
                  <a:lnTo>
                    <a:pt x="15463" y="2282"/>
                  </a:lnTo>
                  <a:lnTo>
                    <a:pt x="15380" y="2261"/>
                  </a:lnTo>
                  <a:lnTo>
                    <a:pt x="15108" y="2407"/>
                  </a:lnTo>
                  <a:lnTo>
                    <a:pt x="15150" y="2512"/>
                  </a:lnTo>
                  <a:lnTo>
                    <a:pt x="15066" y="2575"/>
                  </a:lnTo>
                  <a:lnTo>
                    <a:pt x="14857" y="2491"/>
                  </a:lnTo>
                  <a:lnTo>
                    <a:pt x="14689" y="2554"/>
                  </a:lnTo>
                  <a:lnTo>
                    <a:pt x="14585" y="2386"/>
                  </a:lnTo>
                  <a:lnTo>
                    <a:pt x="14459" y="2491"/>
                  </a:lnTo>
                  <a:lnTo>
                    <a:pt x="14375" y="2491"/>
                  </a:lnTo>
                  <a:lnTo>
                    <a:pt x="14375" y="2616"/>
                  </a:lnTo>
                  <a:lnTo>
                    <a:pt x="14271" y="2784"/>
                  </a:lnTo>
                  <a:lnTo>
                    <a:pt x="14041" y="2826"/>
                  </a:lnTo>
                  <a:lnTo>
                    <a:pt x="13936" y="2867"/>
                  </a:lnTo>
                  <a:lnTo>
                    <a:pt x="13831" y="2972"/>
                  </a:lnTo>
                  <a:lnTo>
                    <a:pt x="13769" y="3098"/>
                  </a:lnTo>
                  <a:lnTo>
                    <a:pt x="13685" y="3119"/>
                  </a:lnTo>
                  <a:lnTo>
                    <a:pt x="13685" y="3202"/>
                  </a:lnTo>
                  <a:lnTo>
                    <a:pt x="13580" y="3181"/>
                  </a:lnTo>
                  <a:lnTo>
                    <a:pt x="13497" y="3223"/>
                  </a:lnTo>
                  <a:lnTo>
                    <a:pt x="13434" y="3391"/>
                  </a:lnTo>
                  <a:lnTo>
                    <a:pt x="13329" y="3391"/>
                  </a:lnTo>
                  <a:lnTo>
                    <a:pt x="13120" y="3432"/>
                  </a:lnTo>
                  <a:lnTo>
                    <a:pt x="13057" y="3432"/>
                  </a:lnTo>
                  <a:lnTo>
                    <a:pt x="13015" y="3600"/>
                  </a:lnTo>
                  <a:lnTo>
                    <a:pt x="13015" y="3704"/>
                  </a:lnTo>
                  <a:lnTo>
                    <a:pt x="13204" y="3767"/>
                  </a:lnTo>
                  <a:lnTo>
                    <a:pt x="13204" y="3935"/>
                  </a:lnTo>
                  <a:lnTo>
                    <a:pt x="13204" y="4039"/>
                  </a:lnTo>
                  <a:lnTo>
                    <a:pt x="12974" y="4123"/>
                  </a:lnTo>
                  <a:lnTo>
                    <a:pt x="12806" y="4081"/>
                  </a:lnTo>
                  <a:lnTo>
                    <a:pt x="12597" y="4144"/>
                  </a:lnTo>
                  <a:lnTo>
                    <a:pt x="12492" y="4081"/>
                  </a:lnTo>
                  <a:lnTo>
                    <a:pt x="12367" y="4123"/>
                  </a:lnTo>
                  <a:lnTo>
                    <a:pt x="12262" y="4248"/>
                  </a:lnTo>
                  <a:lnTo>
                    <a:pt x="12116" y="4248"/>
                  </a:lnTo>
                  <a:lnTo>
                    <a:pt x="11823" y="4081"/>
                  </a:lnTo>
                  <a:lnTo>
                    <a:pt x="11739" y="4144"/>
                  </a:lnTo>
                  <a:lnTo>
                    <a:pt x="11530" y="4123"/>
                  </a:lnTo>
                  <a:lnTo>
                    <a:pt x="11425" y="3935"/>
                  </a:lnTo>
                  <a:lnTo>
                    <a:pt x="11488" y="3830"/>
                  </a:lnTo>
                  <a:lnTo>
                    <a:pt x="11488" y="3704"/>
                  </a:lnTo>
                  <a:lnTo>
                    <a:pt x="11383" y="3621"/>
                  </a:lnTo>
                  <a:lnTo>
                    <a:pt x="11341" y="3453"/>
                  </a:lnTo>
                  <a:lnTo>
                    <a:pt x="11300" y="3349"/>
                  </a:lnTo>
                  <a:lnTo>
                    <a:pt x="11153" y="3349"/>
                  </a:lnTo>
                  <a:lnTo>
                    <a:pt x="11069" y="3453"/>
                  </a:lnTo>
                  <a:lnTo>
                    <a:pt x="11028" y="3453"/>
                  </a:lnTo>
                  <a:lnTo>
                    <a:pt x="11090" y="3600"/>
                  </a:lnTo>
                  <a:lnTo>
                    <a:pt x="11028" y="3851"/>
                  </a:lnTo>
                  <a:lnTo>
                    <a:pt x="11132" y="4081"/>
                  </a:lnTo>
                  <a:lnTo>
                    <a:pt x="11090" y="4353"/>
                  </a:lnTo>
                  <a:lnTo>
                    <a:pt x="10756" y="4437"/>
                  </a:lnTo>
                  <a:lnTo>
                    <a:pt x="10505" y="4290"/>
                  </a:lnTo>
                  <a:lnTo>
                    <a:pt x="10400" y="4374"/>
                  </a:lnTo>
                  <a:lnTo>
                    <a:pt x="9919" y="4186"/>
                  </a:lnTo>
                  <a:lnTo>
                    <a:pt x="9709" y="4186"/>
                  </a:lnTo>
                  <a:lnTo>
                    <a:pt x="9584" y="4248"/>
                  </a:lnTo>
                  <a:lnTo>
                    <a:pt x="9291" y="4165"/>
                  </a:lnTo>
                  <a:lnTo>
                    <a:pt x="9124" y="4039"/>
                  </a:lnTo>
                  <a:lnTo>
                    <a:pt x="9103" y="3872"/>
                  </a:lnTo>
                  <a:lnTo>
                    <a:pt x="8810" y="3830"/>
                  </a:lnTo>
                  <a:lnTo>
                    <a:pt x="8517" y="3914"/>
                  </a:lnTo>
                  <a:lnTo>
                    <a:pt x="8412" y="3830"/>
                  </a:lnTo>
                  <a:lnTo>
                    <a:pt x="8140" y="3830"/>
                  </a:lnTo>
                  <a:lnTo>
                    <a:pt x="7952" y="3725"/>
                  </a:lnTo>
                  <a:lnTo>
                    <a:pt x="7784" y="3725"/>
                  </a:lnTo>
                  <a:lnTo>
                    <a:pt x="7680" y="3642"/>
                  </a:lnTo>
                  <a:lnTo>
                    <a:pt x="7450" y="3600"/>
                  </a:lnTo>
                  <a:lnTo>
                    <a:pt x="7261" y="3391"/>
                  </a:lnTo>
                  <a:lnTo>
                    <a:pt x="7010" y="3202"/>
                  </a:lnTo>
                  <a:lnTo>
                    <a:pt x="6801" y="3139"/>
                  </a:lnTo>
                  <a:lnTo>
                    <a:pt x="6717" y="3077"/>
                  </a:lnTo>
                  <a:lnTo>
                    <a:pt x="6613" y="3077"/>
                  </a:lnTo>
                  <a:lnTo>
                    <a:pt x="6508" y="2993"/>
                  </a:lnTo>
                  <a:lnTo>
                    <a:pt x="6383" y="2972"/>
                  </a:lnTo>
                  <a:lnTo>
                    <a:pt x="6362" y="2826"/>
                  </a:lnTo>
                  <a:lnTo>
                    <a:pt x="6487" y="2616"/>
                  </a:lnTo>
                  <a:lnTo>
                    <a:pt x="6487" y="2449"/>
                  </a:lnTo>
                  <a:lnTo>
                    <a:pt x="6571" y="2135"/>
                  </a:lnTo>
                  <a:lnTo>
                    <a:pt x="6571" y="1926"/>
                  </a:lnTo>
                  <a:lnTo>
                    <a:pt x="6529" y="1947"/>
                  </a:lnTo>
                  <a:lnTo>
                    <a:pt x="6508" y="1842"/>
                  </a:lnTo>
                  <a:lnTo>
                    <a:pt x="6404" y="1842"/>
                  </a:lnTo>
                  <a:lnTo>
                    <a:pt x="6320" y="1675"/>
                  </a:lnTo>
                  <a:lnTo>
                    <a:pt x="6257" y="1654"/>
                  </a:lnTo>
                  <a:lnTo>
                    <a:pt x="6152" y="1549"/>
                  </a:lnTo>
                  <a:lnTo>
                    <a:pt x="6006" y="1528"/>
                  </a:lnTo>
                  <a:lnTo>
                    <a:pt x="5964" y="1445"/>
                  </a:lnTo>
                  <a:lnTo>
                    <a:pt x="5839" y="1445"/>
                  </a:lnTo>
                  <a:lnTo>
                    <a:pt x="5755" y="1549"/>
                  </a:lnTo>
                  <a:lnTo>
                    <a:pt x="5629" y="1507"/>
                  </a:lnTo>
                  <a:lnTo>
                    <a:pt x="5587" y="1361"/>
                  </a:lnTo>
                  <a:lnTo>
                    <a:pt x="5546" y="1361"/>
                  </a:lnTo>
                  <a:lnTo>
                    <a:pt x="5546" y="1256"/>
                  </a:lnTo>
                  <a:lnTo>
                    <a:pt x="5462" y="1152"/>
                  </a:lnTo>
                  <a:lnTo>
                    <a:pt x="5399" y="1131"/>
                  </a:lnTo>
                  <a:lnTo>
                    <a:pt x="5441" y="1047"/>
                  </a:lnTo>
                  <a:lnTo>
                    <a:pt x="5378" y="943"/>
                  </a:lnTo>
                  <a:lnTo>
                    <a:pt x="5399" y="712"/>
                  </a:lnTo>
                  <a:lnTo>
                    <a:pt x="5253" y="629"/>
                  </a:lnTo>
                  <a:lnTo>
                    <a:pt x="5232" y="566"/>
                  </a:lnTo>
                  <a:lnTo>
                    <a:pt x="5211" y="482"/>
                  </a:lnTo>
                  <a:lnTo>
                    <a:pt x="4960" y="357"/>
                  </a:lnTo>
                  <a:lnTo>
                    <a:pt x="4813" y="357"/>
                  </a:lnTo>
                  <a:lnTo>
                    <a:pt x="4751" y="189"/>
                  </a:lnTo>
                  <a:lnTo>
                    <a:pt x="4604" y="106"/>
                  </a:lnTo>
                  <a:lnTo>
                    <a:pt x="4437" y="210"/>
                  </a:lnTo>
                  <a:lnTo>
                    <a:pt x="412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Google Shape;12193;p43">
              <a:extLst>
                <a:ext uri="{FF2B5EF4-FFF2-40B4-BE49-F238E27FC236}">
                  <a16:creationId xmlns:a16="http://schemas.microsoft.com/office/drawing/2014/main" id="{15497393-18A4-6E9F-ED83-024B2224CD0B}"/>
                </a:ext>
              </a:extLst>
            </p:cNvPr>
            <p:cNvSpPr/>
            <p:nvPr/>
          </p:nvSpPr>
          <p:spPr>
            <a:xfrm>
              <a:off x="4286244" y="2933329"/>
              <a:ext cx="56823" cy="29034"/>
            </a:xfrm>
            <a:custGeom>
              <a:avLst/>
              <a:gdLst/>
              <a:ahLst/>
              <a:cxnLst/>
              <a:rect l="l" t="t" r="r" b="b"/>
              <a:pathLst>
                <a:path w="4772" h="2553" extrusionOk="0">
                  <a:moveTo>
                    <a:pt x="231" y="0"/>
                  </a:moveTo>
                  <a:lnTo>
                    <a:pt x="210" y="42"/>
                  </a:lnTo>
                  <a:lnTo>
                    <a:pt x="210" y="251"/>
                  </a:lnTo>
                  <a:lnTo>
                    <a:pt x="126" y="565"/>
                  </a:lnTo>
                  <a:lnTo>
                    <a:pt x="126" y="732"/>
                  </a:lnTo>
                  <a:lnTo>
                    <a:pt x="1" y="942"/>
                  </a:lnTo>
                  <a:lnTo>
                    <a:pt x="22" y="1088"/>
                  </a:lnTo>
                  <a:lnTo>
                    <a:pt x="147" y="1109"/>
                  </a:lnTo>
                  <a:lnTo>
                    <a:pt x="252" y="1193"/>
                  </a:lnTo>
                  <a:lnTo>
                    <a:pt x="356" y="1193"/>
                  </a:lnTo>
                  <a:lnTo>
                    <a:pt x="440" y="1255"/>
                  </a:lnTo>
                  <a:lnTo>
                    <a:pt x="649" y="1318"/>
                  </a:lnTo>
                  <a:lnTo>
                    <a:pt x="900" y="1507"/>
                  </a:lnTo>
                  <a:lnTo>
                    <a:pt x="1089" y="1716"/>
                  </a:lnTo>
                  <a:lnTo>
                    <a:pt x="1319" y="1758"/>
                  </a:lnTo>
                  <a:lnTo>
                    <a:pt x="1423" y="1841"/>
                  </a:lnTo>
                  <a:lnTo>
                    <a:pt x="1591" y="1841"/>
                  </a:lnTo>
                  <a:lnTo>
                    <a:pt x="1779" y="1946"/>
                  </a:lnTo>
                  <a:lnTo>
                    <a:pt x="2051" y="1946"/>
                  </a:lnTo>
                  <a:lnTo>
                    <a:pt x="2156" y="2030"/>
                  </a:lnTo>
                  <a:lnTo>
                    <a:pt x="2449" y="1946"/>
                  </a:lnTo>
                  <a:lnTo>
                    <a:pt x="2742" y="1988"/>
                  </a:lnTo>
                  <a:lnTo>
                    <a:pt x="2763" y="2155"/>
                  </a:lnTo>
                  <a:lnTo>
                    <a:pt x="2930" y="2281"/>
                  </a:lnTo>
                  <a:lnTo>
                    <a:pt x="3223" y="2364"/>
                  </a:lnTo>
                  <a:lnTo>
                    <a:pt x="3348" y="2302"/>
                  </a:lnTo>
                  <a:lnTo>
                    <a:pt x="3558" y="2302"/>
                  </a:lnTo>
                  <a:lnTo>
                    <a:pt x="4039" y="2490"/>
                  </a:lnTo>
                  <a:lnTo>
                    <a:pt x="4144" y="2406"/>
                  </a:lnTo>
                  <a:lnTo>
                    <a:pt x="4395" y="2553"/>
                  </a:lnTo>
                  <a:lnTo>
                    <a:pt x="4729" y="2469"/>
                  </a:lnTo>
                  <a:lnTo>
                    <a:pt x="4771" y="2197"/>
                  </a:lnTo>
                  <a:lnTo>
                    <a:pt x="4667" y="1967"/>
                  </a:lnTo>
                  <a:lnTo>
                    <a:pt x="4729" y="1716"/>
                  </a:lnTo>
                  <a:lnTo>
                    <a:pt x="4667" y="1569"/>
                  </a:lnTo>
                  <a:lnTo>
                    <a:pt x="4562" y="1569"/>
                  </a:lnTo>
                  <a:lnTo>
                    <a:pt x="4416" y="1632"/>
                  </a:lnTo>
                  <a:lnTo>
                    <a:pt x="4353" y="1611"/>
                  </a:lnTo>
                  <a:lnTo>
                    <a:pt x="4206" y="1653"/>
                  </a:lnTo>
                  <a:lnTo>
                    <a:pt x="4123" y="1632"/>
                  </a:lnTo>
                  <a:lnTo>
                    <a:pt x="3997" y="1465"/>
                  </a:lnTo>
                  <a:lnTo>
                    <a:pt x="3830" y="1402"/>
                  </a:lnTo>
                  <a:lnTo>
                    <a:pt x="3788" y="1255"/>
                  </a:lnTo>
                  <a:lnTo>
                    <a:pt x="3662" y="1193"/>
                  </a:lnTo>
                  <a:lnTo>
                    <a:pt x="3453" y="1193"/>
                  </a:lnTo>
                  <a:lnTo>
                    <a:pt x="3348" y="1297"/>
                  </a:lnTo>
                  <a:lnTo>
                    <a:pt x="3202" y="1318"/>
                  </a:lnTo>
                  <a:lnTo>
                    <a:pt x="3139" y="1402"/>
                  </a:lnTo>
                  <a:lnTo>
                    <a:pt x="2972" y="1318"/>
                  </a:lnTo>
                  <a:lnTo>
                    <a:pt x="2867" y="1339"/>
                  </a:lnTo>
                  <a:lnTo>
                    <a:pt x="2825" y="1193"/>
                  </a:lnTo>
                  <a:lnTo>
                    <a:pt x="2846" y="942"/>
                  </a:lnTo>
                  <a:lnTo>
                    <a:pt x="2700" y="942"/>
                  </a:lnTo>
                  <a:lnTo>
                    <a:pt x="2532" y="1004"/>
                  </a:lnTo>
                  <a:lnTo>
                    <a:pt x="2365" y="879"/>
                  </a:lnTo>
                  <a:lnTo>
                    <a:pt x="2365" y="711"/>
                  </a:lnTo>
                  <a:lnTo>
                    <a:pt x="2239" y="628"/>
                  </a:lnTo>
                  <a:lnTo>
                    <a:pt x="2114" y="628"/>
                  </a:lnTo>
                  <a:lnTo>
                    <a:pt x="2093" y="586"/>
                  </a:lnTo>
                  <a:lnTo>
                    <a:pt x="2009" y="628"/>
                  </a:lnTo>
                  <a:lnTo>
                    <a:pt x="2009" y="816"/>
                  </a:lnTo>
                  <a:lnTo>
                    <a:pt x="1947" y="837"/>
                  </a:lnTo>
                  <a:lnTo>
                    <a:pt x="1905" y="711"/>
                  </a:lnTo>
                  <a:lnTo>
                    <a:pt x="1800" y="586"/>
                  </a:lnTo>
                  <a:lnTo>
                    <a:pt x="1737" y="523"/>
                  </a:lnTo>
                  <a:lnTo>
                    <a:pt x="1612" y="460"/>
                  </a:lnTo>
                  <a:lnTo>
                    <a:pt x="1486" y="460"/>
                  </a:lnTo>
                  <a:lnTo>
                    <a:pt x="1319" y="272"/>
                  </a:lnTo>
                  <a:lnTo>
                    <a:pt x="1214" y="209"/>
                  </a:lnTo>
                  <a:lnTo>
                    <a:pt x="1089" y="209"/>
                  </a:lnTo>
                  <a:lnTo>
                    <a:pt x="1047" y="147"/>
                  </a:lnTo>
                  <a:lnTo>
                    <a:pt x="838" y="63"/>
                  </a:lnTo>
                  <a:lnTo>
                    <a:pt x="670" y="84"/>
                  </a:lnTo>
                  <a:lnTo>
                    <a:pt x="607" y="188"/>
                  </a:lnTo>
                  <a:lnTo>
                    <a:pt x="545" y="167"/>
                  </a:lnTo>
                  <a:lnTo>
                    <a:pt x="440" y="167"/>
                  </a:lnTo>
                  <a:lnTo>
                    <a:pt x="377" y="84"/>
                  </a:lnTo>
                  <a:lnTo>
                    <a:pt x="2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Google Shape;12194;p43">
              <a:extLst>
                <a:ext uri="{FF2B5EF4-FFF2-40B4-BE49-F238E27FC236}">
                  <a16:creationId xmlns:a16="http://schemas.microsoft.com/office/drawing/2014/main" id="{F203AB5B-331E-E13D-FC82-900AB3752813}"/>
                </a:ext>
              </a:extLst>
            </p:cNvPr>
            <p:cNvSpPr/>
            <p:nvPr/>
          </p:nvSpPr>
          <p:spPr>
            <a:xfrm>
              <a:off x="4155440" y="2884541"/>
              <a:ext cx="95439" cy="100431"/>
            </a:xfrm>
            <a:custGeom>
              <a:avLst/>
              <a:gdLst/>
              <a:ahLst/>
              <a:cxnLst/>
              <a:rect l="l" t="t" r="r" b="b"/>
              <a:pathLst>
                <a:path w="8015" h="8831" extrusionOk="0">
                  <a:moveTo>
                    <a:pt x="5901" y="1"/>
                  </a:moveTo>
                  <a:lnTo>
                    <a:pt x="5713" y="105"/>
                  </a:lnTo>
                  <a:lnTo>
                    <a:pt x="5587" y="252"/>
                  </a:lnTo>
                  <a:lnTo>
                    <a:pt x="5441" y="252"/>
                  </a:lnTo>
                  <a:lnTo>
                    <a:pt x="5315" y="377"/>
                  </a:lnTo>
                  <a:lnTo>
                    <a:pt x="5232" y="482"/>
                  </a:lnTo>
                  <a:lnTo>
                    <a:pt x="5462" y="838"/>
                  </a:lnTo>
                  <a:lnTo>
                    <a:pt x="5483" y="1110"/>
                  </a:lnTo>
                  <a:lnTo>
                    <a:pt x="5232" y="1444"/>
                  </a:lnTo>
                  <a:lnTo>
                    <a:pt x="5357" y="1570"/>
                  </a:lnTo>
                  <a:lnTo>
                    <a:pt x="5357" y="1737"/>
                  </a:lnTo>
                  <a:lnTo>
                    <a:pt x="5190" y="1968"/>
                  </a:lnTo>
                  <a:lnTo>
                    <a:pt x="4981" y="1968"/>
                  </a:lnTo>
                  <a:lnTo>
                    <a:pt x="4771" y="1884"/>
                  </a:lnTo>
                  <a:lnTo>
                    <a:pt x="4646" y="1968"/>
                  </a:lnTo>
                  <a:lnTo>
                    <a:pt x="4709" y="2135"/>
                  </a:lnTo>
                  <a:lnTo>
                    <a:pt x="4834" y="2198"/>
                  </a:lnTo>
                  <a:lnTo>
                    <a:pt x="4876" y="2365"/>
                  </a:lnTo>
                  <a:lnTo>
                    <a:pt x="4855" y="2449"/>
                  </a:lnTo>
                  <a:lnTo>
                    <a:pt x="4730" y="2512"/>
                  </a:lnTo>
                  <a:lnTo>
                    <a:pt x="4604" y="2553"/>
                  </a:lnTo>
                  <a:lnTo>
                    <a:pt x="4562" y="2616"/>
                  </a:lnTo>
                  <a:lnTo>
                    <a:pt x="4541" y="2825"/>
                  </a:lnTo>
                  <a:lnTo>
                    <a:pt x="4499" y="2972"/>
                  </a:lnTo>
                  <a:lnTo>
                    <a:pt x="4499" y="3035"/>
                  </a:lnTo>
                  <a:lnTo>
                    <a:pt x="4457" y="3097"/>
                  </a:lnTo>
                  <a:lnTo>
                    <a:pt x="4499" y="3328"/>
                  </a:lnTo>
                  <a:lnTo>
                    <a:pt x="4395" y="3537"/>
                  </a:lnTo>
                  <a:lnTo>
                    <a:pt x="4248" y="3390"/>
                  </a:lnTo>
                  <a:lnTo>
                    <a:pt x="4206" y="3390"/>
                  </a:lnTo>
                  <a:lnTo>
                    <a:pt x="4185" y="3453"/>
                  </a:lnTo>
                  <a:lnTo>
                    <a:pt x="4039" y="3453"/>
                  </a:lnTo>
                  <a:lnTo>
                    <a:pt x="3997" y="3411"/>
                  </a:lnTo>
                  <a:lnTo>
                    <a:pt x="3830" y="3432"/>
                  </a:lnTo>
                  <a:lnTo>
                    <a:pt x="3809" y="3495"/>
                  </a:lnTo>
                  <a:lnTo>
                    <a:pt x="3600" y="3662"/>
                  </a:lnTo>
                  <a:lnTo>
                    <a:pt x="3683" y="3704"/>
                  </a:lnTo>
                  <a:lnTo>
                    <a:pt x="3621" y="3767"/>
                  </a:lnTo>
                  <a:lnTo>
                    <a:pt x="3411" y="3872"/>
                  </a:lnTo>
                  <a:lnTo>
                    <a:pt x="3349" y="3830"/>
                  </a:lnTo>
                  <a:lnTo>
                    <a:pt x="3202" y="3851"/>
                  </a:lnTo>
                  <a:lnTo>
                    <a:pt x="3160" y="3934"/>
                  </a:lnTo>
                  <a:lnTo>
                    <a:pt x="3139" y="4039"/>
                  </a:lnTo>
                  <a:lnTo>
                    <a:pt x="3035" y="4060"/>
                  </a:lnTo>
                  <a:lnTo>
                    <a:pt x="2951" y="4165"/>
                  </a:lnTo>
                  <a:lnTo>
                    <a:pt x="2951" y="4332"/>
                  </a:lnTo>
                  <a:lnTo>
                    <a:pt x="2993" y="4499"/>
                  </a:lnTo>
                  <a:lnTo>
                    <a:pt x="2993" y="4646"/>
                  </a:lnTo>
                  <a:lnTo>
                    <a:pt x="3035" y="4750"/>
                  </a:lnTo>
                  <a:lnTo>
                    <a:pt x="3035" y="4855"/>
                  </a:lnTo>
                  <a:lnTo>
                    <a:pt x="2784" y="4960"/>
                  </a:lnTo>
                  <a:lnTo>
                    <a:pt x="2574" y="4960"/>
                  </a:lnTo>
                  <a:lnTo>
                    <a:pt x="2407" y="4981"/>
                  </a:lnTo>
                  <a:lnTo>
                    <a:pt x="2093" y="4981"/>
                  </a:lnTo>
                  <a:lnTo>
                    <a:pt x="1905" y="5022"/>
                  </a:lnTo>
                  <a:lnTo>
                    <a:pt x="1821" y="5106"/>
                  </a:lnTo>
                  <a:lnTo>
                    <a:pt x="1633" y="5085"/>
                  </a:lnTo>
                  <a:lnTo>
                    <a:pt x="1465" y="5127"/>
                  </a:lnTo>
                  <a:lnTo>
                    <a:pt x="775" y="5169"/>
                  </a:lnTo>
                  <a:lnTo>
                    <a:pt x="1" y="4918"/>
                  </a:lnTo>
                  <a:lnTo>
                    <a:pt x="273" y="5336"/>
                  </a:lnTo>
                  <a:lnTo>
                    <a:pt x="356" y="5483"/>
                  </a:lnTo>
                  <a:lnTo>
                    <a:pt x="524" y="5629"/>
                  </a:lnTo>
                  <a:lnTo>
                    <a:pt x="649" y="5713"/>
                  </a:lnTo>
                  <a:lnTo>
                    <a:pt x="691" y="5755"/>
                  </a:lnTo>
                  <a:lnTo>
                    <a:pt x="880" y="5797"/>
                  </a:lnTo>
                  <a:lnTo>
                    <a:pt x="984" y="5818"/>
                  </a:lnTo>
                  <a:lnTo>
                    <a:pt x="1005" y="5901"/>
                  </a:lnTo>
                  <a:lnTo>
                    <a:pt x="1172" y="5901"/>
                  </a:lnTo>
                  <a:lnTo>
                    <a:pt x="1172" y="6110"/>
                  </a:lnTo>
                  <a:lnTo>
                    <a:pt x="1214" y="6236"/>
                  </a:lnTo>
                  <a:lnTo>
                    <a:pt x="1214" y="6382"/>
                  </a:lnTo>
                  <a:lnTo>
                    <a:pt x="1256" y="6487"/>
                  </a:lnTo>
                  <a:lnTo>
                    <a:pt x="1403" y="6466"/>
                  </a:lnTo>
                  <a:lnTo>
                    <a:pt x="1528" y="6571"/>
                  </a:lnTo>
                  <a:lnTo>
                    <a:pt x="1570" y="6801"/>
                  </a:lnTo>
                  <a:lnTo>
                    <a:pt x="1486" y="6885"/>
                  </a:lnTo>
                  <a:lnTo>
                    <a:pt x="1319" y="6843"/>
                  </a:lnTo>
                  <a:lnTo>
                    <a:pt x="1068" y="6906"/>
                  </a:lnTo>
                  <a:lnTo>
                    <a:pt x="984" y="6968"/>
                  </a:lnTo>
                  <a:lnTo>
                    <a:pt x="838" y="7052"/>
                  </a:lnTo>
                  <a:lnTo>
                    <a:pt x="754" y="7157"/>
                  </a:lnTo>
                  <a:lnTo>
                    <a:pt x="796" y="7261"/>
                  </a:lnTo>
                  <a:lnTo>
                    <a:pt x="691" y="7387"/>
                  </a:lnTo>
                  <a:lnTo>
                    <a:pt x="754" y="7512"/>
                  </a:lnTo>
                  <a:lnTo>
                    <a:pt x="733" y="7722"/>
                  </a:lnTo>
                  <a:lnTo>
                    <a:pt x="733" y="7805"/>
                  </a:lnTo>
                  <a:lnTo>
                    <a:pt x="796" y="7805"/>
                  </a:lnTo>
                  <a:lnTo>
                    <a:pt x="796" y="7889"/>
                  </a:lnTo>
                  <a:lnTo>
                    <a:pt x="859" y="7910"/>
                  </a:lnTo>
                  <a:lnTo>
                    <a:pt x="1005" y="7805"/>
                  </a:lnTo>
                  <a:lnTo>
                    <a:pt x="1131" y="7805"/>
                  </a:lnTo>
                  <a:lnTo>
                    <a:pt x="1172" y="7847"/>
                  </a:lnTo>
                  <a:lnTo>
                    <a:pt x="1193" y="7826"/>
                  </a:lnTo>
                  <a:lnTo>
                    <a:pt x="1298" y="7784"/>
                  </a:lnTo>
                  <a:lnTo>
                    <a:pt x="1403" y="7784"/>
                  </a:lnTo>
                  <a:lnTo>
                    <a:pt x="1465" y="7805"/>
                  </a:lnTo>
                  <a:lnTo>
                    <a:pt x="1570" y="7784"/>
                  </a:lnTo>
                  <a:lnTo>
                    <a:pt x="1696" y="7784"/>
                  </a:lnTo>
                  <a:lnTo>
                    <a:pt x="1717" y="7722"/>
                  </a:lnTo>
                  <a:lnTo>
                    <a:pt x="1779" y="7638"/>
                  </a:lnTo>
                  <a:lnTo>
                    <a:pt x="1884" y="7722"/>
                  </a:lnTo>
                  <a:lnTo>
                    <a:pt x="1947" y="7722"/>
                  </a:lnTo>
                  <a:lnTo>
                    <a:pt x="1989" y="7701"/>
                  </a:lnTo>
                  <a:lnTo>
                    <a:pt x="2030" y="7701"/>
                  </a:lnTo>
                  <a:lnTo>
                    <a:pt x="2051" y="7784"/>
                  </a:lnTo>
                  <a:lnTo>
                    <a:pt x="2156" y="7784"/>
                  </a:lnTo>
                  <a:lnTo>
                    <a:pt x="2240" y="7826"/>
                  </a:lnTo>
                  <a:lnTo>
                    <a:pt x="2323" y="7826"/>
                  </a:lnTo>
                  <a:lnTo>
                    <a:pt x="2449" y="7701"/>
                  </a:lnTo>
                  <a:lnTo>
                    <a:pt x="2616" y="7701"/>
                  </a:lnTo>
                  <a:lnTo>
                    <a:pt x="2700" y="7722"/>
                  </a:lnTo>
                  <a:lnTo>
                    <a:pt x="2784" y="7680"/>
                  </a:lnTo>
                  <a:lnTo>
                    <a:pt x="2867" y="7680"/>
                  </a:lnTo>
                  <a:lnTo>
                    <a:pt x="2888" y="7617"/>
                  </a:lnTo>
                  <a:lnTo>
                    <a:pt x="2951" y="7638"/>
                  </a:lnTo>
                  <a:lnTo>
                    <a:pt x="3097" y="7680"/>
                  </a:lnTo>
                  <a:lnTo>
                    <a:pt x="3223" y="7617"/>
                  </a:lnTo>
                  <a:lnTo>
                    <a:pt x="3411" y="7617"/>
                  </a:lnTo>
                  <a:lnTo>
                    <a:pt x="3558" y="7722"/>
                  </a:lnTo>
                  <a:lnTo>
                    <a:pt x="3579" y="7847"/>
                  </a:lnTo>
                  <a:lnTo>
                    <a:pt x="3579" y="7931"/>
                  </a:lnTo>
                  <a:lnTo>
                    <a:pt x="3579" y="7952"/>
                  </a:lnTo>
                  <a:lnTo>
                    <a:pt x="3558" y="7952"/>
                  </a:lnTo>
                  <a:lnTo>
                    <a:pt x="3558" y="8014"/>
                  </a:lnTo>
                  <a:lnTo>
                    <a:pt x="3662" y="8014"/>
                  </a:lnTo>
                  <a:lnTo>
                    <a:pt x="3809" y="7931"/>
                  </a:lnTo>
                  <a:lnTo>
                    <a:pt x="3809" y="8056"/>
                  </a:lnTo>
                  <a:lnTo>
                    <a:pt x="3934" y="8203"/>
                  </a:lnTo>
                  <a:lnTo>
                    <a:pt x="3997" y="8412"/>
                  </a:lnTo>
                  <a:lnTo>
                    <a:pt x="3997" y="8433"/>
                  </a:lnTo>
                  <a:lnTo>
                    <a:pt x="3997" y="8517"/>
                  </a:lnTo>
                  <a:lnTo>
                    <a:pt x="3934" y="8538"/>
                  </a:lnTo>
                  <a:lnTo>
                    <a:pt x="4039" y="8538"/>
                  </a:lnTo>
                  <a:lnTo>
                    <a:pt x="4081" y="8663"/>
                  </a:lnTo>
                  <a:lnTo>
                    <a:pt x="4353" y="8663"/>
                  </a:lnTo>
                  <a:lnTo>
                    <a:pt x="4541" y="8747"/>
                  </a:lnTo>
                  <a:lnTo>
                    <a:pt x="4541" y="8831"/>
                  </a:lnTo>
                  <a:lnTo>
                    <a:pt x="4625" y="8768"/>
                  </a:lnTo>
                  <a:lnTo>
                    <a:pt x="4646" y="8621"/>
                  </a:lnTo>
                  <a:lnTo>
                    <a:pt x="4750" y="8538"/>
                  </a:lnTo>
                  <a:lnTo>
                    <a:pt x="4834" y="8517"/>
                  </a:lnTo>
                  <a:lnTo>
                    <a:pt x="4876" y="8370"/>
                  </a:lnTo>
                  <a:lnTo>
                    <a:pt x="4960" y="8412"/>
                  </a:lnTo>
                  <a:lnTo>
                    <a:pt x="5064" y="8349"/>
                  </a:lnTo>
                  <a:lnTo>
                    <a:pt x="5462" y="8370"/>
                  </a:lnTo>
                  <a:lnTo>
                    <a:pt x="5692" y="8266"/>
                  </a:lnTo>
                  <a:lnTo>
                    <a:pt x="5755" y="8224"/>
                  </a:lnTo>
                  <a:lnTo>
                    <a:pt x="5880" y="8203"/>
                  </a:lnTo>
                  <a:lnTo>
                    <a:pt x="5880" y="8203"/>
                  </a:lnTo>
                  <a:lnTo>
                    <a:pt x="5818" y="8266"/>
                  </a:lnTo>
                  <a:lnTo>
                    <a:pt x="5880" y="8349"/>
                  </a:lnTo>
                  <a:lnTo>
                    <a:pt x="6006" y="8266"/>
                  </a:lnTo>
                  <a:lnTo>
                    <a:pt x="6110" y="8224"/>
                  </a:lnTo>
                  <a:lnTo>
                    <a:pt x="6069" y="8161"/>
                  </a:lnTo>
                  <a:lnTo>
                    <a:pt x="6090" y="8098"/>
                  </a:lnTo>
                  <a:lnTo>
                    <a:pt x="5964" y="7722"/>
                  </a:lnTo>
                  <a:lnTo>
                    <a:pt x="5838" y="7575"/>
                  </a:lnTo>
                  <a:lnTo>
                    <a:pt x="5880" y="7491"/>
                  </a:lnTo>
                  <a:lnTo>
                    <a:pt x="5797" y="7429"/>
                  </a:lnTo>
                  <a:lnTo>
                    <a:pt x="5692" y="7429"/>
                  </a:lnTo>
                  <a:lnTo>
                    <a:pt x="5483" y="7303"/>
                  </a:lnTo>
                  <a:lnTo>
                    <a:pt x="5462" y="7094"/>
                  </a:lnTo>
                  <a:lnTo>
                    <a:pt x="5483" y="6968"/>
                  </a:lnTo>
                  <a:lnTo>
                    <a:pt x="5399" y="6780"/>
                  </a:lnTo>
                  <a:lnTo>
                    <a:pt x="5294" y="6780"/>
                  </a:lnTo>
                  <a:lnTo>
                    <a:pt x="5232" y="6801"/>
                  </a:lnTo>
                  <a:lnTo>
                    <a:pt x="5085" y="6759"/>
                  </a:lnTo>
                  <a:lnTo>
                    <a:pt x="4981" y="6780"/>
                  </a:lnTo>
                  <a:lnTo>
                    <a:pt x="4981" y="6634"/>
                  </a:lnTo>
                  <a:lnTo>
                    <a:pt x="5085" y="6382"/>
                  </a:lnTo>
                  <a:lnTo>
                    <a:pt x="5169" y="6362"/>
                  </a:lnTo>
                  <a:lnTo>
                    <a:pt x="5315" y="6152"/>
                  </a:lnTo>
                  <a:lnTo>
                    <a:pt x="5357" y="6048"/>
                  </a:lnTo>
                  <a:lnTo>
                    <a:pt x="5462" y="6006"/>
                  </a:lnTo>
                  <a:lnTo>
                    <a:pt x="5546" y="5943"/>
                  </a:lnTo>
                  <a:lnTo>
                    <a:pt x="5671" y="6006"/>
                  </a:lnTo>
                  <a:lnTo>
                    <a:pt x="5692" y="6110"/>
                  </a:lnTo>
                  <a:lnTo>
                    <a:pt x="5776" y="6131"/>
                  </a:lnTo>
                  <a:lnTo>
                    <a:pt x="5985" y="6006"/>
                  </a:lnTo>
                  <a:lnTo>
                    <a:pt x="6299" y="6006"/>
                  </a:lnTo>
                  <a:lnTo>
                    <a:pt x="6487" y="5797"/>
                  </a:lnTo>
                  <a:lnTo>
                    <a:pt x="6592" y="5441"/>
                  </a:lnTo>
                  <a:lnTo>
                    <a:pt x="6843" y="5273"/>
                  </a:lnTo>
                  <a:lnTo>
                    <a:pt x="6926" y="5127"/>
                  </a:lnTo>
                  <a:lnTo>
                    <a:pt x="6947" y="4960"/>
                  </a:lnTo>
                  <a:lnTo>
                    <a:pt x="7052" y="4771"/>
                  </a:lnTo>
                  <a:lnTo>
                    <a:pt x="7261" y="4667"/>
                  </a:lnTo>
                  <a:lnTo>
                    <a:pt x="7324" y="4541"/>
                  </a:lnTo>
                  <a:lnTo>
                    <a:pt x="7324" y="4437"/>
                  </a:lnTo>
                  <a:lnTo>
                    <a:pt x="7240" y="4374"/>
                  </a:lnTo>
                  <a:lnTo>
                    <a:pt x="7387" y="4185"/>
                  </a:lnTo>
                  <a:lnTo>
                    <a:pt x="7491" y="4123"/>
                  </a:lnTo>
                  <a:lnTo>
                    <a:pt x="7491" y="3976"/>
                  </a:lnTo>
                  <a:lnTo>
                    <a:pt x="7554" y="3704"/>
                  </a:lnTo>
                  <a:lnTo>
                    <a:pt x="7470" y="3495"/>
                  </a:lnTo>
                  <a:lnTo>
                    <a:pt x="7450" y="3432"/>
                  </a:lnTo>
                  <a:lnTo>
                    <a:pt x="7638" y="3244"/>
                  </a:lnTo>
                  <a:lnTo>
                    <a:pt x="7743" y="3223"/>
                  </a:lnTo>
                  <a:lnTo>
                    <a:pt x="7847" y="3139"/>
                  </a:lnTo>
                  <a:lnTo>
                    <a:pt x="7910" y="3139"/>
                  </a:lnTo>
                  <a:lnTo>
                    <a:pt x="8015" y="3035"/>
                  </a:lnTo>
                  <a:lnTo>
                    <a:pt x="8015" y="2909"/>
                  </a:lnTo>
                  <a:lnTo>
                    <a:pt x="7868" y="2867"/>
                  </a:lnTo>
                  <a:lnTo>
                    <a:pt x="7743" y="2909"/>
                  </a:lnTo>
                  <a:lnTo>
                    <a:pt x="7554" y="2888"/>
                  </a:lnTo>
                  <a:lnTo>
                    <a:pt x="7491" y="2721"/>
                  </a:lnTo>
                  <a:lnTo>
                    <a:pt x="7282" y="2658"/>
                  </a:lnTo>
                  <a:lnTo>
                    <a:pt x="7073" y="2595"/>
                  </a:lnTo>
                  <a:lnTo>
                    <a:pt x="6864" y="2407"/>
                  </a:lnTo>
                  <a:lnTo>
                    <a:pt x="6843" y="2240"/>
                  </a:lnTo>
                  <a:lnTo>
                    <a:pt x="6738" y="1863"/>
                  </a:lnTo>
                  <a:lnTo>
                    <a:pt x="6634" y="1675"/>
                  </a:lnTo>
                  <a:lnTo>
                    <a:pt x="6634" y="1507"/>
                  </a:lnTo>
                  <a:lnTo>
                    <a:pt x="6738" y="1465"/>
                  </a:lnTo>
                  <a:lnTo>
                    <a:pt x="6738" y="1340"/>
                  </a:lnTo>
                  <a:lnTo>
                    <a:pt x="6885" y="1235"/>
                  </a:lnTo>
                  <a:lnTo>
                    <a:pt x="6885" y="1110"/>
                  </a:lnTo>
                  <a:lnTo>
                    <a:pt x="6738" y="1047"/>
                  </a:lnTo>
                  <a:lnTo>
                    <a:pt x="6717" y="921"/>
                  </a:lnTo>
                  <a:lnTo>
                    <a:pt x="6550" y="838"/>
                  </a:lnTo>
                  <a:lnTo>
                    <a:pt x="6403" y="712"/>
                  </a:lnTo>
                  <a:lnTo>
                    <a:pt x="6278" y="566"/>
                  </a:lnTo>
                  <a:lnTo>
                    <a:pt x="6173" y="608"/>
                  </a:lnTo>
                  <a:lnTo>
                    <a:pt x="6090" y="628"/>
                  </a:lnTo>
                  <a:lnTo>
                    <a:pt x="6006" y="566"/>
                  </a:lnTo>
                  <a:lnTo>
                    <a:pt x="5985" y="315"/>
                  </a:lnTo>
                  <a:lnTo>
                    <a:pt x="6236" y="147"/>
                  </a:lnTo>
                  <a:lnTo>
                    <a:pt x="6215" y="64"/>
                  </a:lnTo>
                  <a:lnTo>
                    <a:pt x="6027" y="84"/>
                  </a:lnTo>
                  <a:lnTo>
                    <a:pt x="590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Google Shape;12195;p43">
              <a:extLst>
                <a:ext uri="{FF2B5EF4-FFF2-40B4-BE49-F238E27FC236}">
                  <a16:creationId xmlns:a16="http://schemas.microsoft.com/office/drawing/2014/main" id="{A89B7C96-ED18-EFFB-3790-0CAAA8E7FFA2}"/>
                </a:ext>
              </a:extLst>
            </p:cNvPr>
            <p:cNvSpPr/>
            <p:nvPr/>
          </p:nvSpPr>
          <p:spPr>
            <a:xfrm>
              <a:off x="4148462" y="2870746"/>
              <a:ext cx="91200" cy="72579"/>
            </a:xfrm>
            <a:custGeom>
              <a:avLst/>
              <a:gdLst/>
              <a:ahLst/>
              <a:cxnLst/>
              <a:rect l="l" t="t" r="r" b="b"/>
              <a:pathLst>
                <a:path w="7659" h="6382" extrusionOk="0">
                  <a:moveTo>
                    <a:pt x="5295" y="0"/>
                  </a:moveTo>
                  <a:lnTo>
                    <a:pt x="5232" y="105"/>
                  </a:lnTo>
                  <a:lnTo>
                    <a:pt x="5211" y="272"/>
                  </a:lnTo>
                  <a:lnTo>
                    <a:pt x="5127" y="335"/>
                  </a:lnTo>
                  <a:lnTo>
                    <a:pt x="5106" y="419"/>
                  </a:lnTo>
                  <a:lnTo>
                    <a:pt x="5127" y="565"/>
                  </a:lnTo>
                  <a:lnTo>
                    <a:pt x="5043" y="691"/>
                  </a:lnTo>
                  <a:lnTo>
                    <a:pt x="4918" y="691"/>
                  </a:lnTo>
                  <a:lnTo>
                    <a:pt x="4897" y="649"/>
                  </a:lnTo>
                  <a:lnTo>
                    <a:pt x="4834" y="649"/>
                  </a:lnTo>
                  <a:lnTo>
                    <a:pt x="4792" y="691"/>
                  </a:lnTo>
                  <a:lnTo>
                    <a:pt x="4667" y="732"/>
                  </a:lnTo>
                  <a:lnTo>
                    <a:pt x="4667" y="837"/>
                  </a:lnTo>
                  <a:lnTo>
                    <a:pt x="4709" y="879"/>
                  </a:lnTo>
                  <a:lnTo>
                    <a:pt x="4709" y="963"/>
                  </a:lnTo>
                  <a:lnTo>
                    <a:pt x="4520" y="942"/>
                  </a:lnTo>
                  <a:lnTo>
                    <a:pt x="4458" y="858"/>
                  </a:lnTo>
                  <a:lnTo>
                    <a:pt x="4395" y="837"/>
                  </a:lnTo>
                  <a:lnTo>
                    <a:pt x="4332" y="879"/>
                  </a:lnTo>
                  <a:lnTo>
                    <a:pt x="4269" y="900"/>
                  </a:lnTo>
                  <a:lnTo>
                    <a:pt x="4207" y="984"/>
                  </a:lnTo>
                  <a:lnTo>
                    <a:pt x="4081" y="1067"/>
                  </a:lnTo>
                  <a:lnTo>
                    <a:pt x="3893" y="1088"/>
                  </a:lnTo>
                  <a:lnTo>
                    <a:pt x="3788" y="1067"/>
                  </a:lnTo>
                  <a:lnTo>
                    <a:pt x="3683" y="900"/>
                  </a:lnTo>
                  <a:lnTo>
                    <a:pt x="3579" y="879"/>
                  </a:lnTo>
                  <a:lnTo>
                    <a:pt x="3474" y="984"/>
                  </a:lnTo>
                  <a:lnTo>
                    <a:pt x="3411" y="984"/>
                  </a:lnTo>
                  <a:lnTo>
                    <a:pt x="3328" y="879"/>
                  </a:lnTo>
                  <a:lnTo>
                    <a:pt x="3223" y="795"/>
                  </a:lnTo>
                  <a:lnTo>
                    <a:pt x="3014" y="858"/>
                  </a:lnTo>
                  <a:lnTo>
                    <a:pt x="2993" y="837"/>
                  </a:lnTo>
                  <a:lnTo>
                    <a:pt x="2847" y="858"/>
                  </a:lnTo>
                  <a:lnTo>
                    <a:pt x="2742" y="774"/>
                  </a:lnTo>
                  <a:lnTo>
                    <a:pt x="2595" y="837"/>
                  </a:lnTo>
                  <a:lnTo>
                    <a:pt x="2428" y="942"/>
                  </a:lnTo>
                  <a:lnTo>
                    <a:pt x="2386" y="942"/>
                  </a:lnTo>
                  <a:lnTo>
                    <a:pt x="2219" y="984"/>
                  </a:lnTo>
                  <a:lnTo>
                    <a:pt x="2177" y="1046"/>
                  </a:lnTo>
                  <a:lnTo>
                    <a:pt x="2114" y="1067"/>
                  </a:lnTo>
                  <a:lnTo>
                    <a:pt x="2093" y="1109"/>
                  </a:lnTo>
                  <a:lnTo>
                    <a:pt x="2156" y="1172"/>
                  </a:lnTo>
                  <a:lnTo>
                    <a:pt x="2156" y="1297"/>
                  </a:lnTo>
                  <a:lnTo>
                    <a:pt x="2010" y="1423"/>
                  </a:lnTo>
                  <a:lnTo>
                    <a:pt x="2010" y="1590"/>
                  </a:lnTo>
                  <a:lnTo>
                    <a:pt x="1989" y="1716"/>
                  </a:lnTo>
                  <a:lnTo>
                    <a:pt x="1884" y="1737"/>
                  </a:lnTo>
                  <a:lnTo>
                    <a:pt x="1800" y="1821"/>
                  </a:lnTo>
                  <a:lnTo>
                    <a:pt x="1779" y="1883"/>
                  </a:lnTo>
                  <a:lnTo>
                    <a:pt x="1570" y="1925"/>
                  </a:lnTo>
                  <a:lnTo>
                    <a:pt x="1382" y="2030"/>
                  </a:lnTo>
                  <a:lnTo>
                    <a:pt x="1424" y="2113"/>
                  </a:lnTo>
                  <a:lnTo>
                    <a:pt x="1340" y="2155"/>
                  </a:lnTo>
                  <a:lnTo>
                    <a:pt x="1319" y="2239"/>
                  </a:lnTo>
                  <a:lnTo>
                    <a:pt x="1235" y="2344"/>
                  </a:lnTo>
                  <a:lnTo>
                    <a:pt x="1068" y="2365"/>
                  </a:lnTo>
                  <a:lnTo>
                    <a:pt x="1026" y="2427"/>
                  </a:lnTo>
                  <a:lnTo>
                    <a:pt x="963" y="2365"/>
                  </a:lnTo>
                  <a:lnTo>
                    <a:pt x="922" y="2302"/>
                  </a:lnTo>
                  <a:lnTo>
                    <a:pt x="796" y="2197"/>
                  </a:lnTo>
                  <a:lnTo>
                    <a:pt x="712" y="2197"/>
                  </a:lnTo>
                  <a:lnTo>
                    <a:pt x="629" y="2260"/>
                  </a:lnTo>
                  <a:lnTo>
                    <a:pt x="524" y="2260"/>
                  </a:lnTo>
                  <a:lnTo>
                    <a:pt x="440" y="2197"/>
                  </a:lnTo>
                  <a:lnTo>
                    <a:pt x="315" y="2155"/>
                  </a:lnTo>
                  <a:lnTo>
                    <a:pt x="273" y="2197"/>
                  </a:lnTo>
                  <a:lnTo>
                    <a:pt x="273" y="2365"/>
                  </a:lnTo>
                  <a:lnTo>
                    <a:pt x="273" y="2448"/>
                  </a:lnTo>
                  <a:lnTo>
                    <a:pt x="210" y="2532"/>
                  </a:lnTo>
                  <a:lnTo>
                    <a:pt x="294" y="2637"/>
                  </a:lnTo>
                  <a:lnTo>
                    <a:pt x="273" y="2657"/>
                  </a:lnTo>
                  <a:lnTo>
                    <a:pt x="273" y="2741"/>
                  </a:lnTo>
                  <a:lnTo>
                    <a:pt x="126" y="2846"/>
                  </a:lnTo>
                  <a:lnTo>
                    <a:pt x="1" y="2867"/>
                  </a:lnTo>
                  <a:lnTo>
                    <a:pt x="64" y="2950"/>
                  </a:lnTo>
                  <a:lnTo>
                    <a:pt x="168" y="3034"/>
                  </a:lnTo>
                  <a:lnTo>
                    <a:pt x="22" y="3181"/>
                  </a:lnTo>
                  <a:lnTo>
                    <a:pt x="85" y="3181"/>
                  </a:lnTo>
                  <a:lnTo>
                    <a:pt x="106" y="3390"/>
                  </a:lnTo>
                  <a:lnTo>
                    <a:pt x="106" y="3515"/>
                  </a:lnTo>
                  <a:lnTo>
                    <a:pt x="294" y="3557"/>
                  </a:lnTo>
                  <a:lnTo>
                    <a:pt x="336" y="3557"/>
                  </a:lnTo>
                  <a:lnTo>
                    <a:pt x="189" y="3787"/>
                  </a:lnTo>
                  <a:lnTo>
                    <a:pt x="126" y="3934"/>
                  </a:lnTo>
                  <a:lnTo>
                    <a:pt x="294" y="4227"/>
                  </a:lnTo>
                  <a:lnTo>
                    <a:pt x="378" y="4499"/>
                  </a:lnTo>
                  <a:lnTo>
                    <a:pt x="336" y="4562"/>
                  </a:lnTo>
                  <a:lnTo>
                    <a:pt x="398" y="4666"/>
                  </a:lnTo>
                  <a:lnTo>
                    <a:pt x="419" y="4875"/>
                  </a:lnTo>
                  <a:lnTo>
                    <a:pt x="922" y="4917"/>
                  </a:lnTo>
                  <a:lnTo>
                    <a:pt x="1005" y="5085"/>
                  </a:lnTo>
                  <a:lnTo>
                    <a:pt x="1005" y="5252"/>
                  </a:lnTo>
                  <a:lnTo>
                    <a:pt x="1047" y="5482"/>
                  </a:lnTo>
                  <a:lnTo>
                    <a:pt x="1005" y="5566"/>
                  </a:lnTo>
                  <a:lnTo>
                    <a:pt x="587" y="6131"/>
                  </a:lnTo>
                  <a:lnTo>
                    <a:pt x="1361" y="6382"/>
                  </a:lnTo>
                  <a:lnTo>
                    <a:pt x="2051" y="6340"/>
                  </a:lnTo>
                  <a:lnTo>
                    <a:pt x="2219" y="6298"/>
                  </a:lnTo>
                  <a:lnTo>
                    <a:pt x="2407" y="6319"/>
                  </a:lnTo>
                  <a:lnTo>
                    <a:pt x="2491" y="6235"/>
                  </a:lnTo>
                  <a:lnTo>
                    <a:pt x="2679" y="6194"/>
                  </a:lnTo>
                  <a:lnTo>
                    <a:pt x="2993" y="6194"/>
                  </a:lnTo>
                  <a:lnTo>
                    <a:pt x="3160" y="6173"/>
                  </a:lnTo>
                  <a:lnTo>
                    <a:pt x="3370" y="6173"/>
                  </a:lnTo>
                  <a:lnTo>
                    <a:pt x="3621" y="6068"/>
                  </a:lnTo>
                  <a:lnTo>
                    <a:pt x="3621" y="5963"/>
                  </a:lnTo>
                  <a:lnTo>
                    <a:pt x="3579" y="5859"/>
                  </a:lnTo>
                  <a:lnTo>
                    <a:pt x="3579" y="5712"/>
                  </a:lnTo>
                  <a:lnTo>
                    <a:pt x="3537" y="5545"/>
                  </a:lnTo>
                  <a:lnTo>
                    <a:pt x="3537" y="5378"/>
                  </a:lnTo>
                  <a:lnTo>
                    <a:pt x="3621" y="5273"/>
                  </a:lnTo>
                  <a:lnTo>
                    <a:pt x="3725" y="5252"/>
                  </a:lnTo>
                  <a:lnTo>
                    <a:pt x="3746" y="5147"/>
                  </a:lnTo>
                  <a:lnTo>
                    <a:pt x="3788" y="5064"/>
                  </a:lnTo>
                  <a:lnTo>
                    <a:pt x="3935" y="5043"/>
                  </a:lnTo>
                  <a:lnTo>
                    <a:pt x="3997" y="5085"/>
                  </a:lnTo>
                  <a:lnTo>
                    <a:pt x="4207" y="4980"/>
                  </a:lnTo>
                  <a:lnTo>
                    <a:pt x="4269" y="4917"/>
                  </a:lnTo>
                  <a:lnTo>
                    <a:pt x="4186" y="4875"/>
                  </a:lnTo>
                  <a:lnTo>
                    <a:pt x="4395" y="4708"/>
                  </a:lnTo>
                  <a:lnTo>
                    <a:pt x="4416" y="4645"/>
                  </a:lnTo>
                  <a:lnTo>
                    <a:pt x="4583" y="4624"/>
                  </a:lnTo>
                  <a:lnTo>
                    <a:pt x="4625" y="4666"/>
                  </a:lnTo>
                  <a:lnTo>
                    <a:pt x="4771" y="4666"/>
                  </a:lnTo>
                  <a:lnTo>
                    <a:pt x="4792" y="4603"/>
                  </a:lnTo>
                  <a:lnTo>
                    <a:pt x="4834" y="4603"/>
                  </a:lnTo>
                  <a:lnTo>
                    <a:pt x="4981" y="4750"/>
                  </a:lnTo>
                  <a:lnTo>
                    <a:pt x="5085" y="4541"/>
                  </a:lnTo>
                  <a:lnTo>
                    <a:pt x="5043" y="4310"/>
                  </a:lnTo>
                  <a:lnTo>
                    <a:pt x="5085" y="4248"/>
                  </a:lnTo>
                  <a:lnTo>
                    <a:pt x="5085" y="4185"/>
                  </a:lnTo>
                  <a:lnTo>
                    <a:pt x="5127" y="4038"/>
                  </a:lnTo>
                  <a:lnTo>
                    <a:pt x="5148" y="3829"/>
                  </a:lnTo>
                  <a:lnTo>
                    <a:pt x="5190" y="3766"/>
                  </a:lnTo>
                  <a:lnTo>
                    <a:pt x="5316" y="3725"/>
                  </a:lnTo>
                  <a:lnTo>
                    <a:pt x="5441" y="3662"/>
                  </a:lnTo>
                  <a:lnTo>
                    <a:pt x="5462" y="3578"/>
                  </a:lnTo>
                  <a:lnTo>
                    <a:pt x="5420" y="3411"/>
                  </a:lnTo>
                  <a:lnTo>
                    <a:pt x="5295" y="3348"/>
                  </a:lnTo>
                  <a:lnTo>
                    <a:pt x="5232" y="3181"/>
                  </a:lnTo>
                  <a:lnTo>
                    <a:pt x="5357" y="3097"/>
                  </a:lnTo>
                  <a:lnTo>
                    <a:pt x="5567" y="3181"/>
                  </a:lnTo>
                  <a:lnTo>
                    <a:pt x="5776" y="3181"/>
                  </a:lnTo>
                  <a:lnTo>
                    <a:pt x="5943" y="2950"/>
                  </a:lnTo>
                  <a:lnTo>
                    <a:pt x="5943" y="2783"/>
                  </a:lnTo>
                  <a:lnTo>
                    <a:pt x="5818" y="2657"/>
                  </a:lnTo>
                  <a:lnTo>
                    <a:pt x="6069" y="2323"/>
                  </a:lnTo>
                  <a:lnTo>
                    <a:pt x="6048" y="2051"/>
                  </a:lnTo>
                  <a:lnTo>
                    <a:pt x="5818" y="1695"/>
                  </a:lnTo>
                  <a:lnTo>
                    <a:pt x="5901" y="1590"/>
                  </a:lnTo>
                  <a:lnTo>
                    <a:pt x="6027" y="1465"/>
                  </a:lnTo>
                  <a:lnTo>
                    <a:pt x="6173" y="1465"/>
                  </a:lnTo>
                  <a:lnTo>
                    <a:pt x="6299" y="1318"/>
                  </a:lnTo>
                  <a:lnTo>
                    <a:pt x="6487" y="1214"/>
                  </a:lnTo>
                  <a:lnTo>
                    <a:pt x="6613" y="1297"/>
                  </a:lnTo>
                  <a:lnTo>
                    <a:pt x="6801" y="1277"/>
                  </a:lnTo>
                  <a:lnTo>
                    <a:pt x="7199" y="1172"/>
                  </a:lnTo>
                  <a:lnTo>
                    <a:pt x="7450" y="1067"/>
                  </a:lnTo>
                  <a:lnTo>
                    <a:pt x="7596" y="879"/>
                  </a:lnTo>
                  <a:lnTo>
                    <a:pt x="7471" y="858"/>
                  </a:lnTo>
                  <a:lnTo>
                    <a:pt x="7659" y="691"/>
                  </a:lnTo>
                  <a:lnTo>
                    <a:pt x="7638" y="586"/>
                  </a:lnTo>
                  <a:lnTo>
                    <a:pt x="7387" y="586"/>
                  </a:lnTo>
                  <a:lnTo>
                    <a:pt x="7324" y="691"/>
                  </a:lnTo>
                  <a:lnTo>
                    <a:pt x="7094" y="732"/>
                  </a:lnTo>
                  <a:lnTo>
                    <a:pt x="7073" y="586"/>
                  </a:lnTo>
                  <a:lnTo>
                    <a:pt x="6906" y="649"/>
                  </a:lnTo>
                  <a:lnTo>
                    <a:pt x="6655" y="795"/>
                  </a:lnTo>
                  <a:lnTo>
                    <a:pt x="6571" y="858"/>
                  </a:lnTo>
                  <a:lnTo>
                    <a:pt x="6550" y="984"/>
                  </a:lnTo>
                  <a:lnTo>
                    <a:pt x="6424" y="1067"/>
                  </a:lnTo>
                  <a:lnTo>
                    <a:pt x="6257" y="1151"/>
                  </a:lnTo>
                  <a:lnTo>
                    <a:pt x="6236" y="1193"/>
                  </a:lnTo>
                  <a:lnTo>
                    <a:pt x="6132" y="1277"/>
                  </a:lnTo>
                  <a:lnTo>
                    <a:pt x="5985" y="1277"/>
                  </a:lnTo>
                  <a:lnTo>
                    <a:pt x="5880" y="1256"/>
                  </a:lnTo>
                  <a:lnTo>
                    <a:pt x="5880" y="1172"/>
                  </a:lnTo>
                  <a:lnTo>
                    <a:pt x="5776" y="1046"/>
                  </a:lnTo>
                  <a:lnTo>
                    <a:pt x="5776" y="837"/>
                  </a:lnTo>
                  <a:lnTo>
                    <a:pt x="5755" y="691"/>
                  </a:lnTo>
                  <a:lnTo>
                    <a:pt x="5776" y="565"/>
                  </a:lnTo>
                  <a:lnTo>
                    <a:pt x="5734" y="460"/>
                  </a:lnTo>
                  <a:lnTo>
                    <a:pt x="5629" y="460"/>
                  </a:lnTo>
                  <a:lnTo>
                    <a:pt x="5608" y="356"/>
                  </a:lnTo>
                  <a:lnTo>
                    <a:pt x="5629" y="209"/>
                  </a:lnTo>
                  <a:lnTo>
                    <a:pt x="5629" y="126"/>
                  </a:lnTo>
                  <a:lnTo>
                    <a:pt x="5525" y="63"/>
                  </a:lnTo>
                  <a:lnTo>
                    <a:pt x="542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Google Shape;12196;p43">
              <a:extLst>
                <a:ext uri="{FF2B5EF4-FFF2-40B4-BE49-F238E27FC236}">
                  <a16:creationId xmlns:a16="http://schemas.microsoft.com/office/drawing/2014/main" id="{00033BE1-9D25-755E-CF6F-6CBCEBA16F9D}"/>
                </a:ext>
              </a:extLst>
            </p:cNvPr>
            <p:cNvSpPr/>
            <p:nvPr/>
          </p:nvSpPr>
          <p:spPr>
            <a:xfrm>
              <a:off x="3884115" y="2761763"/>
              <a:ext cx="113133" cy="67348"/>
            </a:xfrm>
            <a:custGeom>
              <a:avLst/>
              <a:gdLst/>
              <a:ahLst/>
              <a:cxnLst/>
              <a:rect l="l" t="t" r="r" b="b"/>
              <a:pathLst>
                <a:path w="9501" h="5922" extrusionOk="0">
                  <a:moveTo>
                    <a:pt x="5064" y="0"/>
                  </a:moveTo>
                  <a:lnTo>
                    <a:pt x="4960" y="84"/>
                  </a:lnTo>
                  <a:lnTo>
                    <a:pt x="5002" y="209"/>
                  </a:lnTo>
                  <a:lnTo>
                    <a:pt x="4855" y="230"/>
                  </a:lnTo>
                  <a:lnTo>
                    <a:pt x="4751" y="209"/>
                  </a:lnTo>
                  <a:lnTo>
                    <a:pt x="4730" y="209"/>
                  </a:lnTo>
                  <a:lnTo>
                    <a:pt x="4500" y="272"/>
                  </a:lnTo>
                  <a:lnTo>
                    <a:pt x="4332" y="293"/>
                  </a:lnTo>
                  <a:lnTo>
                    <a:pt x="4228" y="502"/>
                  </a:lnTo>
                  <a:lnTo>
                    <a:pt x="4228" y="712"/>
                  </a:lnTo>
                  <a:lnTo>
                    <a:pt x="4102" y="712"/>
                  </a:lnTo>
                  <a:lnTo>
                    <a:pt x="3997" y="628"/>
                  </a:lnTo>
                  <a:lnTo>
                    <a:pt x="3851" y="691"/>
                  </a:lnTo>
                  <a:lnTo>
                    <a:pt x="3746" y="607"/>
                  </a:lnTo>
                  <a:lnTo>
                    <a:pt x="3642" y="628"/>
                  </a:lnTo>
                  <a:lnTo>
                    <a:pt x="3537" y="753"/>
                  </a:lnTo>
                  <a:lnTo>
                    <a:pt x="3432" y="732"/>
                  </a:lnTo>
                  <a:lnTo>
                    <a:pt x="3391" y="607"/>
                  </a:lnTo>
                  <a:lnTo>
                    <a:pt x="3244" y="607"/>
                  </a:lnTo>
                  <a:lnTo>
                    <a:pt x="3056" y="712"/>
                  </a:lnTo>
                  <a:lnTo>
                    <a:pt x="2972" y="649"/>
                  </a:lnTo>
                  <a:lnTo>
                    <a:pt x="2805" y="628"/>
                  </a:lnTo>
                  <a:lnTo>
                    <a:pt x="2763" y="691"/>
                  </a:lnTo>
                  <a:lnTo>
                    <a:pt x="2700" y="691"/>
                  </a:lnTo>
                  <a:lnTo>
                    <a:pt x="2595" y="607"/>
                  </a:lnTo>
                  <a:lnTo>
                    <a:pt x="2386" y="691"/>
                  </a:lnTo>
                  <a:lnTo>
                    <a:pt x="2344" y="628"/>
                  </a:lnTo>
                  <a:lnTo>
                    <a:pt x="2219" y="544"/>
                  </a:lnTo>
                  <a:lnTo>
                    <a:pt x="1884" y="502"/>
                  </a:lnTo>
                  <a:lnTo>
                    <a:pt x="1759" y="419"/>
                  </a:lnTo>
                  <a:lnTo>
                    <a:pt x="1675" y="419"/>
                  </a:lnTo>
                  <a:lnTo>
                    <a:pt x="1570" y="523"/>
                  </a:lnTo>
                  <a:lnTo>
                    <a:pt x="1382" y="523"/>
                  </a:lnTo>
                  <a:lnTo>
                    <a:pt x="963" y="586"/>
                  </a:lnTo>
                  <a:lnTo>
                    <a:pt x="859" y="628"/>
                  </a:lnTo>
                  <a:lnTo>
                    <a:pt x="671" y="544"/>
                  </a:lnTo>
                  <a:lnTo>
                    <a:pt x="608" y="544"/>
                  </a:lnTo>
                  <a:lnTo>
                    <a:pt x="566" y="649"/>
                  </a:lnTo>
                  <a:lnTo>
                    <a:pt x="608" y="921"/>
                  </a:lnTo>
                  <a:lnTo>
                    <a:pt x="650" y="1004"/>
                  </a:lnTo>
                  <a:lnTo>
                    <a:pt x="733" y="1151"/>
                  </a:lnTo>
                  <a:lnTo>
                    <a:pt x="859" y="1235"/>
                  </a:lnTo>
                  <a:lnTo>
                    <a:pt x="817" y="1318"/>
                  </a:lnTo>
                  <a:lnTo>
                    <a:pt x="838" y="1381"/>
                  </a:lnTo>
                  <a:lnTo>
                    <a:pt x="880" y="1465"/>
                  </a:lnTo>
                  <a:lnTo>
                    <a:pt x="838" y="1653"/>
                  </a:lnTo>
                  <a:lnTo>
                    <a:pt x="754" y="1653"/>
                  </a:lnTo>
                  <a:lnTo>
                    <a:pt x="650" y="1737"/>
                  </a:lnTo>
                  <a:lnTo>
                    <a:pt x="629" y="1904"/>
                  </a:lnTo>
                  <a:lnTo>
                    <a:pt x="252" y="2302"/>
                  </a:lnTo>
                  <a:lnTo>
                    <a:pt x="294" y="2469"/>
                  </a:lnTo>
                  <a:lnTo>
                    <a:pt x="294" y="2637"/>
                  </a:lnTo>
                  <a:lnTo>
                    <a:pt x="147" y="2616"/>
                  </a:lnTo>
                  <a:lnTo>
                    <a:pt x="43" y="2888"/>
                  </a:lnTo>
                  <a:lnTo>
                    <a:pt x="22" y="3097"/>
                  </a:lnTo>
                  <a:lnTo>
                    <a:pt x="1" y="3097"/>
                  </a:lnTo>
                  <a:lnTo>
                    <a:pt x="126" y="3222"/>
                  </a:lnTo>
                  <a:lnTo>
                    <a:pt x="294" y="3327"/>
                  </a:lnTo>
                  <a:lnTo>
                    <a:pt x="315" y="3432"/>
                  </a:lnTo>
                  <a:lnTo>
                    <a:pt x="440" y="3432"/>
                  </a:lnTo>
                  <a:lnTo>
                    <a:pt x="524" y="3348"/>
                  </a:lnTo>
                  <a:lnTo>
                    <a:pt x="629" y="3348"/>
                  </a:lnTo>
                  <a:lnTo>
                    <a:pt x="838" y="3453"/>
                  </a:lnTo>
                  <a:lnTo>
                    <a:pt x="984" y="3473"/>
                  </a:lnTo>
                  <a:lnTo>
                    <a:pt x="1152" y="3536"/>
                  </a:lnTo>
                  <a:lnTo>
                    <a:pt x="1194" y="3641"/>
                  </a:lnTo>
                  <a:lnTo>
                    <a:pt x="1340" y="3683"/>
                  </a:lnTo>
                  <a:lnTo>
                    <a:pt x="1487" y="3641"/>
                  </a:lnTo>
                  <a:lnTo>
                    <a:pt x="1612" y="3641"/>
                  </a:lnTo>
                  <a:lnTo>
                    <a:pt x="1717" y="3515"/>
                  </a:lnTo>
                  <a:lnTo>
                    <a:pt x="2114" y="3453"/>
                  </a:lnTo>
                  <a:lnTo>
                    <a:pt x="2240" y="3369"/>
                  </a:lnTo>
                  <a:lnTo>
                    <a:pt x="2386" y="3348"/>
                  </a:lnTo>
                  <a:lnTo>
                    <a:pt x="2344" y="3201"/>
                  </a:lnTo>
                  <a:lnTo>
                    <a:pt x="2386" y="3139"/>
                  </a:lnTo>
                  <a:lnTo>
                    <a:pt x="2344" y="2992"/>
                  </a:lnTo>
                  <a:lnTo>
                    <a:pt x="2428" y="3013"/>
                  </a:lnTo>
                  <a:lnTo>
                    <a:pt x="2449" y="2992"/>
                  </a:lnTo>
                  <a:lnTo>
                    <a:pt x="2554" y="3034"/>
                  </a:lnTo>
                  <a:lnTo>
                    <a:pt x="2616" y="2992"/>
                  </a:lnTo>
                  <a:lnTo>
                    <a:pt x="2742" y="2992"/>
                  </a:lnTo>
                  <a:lnTo>
                    <a:pt x="2763" y="2929"/>
                  </a:lnTo>
                  <a:lnTo>
                    <a:pt x="2867" y="3055"/>
                  </a:lnTo>
                  <a:lnTo>
                    <a:pt x="3014" y="3055"/>
                  </a:lnTo>
                  <a:lnTo>
                    <a:pt x="3181" y="3243"/>
                  </a:lnTo>
                  <a:lnTo>
                    <a:pt x="3370" y="3243"/>
                  </a:lnTo>
                  <a:lnTo>
                    <a:pt x="3391" y="3201"/>
                  </a:lnTo>
                  <a:lnTo>
                    <a:pt x="3453" y="3201"/>
                  </a:lnTo>
                  <a:lnTo>
                    <a:pt x="3642" y="3369"/>
                  </a:lnTo>
                  <a:lnTo>
                    <a:pt x="3788" y="3453"/>
                  </a:lnTo>
                  <a:lnTo>
                    <a:pt x="3809" y="3641"/>
                  </a:lnTo>
                  <a:lnTo>
                    <a:pt x="3809" y="3787"/>
                  </a:lnTo>
                  <a:lnTo>
                    <a:pt x="3956" y="3850"/>
                  </a:lnTo>
                  <a:lnTo>
                    <a:pt x="3956" y="3892"/>
                  </a:lnTo>
                  <a:lnTo>
                    <a:pt x="4102" y="4038"/>
                  </a:lnTo>
                  <a:lnTo>
                    <a:pt x="4269" y="4143"/>
                  </a:lnTo>
                  <a:lnTo>
                    <a:pt x="4290" y="4248"/>
                  </a:lnTo>
                  <a:lnTo>
                    <a:pt x="4269" y="4352"/>
                  </a:lnTo>
                  <a:lnTo>
                    <a:pt x="4332" y="4457"/>
                  </a:lnTo>
                  <a:lnTo>
                    <a:pt x="4311" y="4499"/>
                  </a:lnTo>
                  <a:lnTo>
                    <a:pt x="4123" y="4499"/>
                  </a:lnTo>
                  <a:lnTo>
                    <a:pt x="4060" y="4415"/>
                  </a:lnTo>
                  <a:lnTo>
                    <a:pt x="3893" y="4478"/>
                  </a:lnTo>
                  <a:lnTo>
                    <a:pt x="3788" y="4478"/>
                  </a:lnTo>
                  <a:lnTo>
                    <a:pt x="3767" y="4687"/>
                  </a:lnTo>
                  <a:lnTo>
                    <a:pt x="3767" y="4834"/>
                  </a:lnTo>
                  <a:lnTo>
                    <a:pt x="3704" y="4813"/>
                  </a:lnTo>
                  <a:lnTo>
                    <a:pt x="3600" y="5022"/>
                  </a:lnTo>
                  <a:lnTo>
                    <a:pt x="3600" y="5126"/>
                  </a:lnTo>
                  <a:lnTo>
                    <a:pt x="3495" y="5106"/>
                  </a:lnTo>
                  <a:lnTo>
                    <a:pt x="3432" y="5147"/>
                  </a:lnTo>
                  <a:lnTo>
                    <a:pt x="3537" y="5315"/>
                  </a:lnTo>
                  <a:lnTo>
                    <a:pt x="3684" y="5357"/>
                  </a:lnTo>
                  <a:lnTo>
                    <a:pt x="3893" y="5357"/>
                  </a:lnTo>
                  <a:lnTo>
                    <a:pt x="3976" y="5294"/>
                  </a:lnTo>
                  <a:lnTo>
                    <a:pt x="4165" y="5294"/>
                  </a:lnTo>
                  <a:lnTo>
                    <a:pt x="4269" y="5357"/>
                  </a:lnTo>
                  <a:lnTo>
                    <a:pt x="4290" y="5252"/>
                  </a:lnTo>
                  <a:lnTo>
                    <a:pt x="4228" y="5189"/>
                  </a:lnTo>
                  <a:lnTo>
                    <a:pt x="4228" y="5106"/>
                  </a:lnTo>
                  <a:lnTo>
                    <a:pt x="4228" y="5022"/>
                  </a:lnTo>
                  <a:lnTo>
                    <a:pt x="4290" y="5106"/>
                  </a:lnTo>
                  <a:lnTo>
                    <a:pt x="4374" y="5106"/>
                  </a:lnTo>
                  <a:lnTo>
                    <a:pt x="4583" y="4834"/>
                  </a:lnTo>
                  <a:lnTo>
                    <a:pt x="4541" y="4771"/>
                  </a:lnTo>
                  <a:lnTo>
                    <a:pt x="4604" y="4771"/>
                  </a:lnTo>
                  <a:lnTo>
                    <a:pt x="4730" y="4603"/>
                  </a:lnTo>
                  <a:lnTo>
                    <a:pt x="4730" y="4478"/>
                  </a:lnTo>
                  <a:lnTo>
                    <a:pt x="4813" y="4394"/>
                  </a:lnTo>
                  <a:lnTo>
                    <a:pt x="4939" y="4394"/>
                  </a:lnTo>
                  <a:lnTo>
                    <a:pt x="5064" y="4269"/>
                  </a:lnTo>
                  <a:lnTo>
                    <a:pt x="5127" y="4310"/>
                  </a:lnTo>
                  <a:lnTo>
                    <a:pt x="5127" y="4352"/>
                  </a:lnTo>
                  <a:lnTo>
                    <a:pt x="5232" y="4352"/>
                  </a:lnTo>
                  <a:lnTo>
                    <a:pt x="5274" y="4289"/>
                  </a:lnTo>
                  <a:lnTo>
                    <a:pt x="5336" y="4206"/>
                  </a:lnTo>
                  <a:lnTo>
                    <a:pt x="5357" y="4269"/>
                  </a:lnTo>
                  <a:lnTo>
                    <a:pt x="5441" y="4310"/>
                  </a:lnTo>
                  <a:lnTo>
                    <a:pt x="5525" y="4352"/>
                  </a:lnTo>
                  <a:lnTo>
                    <a:pt x="5692" y="4310"/>
                  </a:lnTo>
                  <a:lnTo>
                    <a:pt x="5567" y="4373"/>
                  </a:lnTo>
                  <a:lnTo>
                    <a:pt x="5483" y="4415"/>
                  </a:lnTo>
                  <a:lnTo>
                    <a:pt x="5378" y="4394"/>
                  </a:lnTo>
                  <a:lnTo>
                    <a:pt x="5211" y="4415"/>
                  </a:lnTo>
                  <a:lnTo>
                    <a:pt x="5064" y="4415"/>
                  </a:lnTo>
                  <a:lnTo>
                    <a:pt x="5127" y="4478"/>
                  </a:lnTo>
                  <a:lnTo>
                    <a:pt x="5336" y="4478"/>
                  </a:lnTo>
                  <a:lnTo>
                    <a:pt x="5483" y="4561"/>
                  </a:lnTo>
                  <a:lnTo>
                    <a:pt x="5462" y="4582"/>
                  </a:lnTo>
                  <a:lnTo>
                    <a:pt x="5420" y="4624"/>
                  </a:lnTo>
                  <a:lnTo>
                    <a:pt x="5483" y="4708"/>
                  </a:lnTo>
                  <a:lnTo>
                    <a:pt x="5567" y="4708"/>
                  </a:lnTo>
                  <a:lnTo>
                    <a:pt x="5671" y="4771"/>
                  </a:lnTo>
                  <a:lnTo>
                    <a:pt x="5797" y="4708"/>
                  </a:lnTo>
                  <a:lnTo>
                    <a:pt x="5943" y="4687"/>
                  </a:lnTo>
                  <a:lnTo>
                    <a:pt x="6069" y="4729"/>
                  </a:lnTo>
                  <a:lnTo>
                    <a:pt x="6173" y="4792"/>
                  </a:lnTo>
                  <a:lnTo>
                    <a:pt x="6194" y="4708"/>
                  </a:lnTo>
                  <a:lnTo>
                    <a:pt x="6257" y="4729"/>
                  </a:lnTo>
                  <a:lnTo>
                    <a:pt x="6278" y="4875"/>
                  </a:lnTo>
                  <a:lnTo>
                    <a:pt x="6362" y="4938"/>
                  </a:lnTo>
                  <a:lnTo>
                    <a:pt x="6299" y="4980"/>
                  </a:lnTo>
                  <a:lnTo>
                    <a:pt x="6111" y="5022"/>
                  </a:lnTo>
                  <a:lnTo>
                    <a:pt x="5943" y="5126"/>
                  </a:lnTo>
                  <a:lnTo>
                    <a:pt x="5797" y="5315"/>
                  </a:lnTo>
                  <a:lnTo>
                    <a:pt x="5901" y="5357"/>
                  </a:lnTo>
                  <a:lnTo>
                    <a:pt x="5985" y="5294"/>
                  </a:lnTo>
                  <a:lnTo>
                    <a:pt x="6111" y="5357"/>
                  </a:lnTo>
                  <a:lnTo>
                    <a:pt x="6173" y="5336"/>
                  </a:lnTo>
                  <a:lnTo>
                    <a:pt x="6362" y="5503"/>
                  </a:lnTo>
                  <a:lnTo>
                    <a:pt x="6383" y="5566"/>
                  </a:lnTo>
                  <a:lnTo>
                    <a:pt x="6299" y="5775"/>
                  </a:lnTo>
                  <a:lnTo>
                    <a:pt x="6278" y="5838"/>
                  </a:lnTo>
                  <a:lnTo>
                    <a:pt x="6383" y="5922"/>
                  </a:lnTo>
                  <a:lnTo>
                    <a:pt x="6592" y="5922"/>
                  </a:lnTo>
                  <a:lnTo>
                    <a:pt x="6780" y="5817"/>
                  </a:lnTo>
                  <a:lnTo>
                    <a:pt x="7031" y="5629"/>
                  </a:lnTo>
                  <a:lnTo>
                    <a:pt x="7220" y="5629"/>
                  </a:lnTo>
                  <a:lnTo>
                    <a:pt x="7324" y="5503"/>
                  </a:lnTo>
                  <a:lnTo>
                    <a:pt x="7450" y="5419"/>
                  </a:lnTo>
                  <a:lnTo>
                    <a:pt x="7680" y="5440"/>
                  </a:lnTo>
                  <a:lnTo>
                    <a:pt x="7889" y="5440"/>
                  </a:lnTo>
                  <a:lnTo>
                    <a:pt x="7952" y="5336"/>
                  </a:lnTo>
                  <a:lnTo>
                    <a:pt x="7889" y="5231"/>
                  </a:lnTo>
                  <a:lnTo>
                    <a:pt x="7952" y="5210"/>
                  </a:lnTo>
                  <a:lnTo>
                    <a:pt x="7994" y="5126"/>
                  </a:lnTo>
                  <a:lnTo>
                    <a:pt x="7847" y="5106"/>
                  </a:lnTo>
                  <a:lnTo>
                    <a:pt x="7659" y="5126"/>
                  </a:lnTo>
                  <a:lnTo>
                    <a:pt x="7638" y="5252"/>
                  </a:lnTo>
                  <a:lnTo>
                    <a:pt x="7513" y="5189"/>
                  </a:lnTo>
                  <a:lnTo>
                    <a:pt x="7450" y="5189"/>
                  </a:lnTo>
                  <a:lnTo>
                    <a:pt x="7345" y="5294"/>
                  </a:lnTo>
                  <a:lnTo>
                    <a:pt x="7303" y="5252"/>
                  </a:lnTo>
                  <a:lnTo>
                    <a:pt x="7010" y="4938"/>
                  </a:lnTo>
                  <a:lnTo>
                    <a:pt x="6948" y="4813"/>
                  </a:lnTo>
                  <a:lnTo>
                    <a:pt x="6885" y="4687"/>
                  </a:lnTo>
                  <a:lnTo>
                    <a:pt x="6822" y="4708"/>
                  </a:lnTo>
                  <a:lnTo>
                    <a:pt x="6885" y="4875"/>
                  </a:lnTo>
                  <a:lnTo>
                    <a:pt x="7094" y="5106"/>
                  </a:lnTo>
                  <a:lnTo>
                    <a:pt x="7261" y="5294"/>
                  </a:lnTo>
                  <a:lnTo>
                    <a:pt x="7220" y="5315"/>
                  </a:lnTo>
                  <a:lnTo>
                    <a:pt x="7094" y="5294"/>
                  </a:lnTo>
                  <a:lnTo>
                    <a:pt x="7031" y="5210"/>
                  </a:lnTo>
                  <a:lnTo>
                    <a:pt x="7010" y="5085"/>
                  </a:lnTo>
                  <a:lnTo>
                    <a:pt x="6927" y="5043"/>
                  </a:lnTo>
                  <a:lnTo>
                    <a:pt x="6885" y="5106"/>
                  </a:lnTo>
                  <a:lnTo>
                    <a:pt x="6885" y="5022"/>
                  </a:lnTo>
                  <a:lnTo>
                    <a:pt x="6822" y="5022"/>
                  </a:lnTo>
                  <a:lnTo>
                    <a:pt x="6780" y="5043"/>
                  </a:lnTo>
                  <a:lnTo>
                    <a:pt x="6780" y="5001"/>
                  </a:lnTo>
                  <a:lnTo>
                    <a:pt x="6822" y="4917"/>
                  </a:lnTo>
                  <a:lnTo>
                    <a:pt x="6801" y="4875"/>
                  </a:lnTo>
                  <a:lnTo>
                    <a:pt x="6717" y="4896"/>
                  </a:lnTo>
                  <a:lnTo>
                    <a:pt x="6676" y="4834"/>
                  </a:lnTo>
                  <a:lnTo>
                    <a:pt x="6592" y="4771"/>
                  </a:lnTo>
                  <a:lnTo>
                    <a:pt x="6404" y="4792"/>
                  </a:lnTo>
                  <a:lnTo>
                    <a:pt x="6320" y="4729"/>
                  </a:lnTo>
                  <a:lnTo>
                    <a:pt x="6362" y="4687"/>
                  </a:lnTo>
                  <a:lnTo>
                    <a:pt x="6487" y="4708"/>
                  </a:lnTo>
                  <a:lnTo>
                    <a:pt x="6529" y="4624"/>
                  </a:lnTo>
                  <a:lnTo>
                    <a:pt x="6634" y="4708"/>
                  </a:lnTo>
                  <a:lnTo>
                    <a:pt x="6738" y="4708"/>
                  </a:lnTo>
                  <a:lnTo>
                    <a:pt x="6780" y="4624"/>
                  </a:lnTo>
                  <a:lnTo>
                    <a:pt x="6885" y="4603"/>
                  </a:lnTo>
                  <a:lnTo>
                    <a:pt x="7052" y="4415"/>
                  </a:lnTo>
                  <a:lnTo>
                    <a:pt x="7052" y="4373"/>
                  </a:lnTo>
                  <a:lnTo>
                    <a:pt x="7136" y="4394"/>
                  </a:lnTo>
                  <a:lnTo>
                    <a:pt x="7136" y="4457"/>
                  </a:lnTo>
                  <a:lnTo>
                    <a:pt x="7031" y="4582"/>
                  </a:lnTo>
                  <a:lnTo>
                    <a:pt x="6989" y="4603"/>
                  </a:lnTo>
                  <a:lnTo>
                    <a:pt x="7010" y="4666"/>
                  </a:lnTo>
                  <a:lnTo>
                    <a:pt x="7094" y="4624"/>
                  </a:lnTo>
                  <a:lnTo>
                    <a:pt x="7220" y="4457"/>
                  </a:lnTo>
                  <a:lnTo>
                    <a:pt x="7241" y="4373"/>
                  </a:lnTo>
                  <a:lnTo>
                    <a:pt x="7157" y="4289"/>
                  </a:lnTo>
                  <a:lnTo>
                    <a:pt x="7136" y="4248"/>
                  </a:lnTo>
                  <a:lnTo>
                    <a:pt x="7199" y="4206"/>
                  </a:lnTo>
                  <a:lnTo>
                    <a:pt x="7261" y="4352"/>
                  </a:lnTo>
                  <a:lnTo>
                    <a:pt x="7345" y="4373"/>
                  </a:lnTo>
                  <a:lnTo>
                    <a:pt x="7450" y="4289"/>
                  </a:lnTo>
                  <a:lnTo>
                    <a:pt x="7617" y="4310"/>
                  </a:lnTo>
                  <a:lnTo>
                    <a:pt x="7722" y="4248"/>
                  </a:lnTo>
                  <a:lnTo>
                    <a:pt x="7868" y="4248"/>
                  </a:lnTo>
                  <a:lnTo>
                    <a:pt x="7973" y="4101"/>
                  </a:lnTo>
                  <a:lnTo>
                    <a:pt x="8057" y="4038"/>
                  </a:lnTo>
                  <a:lnTo>
                    <a:pt x="8182" y="4038"/>
                  </a:lnTo>
                  <a:lnTo>
                    <a:pt x="8203" y="3934"/>
                  </a:lnTo>
                  <a:lnTo>
                    <a:pt x="8287" y="3871"/>
                  </a:lnTo>
                  <a:lnTo>
                    <a:pt x="8454" y="3871"/>
                  </a:lnTo>
                  <a:lnTo>
                    <a:pt x="8580" y="3829"/>
                  </a:lnTo>
                  <a:lnTo>
                    <a:pt x="8663" y="3829"/>
                  </a:lnTo>
                  <a:lnTo>
                    <a:pt x="8663" y="3892"/>
                  </a:lnTo>
                  <a:lnTo>
                    <a:pt x="8768" y="3850"/>
                  </a:lnTo>
                  <a:lnTo>
                    <a:pt x="8789" y="3578"/>
                  </a:lnTo>
                  <a:lnTo>
                    <a:pt x="8873" y="3557"/>
                  </a:lnTo>
                  <a:lnTo>
                    <a:pt x="8998" y="3348"/>
                  </a:lnTo>
                  <a:lnTo>
                    <a:pt x="9291" y="3327"/>
                  </a:lnTo>
                  <a:lnTo>
                    <a:pt x="9396" y="3243"/>
                  </a:lnTo>
                  <a:lnTo>
                    <a:pt x="9354" y="3118"/>
                  </a:lnTo>
                  <a:lnTo>
                    <a:pt x="9438" y="2909"/>
                  </a:lnTo>
                  <a:lnTo>
                    <a:pt x="9417" y="2720"/>
                  </a:lnTo>
                  <a:lnTo>
                    <a:pt x="9228" y="2616"/>
                  </a:lnTo>
                  <a:lnTo>
                    <a:pt x="9291" y="2365"/>
                  </a:lnTo>
                  <a:lnTo>
                    <a:pt x="9396" y="2323"/>
                  </a:lnTo>
                  <a:lnTo>
                    <a:pt x="9500" y="2197"/>
                  </a:lnTo>
                  <a:lnTo>
                    <a:pt x="9500" y="2072"/>
                  </a:lnTo>
                  <a:lnTo>
                    <a:pt x="9417" y="2009"/>
                  </a:lnTo>
                  <a:lnTo>
                    <a:pt x="9354" y="1883"/>
                  </a:lnTo>
                  <a:lnTo>
                    <a:pt x="9291" y="1967"/>
                  </a:lnTo>
                  <a:lnTo>
                    <a:pt x="9103" y="1946"/>
                  </a:lnTo>
                  <a:lnTo>
                    <a:pt x="8935" y="1841"/>
                  </a:lnTo>
                  <a:lnTo>
                    <a:pt x="8810" y="1862"/>
                  </a:lnTo>
                  <a:lnTo>
                    <a:pt x="8705" y="1800"/>
                  </a:lnTo>
                  <a:lnTo>
                    <a:pt x="8559" y="1779"/>
                  </a:lnTo>
                  <a:lnTo>
                    <a:pt x="8349" y="1758"/>
                  </a:lnTo>
                  <a:lnTo>
                    <a:pt x="8266" y="1841"/>
                  </a:lnTo>
                  <a:lnTo>
                    <a:pt x="8203" y="1695"/>
                  </a:lnTo>
                  <a:lnTo>
                    <a:pt x="8057" y="1590"/>
                  </a:lnTo>
                  <a:lnTo>
                    <a:pt x="7931" y="1318"/>
                  </a:lnTo>
                  <a:lnTo>
                    <a:pt x="7826" y="1339"/>
                  </a:lnTo>
                  <a:lnTo>
                    <a:pt x="7638" y="1465"/>
                  </a:lnTo>
                  <a:lnTo>
                    <a:pt x="7513" y="1444"/>
                  </a:lnTo>
                  <a:lnTo>
                    <a:pt x="7366" y="1486"/>
                  </a:lnTo>
                  <a:lnTo>
                    <a:pt x="7220" y="1423"/>
                  </a:lnTo>
                  <a:lnTo>
                    <a:pt x="7115" y="1528"/>
                  </a:lnTo>
                  <a:lnTo>
                    <a:pt x="6843" y="1256"/>
                  </a:lnTo>
                  <a:lnTo>
                    <a:pt x="6780" y="1067"/>
                  </a:lnTo>
                  <a:lnTo>
                    <a:pt x="6780" y="921"/>
                  </a:lnTo>
                  <a:lnTo>
                    <a:pt x="6676" y="921"/>
                  </a:lnTo>
                  <a:lnTo>
                    <a:pt x="6676" y="795"/>
                  </a:lnTo>
                  <a:lnTo>
                    <a:pt x="6529" y="691"/>
                  </a:lnTo>
                  <a:lnTo>
                    <a:pt x="6215" y="732"/>
                  </a:lnTo>
                  <a:lnTo>
                    <a:pt x="6069" y="523"/>
                  </a:lnTo>
                  <a:lnTo>
                    <a:pt x="6111" y="398"/>
                  </a:lnTo>
                  <a:lnTo>
                    <a:pt x="6006" y="293"/>
                  </a:lnTo>
                  <a:lnTo>
                    <a:pt x="5901" y="21"/>
                  </a:lnTo>
                  <a:lnTo>
                    <a:pt x="5776" y="21"/>
                  </a:lnTo>
                  <a:lnTo>
                    <a:pt x="5650" y="105"/>
                  </a:lnTo>
                  <a:lnTo>
                    <a:pt x="5357" y="105"/>
                  </a:lnTo>
                  <a:lnTo>
                    <a:pt x="506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Google Shape;12197;p43">
              <a:extLst>
                <a:ext uri="{FF2B5EF4-FFF2-40B4-BE49-F238E27FC236}">
                  <a16:creationId xmlns:a16="http://schemas.microsoft.com/office/drawing/2014/main" id="{0DDD36F1-47CD-21E5-72D3-D24CE20A32A5}"/>
                </a:ext>
              </a:extLst>
            </p:cNvPr>
            <p:cNvSpPr/>
            <p:nvPr/>
          </p:nvSpPr>
          <p:spPr>
            <a:xfrm>
              <a:off x="3912027" y="2795073"/>
              <a:ext cx="23684" cy="25236"/>
            </a:xfrm>
            <a:custGeom>
              <a:avLst/>
              <a:gdLst/>
              <a:ahLst/>
              <a:cxnLst/>
              <a:rect l="l" t="t" r="r" b="b"/>
              <a:pathLst>
                <a:path w="1989" h="2219" extrusionOk="0">
                  <a:moveTo>
                    <a:pt x="419" y="0"/>
                  </a:moveTo>
                  <a:lnTo>
                    <a:pt x="398" y="63"/>
                  </a:lnTo>
                  <a:lnTo>
                    <a:pt x="272" y="63"/>
                  </a:lnTo>
                  <a:lnTo>
                    <a:pt x="210" y="105"/>
                  </a:lnTo>
                  <a:lnTo>
                    <a:pt x="105" y="63"/>
                  </a:lnTo>
                  <a:lnTo>
                    <a:pt x="84" y="84"/>
                  </a:lnTo>
                  <a:lnTo>
                    <a:pt x="0" y="63"/>
                  </a:lnTo>
                  <a:lnTo>
                    <a:pt x="42" y="210"/>
                  </a:lnTo>
                  <a:lnTo>
                    <a:pt x="0" y="272"/>
                  </a:lnTo>
                  <a:lnTo>
                    <a:pt x="42" y="419"/>
                  </a:lnTo>
                  <a:lnTo>
                    <a:pt x="251" y="377"/>
                  </a:lnTo>
                  <a:lnTo>
                    <a:pt x="314" y="628"/>
                  </a:lnTo>
                  <a:lnTo>
                    <a:pt x="565" y="837"/>
                  </a:lnTo>
                  <a:lnTo>
                    <a:pt x="586" y="942"/>
                  </a:lnTo>
                  <a:lnTo>
                    <a:pt x="900" y="1214"/>
                  </a:lnTo>
                  <a:lnTo>
                    <a:pt x="921" y="1360"/>
                  </a:lnTo>
                  <a:lnTo>
                    <a:pt x="1026" y="1528"/>
                  </a:lnTo>
                  <a:lnTo>
                    <a:pt x="1005" y="2072"/>
                  </a:lnTo>
                  <a:lnTo>
                    <a:pt x="1088" y="2218"/>
                  </a:lnTo>
                  <a:lnTo>
                    <a:pt x="1151" y="2177"/>
                  </a:lnTo>
                  <a:lnTo>
                    <a:pt x="1256" y="2197"/>
                  </a:lnTo>
                  <a:lnTo>
                    <a:pt x="1256" y="2093"/>
                  </a:lnTo>
                  <a:lnTo>
                    <a:pt x="1360" y="1884"/>
                  </a:lnTo>
                  <a:lnTo>
                    <a:pt x="1423" y="1905"/>
                  </a:lnTo>
                  <a:lnTo>
                    <a:pt x="1423" y="1758"/>
                  </a:lnTo>
                  <a:lnTo>
                    <a:pt x="1444" y="1549"/>
                  </a:lnTo>
                  <a:lnTo>
                    <a:pt x="1549" y="1549"/>
                  </a:lnTo>
                  <a:lnTo>
                    <a:pt x="1716" y="1486"/>
                  </a:lnTo>
                  <a:lnTo>
                    <a:pt x="1779" y="1570"/>
                  </a:lnTo>
                  <a:lnTo>
                    <a:pt x="1967" y="1570"/>
                  </a:lnTo>
                  <a:lnTo>
                    <a:pt x="1988" y="1528"/>
                  </a:lnTo>
                  <a:lnTo>
                    <a:pt x="1925" y="1423"/>
                  </a:lnTo>
                  <a:lnTo>
                    <a:pt x="1946" y="1319"/>
                  </a:lnTo>
                  <a:lnTo>
                    <a:pt x="1925" y="1214"/>
                  </a:lnTo>
                  <a:lnTo>
                    <a:pt x="1758" y="1109"/>
                  </a:lnTo>
                  <a:lnTo>
                    <a:pt x="1612" y="963"/>
                  </a:lnTo>
                  <a:lnTo>
                    <a:pt x="1612" y="921"/>
                  </a:lnTo>
                  <a:lnTo>
                    <a:pt x="1465" y="858"/>
                  </a:lnTo>
                  <a:lnTo>
                    <a:pt x="1465" y="712"/>
                  </a:lnTo>
                  <a:lnTo>
                    <a:pt x="1444" y="524"/>
                  </a:lnTo>
                  <a:lnTo>
                    <a:pt x="1298" y="440"/>
                  </a:lnTo>
                  <a:lnTo>
                    <a:pt x="1109" y="272"/>
                  </a:lnTo>
                  <a:lnTo>
                    <a:pt x="1047" y="272"/>
                  </a:lnTo>
                  <a:lnTo>
                    <a:pt x="1026" y="314"/>
                  </a:lnTo>
                  <a:lnTo>
                    <a:pt x="837" y="314"/>
                  </a:lnTo>
                  <a:lnTo>
                    <a:pt x="670" y="126"/>
                  </a:lnTo>
                  <a:lnTo>
                    <a:pt x="523" y="126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Google Shape;12198;p43">
              <a:extLst>
                <a:ext uri="{FF2B5EF4-FFF2-40B4-BE49-F238E27FC236}">
                  <a16:creationId xmlns:a16="http://schemas.microsoft.com/office/drawing/2014/main" id="{0F6AE06D-815A-76C7-CF45-FF8AE17AD602}"/>
                </a:ext>
              </a:extLst>
            </p:cNvPr>
            <p:cNvSpPr/>
            <p:nvPr/>
          </p:nvSpPr>
          <p:spPr>
            <a:xfrm>
              <a:off x="3874161" y="2799361"/>
              <a:ext cx="60800" cy="37131"/>
            </a:xfrm>
            <a:custGeom>
              <a:avLst/>
              <a:gdLst/>
              <a:ahLst/>
              <a:cxnLst/>
              <a:rect l="l" t="t" r="r" b="b"/>
              <a:pathLst>
                <a:path w="5106" h="3265" extrusionOk="0">
                  <a:moveTo>
                    <a:pt x="3431" y="0"/>
                  </a:moveTo>
                  <a:lnTo>
                    <a:pt x="3076" y="63"/>
                  </a:lnTo>
                  <a:lnTo>
                    <a:pt x="2950" y="147"/>
                  </a:lnTo>
                  <a:lnTo>
                    <a:pt x="2553" y="209"/>
                  </a:lnTo>
                  <a:lnTo>
                    <a:pt x="2448" y="335"/>
                  </a:lnTo>
                  <a:lnTo>
                    <a:pt x="2323" y="335"/>
                  </a:lnTo>
                  <a:lnTo>
                    <a:pt x="2176" y="377"/>
                  </a:lnTo>
                  <a:lnTo>
                    <a:pt x="2030" y="335"/>
                  </a:lnTo>
                  <a:lnTo>
                    <a:pt x="1988" y="230"/>
                  </a:lnTo>
                  <a:lnTo>
                    <a:pt x="1820" y="167"/>
                  </a:lnTo>
                  <a:lnTo>
                    <a:pt x="1674" y="147"/>
                  </a:lnTo>
                  <a:lnTo>
                    <a:pt x="1465" y="42"/>
                  </a:lnTo>
                  <a:lnTo>
                    <a:pt x="1360" y="42"/>
                  </a:lnTo>
                  <a:lnTo>
                    <a:pt x="1276" y="126"/>
                  </a:lnTo>
                  <a:lnTo>
                    <a:pt x="1151" y="126"/>
                  </a:lnTo>
                  <a:lnTo>
                    <a:pt x="1172" y="147"/>
                  </a:lnTo>
                  <a:lnTo>
                    <a:pt x="1130" y="272"/>
                  </a:lnTo>
                  <a:lnTo>
                    <a:pt x="962" y="314"/>
                  </a:lnTo>
                  <a:lnTo>
                    <a:pt x="858" y="544"/>
                  </a:lnTo>
                  <a:lnTo>
                    <a:pt x="732" y="879"/>
                  </a:lnTo>
                  <a:lnTo>
                    <a:pt x="523" y="1193"/>
                  </a:lnTo>
                  <a:lnTo>
                    <a:pt x="544" y="1297"/>
                  </a:lnTo>
                  <a:lnTo>
                    <a:pt x="439" y="1402"/>
                  </a:lnTo>
                  <a:lnTo>
                    <a:pt x="293" y="1381"/>
                  </a:lnTo>
                  <a:lnTo>
                    <a:pt x="230" y="1486"/>
                  </a:lnTo>
                  <a:lnTo>
                    <a:pt x="126" y="1507"/>
                  </a:lnTo>
                  <a:lnTo>
                    <a:pt x="0" y="1632"/>
                  </a:lnTo>
                  <a:lnTo>
                    <a:pt x="126" y="1674"/>
                  </a:lnTo>
                  <a:lnTo>
                    <a:pt x="146" y="1737"/>
                  </a:lnTo>
                  <a:lnTo>
                    <a:pt x="335" y="1946"/>
                  </a:lnTo>
                  <a:lnTo>
                    <a:pt x="356" y="2051"/>
                  </a:lnTo>
                  <a:lnTo>
                    <a:pt x="523" y="2134"/>
                  </a:lnTo>
                  <a:lnTo>
                    <a:pt x="670" y="2260"/>
                  </a:lnTo>
                  <a:lnTo>
                    <a:pt x="607" y="2406"/>
                  </a:lnTo>
                  <a:lnTo>
                    <a:pt x="628" y="2448"/>
                  </a:lnTo>
                  <a:lnTo>
                    <a:pt x="837" y="2532"/>
                  </a:lnTo>
                  <a:lnTo>
                    <a:pt x="879" y="2616"/>
                  </a:lnTo>
                  <a:lnTo>
                    <a:pt x="983" y="2574"/>
                  </a:lnTo>
                  <a:lnTo>
                    <a:pt x="1088" y="2657"/>
                  </a:lnTo>
                  <a:lnTo>
                    <a:pt x="1172" y="2532"/>
                  </a:lnTo>
                  <a:lnTo>
                    <a:pt x="1381" y="2553"/>
                  </a:lnTo>
                  <a:lnTo>
                    <a:pt x="1276" y="2678"/>
                  </a:lnTo>
                  <a:lnTo>
                    <a:pt x="1297" y="2762"/>
                  </a:lnTo>
                  <a:lnTo>
                    <a:pt x="1339" y="2888"/>
                  </a:lnTo>
                  <a:lnTo>
                    <a:pt x="1486" y="2888"/>
                  </a:lnTo>
                  <a:lnTo>
                    <a:pt x="1569" y="2971"/>
                  </a:lnTo>
                  <a:lnTo>
                    <a:pt x="1569" y="3055"/>
                  </a:lnTo>
                  <a:lnTo>
                    <a:pt x="1507" y="3097"/>
                  </a:lnTo>
                  <a:lnTo>
                    <a:pt x="1590" y="3201"/>
                  </a:lnTo>
                  <a:lnTo>
                    <a:pt x="1716" y="3139"/>
                  </a:lnTo>
                  <a:lnTo>
                    <a:pt x="1883" y="3139"/>
                  </a:lnTo>
                  <a:lnTo>
                    <a:pt x="1925" y="3201"/>
                  </a:lnTo>
                  <a:lnTo>
                    <a:pt x="1988" y="3180"/>
                  </a:lnTo>
                  <a:lnTo>
                    <a:pt x="2197" y="3264"/>
                  </a:lnTo>
                  <a:lnTo>
                    <a:pt x="2343" y="3180"/>
                  </a:lnTo>
                  <a:lnTo>
                    <a:pt x="2490" y="3201"/>
                  </a:lnTo>
                  <a:lnTo>
                    <a:pt x="2553" y="3160"/>
                  </a:lnTo>
                  <a:lnTo>
                    <a:pt x="2699" y="3201"/>
                  </a:lnTo>
                  <a:lnTo>
                    <a:pt x="2804" y="3201"/>
                  </a:lnTo>
                  <a:lnTo>
                    <a:pt x="3013" y="3243"/>
                  </a:lnTo>
                  <a:lnTo>
                    <a:pt x="3076" y="3180"/>
                  </a:lnTo>
                  <a:lnTo>
                    <a:pt x="3222" y="3139"/>
                  </a:lnTo>
                  <a:lnTo>
                    <a:pt x="3264" y="3055"/>
                  </a:lnTo>
                  <a:lnTo>
                    <a:pt x="3599" y="2888"/>
                  </a:lnTo>
                  <a:lnTo>
                    <a:pt x="3766" y="2867"/>
                  </a:lnTo>
                  <a:lnTo>
                    <a:pt x="3955" y="2888"/>
                  </a:lnTo>
                  <a:lnTo>
                    <a:pt x="4122" y="2971"/>
                  </a:lnTo>
                  <a:lnTo>
                    <a:pt x="4185" y="3034"/>
                  </a:lnTo>
                  <a:lnTo>
                    <a:pt x="4289" y="2992"/>
                  </a:lnTo>
                  <a:lnTo>
                    <a:pt x="4436" y="3055"/>
                  </a:lnTo>
                  <a:lnTo>
                    <a:pt x="4478" y="3139"/>
                  </a:lnTo>
                  <a:lnTo>
                    <a:pt x="4603" y="3139"/>
                  </a:lnTo>
                  <a:lnTo>
                    <a:pt x="4582" y="2992"/>
                  </a:lnTo>
                  <a:lnTo>
                    <a:pt x="4624" y="2888"/>
                  </a:lnTo>
                  <a:lnTo>
                    <a:pt x="4624" y="2720"/>
                  </a:lnTo>
                  <a:lnTo>
                    <a:pt x="4603" y="2636"/>
                  </a:lnTo>
                  <a:lnTo>
                    <a:pt x="4645" y="2553"/>
                  </a:lnTo>
                  <a:lnTo>
                    <a:pt x="4708" y="2427"/>
                  </a:lnTo>
                  <a:lnTo>
                    <a:pt x="4896" y="2427"/>
                  </a:lnTo>
                  <a:lnTo>
                    <a:pt x="5022" y="2406"/>
                  </a:lnTo>
                  <a:lnTo>
                    <a:pt x="5105" y="2239"/>
                  </a:lnTo>
                  <a:lnTo>
                    <a:pt x="5105" y="2155"/>
                  </a:lnTo>
                  <a:lnTo>
                    <a:pt x="5043" y="2113"/>
                  </a:lnTo>
                  <a:lnTo>
                    <a:pt x="5105" y="2051"/>
                  </a:lnTo>
                  <a:lnTo>
                    <a:pt x="5001" y="1988"/>
                  </a:lnTo>
                  <a:lnTo>
                    <a:pt x="4812" y="1988"/>
                  </a:lnTo>
                  <a:lnTo>
                    <a:pt x="4729" y="2051"/>
                  </a:lnTo>
                  <a:lnTo>
                    <a:pt x="4520" y="2051"/>
                  </a:lnTo>
                  <a:lnTo>
                    <a:pt x="4373" y="2009"/>
                  </a:lnTo>
                  <a:lnTo>
                    <a:pt x="4268" y="1841"/>
                  </a:lnTo>
                  <a:lnTo>
                    <a:pt x="4185" y="1695"/>
                  </a:lnTo>
                  <a:lnTo>
                    <a:pt x="4206" y="1151"/>
                  </a:lnTo>
                  <a:lnTo>
                    <a:pt x="4101" y="983"/>
                  </a:lnTo>
                  <a:lnTo>
                    <a:pt x="4080" y="837"/>
                  </a:lnTo>
                  <a:lnTo>
                    <a:pt x="3766" y="565"/>
                  </a:lnTo>
                  <a:lnTo>
                    <a:pt x="3745" y="460"/>
                  </a:lnTo>
                  <a:lnTo>
                    <a:pt x="3494" y="251"/>
                  </a:lnTo>
                  <a:lnTo>
                    <a:pt x="343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Google Shape;12199;p43">
              <a:extLst>
                <a:ext uri="{FF2B5EF4-FFF2-40B4-BE49-F238E27FC236}">
                  <a16:creationId xmlns:a16="http://schemas.microsoft.com/office/drawing/2014/main" id="{1D8486B8-FD9C-33A0-8928-569961C46DB3}"/>
                </a:ext>
              </a:extLst>
            </p:cNvPr>
            <p:cNvSpPr/>
            <p:nvPr/>
          </p:nvSpPr>
          <p:spPr>
            <a:xfrm>
              <a:off x="3889355" y="2831954"/>
              <a:ext cx="39878" cy="24041"/>
            </a:xfrm>
            <a:custGeom>
              <a:avLst/>
              <a:gdLst/>
              <a:ahLst/>
              <a:cxnLst/>
              <a:rect l="l" t="t" r="r" b="b"/>
              <a:pathLst>
                <a:path w="3349" h="2114" extrusionOk="0">
                  <a:moveTo>
                    <a:pt x="2490" y="1"/>
                  </a:moveTo>
                  <a:lnTo>
                    <a:pt x="2323" y="22"/>
                  </a:lnTo>
                  <a:lnTo>
                    <a:pt x="1988" y="189"/>
                  </a:lnTo>
                  <a:lnTo>
                    <a:pt x="1946" y="273"/>
                  </a:lnTo>
                  <a:lnTo>
                    <a:pt x="1800" y="314"/>
                  </a:lnTo>
                  <a:lnTo>
                    <a:pt x="1737" y="377"/>
                  </a:lnTo>
                  <a:lnTo>
                    <a:pt x="1528" y="335"/>
                  </a:lnTo>
                  <a:lnTo>
                    <a:pt x="1423" y="335"/>
                  </a:lnTo>
                  <a:lnTo>
                    <a:pt x="1277" y="294"/>
                  </a:lnTo>
                  <a:lnTo>
                    <a:pt x="1214" y="335"/>
                  </a:lnTo>
                  <a:lnTo>
                    <a:pt x="1067" y="314"/>
                  </a:lnTo>
                  <a:lnTo>
                    <a:pt x="921" y="398"/>
                  </a:lnTo>
                  <a:lnTo>
                    <a:pt x="712" y="314"/>
                  </a:lnTo>
                  <a:lnTo>
                    <a:pt x="649" y="335"/>
                  </a:lnTo>
                  <a:lnTo>
                    <a:pt x="607" y="273"/>
                  </a:lnTo>
                  <a:lnTo>
                    <a:pt x="440" y="273"/>
                  </a:lnTo>
                  <a:lnTo>
                    <a:pt x="314" y="335"/>
                  </a:lnTo>
                  <a:lnTo>
                    <a:pt x="231" y="231"/>
                  </a:lnTo>
                  <a:lnTo>
                    <a:pt x="293" y="189"/>
                  </a:lnTo>
                  <a:lnTo>
                    <a:pt x="293" y="105"/>
                  </a:lnTo>
                  <a:lnTo>
                    <a:pt x="210" y="22"/>
                  </a:lnTo>
                  <a:lnTo>
                    <a:pt x="63" y="22"/>
                  </a:lnTo>
                  <a:lnTo>
                    <a:pt x="84" y="126"/>
                  </a:lnTo>
                  <a:lnTo>
                    <a:pt x="0" y="210"/>
                  </a:lnTo>
                  <a:lnTo>
                    <a:pt x="63" y="440"/>
                  </a:lnTo>
                  <a:lnTo>
                    <a:pt x="231" y="628"/>
                  </a:lnTo>
                  <a:lnTo>
                    <a:pt x="314" y="754"/>
                  </a:lnTo>
                  <a:lnTo>
                    <a:pt x="272" y="900"/>
                  </a:lnTo>
                  <a:lnTo>
                    <a:pt x="63" y="1068"/>
                  </a:lnTo>
                  <a:lnTo>
                    <a:pt x="84" y="1172"/>
                  </a:lnTo>
                  <a:lnTo>
                    <a:pt x="168" y="1277"/>
                  </a:lnTo>
                  <a:lnTo>
                    <a:pt x="105" y="1382"/>
                  </a:lnTo>
                  <a:lnTo>
                    <a:pt x="335" y="1570"/>
                  </a:lnTo>
                  <a:lnTo>
                    <a:pt x="503" y="1842"/>
                  </a:lnTo>
                  <a:lnTo>
                    <a:pt x="523" y="1988"/>
                  </a:lnTo>
                  <a:lnTo>
                    <a:pt x="523" y="2093"/>
                  </a:lnTo>
                  <a:lnTo>
                    <a:pt x="607" y="2114"/>
                  </a:lnTo>
                  <a:lnTo>
                    <a:pt x="795" y="2114"/>
                  </a:lnTo>
                  <a:lnTo>
                    <a:pt x="942" y="2093"/>
                  </a:lnTo>
                  <a:lnTo>
                    <a:pt x="1026" y="1988"/>
                  </a:lnTo>
                  <a:lnTo>
                    <a:pt x="1172" y="2009"/>
                  </a:lnTo>
                  <a:lnTo>
                    <a:pt x="1319" y="2009"/>
                  </a:lnTo>
                  <a:lnTo>
                    <a:pt x="1339" y="2114"/>
                  </a:lnTo>
                  <a:lnTo>
                    <a:pt x="1444" y="2114"/>
                  </a:lnTo>
                  <a:lnTo>
                    <a:pt x="1528" y="2051"/>
                  </a:lnTo>
                  <a:lnTo>
                    <a:pt x="1653" y="2051"/>
                  </a:lnTo>
                  <a:lnTo>
                    <a:pt x="1737" y="2114"/>
                  </a:lnTo>
                  <a:lnTo>
                    <a:pt x="1863" y="2072"/>
                  </a:lnTo>
                  <a:lnTo>
                    <a:pt x="2093" y="2072"/>
                  </a:lnTo>
                  <a:lnTo>
                    <a:pt x="2176" y="2009"/>
                  </a:lnTo>
                  <a:lnTo>
                    <a:pt x="2114" y="1905"/>
                  </a:lnTo>
                  <a:lnTo>
                    <a:pt x="2114" y="1779"/>
                  </a:lnTo>
                  <a:lnTo>
                    <a:pt x="2281" y="1675"/>
                  </a:lnTo>
                  <a:lnTo>
                    <a:pt x="2323" y="1675"/>
                  </a:lnTo>
                  <a:lnTo>
                    <a:pt x="2427" y="1570"/>
                  </a:lnTo>
                  <a:lnTo>
                    <a:pt x="2511" y="1570"/>
                  </a:lnTo>
                  <a:lnTo>
                    <a:pt x="2595" y="1486"/>
                  </a:lnTo>
                  <a:lnTo>
                    <a:pt x="2741" y="1486"/>
                  </a:lnTo>
                  <a:lnTo>
                    <a:pt x="2909" y="1633"/>
                  </a:lnTo>
                  <a:lnTo>
                    <a:pt x="3013" y="1549"/>
                  </a:lnTo>
                  <a:lnTo>
                    <a:pt x="3118" y="1570"/>
                  </a:lnTo>
                  <a:lnTo>
                    <a:pt x="3034" y="1444"/>
                  </a:lnTo>
                  <a:lnTo>
                    <a:pt x="2930" y="1256"/>
                  </a:lnTo>
                  <a:lnTo>
                    <a:pt x="2825" y="1256"/>
                  </a:lnTo>
                  <a:lnTo>
                    <a:pt x="2804" y="1172"/>
                  </a:lnTo>
                  <a:lnTo>
                    <a:pt x="2951" y="1068"/>
                  </a:lnTo>
                  <a:lnTo>
                    <a:pt x="3013" y="942"/>
                  </a:lnTo>
                  <a:lnTo>
                    <a:pt x="2992" y="712"/>
                  </a:lnTo>
                  <a:lnTo>
                    <a:pt x="3139" y="545"/>
                  </a:lnTo>
                  <a:lnTo>
                    <a:pt x="3244" y="586"/>
                  </a:lnTo>
                  <a:lnTo>
                    <a:pt x="3327" y="503"/>
                  </a:lnTo>
                  <a:lnTo>
                    <a:pt x="3348" y="294"/>
                  </a:lnTo>
                  <a:lnTo>
                    <a:pt x="3327" y="273"/>
                  </a:lnTo>
                  <a:lnTo>
                    <a:pt x="3202" y="273"/>
                  </a:lnTo>
                  <a:lnTo>
                    <a:pt x="3160" y="189"/>
                  </a:lnTo>
                  <a:lnTo>
                    <a:pt x="3013" y="126"/>
                  </a:lnTo>
                  <a:lnTo>
                    <a:pt x="2909" y="168"/>
                  </a:lnTo>
                  <a:lnTo>
                    <a:pt x="2846" y="105"/>
                  </a:lnTo>
                  <a:lnTo>
                    <a:pt x="2679" y="22"/>
                  </a:lnTo>
                  <a:lnTo>
                    <a:pt x="249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23" name="Google Shape;12200;p43">
              <a:extLst>
                <a:ext uri="{FF2B5EF4-FFF2-40B4-BE49-F238E27FC236}">
                  <a16:creationId xmlns:a16="http://schemas.microsoft.com/office/drawing/2014/main" id="{7EEA9EFB-ED8C-5446-E587-F9B4E28C009B}"/>
                </a:ext>
              </a:extLst>
            </p:cNvPr>
            <p:cNvGrpSpPr/>
            <p:nvPr/>
          </p:nvGrpSpPr>
          <p:grpSpPr>
            <a:xfrm>
              <a:off x="3831056" y="2816010"/>
              <a:ext cx="37378" cy="27612"/>
              <a:chOff x="3866750" y="2520350"/>
              <a:chExt cx="78475" cy="60700"/>
            </a:xfrm>
          </p:grpSpPr>
          <p:sp>
            <p:nvSpPr>
              <p:cNvPr id="204" name="Google Shape;12201;p43">
                <a:extLst>
                  <a:ext uri="{FF2B5EF4-FFF2-40B4-BE49-F238E27FC236}">
                    <a16:creationId xmlns:a16="http://schemas.microsoft.com/office/drawing/2014/main" id="{07A94C40-82F8-DEB2-A200-4402C5C28B72}"/>
                  </a:ext>
                </a:extLst>
              </p:cNvPr>
              <p:cNvSpPr/>
              <p:nvPr/>
            </p:nvSpPr>
            <p:spPr>
              <a:xfrm>
                <a:off x="3877200" y="2546500"/>
                <a:ext cx="4725" cy="6300"/>
              </a:xfrm>
              <a:custGeom>
                <a:avLst/>
                <a:gdLst/>
                <a:ahLst/>
                <a:cxnLst/>
                <a:rect l="l" t="t" r="r" b="b"/>
                <a:pathLst>
                  <a:path w="189" h="252" extrusionOk="0">
                    <a:moveTo>
                      <a:pt x="1" y="1"/>
                    </a:moveTo>
                    <a:lnTo>
                      <a:pt x="84" y="126"/>
                    </a:lnTo>
                    <a:lnTo>
                      <a:pt x="63" y="147"/>
                    </a:lnTo>
                    <a:lnTo>
                      <a:pt x="168" y="252"/>
                    </a:lnTo>
                    <a:lnTo>
                      <a:pt x="189" y="252"/>
                    </a:lnTo>
                    <a:lnTo>
                      <a:pt x="168" y="106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Google Shape;12202;p43">
                <a:extLst>
                  <a:ext uri="{FF2B5EF4-FFF2-40B4-BE49-F238E27FC236}">
                    <a16:creationId xmlns:a16="http://schemas.microsoft.com/office/drawing/2014/main" id="{0E76B6A8-F538-EA8E-0ECD-58FB0EF89613}"/>
                  </a:ext>
                </a:extLst>
              </p:cNvPr>
              <p:cNvSpPr/>
              <p:nvPr/>
            </p:nvSpPr>
            <p:spPr>
              <a:xfrm>
                <a:off x="3882425" y="2554350"/>
                <a:ext cx="2650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106" h="127" extrusionOk="0">
                    <a:moveTo>
                      <a:pt x="1" y="1"/>
                    </a:moveTo>
                    <a:lnTo>
                      <a:pt x="106" y="126"/>
                    </a:lnTo>
                    <a:lnTo>
                      <a:pt x="85" y="43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6" name="Google Shape;12203;p43">
                <a:extLst>
                  <a:ext uri="{FF2B5EF4-FFF2-40B4-BE49-F238E27FC236}">
                    <a16:creationId xmlns:a16="http://schemas.microsoft.com/office/drawing/2014/main" id="{71169FD1-472A-B6C4-61F0-99080B71DD62}"/>
                  </a:ext>
                </a:extLst>
              </p:cNvPr>
              <p:cNvSpPr/>
              <p:nvPr/>
            </p:nvSpPr>
            <p:spPr>
              <a:xfrm>
                <a:off x="3866750" y="2520350"/>
                <a:ext cx="78475" cy="60700"/>
              </a:xfrm>
              <a:custGeom>
                <a:avLst/>
                <a:gdLst/>
                <a:ahLst/>
                <a:cxnLst/>
                <a:rect l="l" t="t" r="r" b="b"/>
                <a:pathLst>
                  <a:path w="3139" h="2428" extrusionOk="0">
                    <a:moveTo>
                      <a:pt x="1653" y="1"/>
                    </a:moveTo>
                    <a:lnTo>
                      <a:pt x="1653" y="22"/>
                    </a:lnTo>
                    <a:lnTo>
                      <a:pt x="1402" y="22"/>
                    </a:lnTo>
                    <a:lnTo>
                      <a:pt x="1046" y="210"/>
                    </a:lnTo>
                    <a:lnTo>
                      <a:pt x="1025" y="356"/>
                    </a:lnTo>
                    <a:lnTo>
                      <a:pt x="837" y="440"/>
                    </a:lnTo>
                    <a:lnTo>
                      <a:pt x="816" y="649"/>
                    </a:lnTo>
                    <a:lnTo>
                      <a:pt x="691" y="649"/>
                    </a:lnTo>
                    <a:lnTo>
                      <a:pt x="481" y="545"/>
                    </a:lnTo>
                    <a:lnTo>
                      <a:pt x="356" y="587"/>
                    </a:lnTo>
                    <a:lnTo>
                      <a:pt x="209" y="691"/>
                    </a:lnTo>
                    <a:lnTo>
                      <a:pt x="0" y="691"/>
                    </a:lnTo>
                    <a:lnTo>
                      <a:pt x="0" y="733"/>
                    </a:lnTo>
                    <a:lnTo>
                      <a:pt x="42" y="942"/>
                    </a:lnTo>
                    <a:lnTo>
                      <a:pt x="168" y="1068"/>
                    </a:lnTo>
                    <a:lnTo>
                      <a:pt x="168" y="1110"/>
                    </a:lnTo>
                    <a:lnTo>
                      <a:pt x="209" y="1152"/>
                    </a:lnTo>
                    <a:lnTo>
                      <a:pt x="356" y="942"/>
                    </a:lnTo>
                    <a:lnTo>
                      <a:pt x="377" y="796"/>
                    </a:lnTo>
                    <a:lnTo>
                      <a:pt x="461" y="691"/>
                    </a:lnTo>
                    <a:lnTo>
                      <a:pt x="607" y="691"/>
                    </a:lnTo>
                    <a:lnTo>
                      <a:pt x="628" y="796"/>
                    </a:lnTo>
                    <a:lnTo>
                      <a:pt x="733" y="900"/>
                    </a:lnTo>
                    <a:lnTo>
                      <a:pt x="774" y="1068"/>
                    </a:lnTo>
                    <a:lnTo>
                      <a:pt x="879" y="1256"/>
                    </a:lnTo>
                    <a:lnTo>
                      <a:pt x="1025" y="1403"/>
                    </a:lnTo>
                    <a:lnTo>
                      <a:pt x="1088" y="1403"/>
                    </a:lnTo>
                    <a:lnTo>
                      <a:pt x="1193" y="1507"/>
                    </a:lnTo>
                    <a:lnTo>
                      <a:pt x="1088" y="1486"/>
                    </a:lnTo>
                    <a:lnTo>
                      <a:pt x="1005" y="1507"/>
                    </a:lnTo>
                    <a:lnTo>
                      <a:pt x="942" y="1591"/>
                    </a:lnTo>
                    <a:lnTo>
                      <a:pt x="1005" y="1696"/>
                    </a:lnTo>
                    <a:lnTo>
                      <a:pt x="1130" y="1696"/>
                    </a:lnTo>
                    <a:lnTo>
                      <a:pt x="1256" y="1821"/>
                    </a:lnTo>
                    <a:lnTo>
                      <a:pt x="1360" y="1842"/>
                    </a:lnTo>
                    <a:lnTo>
                      <a:pt x="1423" y="1947"/>
                    </a:lnTo>
                    <a:lnTo>
                      <a:pt x="1465" y="2030"/>
                    </a:lnTo>
                    <a:lnTo>
                      <a:pt x="1611" y="2009"/>
                    </a:lnTo>
                    <a:lnTo>
                      <a:pt x="1862" y="2030"/>
                    </a:lnTo>
                    <a:lnTo>
                      <a:pt x="1988" y="2093"/>
                    </a:lnTo>
                    <a:lnTo>
                      <a:pt x="2281" y="2365"/>
                    </a:lnTo>
                    <a:lnTo>
                      <a:pt x="2197" y="2407"/>
                    </a:lnTo>
                    <a:lnTo>
                      <a:pt x="2072" y="2323"/>
                    </a:lnTo>
                    <a:lnTo>
                      <a:pt x="2155" y="2407"/>
                    </a:lnTo>
                    <a:lnTo>
                      <a:pt x="2260" y="2428"/>
                    </a:lnTo>
                    <a:lnTo>
                      <a:pt x="2302" y="2344"/>
                    </a:lnTo>
                    <a:lnTo>
                      <a:pt x="1925" y="1884"/>
                    </a:lnTo>
                    <a:lnTo>
                      <a:pt x="1444" y="1486"/>
                    </a:lnTo>
                    <a:lnTo>
                      <a:pt x="1423" y="1403"/>
                    </a:lnTo>
                    <a:lnTo>
                      <a:pt x="1465" y="1382"/>
                    </a:lnTo>
                    <a:lnTo>
                      <a:pt x="1402" y="1277"/>
                    </a:lnTo>
                    <a:lnTo>
                      <a:pt x="1360" y="1172"/>
                    </a:lnTo>
                    <a:lnTo>
                      <a:pt x="1235" y="1047"/>
                    </a:lnTo>
                    <a:lnTo>
                      <a:pt x="1193" y="1047"/>
                    </a:lnTo>
                    <a:lnTo>
                      <a:pt x="1151" y="963"/>
                    </a:lnTo>
                    <a:lnTo>
                      <a:pt x="1214" y="900"/>
                    </a:lnTo>
                    <a:lnTo>
                      <a:pt x="1214" y="775"/>
                    </a:lnTo>
                    <a:lnTo>
                      <a:pt x="1256" y="733"/>
                    </a:lnTo>
                    <a:lnTo>
                      <a:pt x="1402" y="838"/>
                    </a:lnTo>
                    <a:lnTo>
                      <a:pt x="1444" y="900"/>
                    </a:lnTo>
                    <a:lnTo>
                      <a:pt x="1528" y="880"/>
                    </a:lnTo>
                    <a:lnTo>
                      <a:pt x="1528" y="796"/>
                    </a:lnTo>
                    <a:lnTo>
                      <a:pt x="1632" y="775"/>
                    </a:lnTo>
                    <a:lnTo>
                      <a:pt x="1716" y="796"/>
                    </a:lnTo>
                    <a:lnTo>
                      <a:pt x="1758" y="733"/>
                    </a:lnTo>
                    <a:lnTo>
                      <a:pt x="1841" y="775"/>
                    </a:lnTo>
                    <a:lnTo>
                      <a:pt x="1883" y="733"/>
                    </a:lnTo>
                    <a:lnTo>
                      <a:pt x="1988" y="754"/>
                    </a:lnTo>
                    <a:lnTo>
                      <a:pt x="2051" y="859"/>
                    </a:lnTo>
                    <a:lnTo>
                      <a:pt x="2093" y="796"/>
                    </a:lnTo>
                    <a:lnTo>
                      <a:pt x="2239" y="859"/>
                    </a:lnTo>
                    <a:lnTo>
                      <a:pt x="2344" y="796"/>
                    </a:lnTo>
                    <a:lnTo>
                      <a:pt x="2365" y="859"/>
                    </a:lnTo>
                    <a:lnTo>
                      <a:pt x="2490" y="838"/>
                    </a:lnTo>
                    <a:lnTo>
                      <a:pt x="2616" y="880"/>
                    </a:lnTo>
                    <a:lnTo>
                      <a:pt x="2699" y="859"/>
                    </a:lnTo>
                    <a:lnTo>
                      <a:pt x="2804" y="963"/>
                    </a:lnTo>
                    <a:lnTo>
                      <a:pt x="2971" y="963"/>
                    </a:lnTo>
                    <a:lnTo>
                      <a:pt x="2992" y="984"/>
                    </a:lnTo>
                    <a:lnTo>
                      <a:pt x="2971" y="880"/>
                    </a:lnTo>
                    <a:lnTo>
                      <a:pt x="3097" y="859"/>
                    </a:lnTo>
                    <a:lnTo>
                      <a:pt x="3139" y="859"/>
                    </a:lnTo>
                    <a:lnTo>
                      <a:pt x="3139" y="796"/>
                    </a:lnTo>
                    <a:lnTo>
                      <a:pt x="3034" y="775"/>
                    </a:lnTo>
                    <a:lnTo>
                      <a:pt x="2971" y="733"/>
                    </a:lnTo>
                    <a:lnTo>
                      <a:pt x="2930" y="566"/>
                    </a:lnTo>
                    <a:lnTo>
                      <a:pt x="2888" y="419"/>
                    </a:lnTo>
                    <a:lnTo>
                      <a:pt x="2804" y="356"/>
                    </a:lnTo>
                    <a:lnTo>
                      <a:pt x="2699" y="482"/>
                    </a:lnTo>
                    <a:lnTo>
                      <a:pt x="2490" y="419"/>
                    </a:lnTo>
                    <a:lnTo>
                      <a:pt x="2197" y="356"/>
                    </a:lnTo>
                    <a:lnTo>
                      <a:pt x="2093" y="273"/>
                    </a:lnTo>
                    <a:lnTo>
                      <a:pt x="1988" y="231"/>
                    </a:lnTo>
                    <a:lnTo>
                      <a:pt x="1737" y="22"/>
                    </a:lnTo>
                    <a:lnTo>
                      <a:pt x="1653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7" name="Google Shape;12204;p43">
                <a:extLst>
                  <a:ext uri="{FF2B5EF4-FFF2-40B4-BE49-F238E27FC236}">
                    <a16:creationId xmlns:a16="http://schemas.microsoft.com/office/drawing/2014/main" id="{5E2E05F4-1FC2-000F-C3A7-806621E14D0F}"/>
                  </a:ext>
                </a:extLst>
              </p:cNvPr>
              <p:cNvSpPr/>
              <p:nvPr/>
            </p:nvSpPr>
            <p:spPr>
              <a:xfrm>
                <a:off x="3886100" y="2558550"/>
                <a:ext cx="3675" cy="5250"/>
              </a:xfrm>
              <a:custGeom>
                <a:avLst/>
                <a:gdLst/>
                <a:ahLst/>
                <a:cxnLst/>
                <a:rect l="l" t="t" r="r" b="b"/>
                <a:pathLst>
                  <a:path w="147" h="210" extrusionOk="0">
                    <a:moveTo>
                      <a:pt x="0" y="0"/>
                    </a:moveTo>
                    <a:lnTo>
                      <a:pt x="147" y="209"/>
                    </a:lnTo>
                    <a:lnTo>
                      <a:pt x="126" y="1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24" name="Google Shape;12205;p43">
              <a:extLst>
                <a:ext uri="{FF2B5EF4-FFF2-40B4-BE49-F238E27FC236}">
                  <a16:creationId xmlns:a16="http://schemas.microsoft.com/office/drawing/2014/main" id="{478B483A-BCE0-8675-8F6C-91BB00F8A98D}"/>
                </a:ext>
              </a:extLst>
            </p:cNvPr>
            <p:cNvSpPr/>
            <p:nvPr/>
          </p:nvSpPr>
          <p:spPr>
            <a:xfrm>
              <a:off x="3799155" y="2842190"/>
              <a:ext cx="6990" cy="13340"/>
            </a:xfrm>
            <a:custGeom>
              <a:avLst/>
              <a:gdLst/>
              <a:ahLst/>
              <a:cxnLst/>
              <a:rect l="l" t="t" r="r" b="b"/>
              <a:pathLst>
                <a:path w="587" h="1173" extrusionOk="0">
                  <a:moveTo>
                    <a:pt x="461" y="0"/>
                  </a:moveTo>
                  <a:lnTo>
                    <a:pt x="440" y="105"/>
                  </a:lnTo>
                  <a:lnTo>
                    <a:pt x="482" y="147"/>
                  </a:lnTo>
                  <a:lnTo>
                    <a:pt x="461" y="251"/>
                  </a:lnTo>
                  <a:lnTo>
                    <a:pt x="419" y="251"/>
                  </a:lnTo>
                  <a:lnTo>
                    <a:pt x="357" y="210"/>
                  </a:lnTo>
                  <a:lnTo>
                    <a:pt x="273" y="251"/>
                  </a:lnTo>
                  <a:lnTo>
                    <a:pt x="106" y="335"/>
                  </a:lnTo>
                  <a:lnTo>
                    <a:pt x="22" y="461"/>
                  </a:lnTo>
                  <a:lnTo>
                    <a:pt x="106" y="523"/>
                  </a:lnTo>
                  <a:lnTo>
                    <a:pt x="64" y="565"/>
                  </a:lnTo>
                  <a:lnTo>
                    <a:pt x="1" y="565"/>
                  </a:lnTo>
                  <a:lnTo>
                    <a:pt x="22" y="649"/>
                  </a:lnTo>
                  <a:lnTo>
                    <a:pt x="106" y="691"/>
                  </a:lnTo>
                  <a:lnTo>
                    <a:pt x="106" y="754"/>
                  </a:lnTo>
                  <a:lnTo>
                    <a:pt x="64" y="775"/>
                  </a:lnTo>
                  <a:lnTo>
                    <a:pt x="106" y="837"/>
                  </a:lnTo>
                  <a:lnTo>
                    <a:pt x="168" y="879"/>
                  </a:lnTo>
                  <a:lnTo>
                    <a:pt x="168" y="963"/>
                  </a:lnTo>
                  <a:lnTo>
                    <a:pt x="210" y="963"/>
                  </a:lnTo>
                  <a:lnTo>
                    <a:pt x="252" y="1005"/>
                  </a:lnTo>
                  <a:lnTo>
                    <a:pt x="210" y="984"/>
                  </a:lnTo>
                  <a:lnTo>
                    <a:pt x="147" y="1067"/>
                  </a:lnTo>
                  <a:lnTo>
                    <a:pt x="210" y="1109"/>
                  </a:lnTo>
                  <a:lnTo>
                    <a:pt x="357" y="1172"/>
                  </a:lnTo>
                  <a:lnTo>
                    <a:pt x="461" y="1109"/>
                  </a:lnTo>
                  <a:lnTo>
                    <a:pt x="545" y="942"/>
                  </a:lnTo>
                  <a:lnTo>
                    <a:pt x="545" y="795"/>
                  </a:lnTo>
                  <a:lnTo>
                    <a:pt x="587" y="544"/>
                  </a:lnTo>
                  <a:lnTo>
                    <a:pt x="545" y="314"/>
                  </a:lnTo>
                  <a:lnTo>
                    <a:pt x="545" y="147"/>
                  </a:lnTo>
                  <a:lnTo>
                    <a:pt x="52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Google Shape;12206;p43">
              <a:extLst>
                <a:ext uri="{FF2B5EF4-FFF2-40B4-BE49-F238E27FC236}">
                  <a16:creationId xmlns:a16="http://schemas.microsoft.com/office/drawing/2014/main" id="{D84FDEB3-B8BD-C4BC-3DBB-5F1CF27BA4B7}"/>
                </a:ext>
              </a:extLst>
            </p:cNvPr>
            <p:cNvSpPr/>
            <p:nvPr/>
          </p:nvSpPr>
          <p:spPr>
            <a:xfrm>
              <a:off x="3688535" y="2836242"/>
              <a:ext cx="76506" cy="61161"/>
            </a:xfrm>
            <a:custGeom>
              <a:avLst/>
              <a:gdLst/>
              <a:ahLst/>
              <a:cxnLst/>
              <a:rect l="l" t="t" r="r" b="b"/>
              <a:pathLst>
                <a:path w="6425" h="5378" extrusionOk="0">
                  <a:moveTo>
                    <a:pt x="817" y="0"/>
                  </a:moveTo>
                  <a:lnTo>
                    <a:pt x="733" y="42"/>
                  </a:lnTo>
                  <a:lnTo>
                    <a:pt x="712" y="21"/>
                  </a:lnTo>
                  <a:lnTo>
                    <a:pt x="503" y="126"/>
                  </a:lnTo>
                  <a:lnTo>
                    <a:pt x="524" y="209"/>
                  </a:lnTo>
                  <a:lnTo>
                    <a:pt x="608" y="251"/>
                  </a:lnTo>
                  <a:lnTo>
                    <a:pt x="524" y="335"/>
                  </a:lnTo>
                  <a:lnTo>
                    <a:pt x="336" y="356"/>
                  </a:lnTo>
                  <a:lnTo>
                    <a:pt x="252" y="335"/>
                  </a:lnTo>
                  <a:lnTo>
                    <a:pt x="43" y="419"/>
                  </a:lnTo>
                  <a:lnTo>
                    <a:pt x="1" y="544"/>
                  </a:lnTo>
                  <a:lnTo>
                    <a:pt x="43" y="670"/>
                  </a:lnTo>
                  <a:lnTo>
                    <a:pt x="126" y="649"/>
                  </a:lnTo>
                  <a:lnTo>
                    <a:pt x="126" y="691"/>
                  </a:lnTo>
                  <a:lnTo>
                    <a:pt x="189" y="733"/>
                  </a:lnTo>
                  <a:lnTo>
                    <a:pt x="147" y="879"/>
                  </a:lnTo>
                  <a:lnTo>
                    <a:pt x="210" y="900"/>
                  </a:lnTo>
                  <a:lnTo>
                    <a:pt x="294" y="837"/>
                  </a:lnTo>
                  <a:lnTo>
                    <a:pt x="252" y="963"/>
                  </a:lnTo>
                  <a:lnTo>
                    <a:pt x="315" y="1005"/>
                  </a:lnTo>
                  <a:lnTo>
                    <a:pt x="252" y="1088"/>
                  </a:lnTo>
                  <a:lnTo>
                    <a:pt x="357" y="1109"/>
                  </a:lnTo>
                  <a:lnTo>
                    <a:pt x="231" y="1256"/>
                  </a:lnTo>
                  <a:lnTo>
                    <a:pt x="231" y="1277"/>
                  </a:lnTo>
                  <a:lnTo>
                    <a:pt x="482" y="1214"/>
                  </a:lnTo>
                  <a:lnTo>
                    <a:pt x="587" y="1256"/>
                  </a:lnTo>
                  <a:lnTo>
                    <a:pt x="566" y="1381"/>
                  </a:lnTo>
                  <a:lnTo>
                    <a:pt x="629" y="1465"/>
                  </a:lnTo>
                  <a:lnTo>
                    <a:pt x="796" y="1360"/>
                  </a:lnTo>
                  <a:lnTo>
                    <a:pt x="1110" y="1423"/>
                  </a:lnTo>
                  <a:lnTo>
                    <a:pt x="1214" y="1318"/>
                  </a:lnTo>
                  <a:lnTo>
                    <a:pt x="1486" y="1360"/>
                  </a:lnTo>
                  <a:lnTo>
                    <a:pt x="1507" y="1486"/>
                  </a:lnTo>
                  <a:lnTo>
                    <a:pt x="1612" y="1632"/>
                  </a:lnTo>
                  <a:lnTo>
                    <a:pt x="1591" y="1737"/>
                  </a:lnTo>
                  <a:lnTo>
                    <a:pt x="1445" y="1737"/>
                  </a:lnTo>
                  <a:lnTo>
                    <a:pt x="1235" y="1946"/>
                  </a:lnTo>
                  <a:lnTo>
                    <a:pt x="1256" y="2114"/>
                  </a:lnTo>
                  <a:lnTo>
                    <a:pt x="1235" y="2469"/>
                  </a:lnTo>
                  <a:lnTo>
                    <a:pt x="1089" y="2616"/>
                  </a:lnTo>
                  <a:lnTo>
                    <a:pt x="1194" y="2720"/>
                  </a:lnTo>
                  <a:lnTo>
                    <a:pt x="1047" y="2930"/>
                  </a:lnTo>
                  <a:lnTo>
                    <a:pt x="942" y="2888"/>
                  </a:lnTo>
                  <a:lnTo>
                    <a:pt x="817" y="2930"/>
                  </a:lnTo>
                  <a:lnTo>
                    <a:pt x="963" y="3202"/>
                  </a:lnTo>
                  <a:lnTo>
                    <a:pt x="1089" y="3285"/>
                  </a:lnTo>
                  <a:lnTo>
                    <a:pt x="1089" y="3515"/>
                  </a:lnTo>
                  <a:lnTo>
                    <a:pt x="922" y="3704"/>
                  </a:lnTo>
                  <a:lnTo>
                    <a:pt x="984" y="3871"/>
                  </a:lnTo>
                  <a:lnTo>
                    <a:pt x="1131" y="3871"/>
                  </a:lnTo>
                  <a:lnTo>
                    <a:pt x="1089" y="3976"/>
                  </a:lnTo>
                  <a:lnTo>
                    <a:pt x="963" y="4080"/>
                  </a:lnTo>
                  <a:lnTo>
                    <a:pt x="838" y="4331"/>
                  </a:lnTo>
                  <a:lnTo>
                    <a:pt x="922" y="4457"/>
                  </a:lnTo>
                  <a:lnTo>
                    <a:pt x="922" y="4603"/>
                  </a:lnTo>
                  <a:lnTo>
                    <a:pt x="1026" y="4624"/>
                  </a:lnTo>
                  <a:lnTo>
                    <a:pt x="1173" y="4645"/>
                  </a:lnTo>
                  <a:lnTo>
                    <a:pt x="1403" y="4875"/>
                  </a:lnTo>
                  <a:lnTo>
                    <a:pt x="1382" y="4917"/>
                  </a:lnTo>
                  <a:lnTo>
                    <a:pt x="1486" y="5168"/>
                  </a:lnTo>
                  <a:lnTo>
                    <a:pt x="1675" y="5357"/>
                  </a:lnTo>
                  <a:lnTo>
                    <a:pt x="1842" y="5378"/>
                  </a:lnTo>
                  <a:lnTo>
                    <a:pt x="2010" y="5273"/>
                  </a:lnTo>
                  <a:lnTo>
                    <a:pt x="2010" y="5168"/>
                  </a:lnTo>
                  <a:lnTo>
                    <a:pt x="2093" y="5085"/>
                  </a:lnTo>
                  <a:lnTo>
                    <a:pt x="2303" y="5064"/>
                  </a:lnTo>
                  <a:lnTo>
                    <a:pt x="2470" y="4875"/>
                  </a:lnTo>
                  <a:lnTo>
                    <a:pt x="2679" y="4855"/>
                  </a:lnTo>
                  <a:lnTo>
                    <a:pt x="2784" y="4813"/>
                  </a:lnTo>
                  <a:lnTo>
                    <a:pt x="3035" y="4875"/>
                  </a:lnTo>
                  <a:lnTo>
                    <a:pt x="3181" y="4917"/>
                  </a:lnTo>
                  <a:lnTo>
                    <a:pt x="3202" y="4855"/>
                  </a:lnTo>
                  <a:lnTo>
                    <a:pt x="3307" y="4855"/>
                  </a:lnTo>
                  <a:lnTo>
                    <a:pt x="3411" y="4938"/>
                  </a:lnTo>
                  <a:lnTo>
                    <a:pt x="3495" y="4855"/>
                  </a:lnTo>
                  <a:lnTo>
                    <a:pt x="3558" y="4750"/>
                  </a:lnTo>
                  <a:lnTo>
                    <a:pt x="3663" y="4855"/>
                  </a:lnTo>
                  <a:lnTo>
                    <a:pt x="3788" y="4917"/>
                  </a:lnTo>
                  <a:lnTo>
                    <a:pt x="3914" y="4708"/>
                  </a:lnTo>
                  <a:lnTo>
                    <a:pt x="3914" y="4603"/>
                  </a:lnTo>
                  <a:lnTo>
                    <a:pt x="4248" y="4436"/>
                  </a:lnTo>
                  <a:lnTo>
                    <a:pt x="4458" y="4436"/>
                  </a:lnTo>
                  <a:lnTo>
                    <a:pt x="4520" y="4352"/>
                  </a:lnTo>
                  <a:lnTo>
                    <a:pt x="4458" y="4311"/>
                  </a:lnTo>
                  <a:lnTo>
                    <a:pt x="4499" y="4143"/>
                  </a:lnTo>
                  <a:lnTo>
                    <a:pt x="4667" y="3892"/>
                  </a:lnTo>
                  <a:lnTo>
                    <a:pt x="4667" y="3766"/>
                  </a:lnTo>
                  <a:lnTo>
                    <a:pt x="4855" y="3704"/>
                  </a:lnTo>
                  <a:lnTo>
                    <a:pt x="4981" y="3578"/>
                  </a:lnTo>
                  <a:lnTo>
                    <a:pt x="4855" y="3390"/>
                  </a:lnTo>
                  <a:lnTo>
                    <a:pt x="4771" y="3348"/>
                  </a:lnTo>
                  <a:lnTo>
                    <a:pt x="4751" y="3243"/>
                  </a:lnTo>
                  <a:lnTo>
                    <a:pt x="4646" y="3076"/>
                  </a:lnTo>
                  <a:lnTo>
                    <a:pt x="4730" y="2992"/>
                  </a:lnTo>
                  <a:lnTo>
                    <a:pt x="4960" y="2637"/>
                  </a:lnTo>
                  <a:lnTo>
                    <a:pt x="5064" y="2574"/>
                  </a:lnTo>
                  <a:lnTo>
                    <a:pt x="5232" y="2302"/>
                  </a:lnTo>
                  <a:lnTo>
                    <a:pt x="5274" y="2323"/>
                  </a:lnTo>
                  <a:lnTo>
                    <a:pt x="5253" y="2344"/>
                  </a:lnTo>
                  <a:lnTo>
                    <a:pt x="5253" y="2365"/>
                  </a:lnTo>
                  <a:lnTo>
                    <a:pt x="5336" y="2323"/>
                  </a:lnTo>
                  <a:lnTo>
                    <a:pt x="5357" y="2197"/>
                  </a:lnTo>
                  <a:lnTo>
                    <a:pt x="5295" y="2134"/>
                  </a:lnTo>
                  <a:lnTo>
                    <a:pt x="5441" y="2051"/>
                  </a:lnTo>
                  <a:lnTo>
                    <a:pt x="5567" y="1946"/>
                  </a:lnTo>
                  <a:lnTo>
                    <a:pt x="5776" y="1946"/>
                  </a:lnTo>
                  <a:lnTo>
                    <a:pt x="5964" y="1883"/>
                  </a:lnTo>
                  <a:lnTo>
                    <a:pt x="6069" y="1737"/>
                  </a:lnTo>
                  <a:lnTo>
                    <a:pt x="6278" y="1611"/>
                  </a:lnTo>
                  <a:lnTo>
                    <a:pt x="6320" y="1507"/>
                  </a:lnTo>
                  <a:lnTo>
                    <a:pt x="6341" y="1381"/>
                  </a:lnTo>
                  <a:lnTo>
                    <a:pt x="6320" y="1193"/>
                  </a:lnTo>
                  <a:lnTo>
                    <a:pt x="6424" y="1151"/>
                  </a:lnTo>
                  <a:lnTo>
                    <a:pt x="6424" y="1088"/>
                  </a:lnTo>
                  <a:lnTo>
                    <a:pt x="6341" y="1067"/>
                  </a:lnTo>
                  <a:lnTo>
                    <a:pt x="6215" y="879"/>
                  </a:lnTo>
                  <a:lnTo>
                    <a:pt x="5964" y="900"/>
                  </a:lnTo>
                  <a:lnTo>
                    <a:pt x="5797" y="837"/>
                  </a:lnTo>
                  <a:lnTo>
                    <a:pt x="5629" y="837"/>
                  </a:lnTo>
                  <a:lnTo>
                    <a:pt x="5525" y="774"/>
                  </a:lnTo>
                  <a:lnTo>
                    <a:pt x="5253" y="774"/>
                  </a:lnTo>
                  <a:lnTo>
                    <a:pt x="5148" y="879"/>
                  </a:lnTo>
                  <a:lnTo>
                    <a:pt x="5064" y="837"/>
                  </a:lnTo>
                  <a:lnTo>
                    <a:pt x="4918" y="837"/>
                  </a:lnTo>
                  <a:lnTo>
                    <a:pt x="4792" y="691"/>
                  </a:lnTo>
                  <a:lnTo>
                    <a:pt x="4688" y="753"/>
                  </a:lnTo>
                  <a:lnTo>
                    <a:pt x="4583" y="649"/>
                  </a:lnTo>
                  <a:lnTo>
                    <a:pt x="4332" y="565"/>
                  </a:lnTo>
                  <a:lnTo>
                    <a:pt x="4186" y="586"/>
                  </a:lnTo>
                  <a:lnTo>
                    <a:pt x="4207" y="523"/>
                  </a:lnTo>
                  <a:lnTo>
                    <a:pt x="4186" y="377"/>
                  </a:lnTo>
                  <a:lnTo>
                    <a:pt x="4102" y="377"/>
                  </a:lnTo>
                  <a:lnTo>
                    <a:pt x="4102" y="356"/>
                  </a:lnTo>
                  <a:lnTo>
                    <a:pt x="3997" y="314"/>
                  </a:lnTo>
                  <a:lnTo>
                    <a:pt x="3955" y="335"/>
                  </a:lnTo>
                  <a:lnTo>
                    <a:pt x="3872" y="335"/>
                  </a:lnTo>
                  <a:lnTo>
                    <a:pt x="3809" y="419"/>
                  </a:lnTo>
                  <a:lnTo>
                    <a:pt x="3495" y="230"/>
                  </a:lnTo>
                  <a:lnTo>
                    <a:pt x="3391" y="230"/>
                  </a:lnTo>
                  <a:lnTo>
                    <a:pt x="3286" y="335"/>
                  </a:lnTo>
                  <a:lnTo>
                    <a:pt x="3077" y="272"/>
                  </a:lnTo>
                  <a:lnTo>
                    <a:pt x="3035" y="168"/>
                  </a:lnTo>
                  <a:lnTo>
                    <a:pt x="2826" y="147"/>
                  </a:lnTo>
                  <a:lnTo>
                    <a:pt x="2533" y="272"/>
                  </a:lnTo>
                  <a:lnTo>
                    <a:pt x="2344" y="230"/>
                  </a:lnTo>
                  <a:lnTo>
                    <a:pt x="1926" y="168"/>
                  </a:lnTo>
                  <a:lnTo>
                    <a:pt x="1779" y="105"/>
                  </a:lnTo>
                  <a:lnTo>
                    <a:pt x="1758" y="42"/>
                  </a:lnTo>
                  <a:lnTo>
                    <a:pt x="1570" y="105"/>
                  </a:lnTo>
                  <a:lnTo>
                    <a:pt x="1403" y="147"/>
                  </a:lnTo>
                  <a:lnTo>
                    <a:pt x="1277" y="105"/>
                  </a:lnTo>
                  <a:lnTo>
                    <a:pt x="1173" y="105"/>
                  </a:lnTo>
                  <a:lnTo>
                    <a:pt x="1068" y="168"/>
                  </a:lnTo>
                  <a:lnTo>
                    <a:pt x="942" y="21"/>
                  </a:lnTo>
                  <a:lnTo>
                    <a:pt x="817" y="0"/>
                  </a:lnTo>
                  <a:close/>
                </a:path>
              </a:pathLst>
            </a:custGeom>
            <a:solidFill>
              <a:srgbClr val="99CC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Google Shape;12207;p43">
              <a:extLst>
                <a:ext uri="{FF2B5EF4-FFF2-40B4-BE49-F238E27FC236}">
                  <a16:creationId xmlns:a16="http://schemas.microsoft.com/office/drawing/2014/main" id="{0826393F-CC32-4F4B-23C6-FB8F7BEB1E5C}"/>
                </a:ext>
              </a:extLst>
            </p:cNvPr>
            <p:cNvSpPr/>
            <p:nvPr/>
          </p:nvSpPr>
          <p:spPr>
            <a:xfrm>
              <a:off x="4036603" y="2865264"/>
              <a:ext cx="11967" cy="9064"/>
            </a:xfrm>
            <a:custGeom>
              <a:avLst/>
              <a:gdLst/>
              <a:ahLst/>
              <a:cxnLst/>
              <a:rect l="l" t="t" r="r" b="b"/>
              <a:pathLst>
                <a:path w="1005" h="797" extrusionOk="0">
                  <a:moveTo>
                    <a:pt x="189" y="1"/>
                  </a:moveTo>
                  <a:lnTo>
                    <a:pt x="84" y="64"/>
                  </a:lnTo>
                  <a:lnTo>
                    <a:pt x="0" y="64"/>
                  </a:lnTo>
                  <a:lnTo>
                    <a:pt x="0" y="106"/>
                  </a:lnTo>
                  <a:lnTo>
                    <a:pt x="42" y="106"/>
                  </a:lnTo>
                  <a:lnTo>
                    <a:pt x="105" y="189"/>
                  </a:lnTo>
                  <a:lnTo>
                    <a:pt x="189" y="189"/>
                  </a:lnTo>
                  <a:lnTo>
                    <a:pt x="251" y="294"/>
                  </a:lnTo>
                  <a:lnTo>
                    <a:pt x="209" y="378"/>
                  </a:lnTo>
                  <a:lnTo>
                    <a:pt x="481" y="503"/>
                  </a:lnTo>
                  <a:lnTo>
                    <a:pt x="502" y="629"/>
                  </a:lnTo>
                  <a:lnTo>
                    <a:pt x="670" y="712"/>
                  </a:lnTo>
                  <a:lnTo>
                    <a:pt x="795" y="712"/>
                  </a:lnTo>
                  <a:lnTo>
                    <a:pt x="984" y="796"/>
                  </a:lnTo>
                  <a:lnTo>
                    <a:pt x="1005" y="712"/>
                  </a:lnTo>
                  <a:lnTo>
                    <a:pt x="733" y="315"/>
                  </a:lnTo>
                  <a:lnTo>
                    <a:pt x="586" y="273"/>
                  </a:lnTo>
                  <a:lnTo>
                    <a:pt x="502" y="85"/>
                  </a:lnTo>
                  <a:lnTo>
                    <a:pt x="398" y="85"/>
                  </a:lnTo>
                  <a:lnTo>
                    <a:pt x="356" y="126"/>
                  </a:lnTo>
                  <a:lnTo>
                    <a:pt x="18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Google Shape;12208;p43">
              <a:extLst>
                <a:ext uri="{FF2B5EF4-FFF2-40B4-BE49-F238E27FC236}">
                  <a16:creationId xmlns:a16="http://schemas.microsoft.com/office/drawing/2014/main" id="{ECC495BD-6415-48B2-1110-6848B0F4977A}"/>
                </a:ext>
              </a:extLst>
            </p:cNvPr>
            <p:cNvSpPr/>
            <p:nvPr/>
          </p:nvSpPr>
          <p:spPr>
            <a:xfrm>
              <a:off x="4033614" y="2866458"/>
              <a:ext cx="140532" cy="108039"/>
            </a:xfrm>
            <a:custGeom>
              <a:avLst/>
              <a:gdLst/>
              <a:ahLst/>
              <a:cxnLst/>
              <a:rect l="l" t="t" r="r" b="b"/>
              <a:pathLst>
                <a:path w="11802" h="9500" extrusionOk="0">
                  <a:moveTo>
                    <a:pt x="502" y="1863"/>
                  </a:moveTo>
                  <a:lnTo>
                    <a:pt x="502" y="1884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502" y="1863"/>
                  </a:lnTo>
                  <a:close/>
                  <a:moveTo>
                    <a:pt x="251" y="1"/>
                  </a:moveTo>
                  <a:lnTo>
                    <a:pt x="209" y="63"/>
                  </a:lnTo>
                  <a:lnTo>
                    <a:pt x="147" y="210"/>
                  </a:lnTo>
                  <a:lnTo>
                    <a:pt x="0" y="210"/>
                  </a:lnTo>
                  <a:lnTo>
                    <a:pt x="0" y="273"/>
                  </a:lnTo>
                  <a:lnTo>
                    <a:pt x="42" y="398"/>
                  </a:lnTo>
                  <a:lnTo>
                    <a:pt x="105" y="607"/>
                  </a:lnTo>
                  <a:lnTo>
                    <a:pt x="105" y="712"/>
                  </a:lnTo>
                  <a:lnTo>
                    <a:pt x="105" y="858"/>
                  </a:lnTo>
                  <a:lnTo>
                    <a:pt x="230" y="900"/>
                  </a:lnTo>
                  <a:lnTo>
                    <a:pt x="251" y="942"/>
                  </a:lnTo>
                  <a:lnTo>
                    <a:pt x="188" y="1130"/>
                  </a:lnTo>
                  <a:lnTo>
                    <a:pt x="209" y="1277"/>
                  </a:lnTo>
                  <a:lnTo>
                    <a:pt x="188" y="1361"/>
                  </a:lnTo>
                  <a:lnTo>
                    <a:pt x="335" y="1423"/>
                  </a:lnTo>
                  <a:lnTo>
                    <a:pt x="460" y="1654"/>
                  </a:lnTo>
                  <a:lnTo>
                    <a:pt x="523" y="1779"/>
                  </a:lnTo>
                  <a:lnTo>
                    <a:pt x="506" y="1864"/>
                  </a:lnTo>
                  <a:lnTo>
                    <a:pt x="506" y="1864"/>
                  </a:lnTo>
                  <a:lnTo>
                    <a:pt x="607" y="1884"/>
                  </a:lnTo>
                  <a:lnTo>
                    <a:pt x="670" y="2009"/>
                  </a:lnTo>
                  <a:lnTo>
                    <a:pt x="649" y="2114"/>
                  </a:lnTo>
                  <a:lnTo>
                    <a:pt x="712" y="2260"/>
                  </a:lnTo>
                  <a:lnTo>
                    <a:pt x="816" y="2260"/>
                  </a:lnTo>
                  <a:lnTo>
                    <a:pt x="858" y="2365"/>
                  </a:lnTo>
                  <a:lnTo>
                    <a:pt x="921" y="2490"/>
                  </a:lnTo>
                  <a:lnTo>
                    <a:pt x="1025" y="2532"/>
                  </a:lnTo>
                  <a:lnTo>
                    <a:pt x="1088" y="2574"/>
                  </a:lnTo>
                  <a:lnTo>
                    <a:pt x="1297" y="2679"/>
                  </a:lnTo>
                  <a:lnTo>
                    <a:pt x="1381" y="2700"/>
                  </a:lnTo>
                  <a:lnTo>
                    <a:pt x="1507" y="2679"/>
                  </a:lnTo>
                  <a:lnTo>
                    <a:pt x="1590" y="2721"/>
                  </a:lnTo>
                  <a:lnTo>
                    <a:pt x="1653" y="2742"/>
                  </a:lnTo>
                  <a:lnTo>
                    <a:pt x="1590" y="2783"/>
                  </a:lnTo>
                  <a:lnTo>
                    <a:pt x="1486" y="2825"/>
                  </a:lnTo>
                  <a:lnTo>
                    <a:pt x="1402" y="2825"/>
                  </a:lnTo>
                  <a:lnTo>
                    <a:pt x="1444" y="2993"/>
                  </a:lnTo>
                  <a:lnTo>
                    <a:pt x="1486" y="3014"/>
                  </a:lnTo>
                  <a:lnTo>
                    <a:pt x="1486" y="3223"/>
                  </a:lnTo>
                  <a:lnTo>
                    <a:pt x="1402" y="3244"/>
                  </a:lnTo>
                  <a:lnTo>
                    <a:pt x="1339" y="3244"/>
                  </a:lnTo>
                  <a:lnTo>
                    <a:pt x="1297" y="3432"/>
                  </a:lnTo>
                  <a:lnTo>
                    <a:pt x="1256" y="3474"/>
                  </a:lnTo>
                  <a:lnTo>
                    <a:pt x="1256" y="3683"/>
                  </a:lnTo>
                  <a:lnTo>
                    <a:pt x="1235" y="3767"/>
                  </a:lnTo>
                  <a:lnTo>
                    <a:pt x="1256" y="3830"/>
                  </a:lnTo>
                  <a:lnTo>
                    <a:pt x="1193" y="3871"/>
                  </a:lnTo>
                  <a:lnTo>
                    <a:pt x="1193" y="3955"/>
                  </a:lnTo>
                  <a:lnTo>
                    <a:pt x="1276" y="3976"/>
                  </a:lnTo>
                  <a:lnTo>
                    <a:pt x="1360" y="4060"/>
                  </a:lnTo>
                  <a:lnTo>
                    <a:pt x="1465" y="4081"/>
                  </a:lnTo>
                  <a:lnTo>
                    <a:pt x="1486" y="4164"/>
                  </a:lnTo>
                  <a:lnTo>
                    <a:pt x="1611" y="4269"/>
                  </a:lnTo>
                  <a:lnTo>
                    <a:pt x="1569" y="4394"/>
                  </a:lnTo>
                  <a:lnTo>
                    <a:pt x="1590" y="4415"/>
                  </a:lnTo>
                  <a:lnTo>
                    <a:pt x="1590" y="4499"/>
                  </a:lnTo>
                  <a:lnTo>
                    <a:pt x="1695" y="4583"/>
                  </a:lnTo>
                  <a:lnTo>
                    <a:pt x="1758" y="4562"/>
                  </a:lnTo>
                  <a:lnTo>
                    <a:pt x="1862" y="4520"/>
                  </a:lnTo>
                  <a:lnTo>
                    <a:pt x="2302" y="4813"/>
                  </a:lnTo>
                  <a:lnTo>
                    <a:pt x="2344" y="4792"/>
                  </a:lnTo>
                  <a:lnTo>
                    <a:pt x="2427" y="4834"/>
                  </a:lnTo>
                  <a:lnTo>
                    <a:pt x="2532" y="5043"/>
                  </a:lnTo>
                  <a:lnTo>
                    <a:pt x="2636" y="5106"/>
                  </a:lnTo>
                  <a:lnTo>
                    <a:pt x="2762" y="5357"/>
                  </a:lnTo>
                  <a:lnTo>
                    <a:pt x="2636" y="5462"/>
                  </a:lnTo>
                  <a:lnTo>
                    <a:pt x="2636" y="5650"/>
                  </a:lnTo>
                  <a:lnTo>
                    <a:pt x="2657" y="5817"/>
                  </a:lnTo>
                  <a:lnTo>
                    <a:pt x="2846" y="5817"/>
                  </a:lnTo>
                  <a:lnTo>
                    <a:pt x="2909" y="6152"/>
                  </a:lnTo>
                  <a:lnTo>
                    <a:pt x="3013" y="6236"/>
                  </a:lnTo>
                  <a:lnTo>
                    <a:pt x="3118" y="6278"/>
                  </a:lnTo>
                  <a:lnTo>
                    <a:pt x="3160" y="6299"/>
                  </a:lnTo>
                  <a:lnTo>
                    <a:pt x="3222" y="6278"/>
                  </a:lnTo>
                  <a:lnTo>
                    <a:pt x="3222" y="6340"/>
                  </a:lnTo>
                  <a:lnTo>
                    <a:pt x="3285" y="6445"/>
                  </a:lnTo>
                  <a:lnTo>
                    <a:pt x="3369" y="6445"/>
                  </a:lnTo>
                  <a:lnTo>
                    <a:pt x="3432" y="6382"/>
                  </a:lnTo>
                  <a:lnTo>
                    <a:pt x="3453" y="6257"/>
                  </a:lnTo>
                  <a:lnTo>
                    <a:pt x="3348" y="6194"/>
                  </a:lnTo>
                  <a:lnTo>
                    <a:pt x="3494" y="6194"/>
                  </a:lnTo>
                  <a:lnTo>
                    <a:pt x="3536" y="6173"/>
                  </a:lnTo>
                  <a:lnTo>
                    <a:pt x="3494" y="6236"/>
                  </a:lnTo>
                  <a:lnTo>
                    <a:pt x="3494" y="6299"/>
                  </a:lnTo>
                  <a:lnTo>
                    <a:pt x="3641" y="6361"/>
                  </a:lnTo>
                  <a:lnTo>
                    <a:pt x="3683" y="6340"/>
                  </a:lnTo>
                  <a:lnTo>
                    <a:pt x="3745" y="6445"/>
                  </a:lnTo>
                  <a:lnTo>
                    <a:pt x="3787" y="6445"/>
                  </a:lnTo>
                  <a:lnTo>
                    <a:pt x="3976" y="6299"/>
                  </a:lnTo>
                  <a:lnTo>
                    <a:pt x="4017" y="6340"/>
                  </a:lnTo>
                  <a:lnTo>
                    <a:pt x="4164" y="6487"/>
                  </a:lnTo>
                  <a:lnTo>
                    <a:pt x="4164" y="6591"/>
                  </a:lnTo>
                  <a:lnTo>
                    <a:pt x="4373" y="6863"/>
                  </a:lnTo>
                  <a:lnTo>
                    <a:pt x="4394" y="7031"/>
                  </a:lnTo>
                  <a:lnTo>
                    <a:pt x="4436" y="7073"/>
                  </a:lnTo>
                  <a:lnTo>
                    <a:pt x="4541" y="7073"/>
                  </a:lnTo>
                  <a:lnTo>
                    <a:pt x="4603" y="7177"/>
                  </a:lnTo>
                  <a:lnTo>
                    <a:pt x="4541" y="7177"/>
                  </a:lnTo>
                  <a:lnTo>
                    <a:pt x="4520" y="7135"/>
                  </a:lnTo>
                  <a:lnTo>
                    <a:pt x="4499" y="7177"/>
                  </a:lnTo>
                  <a:lnTo>
                    <a:pt x="4603" y="7240"/>
                  </a:lnTo>
                  <a:lnTo>
                    <a:pt x="4645" y="7219"/>
                  </a:lnTo>
                  <a:lnTo>
                    <a:pt x="4687" y="7324"/>
                  </a:lnTo>
                  <a:lnTo>
                    <a:pt x="4833" y="7721"/>
                  </a:lnTo>
                  <a:lnTo>
                    <a:pt x="4959" y="7763"/>
                  </a:lnTo>
                  <a:lnTo>
                    <a:pt x="5168" y="7763"/>
                  </a:lnTo>
                  <a:lnTo>
                    <a:pt x="5315" y="7805"/>
                  </a:lnTo>
                  <a:lnTo>
                    <a:pt x="5377" y="7868"/>
                  </a:lnTo>
                  <a:lnTo>
                    <a:pt x="5566" y="7868"/>
                  </a:lnTo>
                  <a:lnTo>
                    <a:pt x="5587" y="7931"/>
                  </a:lnTo>
                  <a:lnTo>
                    <a:pt x="5691" y="7931"/>
                  </a:lnTo>
                  <a:lnTo>
                    <a:pt x="5733" y="7972"/>
                  </a:lnTo>
                  <a:lnTo>
                    <a:pt x="5649" y="8035"/>
                  </a:lnTo>
                  <a:lnTo>
                    <a:pt x="5796" y="8224"/>
                  </a:lnTo>
                  <a:lnTo>
                    <a:pt x="5963" y="8244"/>
                  </a:lnTo>
                  <a:lnTo>
                    <a:pt x="6047" y="8328"/>
                  </a:lnTo>
                  <a:lnTo>
                    <a:pt x="6152" y="8328"/>
                  </a:lnTo>
                  <a:lnTo>
                    <a:pt x="6319" y="8496"/>
                  </a:lnTo>
                  <a:lnTo>
                    <a:pt x="6403" y="8475"/>
                  </a:lnTo>
                  <a:lnTo>
                    <a:pt x="6528" y="8454"/>
                  </a:lnTo>
                  <a:lnTo>
                    <a:pt x="6717" y="8496"/>
                  </a:lnTo>
                  <a:lnTo>
                    <a:pt x="6947" y="8663"/>
                  </a:lnTo>
                  <a:lnTo>
                    <a:pt x="7135" y="8475"/>
                  </a:lnTo>
                  <a:lnTo>
                    <a:pt x="7407" y="8349"/>
                  </a:lnTo>
                  <a:lnTo>
                    <a:pt x="7407" y="8328"/>
                  </a:lnTo>
                  <a:lnTo>
                    <a:pt x="7533" y="8328"/>
                  </a:lnTo>
                  <a:lnTo>
                    <a:pt x="7679" y="8224"/>
                  </a:lnTo>
                  <a:lnTo>
                    <a:pt x="7784" y="8161"/>
                  </a:lnTo>
                  <a:lnTo>
                    <a:pt x="7993" y="8182"/>
                  </a:lnTo>
                  <a:lnTo>
                    <a:pt x="7993" y="8244"/>
                  </a:lnTo>
                  <a:lnTo>
                    <a:pt x="8056" y="8244"/>
                  </a:lnTo>
                  <a:lnTo>
                    <a:pt x="8056" y="8286"/>
                  </a:lnTo>
                  <a:lnTo>
                    <a:pt x="8160" y="8454"/>
                  </a:lnTo>
                  <a:lnTo>
                    <a:pt x="8244" y="8663"/>
                  </a:lnTo>
                  <a:lnTo>
                    <a:pt x="8349" y="8872"/>
                  </a:lnTo>
                  <a:lnTo>
                    <a:pt x="8349" y="9019"/>
                  </a:lnTo>
                  <a:lnTo>
                    <a:pt x="8411" y="9081"/>
                  </a:lnTo>
                  <a:lnTo>
                    <a:pt x="8453" y="9123"/>
                  </a:lnTo>
                  <a:lnTo>
                    <a:pt x="8872" y="9123"/>
                  </a:lnTo>
                  <a:lnTo>
                    <a:pt x="8976" y="9207"/>
                  </a:lnTo>
                  <a:lnTo>
                    <a:pt x="9102" y="9081"/>
                  </a:lnTo>
                  <a:lnTo>
                    <a:pt x="9144" y="9102"/>
                  </a:lnTo>
                  <a:lnTo>
                    <a:pt x="9311" y="9228"/>
                  </a:lnTo>
                  <a:lnTo>
                    <a:pt x="9625" y="9207"/>
                  </a:lnTo>
                  <a:lnTo>
                    <a:pt x="9813" y="9291"/>
                  </a:lnTo>
                  <a:lnTo>
                    <a:pt x="10064" y="9312"/>
                  </a:lnTo>
                  <a:lnTo>
                    <a:pt x="10169" y="9332"/>
                  </a:lnTo>
                  <a:lnTo>
                    <a:pt x="10232" y="9312"/>
                  </a:lnTo>
                  <a:lnTo>
                    <a:pt x="10295" y="9395"/>
                  </a:lnTo>
                  <a:lnTo>
                    <a:pt x="10315" y="9395"/>
                  </a:lnTo>
                  <a:lnTo>
                    <a:pt x="10357" y="9291"/>
                  </a:lnTo>
                  <a:lnTo>
                    <a:pt x="10441" y="9291"/>
                  </a:lnTo>
                  <a:lnTo>
                    <a:pt x="10483" y="9374"/>
                  </a:lnTo>
                  <a:lnTo>
                    <a:pt x="10608" y="9416"/>
                  </a:lnTo>
                  <a:lnTo>
                    <a:pt x="10818" y="9500"/>
                  </a:lnTo>
                  <a:lnTo>
                    <a:pt x="10901" y="9437"/>
                  </a:lnTo>
                  <a:lnTo>
                    <a:pt x="10922" y="9395"/>
                  </a:lnTo>
                  <a:lnTo>
                    <a:pt x="10964" y="9395"/>
                  </a:lnTo>
                  <a:lnTo>
                    <a:pt x="10964" y="9312"/>
                  </a:lnTo>
                  <a:lnTo>
                    <a:pt x="10985" y="9102"/>
                  </a:lnTo>
                  <a:lnTo>
                    <a:pt x="10922" y="8977"/>
                  </a:lnTo>
                  <a:lnTo>
                    <a:pt x="11027" y="8851"/>
                  </a:lnTo>
                  <a:lnTo>
                    <a:pt x="10985" y="8747"/>
                  </a:lnTo>
                  <a:lnTo>
                    <a:pt x="11069" y="8642"/>
                  </a:lnTo>
                  <a:lnTo>
                    <a:pt x="11215" y="8558"/>
                  </a:lnTo>
                  <a:lnTo>
                    <a:pt x="11299" y="8496"/>
                  </a:lnTo>
                  <a:lnTo>
                    <a:pt x="11550" y="8433"/>
                  </a:lnTo>
                  <a:lnTo>
                    <a:pt x="11717" y="8475"/>
                  </a:lnTo>
                  <a:lnTo>
                    <a:pt x="11801" y="8391"/>
                  </a:lnTo>
                  <a:lnTo>
                    <a:pt x="11759" y="8161"/>
                  </a:lnTo>
                  <a:lnTo>
                    <a:pt x="11634" y="8056"/>
                  </a:lnTo>
                  <a:lnTo>
                    <a:pt x="11487" y="8077"/>
                  </a:lnTo>
                  <a:lnTo>
                    <a:pt x="11445" y="7972"/>
                  </a:lnTo>
                  <a:lnTo>
                    <a:pt x="11445" y="7826"/>
                  </a:lnTo>
                  <a:lnTo>
                    <a:pt x="11403" y="7700"/>
                  </a:lnTo>
                  <a:lnTo>
                    <a:pt x="11403" y="7491"/>
                  </a:lnTo>
                  <a:lnTo>
                    <a:pt x="11236" y="7491"/>
                  </a:lnTo>
                  <a:lnTo>
                    <a:pt x="11215" y="7408"/>
                  </a:lnTo>
                  <a:lnTo>
                    <a:pt x="11111" y="7387"/>
                  </a:lnTo>
                  <a:lnTo>
                    <a:pt x="10922" y="7345"/>
                  </a:lnTo>
                  <a:lnTo>
                    <a:pt x="10880" y="7303"/>
                  </a:lnTo>
                  <a:lnTo>
                    <a:pt x="10755" y="7219"/>
                  </a:lnTo>
                  <a:lnTo>
                    <a:pt x="10587" y="7073"/>
                  </a:lnTo>
                  <a:lnTo>
                    <a:pt x="10504" y="6926"/>
                  </a:lnTo>
                  <a:lnTo>
                    <a:pt x="10232" y="6508"/>
                  </a:lnTo>
                  <a:lnTo>
                    <a:pt x="10650" y="5943"/>
                  </a:lnTo>
                  <a:lnTo>
                    <a:pt x="10692" y="5859"/>
                  </a:lnTo>
                  <a:lnTo>
                    <a:pt x="10650" y="5629"/>
                  </a:lnTo>
                  <a:lnTo>
                    <a:pt x="10650" y="5462"/>
                  </a:lnTo>
                  <a:lnTo>
                    <a:pt x="10567" y="5294"/>
                  </a:lnTo>
                  <a:lnTo>
                    <a:pt x="10064" y="5252"/>
                  </a:lnTo>
                  <a:lnTo>
                    <a:pt x="10043" y="5043"/>
                  </a:lnTo>
                  <a:lnTo>
                    <a:pt x="9981" y="4939"/>
                  </a:lnTo>
                  <a:lnTo>
                    <a:pt x="10023" y="4876"/>
                  </a:lnTo>
                  <a:lnTo>
                    <a:pt x="9939" y="4604"/>
                  </a:lnTo>
                  <a:lnTo>
                    <a:pt x="9771" y="4311"/>
                  </a:lnTo>
                  <a:lnTo>
                    <a:pt x="9834" y="4164"/>
                  </a:lnTo>
                  <a:lnTo>
                    <a:pt x="9981" y="3934"/>
                  </a:lnTo>
                  <a:lnTo>
                    <a:pt x="9939" y="3934"/>
                  </a:lnTo>
                  <a:lnTo>
                    <a:pt x="9751" y="3892"/>
                  </a:lnTo>
                  <a:lnTo>
                    <a:pt x="9751" y="3767"/>
                  </a:lnTo>
                  <a:lnTo>
                    <a:pt x="9730" y="3558"/>
                  </a:lnTo>
                  <a:lnTo>
                    <a:pt x="9667" y="3558"/>
                  </a:lnTo>
                  <a:lnTo>
                    <a:pt x="9813" y="3411"/>
                  </a:lnTo>
                  <a:lnTo>
                    <a:pt x="9709" y="3327"/>
                  </a:lnTo>
                  <a:lnTo>
                    <a:pt x="9646" y="3244"/>
                  </a:lnTo>
                  <a:lnTo>
                    <a:pt x="9771" y="3223"/>
                  </a:lnTo>
                  <a:lnTo>
                    <a:pt x="9918" y="3118"/>
                  </a:lnTo>
                  <a:lnTo>
                    <a:pt x="9918" y="3034"/>
                  </a:lnTo>
                  <a:lnTo>
                    <a:pt x="9939" y="3014"/>
                  </a:lnTo>
                  <a:lnTo>
                    <a:pt x="9855" y="2909"/>
                  </a:lnTo>
                  <a:lnTo>
                    <a:pt x="9918" y="2825"/>
                  </a:lnTo>
                  <a:lnTo>
                    <a:pt x="9918" y="2742"/>
                  </a:lnTo>
                  <a:lnTo>
                    <a:pt x="9918" y="2574"/>
                  </a:lnTo>
                  <a:lnTo>
                    <a:pt x="9855" y="2470"/>
                  </a:lnTo>
                  <a:lnTo>
                    <a:pt x="9855" y="2386"/>
                  </a:lnTo>
                  <a:lnTo>
                    <a:pt x="9813" y="2260"/>
                  </a:lnTo>
                  <a:lnTo>
                    <a:pt x="9855" y="2156"/>
                  </a:lnTo>
                  <a:lnTo>
                    <a:pt x="9751" y="1988"/>
                  </a:lnTo>
                  <a:lnTo>
                    <a:pt x="9625" y="1946"/>
                  </a:lnTo>
                  <a:lnTo>
                    <a:pt x="9353" y="1905"/>
                  </a:lnTo>
                  <a:lnTo>
                    <a:pt x="9123" y="1591"/>
                  </a:lnTo>
                  <a:lnTo>
                    <a:pt x="8914" y="1549"/>
                  </a:lnTo>
                  <a:lnTo>
                    <a:pt x="8788" y="1570"/>
                  </a:lnTo>
                  <a:lnTo>
                    <a:pt x="8725" y="1528"/>
                  </a:lnTo>
                  <a:lnTo>
                    <a:pt x="8704" y="1361"/>
                  </a:lnTo>
                  <a:lnTo>
                    <a:pt x="8579" y="1340"/>
                  </a:lnTo>
                  <a:lnTo>
                    <a:pt x="8349" y="1235"/>
                  </a:lnTo>
                  <a:lnTo>
                    <a:pt x="8265" y="1319"/>
                  </a:lnTo>
                  <a:lnTo>
                    <a:pt x="8160" y="1319"/>
                  </a:lnTo>
                  <a:lnTo>
                    <a:pt x="7826" y="1109"/>
                  </a:lnTo>
                  <a:lnTo>
                    <a:pt x="7658" y="1047"/>
                  </a:lnTo>
                  <a:lnTo>
                    <a:pt x="7449" y="858"/>
                  </a:lnTo>
                  <a:lnTo>
                    <a:pt x="7323" y="900"/>
                  </a:lnTo>
                  <a:lnTo>
                    <a:pt x="7198" y="837"/>
                  </a:lnTo>
                  <a:lnTo>
                    <a:pt x="7093" y="858"/>
                  </a:lnTo>
                  <a:lnTo>
                    <a:pt x="7030" y="1005"/>
                  </a:lnTo>
                  <a:lnTo>
                    <a:pt x="6821" y="942"/>
                  </a:lnTo>
                  <a:lnTo>
                    <a:pt x="6591" y="1005"/>
                  </a:lnTo>
                  <a:lnTo>
                    <a:pt x="6361" y="1214"/>
                  </a:lnTo>
                  <a:lnTo>
                    <a:pt x="6256" y="1214"/>
                  </a:lnTo>
                  <a:lnTo>
                    <a:pt x="6173" y="1319"/>
                  </a:lnTo>
                  <a:lnTo>
                    <a:pt x="6110" y="1465"/>
                  </a:lnTo>
                  <a:lnTo>
                    <a:pt x="5838" y="1465"/>
                  </a:lnTo>
                  <a:lnTo>
                    <a:pt x="5733" y="1549"/>
                  </a:lnTo>
                  <a:lnTo>
                    <a:pt x="5775" y="1695"/>
                  </a:lnTo>
                  <a:lnTo>
                    <a:pt x="5859" y="1842"/>
                  </a:lnTo>
                  <a:lnTo>
                    <a:pt x="5838" y="1967"/>
                  </a:lnTo>
                  <a:lnTo>
                    <a:pt x="5691" y="1967"/>
                  </a:lnTo>
                  <a:lnTo>
                    <a:pt x="5357" y="1905"/>
                  </a:lnTo>
                  <a:lnTo>
                    <a:pt x="5064" y="1967"/>
                  </a:lnTo>
                  <a:lnTo>
                    <a:pt x="4708" y="2072"/>
                  </a:lnTo>
                  <a:lnTo>
                    <a:pt x="4520" y="2072"/>
                  </a:lnTo>
                  <a:lnTo>
                    <a:pt x="4185" y="1967"/>
                  </a:lnTo>
                  <a:lnTo>
                    <a:pt x="4059" y="1967"/>
                  </a:lnTo>
                  <a:lnTo>
                    <a:pt x="3766" y="1842"/>
                  </a:lnTo>
                  <a:lnTo>
                    <a:pt x="3662" y="1737"/>
                  </a:lnTo>
                  <a:lnTo>
                    <a:pt x="3641" y="1591"/>
                  </a:lnTo>
                  <a:lnTo>
                    <a:pt x="3557" y="1591"/>
                  </a:lnTo>
                  <a:lnTo>
                    <a:pt x="3432" y="1528"/>
                  </a:lnTo>
                  <a:lnTo>
                    <a:pt x="3264" y="1570"/>
                  </a:lnTo>
                  <a:lnTo>
                    <a:pt x="3181" y="1528"/>
                  </a:lnTo>
                  <a:lnTo>
                    <a:pt x="3055" y="1528"/>
                  </a:lnTo>
                  <a:lnTo>
                    <a:pt x="2929" y="1423"/>
                  </a:lnTo>
                  <a:lnTo>
                    <a:pt x="2846" y="1381"/>
                  </a:lnTo>
                  <a:lnTo>
                    <a:pt x="2804" y="1340"/>
                  </a:lnTo>
                  <a:lnTo>
                    <a:pt x="2825" y="1214"/>
                  </a:lnTo>
                  <a:lnTo>
                    <a:pt x="2825" y="1068"/>
                  </a:lnTo>
                  <a:lnTo>
                    <a:pt x="2741" y="942"/>
                  </a:lnTo>
                  <a:lnTo>
                    <a:pt x="2741" y="921"/>
                  </a:lnTo>
                  <a:lnTo>
                    <a:pt x="2699" y="942"/>
                  </a:lnTo>
                  <a:lnTo>
                    <a:pt x="2595" y="921"/>
                  </a:lnTo>
                  <a:lnTo>
                    <a:pt x="2553" y="858"/>
                  </a:lnTo>
                  <a:lnTo>
                    <a:pt x="2448" y="817"/>
                  </a:lnTo>
                  <a:lnTo>
                    <a:pt x="2281" y="607"/>
                  </a:lnTo>
                  <a:lnTo>
                    <a:pt x="2448" y="482"/>
                  </a:lnTo>
                  <a:lnTo>
                    <a:pt x="2323" y="398"/>
                  </a:lnTo>
                  <a:lnTo>
                    <a:pt x="2302" y="335"/>
                  </a:lnTo>
                  <a:lnTo>
                    <a:pt x="2344" y="293"/>
                  </a:lnTo>
                  <a:lnTo>
                    <a:pt x="2281" y="210"/>
                  </a:lnTo>
                  <a:lnTo>
                    <a:pt x="2218" y="105"/>
                  </a:lnTo>
                  <a:lnTo>
                    <a:pt x="2176" y="105"/>
                  </a:lnTo>
                  <a:lnTo>
                    <a:pt x="2176" y="84"/>
                  </a:lnTo>
                  <a:lnTo>
                    <a:pt x="2113" y="84"/>
                  </a:lnTo>
                  <a:lnTo>
                    <a:pt x="1988" y="168"/>
                  </a:lnTo>
                  <a:lnTo>
                    <a:pt x="1904" y="168"/>
                  </a:lnTo>
                  <a:lnTo>
                    <a:pt x="1862" y="273"/>
                  </a:lnTo>
                  <a:lnTo>
                    <a:pt x="1779" y="293"/>
                  </a:lnTo>
                  <a:lnTo>
                    <a:pt x="1674" y="419"/>
                  </a:lnTo>
                  <a:lnTo>
                    <a:pt x="1611" y="440"/>
                  </a:lnTo>
                  <a:lnTo>
                    <a:pt x="1569" y="503"/>
                  </a:lnTo>
                  <a:lnTo>
                    <a:pt x="1569" y="545"/>
                  </a:lnTo>
                  <a:lnTo>
                    <a:pt x="1465" y="607"/>
                  </a:lnTo>
                  <a:lnTo>
                    <a:pt x="1381" y="586"/>
                  </a:lnTo>
                  <a:lnTo>
                    <a:pt x="1256" y="607"/>
                  </a:lnTo>
                  <a:lnTo>
                    <a:pt x="1235" y="691"/>
                  </a:lnTo>
                  <a:lnTo>
                    <a:pt x="1046" y="607"/>
                  </a:lnTo>
                  <a:lnTo>
                    <a:pt x="921" y="607"/>
                  </a:lnTo>
                  <a:lnTo>
                    <a:pt x="753" y="524"/>
                  </a:lnTo>
                  <a:lnTo>
                    <a:pt x="732" y="398"/>
                  </a:lnTo>
                  <a:lnTo>
                    <a:pt x="460" y="273"/>
                  </a:lnTo>
                  <a:lnTo>
                    <a:pt x="502" y="189"/>
                  </a:lnTo>
                  <a:lnTo>
                    <a:pt x="440" y="84"/>
                  </a:lnTo>
                  <a:lnTo>
                    <a:pt x="356" y="84"/>
                  </a:lnTo>
                  <a:lnTo>
                    <a:pt x="29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Google Shape;12209;p43">
              <a:extLst>
                <a:ext uri="{FF2B5EF4-FFF2-40B4-BE49-F238E27FC236}">
                  <a16:creationId xmlns:a16="http://schemas.microsoft.com/office/drawing/2014/main" id="{7744C14E-AEBB-FC94-7B28-F4BFCDA7881B}"/>
                </a:ext>
              </a:extLst>
            </p:cNvPr>
            <p:cNvSpPr/>
            <p:nvPr/>
          </p:nvSpPr>
          <p:spPr>
            <a:xfrm>
              <a:off x="4026636" y="2853369"/>
              <a:ext cx="24672" cy="20004"/>
            </a:xfrm>
            <a:custGeom>
              <a:avLst/>
              <a:gdLst/>
              <a:ahLst/>
              <a:cxnLst/>
              <a:rect l="l" t="t" r="r" b="b"/>
              <a:pathLst>
                <a:path w="2072" h="1759" extrusionOk="0">
                  <a:moveTo>
                    <a:pt x="419" y="1"/>
                  </a:moveTo>
                  <a:lnTo>
                    <a:pt x="168" y="64"/>
                  </a:lnTo>
                  <a:lnTo>
                    <a:pt x="0" y="105"/>
                  </a:lnTo>
                  <a:lnTo>
                    <a:pt x="84" y="210"/>
                  </a:lnTo>
                  <a:lnTo>
                    <a:pt x="84" y="294"/>
                  </a:lnTo>
                  <a:lnTo>
                    <a:pt x="189" y="315"/>
                  </a:lnTo>
                  <a:lnTo>
                    <a:pt x="272" y="419"/>
                  </a:lnTo>
                  <a:lnTo>
                    <a:pt x="209" y="608"/>
                  </a:lnTo>
                  <a:lnTo>
                    <a:pt x="251" y="838"/>
                  </a:lnTo>
                  <a:lnTo>
                    <a:pt x="398" y="942"/>
                  </a:lnTo>
                  <a:lnTo>
                    <a:pt x="691" y="942"/>
                  </a:lnTo>
                  <a:lnTo>
                    <a:pt x="795" y="1026"/>
                  </a:lnTo>
                  <a:lnTo>
                    <a:pt x="837" y="1110"/>
                  </a:lnTo>
                  <a:lnTo>
                    <a:pt x="921" y="1110"/>
                  </a:lnTo>
                  <a:lnTo>
                    <a:pt x="1026" y="1047"/>
                  </a:lnTo>
                  <a:lnTo>
                    <a:pt x="1193" y="1172"/>
                  </a:lnTo>
                  <a:lnTo>
                    <a:pt x="1235" y="1131"/>
                  </a:lnTo>
                  <a:lnTo>
                    <a:pt x="1339" y="1131"/>
                  </a:lnTo>
                  <a:lnTo>
                    <a:pt x="1423" y="1319"/>
                  </a:lnTo>
                  <a:lnTo>
                    <a:pt x="1570" y="1361"/>
                  </a:lnTo>
                  <a:lnTo>
                    <a:pt x="1842" y="1758"/>
                  </a:lnTo>
                  <a:lnTo>
                    <a:pt x="1967" y="1737"/>
                  </a:lnTo>
                  <a:lnTo>
                    <a:pt x="1967" y="1591"/>
                  </a:lnTo>
                  <a:lnTo>
                    <a:pt x="1988" y="1549"/>
                  </a:lnTo>
                  <a:lnTo>
                    <a:pt x="1925" y="1382"/>
                  </a:lnTo>
                  <a:lnTo>
                    <a:pt x="2072" y="1361"/>
                  </a:lnTo>
                  <a:lnTo>
                    <a:pt x="1946" y="1235"/>
                  </a:lnTo>
                  <a:lnTo>
                    <a:pt x="1758" y="1235"/>
                  </a:lnTo>
                  <a:lnTo>
                    <a:pt x="1507" y="1110"/>
                  </a:lnTo>
                  <a:lnTo>
                    <a:pt x="1423" y="921"/>
                  </a:lnTo>
                  <a:lnTo>
                    <a:pt x="1507" y="838"/>
                  </a:lnTo>
                  <a:lnTo>
                    <a:pt x="1507" y="712"/>
                  </a:lnTo>
                  <a:lnTo>
                    <a:pt x="1256" y="524"/>
                  </a:lnTo>
                  <a:lnTo>
                    <a:pt x="1256" y="419"/>
                  </a:lnTo>
                  <a:lnTo>
                    <a:pt x="1298" y="294"/>
                  </a:lnTo>
                  <a:lnTo>
                    <a:pt x="1193" y="168"/>
                  </a:lnTo>
                  <a:lnTo>
                    <a:pt x="984" y="126"/>
                  </a:lnTo>
                  <a:lnTo>
                    <a:pt x="83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Google Shape;12210;p43">
              <a:extLst>
                <a:ext uri="{FF2B5EF4-FFF2-40B4-BE49-F238E27FC236}">
                  <a16:creationId xmlns:a16="http://schemas.microsoft.com/office/drawing/2014/main" id="{6F5315AD-C7A0-472E-8F58-77FA12B27F0C}"/>
                </a:ext>
              </a:extLst>
            </p:cNvPr>
            <p:cNvSpPr/>
            <p:nvPr/>
          </p:nvSpPr>
          <p:spPr>
            <a:xfrm>
              <a:off x="3915766" y="2848615"/>
              <a:ext cx="124088" cy="48788"/>
            </a:xfrm>
            <a:custGeom>
              <a:avLst/>
              <a:gdLst/>
              <a:ahLst/>
              <a:cxnLst/>
              <a:rect l="l" t="t" r="r" b="b"/>
              <a:pathLst>
                <a:path w="10421" h="4290" extrusionOk="0">
                  <a:moveTo>
                    <a:pt x="4708" y="0"/>
                  </a:moveTo>
                  <a:lnTo>
                    <a:pt x="4562" y="63"/>
                  </a:lnTo>
                  <a:lnTo>
                    <a:pt x="4373" y="63"/>
                  </a:lnTo>
                  <a:lnTo>
                    <a:pt x="4290" y="21"/>
                  </a:lnTo>
                  <a:lnTo>
                    <a:pt x="4185" y="63"/>
                  </a:lnTo>
                  <a:lnTo>
                    <a:pt x="3913" y="63"/>
                  </a:lnTo>
                  <a:lnTo>
                    <a:pt x="3766" y="84"/>
                  </a:lnTo>
                  <a:lnTo>
                    <a:pt x="3494" y="189"/>
                  </a:lnTo>
                  <a:lnTo>
                    <a:pt x="3390" y="210"/>
                  </a:lnTo>
                  <a:lnTo>
                    <a:pt x="3181" y="230"/>
                  </a:lnTo>
                  <a:lnTo>
                    <a:pt x="3097" y="335"/>
                  </a:lnTo>
                  <a:lnTo>
                    <a:pt x="2992" y="377"/>
                  </a:lnTo>
                  <a:lnTo>
                    <a:pt x="2909" y="440"/>
                  </a:lnTo>
                  <a:lnTo>
                    <a:pt x="2867" y="502"/>
                  </a:lnTo>
                  <a:lnTo>
                    <a:pt x="2804" y="628"/>
                  </a:lnTo>
                  <a:lnTo>
                    <a:pt x="2762" y="649"/>
                  </a:lnTo>
                  <a:lnTo>
                    <a:pt x="2762" y="733"/>
                  </a:lnTo>
                  <a:lnTo>
                    <a:pt x="2553" y="733"/>
                  </a:lnTo>
                  <a:lnTo>
                    <a:pt x="2239" y="628"/>
                  </a:lnTo>
                  <a:lnTo>
                    <a:pt x="2155" y="628"/>
                  </a:lnTo>
                  <a:lnTo>
                    <a:pt x="2072" y="691"/>
                  </a:lnTo>
                  <a:lnTo>
                    <a:pt x="1946" y="649"/>
                  </a:lnTo>
                  <a:lnTo>
                    <a:pt x="1779" y="691"/>
                  </a:lnTo>
                  <a:lnTo>
                    <a:pt x="1674" y="649"/>
                  </a:lnTo>
                  <a:lnTo>
                    <a:pt x="1549" y="712"/>
                  </a:lnTo>
                  <a:lnTo>
                    <a:pt x="1528" y="795"/>
                  </a:lnTo>
                  <a:lnTo>
                    <a:pt x="1632" y="942"/>
                  </a:lnTo>
                  <a:lnTo>
                    <a:pt x="1779" y="963"/>
                  </a:lnTo>
                  <a:lnTo>
                    <a:pt x="1925" y="963"/>
                  </a:lnTo>
                  <a:lnTo>
                    <a:pt x="1883" y="1046"/>
                  </a:lnTo>
                  <a:lnTo>
                    <a:pt x="1653" y="1046"/>
                  </a:lnTo>
                  <a:lnTo>
                    <a:pt x="1444" y="1109"/>
                  </a:lnTo>
                  <a:lnTo>
                    <a:pt x="1402" y="1214"/>
                  </a:lnTo>
                  <a:lnTo>
                    <a:pt x="1423" y="1256"/>
                  </a:lnTo>
                  <a:lnTo>
                    <a:pt x="1528" y="1235"/>
                  </a:lnTo>
                  <a:lnTo>
                    <a:pt x="1570" y="1277"/>
                  </a:lnTo>
                  <a:lnTo>
                    <a:pt x="1507" y="1318"/>
                  </a:lnTo>
                  <a:lnTo>
                    <a:pt x="1214" y="1339"/>
                  </a:lnTo>
                  <a:lnTo>
                    <a:pt x="1109" y="1256"/>
                  </a:lnTo>
                  <a:lnTo>
                    <a:pt x="984" y="1339"/>
                  </a:lnTo>
                  <a:lnTo>
                    <a:pt x="900" y="1235"/>
                  </a:lnTo>
                  <a:lnTo>
                    <a:pt x="837" y="1235"/>
                  </a:lnTo>
                  <a:lnTo>
                    <a:pt x="733" y="1339"/>
                  </a:lnTo>
                  <a:lnTo>
                    <a:pt x="628" y="1339"/>
                  </a:lnTo>
                  <a:lnTo>
                    <a:pt x="502" y="1235"/>
                  </a:lnTo>
                  <a:lnTo>
                    <a:pt x="377" y="1235"/>
                  </a:lnTo>
                  <a:lnTo>
                    <a:pt x="105" y="1444"/>
                  </a:lnTo>
                  <a:lnTo>
                    <a:pt x="63" y="1549"/>
                  </a:lnTo>
                  <a:lnTo>
                    <a:pt x="0" y="1653"/>
                  </a:lnTo>
                  <a:lnTo>
                    <a:pt x="63" y="1695"/>
                  </a:lnTo>
                  <a:lnTo>
                    <a:pt x="63" y="1842"/>
                  </a:lnTo>
                  <a:lnTo>
                    <a:pt x="0" y="1883"/>
                  </a:lnTo>
                  <a:lnTo>
                    <a:pt x="63" y="1946"/>
                  </a:lnTo>
                  <a:lnTo>
                    <a:pt x="209" y="1883"/>
                  </a:lnTo>
                  <a:lnTo>
                    <a:pt x="251" y="1904"/>
                  </a:lnTo>
                  <a:lnTo>
                    <a:pt x="377" y="1883"/>
                  </a:lnTo>
                  <a:lnTo>
                    <a:pt x="502" y="1883"/>
                  </a:lnTo>
                  <a:lnTo>
                    <a:pt x="377" y="2009"/>
                  </a:lnTo>
                  <a:lnTo>
                    <a:pt x="398" y="2093"/>
                  </a:lnTo>
                  <a:lnTo>
                    <a:pt x="461" y="2197"/>
                  </a:lnTo>
                  <a:lnTo>
                    <a:pt x="461" y="2281"/>
                  </a:lnTo>
                  <a:lnTo>
                    <a:pt x="419" y="2302"/>
                  </a:lnTo>
                  <a:lnTo>
                    <a:pt x="481" y="2323"/>
                  </a:lnTo>
                  <a:lnTo>
                    <a:pt x="586" y="2281"/>
                  </a:lnTo>
                  <a:lnTo>
                    <a:pt x="586" y="2323"/>
                  </a:lnTo>
                  <a:lnTo>
                    <a:pt x="502" y="2406"/>
                  </a:lnTo>
                  <a:lnTo>
                    <a:pt x="377" y="2490"/>
                  </a:lnTo>
                  <a:lnTo>
                    <a:pt x="419" y="2532"/>
                  </a:lnTo>
                  <a:lnTo>
                    <a:pt x="502" y="2532"/>
                  </a:lnTo>
                  <a:lnTo>
                    <a:pt x="419" y="2595"/>
                  </a:lnTo>
                  <a:lnTo>
                    <a:pt x="377" y="2699"/>
                  </a:lnTo>
                  <a:lnTo>
                    <a:pt x="293" y="2699"/>
                  </a:lnTo>
                  <a:lnTo>
                    <a:pt x="251" y="2532"/>
                  </a:lnTo>
                  <a:lnTo>
                    <a:pt x="189" y="2511"/>
                  </a:lnTo>
                  <a:lnTo>
                    <a:pt x="189" y="2616"/>
                  </a:lnTo>
                  <a:lnTo>
                    <a:pt x="209" y="2720"/>
                  </a:lnTo>
                  <a:lnTo>
                    <a:pt x="168" y="2783"/>
                  </a:lnTo>
                  <a:lnTo>
                    <a:pt x="189" y="2846"/>
                  </a:lnTo>
                  <a:lnTo>
                    <a:pt x="293" y="2930"/>
                  </a:lnTo>
                  <a:lnTo>
                    <a:pt x="293" y="2888"/>
                  </a:lnTo>
                  <a:lnTo>
                    <a:pt x="419" y="2950"/>
                  </a:lnTo>
                  <a:lnTo>
                    <a:pt x="502" y="2950"/>
                  </a:lnTo>
                  <a:lnTo>
                    <a:pt x="628" y="3034"/>
                  </a:lnTo>
                  <a:lnTo>
                    <a:pt x="670" y="3160"/>
                  </a:lnTo>
                  <a:lnTo>
                    <a:pt x="586" y="3243"/>
                  </a:lnTo>
                  <a:lnTo>
                    <a:pt x="670" y="3327"/>
                  </a:lnTo>
                  <a:lnTo>
                    <a:pt x="670" y="3411"/>
                  </a:lnTo>
                  <a:lnTo>
                    <a:pt x="733" y="3411"/>
                  </a:lnTo>
                  <a:lnTo>
                    <a:pt x="879" y="3536"/>
                  </a:lnTo>
                  <a:lnTo>
                    <a:pt x="816" y="3641"/>
                  </a:lnTo>
                  <a:lnTo>
                    <a:pt x="733" y="3620"/>
                  </a:lnTo>
                  <a:lnTo>
                    <a:pt x="712" y="3662"/>
                  </a:lnTo>
                  <a:lnTo>
                    <a:pt x="795" y="3683"/>
                  </a:lnTo>
                  <a:lnTo>
                    <a:pt x="942" y="3662"/>
                  </a:lnTo>
                  <a:lnTo>
                    <a:pt x="1214" y="3662"/>
                  </a:lnTo>
                  <a:lnTo>
                    <a:pt x="1193" y="3725"/>
                  </a:lnTo>
                  <a:lnTo>
                    <a:pt x="1130" y="3767"/>
                  </a:lnTo>
                  <a:lnTo>
                    <a:pt x="1005" y="3829"/>
                  </a:lnTo>
                  <a:lnTo>
                    <a:pt x="816" y="3829"/>
                  </a:lnTo>
                  <a:lnTo>
                    <a:pt x="774" y="3871"/>
                  </a:lnTo>
                  <a:lnTo>
                    <a:pt x="837" y="3892"/>
                  </a:lnTo>
                  <a:lnTo>
                    <a:pt x="942" y="3871"/>
                  </a:lnTo>
                  <a:lnTo>
                    <a:pt x="1088" y="3871"/>
                  </a:lnTo>
                  <a:lnTo>
                    <a:pt x="1130" y="3829"/>
                  </a:lnTo>
                  <a:lnTo>
                    <a:pt x="1130" y="3934"/>
                  </a:lnTo>
                  <a:lnTo>
                    <a:pt x="1151" y="3955"/>
                  </a:lnTo>
                  <a:lnTo>
                    <a:pt x="1235" y="3871"/>
                  </a:lnTo>
                  <a:lnTo>
                    <a:pt x="1318" y="3767"/>
                  </a:lnTo>
                  <a:lnTo>
                    <a:pt x="1402" y="3767"/>
                  </a:lnTo>
                  <a:lnTo>
                    <a:pt x="1444" y="3829"/>
                  </a:lnTo>
                  <a:lnTo>
                    <a:pt x="1528" y="3829"/>
                  </a:lnTo>
                  <a:lnTo>
                    <a:pt x="1632" y="3892"/>
                  </a:lnTo>
                  <a:lnTo>
                    <a:pt x="1674" y="3829"/>
                  </a:lnTo>
                  <a:lnTo>
                    <a:pt x="1758" y="3850"/>
                  </a:lnTo>
                  <a:lnTo>
                    <a:pt x="1758" y="3892"/>
                  </a:lnTo>
                  <a:lnTo>
                    <a:pt x="1716" y="3934"/>
                  </a:lnTo>
                  <a:lnTo>
                    <a:pt x="1758" y="3997"/>
                  </a:lnTo>
                  <a:lnTo>
                    <a:pt x="1779" y="4080"/>
                  </a:lnTo>
                  <a:lnTo>
                    <a:pt x="1883" y="4185"/>
                  </a:lnTo>
                  <a:lnTo>
                    <a:pt x="1946" y="4164"/>
                  </a:lnTo>
                  <a:lnTo>
                    <a:pt x="2072" y="4206"/>
                  </a:lnTo>
                  <a:lnTo>
                    <a:pt x="2197" y="4185"/>
                  </a:lnTo>
                  <a:lnTo>
                    <a:pt x="2281" y="4143"/>
                  </a:lnTo>
                  <a:lnTo>
                    <a:pt x="2386" y="4143"/>
                  </a:lnTo>
                  <a:lnTo>
                    <a:pt x="2469" y="4080"/>
                  </a:lnTo>
                  <a:lnTo>
                    <a:pt x="2574" y="4143"/>
                  </a:lnTo>
                  <a:lnTo>
                    <a:pt x="2616" y="4080"/>
                  </a:lnTo>
                  <a:lnTo>
                    <a:pt x="2616" y="3955"/>
                  </a:lnTo>
                  <a:lnTo>
                    <a:pt x="2658" y="3871"/>
                  </a:lnTo>
                  <a:lnTo>
                    <a:pt x="2616" y="3767"/>
                  </a:lnTo>
                  <a:lnTo>
                    <a:pt x="2867" y="3746"/>
                  </a:lnTo>
                  <a:lnTo>
                    <a:pt x="3076" y="3746"/>
                  </a:lnTo>
                  <a:lnTo>
                    <a:pt x="3348" y="3892"/>
                  </a:lnTo>
                  <a:lnTo>
                    <a:pt x="3453" y="3892"/>
                  </a:lnTo>
                  <a:lnTo>
                    <a:pt x="3641" y="4143"/>
                  </a:lnTo>
                  <a:lnTo>
                    <a:pt x="3808" y="4248"/>
                  </a:lnTo>
                  <a:lnTo>
                    <a:pt x="4331" y="4185"/>
                  </a:lnTo>
                  <a:lnTo>
                    <a:pt x="4478" y="4101"/>
                  </a:lnTo>
                  <a:lnTo>
                    <a:pt x="4541" y="4101"/>
                  </a:lnTo>
                  <a:lnTo>
                    <a:pt x="4562" y="4143"/>
                  </a:lnTo>
                  <a:lnTo>
                    <a:pt x="4603" y="4080"/>
                  </a:lnTo>
                  <a:lnTo>
                    <a:pt x="4645" y="3976"/>
                  </a:lnTo>
                  <a:lnTo>
                    <a:pt x="4896" y="3725"/>
                  </a:lnTo>
                  <a:lnTo>
                    <a:pt x="4959" y="3683"/>
                  </a:lnTo>
                  <a:lnTo>
                    <a:pt x="5189" y="3767"/>
                  </a:lnTo>
                  <a:lnTo>
                    <a:pt x="5336" y="3850"/>
                  </a:lnTo>
                  <a:lnTo>
                    <a:pt x="5524" y="3787"/>
                  </a:lnTo>
                  <a:lnTo>
                    <a:pt x="5524" y="3746"/>
                  </a:lnTo>
                  <a:lnTo>
                    <a:pt x="5650" y="3662"/>
                  </a:lnTo>
                  <a:lnTo>
                    <a:pt x="5754" y="3683"/>
                  </a:lnTo>
                  <a:lnTo>
                    <a:pt x="5754" y="3767"/>
                  </a:lnTo>
                  <a:lnTo>
                    <a:pt x="5691" y="3934"/>
                  </a:lnTo>
                  <a:lnTo>
                    <a:pt x="5545" y="3997"/>
                  </a:lnTo>
                  <a:lnTo>
                    <a:pt x="5587" y="4059"/>
                  </a:lnTo>
                  <a:lnTo>
                    <a:pt x="5691" y="4185"/>
                  </a:lnTo>
                  <a:lnTo>
                    <a:pt x="5650" y="4269"/>
                  </a:lnTo>
                  <a:lnTo>
                    <a:pt x="5754" y="4290"/>
                  </a:lnTo>
                  <a:lnTo>
                    <a:pt x="5901" y="4269"/>
                  </a:lnTo>
                  <a:lnTo>
                    <a:pt x="6005" y="4206"/>
                  </a:lnTo>
                  <a:lnTo>
                    <a:pt x="5963" y="4080"/>
                  </a:lnTo>
                  <a:lnTo>
                    <a:pt x="6047" y="4059"/>
                  </a:lnTo>
                  <a:lnTo>
                    <a:pt x="6047" y="3829"/>
                  </a:lnTo>
                  <a:lnTo>
                    <a:pt x="6110" y="3746"/>
                  </a:lnTo>
                  <a:lnTo>
                    <a:pt x="6256" y="3787"/>
                  </a:lnTo>
                  <a:lnTo>
                    <a:pt x="6361" y="3829"/>
                  </a:lnTo>
                  <a:lnTo>
                    <a:pt x="6654" y="3683"/>
                  </a:lnTo>
                  <a:lnTo>
                    <a:pt x="6696" y="3683"/>
                  </a:lnTo>
                  <a:lnTo>
                    <a:pt x="6780" y="3641"/>
                  </a:lnTo>
                  <a:lnTo>
                    <a:pt x="7093" y="3620"/>
                  </a:lnTo>
                  <a:lnTo>
                    <a:pt x="7198" y="3641"/>
                  </a:lnTo>
                  <a:lnTo>
                    <a:pt x="7261" y="3683"/>
                  </a:lnTo>
                  <a:lnTo>
                    <a:pt x="7428" y="3746"/>
                  </a:lnTo>
                  <a:lnTo>
                    <a:pt x="7700" y="3746"/>
                  </a:lnTo>
                  <a:lnTo>
                    <a:pt x="7721" y="3683"/>
                  </a:lnTo>
                  <a:lnTo>
                    <a:pt x="7888" y="3641"/>
                  </a:lnTo>
                  <a:lnTo>
                    <a:pt x="7951" y="3557"/>
                  </a:lnTo>
                  <a:lnTo>
                    <a:pt x="8160" y="3474"/>
                  </a:lnTo>
                  <a:lnTo>
                    <a:pt x="8307" y="3474"/>
                  </a:lnTo>
                  <a:lnTo>
                    <a:pt x="8432" y="3453"/>
                  </a:lnTo>
                  <a:lnTo>
                    <a:pt x="8725" y="3474"/>
                  </a:lnTo>
                  <a:lnTo>
                    <a:pt x="8956" y="3411"/>
                  </a:lnTo>
                  <a:lnTo>
                    <a:pt x="9102" y="3411"/>
                  </a:lnTo>
                  <a:lnTo>
                    <a:pt x="9165" y="3432"/>
                  </a:lnTo>
                  <a:lnTo>
                    <a:pt x="9311" y="3306"/>
                  </a:lnTo>
                  <a:lnTo>
                    <a:pt x="9458" y="3306"/>
                  </a:lnTo>
                  <a:lnTo>
                    <a:pt x="9500" y="3264"/>
                  </a:lnTo>
                  <a:lnTo>
                    <a:pt x="9730" y="3264"/>
                  </a:lnTo>
                  <a:lnTo>
                    <a:pt x="9939" y="3327"/>
                  </a:lnTo>
                  <a:lnTo>
                    <a:pt x="10085" y="3264"/>
                  </a:lnTo>
                  <a:lnTo>
                    <a:pt x="10148" y="3327"/>
                  </a:lnTo>
                  <a:lnTo>
                    <a:pt x="10148" y="3432"/>
                  </a:lnTo>
                  <a:lnTo>
                    <a:pt x="10253" y="3474"/>
                  </a:lnTo>
                  <a:lnTo>
                    <a:pt x="10399" y="3453"/>
                  </a:lnTo>
                  <a:lnTo>
                    <a:pt x="10420" y="3348"/>
                  </a:lnTo>
                  <a:lnTo>
                    <a:pt x="10357" y="3223"/>
                  </a:lnTo>
                  <a:lnTo>
                    <a:pt x="10232" y="2992"/>
                  </a:lnTo>
                  <a:lnTo>
                    <a:pt x="10085" y="2930"/>
                  </a:lnTo>
                  <a:lnTo>
                    <a:pt x="10106" y="2846"/>
                  </a:lnTo>
                  <a:lnTo>
                    <a:pt x="10085" y="2699"/>
                  </a:lnTo>
                  <a:lnTo>
                    <a:pt x="10148" y="2511"/>
                  </a:lnTo>
                  <a:lnTo>
                    <a:pt x="10127" y="2469"/>
                  </a:lnTo>
                  <a:lnTo>
                    <a:pt x="10002" y="2427"/>
                  </a:lnTo>
                  <a:lnTo>
                    <a:pt x="10002" y="2281"/>
                  </a:lnTo>
                  <a:lnTo>
                    <a:pt x="10002" y="2176"/>
                  </a:lnTo>
                  <a:lnTo>
                    <a:pt x="9939" y="1967"/>
                  </a:lnTo>
                  <a:lnTo>
                    <a:pt x="9897" y="1842"/>
                  </a:lnTo>
                  <a:lnTo>
                    <a:pt x="9897" y="1779"/>
                  </a:lnTo>
                  <a:lnTo>
                    <a:pt x="10044" y="1779"/>
                  </a:lnTo>
                  <a:lnTo>
                    <a:pt x="10106" y="1632"/>
                  </a:lnTo>
                  <a:lnTo>
                    <a:pt x="10148" y="1570"/>
                  </a:lnTo>
                  <a:lnTo>
                    <a:pt x="10148" y="1528"/>
                  </a:lnTo>
                  <a:lnTo>
                    <a:pt x="10106" y="1444"/>
                  </a:lnTo>
                  <a:lnTo>
                    <a:pt x="10002" y="1360"/>
                  </a:lnTo>
                  <a:lnTo>
                    <a:pt x="9709" y="1360"/>
                  </a:lnTo>
                  <a:lnTo>
                    <a:pt x="9562" y="1256"/>
                  </a:lnTo>
                  <a:lnTo>
                    <a:pt x="9520" y="1026"/>
                  </a:lnTo>
                  <a:lnTo>
                    <a:pt x="9583" y="837"/>
                  </a:lnTo>
                  <a:lnTo>
                    <a:pt x="9500" y="733"/>
                  </a:lnTo>
                  <a:lnTo>
                    <a:pt x="9395" y="712"/>
                  </a:lnTo>
                  <a:lnTo>
                    <a:pt x="9395" y="628"/>
                  </a:lnTo>
                  <a:lnTo>
                    <a:pt x="9290" y="523"/>
                  </a:lnTo>
                  <a:lnTo>
                    <a:pt x="9186" y="502"/>
                  </a:lnTo>
                  <a:lnTo>
                    <a:pt x="8956" y="293"/>
                  </a:lnTo>
                  <a:lnTo>
                    <a:pt x="8851" y="272"/>
                  </a:lnTo>
                  <a:lnTo>
                    <a:pt x="8767" y="335"/>
                  </a:lnTo>
                  <a:lnTo>
                    <a:pt x="8725" y="335"/>
                  </a:lnTo>
                  <a:lnTo>
                    <a:pt x="8558" y="293"/>
                  </a:lnTo>
                  <a:lnTo>
                    <a:pt x="8516" y="377"/>
                  </a:lnTo>
                  <a:lnTo>
                    <a:pt x="8432" y="335"/>
                  </a:lnTo>
                  <a:lnTo>
                    <a:pt x="8412" y="230"/>
                  </a:lnTo>
                  <a:lnTo>
                    <a:pt x="8349" y="230"/>
                  </a:lnTo>
                  <a:lnTo>
                    <a:pt x="8328" y="272"/>
                  </a:lnTo>
                  <a:lnTo>
                    <a:pt x="8244" y="419"/>
                  </a:lnTo>
                  <a:lnTo>
                    <a:pt x="8098" y="502"/>
                  </a:lnTo>
                  <a:lnTo>
                    <a:pt x="7909" y="607"/>
                  </a:lnTo>
                  <a:lnTo>
                    <a:pt x="7888" y="691"/>
                  </a:lnTo>
                  <a:lnTo>
                    <a:pt x="7700" y="712"/>
                  </a:lnTo>
                  <a:lnTo>
                    <a:pt x="7616" y="754"/>
                  </a:lnTo>
                  <a:lnTo>
                    <a:pt x="7386" y="712"/>
                  </a:lnTo>
                  <a:lnTo>
                    <a:pt x="7324" y="649"/>
                  </a:lnTo>
                  <a:lnTo>
                    <a:pt x="7219" y="649"/>
                  </a:lnTo>
                  <a:lnTo>
                    <a:pt x="7198" y="628"/>
                  </a:lnTo>
                  <a:lnTo>
                    <a:pt x="7093" y="691"/>
                  </a:lnTo>
                  <a:lnTo>
                    <a:pt x="6884" y="691"/>
                  </a:lnTo>
                  <a:lnTo>
                    <a:pt x="6633" y="795"/>
                  </a:lnTo>
                  <a:lnTo>
                    <a:pt x="6445" y="754"/>
                  </a:lnTo>
                  <a:lnTo>
                    <a:pt x="6319" y="649"/>
                  </a:lnTo>
                  <a:lnTo>
                    <a:pt x="6235" y="712"/>
                  </a:lnTo>
                  <a:lnTo>
                    <a:pt x="6026" y="607"/>
                  </a:lnTo>
                  <a:lnTo>
                    <a:pt x="5901" y="586"/>
                  </a:lnTo>
                  <a:lnTo>
                    <a:pt x="5712" y="440"/>
                  </a:lnTo>
                  <a:lnTo>
                    <a:pt x="5629" y="440"/>
                  </a:lnTo>
                  <a:lnTo>
                    <a:pt x="5587" y="523"/>
                  </a:lnTo>
                  <a:lnTo>
                    <a:pt x="5503" y="502"/>
                  </a:lnTo>
                  <a:lnTo>
                    <a:pt x="5399" y="377"/>
                  </a:lnTo>
                  <a:lnTo>
                    <a:pt x="5378" y="210"/>
                  </a:lnTo>
                  <a:lnTo>
                    <a:pt x="5273" y="126"/>
                  </a:lnTo>
                  <a:lnTo>
                    <a:pt x="5210" y="168"/>
                  </a:lnTo>
                  <a:lnTo>
                    <a:pt x="5085" y="293"/>
                  </a:lnTo>
                  <a:lnTo>
                    <a:pt x="5022" y="272"/>
                  </a:lnTo>
                  <a:lnTo>
                    <a:pt x="4980" y="314"/>
                  </a:lnTo>
                  <a:lnTo>
                    <a:pt x="4771" y="105"/>
                  </a:lnTo>
                  <a:lnTo>
                    <a:pt x="475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Google Shape;12211;p43">
              <a:extLst>
                <a:ext uri="{FF2B5EF4-FFF2-40B4-BE49-F238E27FC236}">
                  <a16:creationId xmlns:a16="http://schemas.microsoft.com/office/drawing/2014/main" id="{44F3EB90-7F79-6F05-2EF8-5C66657C6B22}"/>
                </a:ext>
              </a:extLst>
            </p:cNvPr>
            <p:cNvSpPr/>
            <p:nvPr/>
          </p:nvSpPr>
          <p:spPr>
            <a:xfrm>
              <a:off x="3914265" y="2848854"/>
              <a:ext cx="18945" cy="15956"/>
            </a:xfrm>
            <a:custGeom>
              <a:avLst/>
              <a:gdLst/>
              <a:ahLst/>
              <a:cxnLst/>
              <a:rect l="l" t="t" r="r" b="b"/>
              <a:pathLst>
                <a:path w="1591" h="1403" extrusionOk="0">
                  <a:moveTo>
                    <a:pt x="503" y="0"/>
                  </a:moveTo>
                  <a:lnTo>
                    <a:pt x="419" y="84"/>
                  </a:lnTo>
                  <a:lnTo>
                    <a:pt x="335" y="84"/>
                  </a:lnTo>
                  <a:lnTo>
                    <a:pt x="231" y="189"/>
                  </a:lnTo>
                  <a:lnTo>
                    <a:pt x="210" y="356"/>
                  </a:lnTo>
                  <a:lnTo>
                    <a:pt x="335" y="398"/>
                  </a:lnTo>
                  <a:lnTo>
                    <a:pt x="335" y="523"/>
                  </a:lnTo>
                  <a:lnTo>
                    <a:pt x="189" y="628"/>
                  </a:lnTo>
                  <a:lnTo>
                    <a:pt x="210" y="733"/>
                  </a:lnTo>
                  <a:lnTo>
                    <a:pt x="126" y="879"/>
                  </a:lnTo>
                  <a:lnTo>
                    <a:pt x="1" y="921"/>
                  </a:lnTo>
                  <a:lnTo>
                    <a:pt x="22" y="921"/>
                  </a:lnTo>
                  <a:lnTo>
                    <a:pt x="84" y="1025"/>
                  </a:lnTo>
                  <a:lnTo>
                    <a:pt x="168" y="1088"/>
                  </a:lnTo>
                  <a:lnTo>
                    <a:pt x="231" y="1046"/>
                  </a:lnTo>
                  <a:lnTo>
                    <a:pt x="294" y="1088"/>
                  </a:lnTo>
                  <a:lnTo>
                    <a:pt x="398" y="1046"/>
                  </a:lnTo>
                  <a:lnTo>
                    <a:pt x="294" y="1130"/>
                  </a:lnTo>
                  <a:lnTo>
                    <a:pt x="231" y="1130"/>
                  </a:lnTo>
                  <a:lnTo>
                    <a:pt x="168" y="1318"/>
                  </a:lnTo>
                  <a:lnTo>
                    <a:pt x="189" y="1402"/>
                  </a:lnTo>
                  <a:lnTo>
                    <a:pt x="419" y="1193"/>
                  </a:lnTo>
                  <a:lnTo>
                    <a:pt x="712" y="1025"/>
                  </a:lnTo>
                  <a:lnTo>
                    <a:pt x="796" y="879"/>
                  </a:lnTo>
                  <a:lnTo>
                    <a:pt x="900" y="816"/>
                  </a:lnTo>
                  <a:lnTo>
                    <a:pt x="1110" y="837"/>
                  </a:lnTo>
                  <a:lnTo>
                    <a:pt x="1152" y="795"/>
                  </a:lnTo>
                  <a:lnTo>
                    <a:pt x="1277" y="795"/>
                  </a:lnTo>
                  <a:lnTo>
                    <a:pt x="1361" y="816"/>
                  </a:lnTo>
                  <a:lnTo>
                    <a:pt x="1486" y="837"/>
                  </a:lnTo>
                  <a:lnTo>
                    <a:pt x="1591" y="733"/>
                  </a:lnTo>
                  <a:lnTo>
                    <a:pt x="1591" y="670"/>
                  </a:lnTo>
                  <a:lnTo>
                    <a:pt x="1486" y="607"/>
                  </a:lnTo>
                  <a:lnTo>
                    <a:pt x="1361" y="481"/>
                  </a:lnTo>
                  <a:lnTo>
                    <a:pt x="1235" y="461"/>
                  </a:lnTo>
                  <a:lnTo>
                    <a:pt x="1047" y="293"/>
                  </a:lnTo>
                  <a:lnTo>
                    <a:pt x="1026" y="84"/>
                  </a:lnTo>
                  <a:lnTo>
                    <a:pt x="921" y="63"/>
                  </a:lnTo>
                  <a:lnTo>
                    <a:pt x="817" y="147"/>
                  </a:lnTo>
                  <a:lnTo>
                    <a:pt x="64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Google Shape;12212;p43">
              <a:extLst>
                <a:ext uri="{FF2B5EF4-FFF2-40B4-BE49-F238E27FC236}">
                  <a16:creationId xmlns:a16="http://schemas.microsoft.com/office/drawing/2014/main" id="{44F425AC-D087-2870-FB99-13869C093D72}"/>
                </a:ext>
              </a:extLst>
            </p:cNvPr>
            <p:cNvSpPr/>
            <p:nvPr/>
          </p:nvSpPr>
          <p:spPr>
            <a:xfrm>
              <a:off x="4004703" y="2885735"/>
              <a:ext cx="66539" cy="61161"/>
            </a:xfrm>
            <a:custGeom>
              <a:avLst/>
              <a:gdLst/>
              <a:ahLst/>
              <a:cxnLst/>
              <a:rect l="l" t="t" r="r" b="b"/>
              <a:pathLst>
                <a:path w="5588" h="5378" extrusionOk="0">
                  <a:moveTo>
                    <a:pt x="2031" y="0"/>
                  </a:moveTo>
                  <a:lnTo>
                    <a:pt x="1989" y="42"/>
                  </a:lnTo>
                  <a:lnTo>
                    <a:pt x="1842" y="42"/>
                  </a:lnTo>
                  <a:lnTo>
                    <a:pt x="1696" y="168"/>
                  </a:lnTo>
                  <a:lnTo>
                    <a:pt x="1717" y="189"/>
                  </a:lnTo>
                  <a:lnTo>
                    <a:pt x="1633" y="314"/>
                  </a:lnTo>
                  <a:lnTo>
                    <a:pt x="1591" y="314"/>
                  </a:lnTo>
                  <a:lnTo>
                    <a:pt x="1466" y="419"/>
                  </a:lnTo>
                  <a:lnTo>
                    <a:pt x="1215" y="482"/>
                  </a:lnTo>
                  <a:lnTo>
                    <a:pt x="1110" y="670"/>
                  </a:lnTo>
                  <a:lnTo>
                    <a:pt x="1110" y="837"/>
                  </a:lnTo>
                  <a:lnTo>
                    <a:pt x="1215" y="1047"/>
                  </a:lnTo>
                  <a:lnTo>
                    <a:pt x="1215" y="1235"/>
                  </a:lnTo>
                  <a:lnTo>
                    <a:pt x="1110" y="1444"/>
                  </a:lnTo>
                  <a:lnTo>
                    <a:pt x="1173" y="1549"/>
                  </a:lnTo>
                  <a:lnTo>
                    <a:pt x="1152" y="1716"/>
                  </a:lnTo>
                  <a:lnTo>
                    <a:pt x="1068" y="1842"/>
                  </a:lnTo>
                  <a:lnTo>
                    <a:pt x="1005" y="1925"/>
                  </a:lnTo>
                  <a:lnTo>
                    <a:pt x="1" y="2658"/>
                  </a:lnTo>
                  <a:lnTo>
                    <a:pt x="273" y="3411"/>
                  </a:lnTo>
                  <a:lnTo>
                    <a:pt x="775" y="3453"/>
                  </a:lnTo>
                  <a:lnTo>
                    <a:pt x="3474" y="5336"/>
                  </a:lnTo>
                  <a:lnTo>
                    <a:pt x="4562" y="5378"/>
                  </a:lnTo>
                  <a:lnTo>
                    <a:pt x="4709" y="5106"/>
                  </a:lnTo>
                  <a:lnTo>
                    <a:pt x="4834" y="4855"/>
                  </a:lnTo>
                  <a:lnTo>
                    <a:pt x="5085" y="4708"/>
                  </a:lnTo>
                  <a:lnTo>
                    <a:pt x="5274" y="4792"/>
                  </a:lnTo>
                  <a:lnTo>
                    <a:pt x="5399" y="4750"/>
                  </a:lnTo>
                  <a:lnTo>
                    <a:pt x="5462" y="4771"/>
                  </a:lnTo>
                  <a:lnTo>
                    <a:pt x="5546" y="4645"/>
                  </a:lnTo>
                  <a:lnTo>
                    <a:pt x="5588" y="4604"/>
                  </a:lnTo>
                  <a:lnTo>
                    <a:pt x="5546" y="4583"/>
                  </a:lnTo>
                  <a:lnTo>
                    <a:pt x="5441" y="4541"/>
                  </a:lnTo>
                  <a:lnTo>
                    <a:pt x="5337" y="4457"/>
                  </a:lnTo>
                  <a:lnTo>
                    <a:pt x="5274" y="4122"/>
                  </a:lnTo>
                  <a:lnTo>
                    <a:pt x="5085" y="4122"/>
                  </a:lnTo>
                  <a:lnTo>
                    <a:pt x="5064" y="3955"/>
                  </a:lnTo>
                  <a:lnTo>
                    <a:pt x="5064" y="3767"/>
                  </a:lnTo>
                  <a:lnTo>
                    <a:pt x="5190" y="3662"/>
                  </a:lnTo>
                  <a:lnTo>
                    <a:pt x="5064" y="3411"/>
                  </a:lnTo>
                  <a:lnTo>
                    <a:pt x="4960" y="3348"/>
                  </a:lnTo>
                  <a:lnTo>
                    <a:pt x="4855" y="3139"/>
                  </a:lnTo>
                  <a:lnTo>
                    <a:pt x="4772" y="3097"/>
                  </a:lnTo>
                  <a:lnTo>
                    <a:pt x="4730" y="3118"/>
                  </a:lnTo>
                  <a:lnTo>
                    <a:pt x="4290" y="2825"/>
                  </a:lnTo>
                  <a:lnTo>
                    <a:pt x="4186" y="2867"/>
                  </a:lnTo>
                  <a:lnTo>
                    <a:pt x="4123" y="2888"/>
                  </a:lnTo>
                  <a:lnTo>
                    <a:pt x="4018" y="2804"/>
                  </a:lnTo>
                  <a:lnTo>
                    <a:pt x="4018" y="2720"/>
                  </a:lnTo>
                  <a:lnTo>
                    <a:pt x="3997" y="2699"/>
                  </a:lnTo>
                  <a:lnTo>
                    <a:pt x="4039" y="2574"/>
                  </a:lnTo>
                  <a:lnTo>
                    <a:pt x="3914" y="2469"/>
                  </a:lnTo>
                  <a:lnTo>
                    <a:pt x="3893" y="2386"/>
                  </a:lnTo>
                  <a:lnTo>
                    <a:pt x="3788" y="2365"/>
                  </a:lnTo>
                  <a:lnTo>
                    <a:pt x="3704" y="2281"/>
                  </a:lnTo>
                  <a:lnTo>
                    <a:pt x="3621" y="2260"/>
                  </a:lnTo>
                  <a:lnTo>
                    <a:pt x="3621" y="2176"/>
                  </a:lnTo>
                  <a:lnTo>
                    <a:pt x="3684" y="2135"/>
                  </a:lnTo>
                  <a:lnTo>
                    <a:pt x="3663" y="2072"/>
                  </a:lnTo>
                  <a:lnTo>
                    <a:pt x="3684" y="1988"/>
                  </a:lnTo>
                  <a:lnTo>
                    <a:pt x="3684" y="1779"/>
                  </a:lnTo>
                  <a:lnTo>
                    <a:pt x="3725" y="1737"/>
                  </a:lnTo>
                  <a:lnTo>
                    <a:pt x="3767" y="1549"/>
                  </a:lnTo>
                  <a:lnTo>
                    <a:pt x="3830" y="1549"/>
                  </a:lnTo>
                  <a:lnTo>
                    <a:pt x="3914" y="1528"/>
                  </a:lnTo>
                  <a:lnTo>
                    <a:pt x="3914" y="1319"/>
                  </a:lnTo>
                  <a:lnTo>
                    <a:pt x="3872" y="1298"/>
                  </a:lnTo>
                  <a:lnTo>
                    <a:pt x="3830" y="1130"/>
                  </a:lnTo>
                  <a:lnTo>
                    <a:pt x="3914" y="1130"/>
                  </a:lnTo>
                  <a:lnTo>
                    <a:pt x="4018" y="1088"/>
                  </a:lnTo>
                  <a:lnTo>
                    <a:pt x="4081" y="1047"/>
                  </a:lnTo>
                  <a:lnTo>
                    <a:pt x="4018" y="1026"/>
                  </a:lnTo>
                  <a:lnTo>
                    <a:pt x="3935" y="984"/>
                  </a:lnTo>
                  <a:lnTo>
                    <a:pt x="3809" y="1005"/>
                  </a:lnTo>
                  <a:lnTo>
                    <a:pt x="3725" y="984"/>
                  </a:lnTo>
                  <a:lnTo>
                    <a:pt x="3516" y="879"/>
                  </a:lnTo>
                  <a:lnTo>
                    <a:pt x="3453" y="837"/>
                  </a:lnTo>
                  <a:lnTo>
                    <a:pt x="3349" y="795"/>
                  </a:lnTo>
                  <a:lnTo>
                    <a:pt x="3286" y="670"/>
                  </a:lnTo>
                  <a:lnTo>
                    <a:pt x="3244" y="565"/>
                  </a:lnTo>
                  <a:lnTo>
                    <a:pt x="3140" y="565"/>
                  </a:lnTo>
                  <a:lnTo>
                    <a:pt x="3077" y="419"/>
                  </a:lnTo>
                  <a:lnTo>
                    <a:pt x="3098" y="314"/>
                  </a:lnTo>
                  <a:lnTo>
                    <a:pt x="3035" y="189"/>
                  </a:lnTo>
                  <a:lnTo>
                    <a:pt x="2930" y="168"/>
                  </a:lnTo>
                  <a:lnTo>
                    <a:pt x="2784" y="210"/>
                  </a:lnTo>
                  <a:lnTo>
                    <a:pt x="2679" y="168"/>
                  </a:lnTo>
                  <a:lnTo>
                    <a:pt x="2679" y="63"/>
                  </a:lnTo>
                  <a:lnTo>
                    <a:pt x="2616" y="0"/>
                  </a:lnTo>
                  <a:lnTo>
                    <a:pt x="2470" y="63"/>
                  </a:lnTo>
                  <a:lnTo>
                    <a:pt x="22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Google Shape;12213;p43">
              <a:extLst>
                <a:ext uri="{FF2B5EF4-FFF2-40B4-BE49-F238E27FC236}">
                  <a16:creationId xmlns:a16="http://schemas.microsoft.com/office/drawing/2014/main" id="{98D9EF6C-0F4A-26BF-E249-72370C28D49D}"/>
                </a:ext>
              </a:extLst>
            </p:cNvPr>
            <p:cNvSpPr/>
            <p:nvPr/>
          </p:nvSpPr>
          <p:spPr>
            <a:xfrm>
              <a:off x="4059025" y="2939277"/>
              <a:ext cx="11967" cy="11668"/>
            </a:xfrm>
            <a:custGeom>
              <a:avLst/>
              <a:gdLst/>
              <a:ahLst/>
              <a:cxnLst/>
              <a:rect l="l" t="t" r="r" b="b"/>
              <a:pathLst>
                <a:path w="1005" h="1026" extrusionOk="0">
                  <a:moveTo>
                    <a:pt x="523" y="0"/>
                  </a:moveTo>
                  <a:lnTo>
                    <a:pt x="272" y="147"/>
                  </a:lnTo>
                  <a:lnTo>
                    <a:pt x="147" y="398"/>
                  </a:lnTo>
                  <a:lnTo>
                    <a:pt x="0" y="670"/>
                  </a:lnTo>
                  <a:lnTo>
                    <a:pt x="84" y="670"/>
                  </a:lnTo>
                  <a:lnTo>
                    <a:pt x="607" y="816"/>
                  </a:lnTo>
                  <a:lnTo>
                    <a:pt x="628" y="1025"/>
                  </a:lnTo>
                  <a:lnTo>
                    <a:pt x="1005" y="879"/>
                  </a:lnTo>
                  <a:lnTo>
                    <a:pt x="942" y="795"/>
                  </a:lnTo>
                  <a:lnTo>
                    <a:pt x="942" y="774"/>
                  </a:lnTo>
                  <a:lnTo>
                    <a:pt x="984" y="774"/>
                  </a:lnTo>
                  <a:lnTo>
                    <a:pt x="921" y="691"/>
                  </a:lnTo>
                  <a:lnTo>
                    <a:pt x="921" y="607"/>
                  </a:lnTo>
                  <a:lnTo>
                    <a:pt x="879" y="502"/>
                  </a:lnTo>
                  <a:lnTo>
                    <a:pt x="837" y="565"/>
                  </a:lnTo>
                  <a:lnTo>
                    <a:pt x="607" y="419"/>
                  </a:lnTo>
                  <a:lnTo>
                    <a:pt x="942" y="356"/>
                  </a:lnTo>
                  <a:lnTo>
                    <a:pt x="900" y="84"/>
                  </a:lnTo>
                  <a:lnTo>
                    <a:pt x="900" y="63"/>
                  </a:lnTo>
                  <a:lnTo>
                    <a:pt x="837" y="42"/>
                  </a:lnTo>
                  <a:lnTo>
                    <a:pt x="712" y="84"/>
                  </a:lnTo>
                  <a:lnTo>
                    <a:pt x="5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Google Shape;12214;p43">
              <a:extLst>
                <a:ext uri="{FF2B5EF4-FFF2-40B4-BE49-F238E27FC236}">
                  <a16:creationId xmlns:a16="http://schemas.microsoft.com/office/drawing/2014/main" id="{C4ABB494-E4AF-9308-CF79-E8D513B8D6B5}"/>
                </a:ext>
              </a:extLst>
            </p:cNvPr>
            <p:cNvSpPr/>
            <p:nvPr/>
          </p:nvSpPr>
          <p:spPr>
            <a:xfrm>
              <a:off x="3959359" y="2899768"/>
              <a:ext cx="15468" cy="8347"/>
            </a:xfrm>
            <a:custGeom>
              <a:avLst/>
              <a:gdLst/>
              <a:ahLst/>
              <a:cxnLst/>
              <a:rect l="l" t="t" r="r" b="b"/>
              <a:pathLst>
                <a:path w="1299" h="734" extrusionOk="0">
                  <a:moveTo>
                    <a:pt x="1194" y="1"/>
                  </a:moveTo>
                  <a:lnTo>
                    <a:pt x="1005" y="105"/>
                  </a:lnTo>
                  <a:lnTo>
                    <a:pt x="775" y="210"/>
                  </a:lnTo>
                  <a:lnTo>
                    <a:pt x="608" y="210"/>
                  </a:lnTo>
                  <a:lnTo>
                    <a:pt x="482" y="168"/>
                  </a:lnTo>
                  <a:lnTo>
                    <a:pt x="378" y="168"/>
                  </a:lnTo>
                  <a:lnTo>
                    <a:pt x="378" y="231"/>
                  </a:lnTo>
                  <a:lnTo>
                    <a:pt x="357" y="315"/>
                  </a:lnTo>
                  <a:lnTo>
                    <a:pt x="273" y="336"/>
                  </a:lnTo>
                  <a:lnTo>
                    <a:pt x="147" y="294"/>
                  </a:lnTo>
                  <a:lnTo>
                    <a:pt x="85" y="377"/>
                  </a:lnTo>
                  <a:lnTo>
                    <a:pt x="1" y="398"/>
                  </a:lnTo>
                  <a:lnTo>
                    <a:pt x="1" y="524"/>
                  </a:lnTo>
                  <a:lnTo>
                    <a:pt x="85" y="629"/>
                  </a:lnTo>
                  <a:lnTo>
                    <a:pt x="210" y="712"/>
                  </a:lnTo>
                  <a:lnTo>
                    <a:pt x="378" y="691"/>
                  </a:lnTo>
                  <a:lnTo>
                    <a:pt x="461" y="733"/>
                  </a:lnTo>
                  <a:lnTo>
                    <a:pt x="503" y="691"/>
                  </a:lnTo>
                  <a:lnTo>
                    <a:pt x="629" y="649"/>
                  </a:lnTo>
                  <a:lnTo>
                    <a:pt x="775" y="545"/>
                  </a:lnTo>
                  <a:lnTo>
                    <a:pt x="838" y="503"/>
                  </a:lnTo>
                  <a:lnTo>
                    <a:pt x="1005" y="524"/>
                  </a:lnTo>
                  <a:lnTo>
                    <a:pt x="1005" y="419"/>
                  </a:lnTo>
                  <a:lnTo>
                    <a:pt x="984" y="315"/>
                  </a:lnTo>
                  <a:lnTo>
                    <a:pt x="1110" y="168"/>
                  </a:lnTo>
                  <a:lnTo>
                    <a:pt x="1235" y="85"/>
                  </a:lnTo>
                  <a:lnTo>
                    <a:pt x="1298" y="22"/>
                  </a:lnTo>
                  <a:lnTo>
                    <a:pt x="125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Google Shape;12215;p43">
              <a:extLst>
                <a:ext uri="{FF2B5EF4-FFF2-40B4-BE49-F238E27FC236}">
                  <a16:creationId xmlns:a16="http://schemas.microsoft.com/office/drawing/2014/main" id="{C91D1375-A5CC-CD1A-FDDB-ED08644AAC11}"/>
                </a:ext>
              </a:extLst>
            </p:cNvPr>
            <p:cNvSpPr/>
            <p:nvPr/>
          </p:nvSpPr>
          <p:spPr>
            <a:xfrm>
              <a:off x="3982281" y="2887395"/>
              <a:ext cx="42867" cy="36426"/>
            </a:xfrm>
            <a:custGeom>
              <a:avLst/>
              <a:gdLst/>
              <a:ahLst/>
              <a:cxnLst/>
              <a:rect l="l" t="t" r="r" b="b"/>
              <a:pathLst>
                <a:path w="3600" h="3203" extrusionOk="0">
                  <a:moveTo>
                    <a:pt x="3370" y="1"/>
                  </a:moveTo>
                  <a:lnTo>
                    <a:pt x="3139" y="64"/>
                  </a:lnTo>
                  <a:lnTo>
                    <a:pt x="2846" y="43"/>
                  </a:lnTo>
                  <a:lnTo>
                    <a:pt x="2721" y="64"/>
                  </a:lnTo>
                  <a:lnTo>
                    <a:pt x="2574" y="64"/>
                  </a:lnTo>
                  <a:lnTo>
                    <a:pt x="2365" y="147"/>
                  </a:lnTo>
                  <a:lnTo>
                    <a:pt x="2302" y="231"/>
                  </a:lnTo>
                  <a:lnTo>
                    <a:pt x="2135" y="273"/>
                  </a:lnTo>
                  <a:lnTo>
                    <a:pt x="2114" y="336"/>
                  </a:lnTo>
                  <a:lnTo>
                    <a:pt x="1842" y="336"/>
                  </a:lnTo>
                  <a:lnTo>
                    <a:pt x="1675" y="273"/>
                  </a:lnTo>
                  <a:lnTo>
                    <a:pt x="1612" y="231"/>
                  </a:lnTo>
                  <a:lnTo>
                    <a:pt x="1507" y="210"/>
                  </a:lnTo>
                  <a:lnTo>
                    <a:pt x="1194" y="231"/>
                  </a:lnTo>
                  <a:lnTo>
                    <a:pt x="1110" y="273"/>
                  </a:lnTo>
                  <a:lnTo>
                    <a:pt x="1068" y="273"/>
                  </a:lnTo>
                  <a:lnTo>
                    <a:pt x="775" y="419"/>
                  </a:lnTo>
                  <a:lnTo>
                    <a:pt x="670" y="377"/>
                  </a:lnTo>
                  <a:lnTo>
                    <a:pt x="524" y="336"/>
                  </a:lnTo>
                  <a:lnTo>
                    <a:pt x="461" y="419"/>
                  </a:lnTo>
                  <a:lnTo>
                    <a:pt x="461" y="649"/>
                  </a:lnTo>
                  <a:lnTo>
                    <a:pt x="377" y="670"/>
                  </a:lnTo>
                  <a:lnTo>
                    <a:pt x="419" y="796"/>
                  </a:lnTo>
                  <a:lnTo>
                    <a:pt x="315" y="859"/>
                  </a:lnTo>
                  <a:lnTo>
                    <a:pt x="168" y="880"/>
                  </a:lnTo>
                  <a:lnTo>
                    <a:pt x="64" y="859"/>
                  </a:lnTo>
                  <a:lnTo>
                    <a:pt x="1" y="901"/>
                  </a:lnTo>
                  <a:lnTo>
                    <a:pt x="22" y="1068"/>
                  </a:lnTo>
                  <a:lnTo>
                    <a:pt x="105" y="1277"/>
                  </a:lnTo>
                  <a:lnTo>
                    <a:pt x="147" y="1403"/>
                  </a:lnTo>
                  <a:lnTo>
                    <a:pt x="126" y="1528"/>
                  </a:lnTo>
                  <a:lnTo>
                    <a:pt x="105" y="1779"/>
                  </a:lnTo>
                  <a:lnTo>
                    <a:pt x="336" y="1779"/>
                  </a:lnTo>
                  <a:lnTo>
                    <a:pt x="377" y="1905"/>
                  </a:lnTo>
                  <a:lnTo>
                    <a:pt x="482" y="1947"/>
                  </a:lnTo>
                  <a:lnTo>
                    <a:pt x="482" y="2114"/>
                  </a:lnTo>
                  <a:lnTo>
                    <a:pt x="545" y="2198"/>
                  </a:lnTo>
                  <a:lnTo>
                    <a:pt x="461" y="2219"/>
                  </a:lnTo>
                  <a:lnTo>
                    <a:pt x="419" y="2219"/>
                  </a:lnTo>
                  <a:lnTo>
                    <a:pt x="315" y="2302"/>
                  </a:lnTo>
                  <a:lnTo>
                    <a:pt x="252" y="2449"/>
                  </a:lnTo>
                  <a:lnTo>
                    <a:pt x="168" y="2574"/>
                  </a:lnTo>
                  <a:lnTo>
                    <a:pt x="147" y="2574"/>
                  </a:lnTo>
                  <a:lnTo>
                    <a:pt x="168" y="2616"/>
                  </a:lnTo>
                  <a:lnTo>
                    <a:pt x="252" y="2679"/>
                  </a:lnTo>
                  <a:lnTo>
                    <a:pt x="273" y="2888"/>
                  </a:lnTo>
                  <a:lnTo>
                    <a:pt x="252" y="2993"/>
                  </a:lnTo>
                  <a:lnTo>
                    <a:pt x="315" y="2993"/>
                  </a:lnTo>
                  <a:lnTo>
                    <a:pt x="482" y="3077"/>
                  </a:lnTo>
                  <a:lnTo>
                    <a:pt x="629" y="3181"/>
                  </a:lnTo>
                  <a:lnTo>
                    <a:pt x="649" y="3181"/>
                  </a:lnTo>
                  <a:lnTo>
                    <a:pt x="733" y="3202"/>
                  </a:lnTo>
                  <a:lnTo>
                    <a:pt x="1884" y="2512"/>
                  </a:lnTo>
                  <a:lnTo>
                    <a:pt x="2888" y="1779"/>
                  </a:lnTo>
                  <a:lnTo>
                    <a:pt x="2951" y="1696"/>
                  </a:lnTo>
                  <a:lnTo>
                    <a:pt x="3035" y="1570"/>
                  </a:lnTo>
                  <a:lnTo>
                    <a:pt x="3056" y="1403"/>
                  </a:lnTo>
                  <a:lnTo>
                    <a:pt x="2993" y="1298"/>
                  </a:lnTo>
                  <a:lnTo>
                    <a:pt x="3098" y="1089"/>
                  </a:lnTo>
                  <a:lnTo>
                    <a:pt x="3098" y="901"/>
                  </a:lnTo>
                  <a:lnTo>
                    <a:pt x="2993" y="691"/>
                  </a:lnTo>
                  <a:lnTo>
                    <a:pt x="2993" y="524"/>
                  </a:lnTo>
                  <a:lnTo>
                    <a:pt x="3098" y="336"/>
                  </a:lnTo>
                  <a:lnTo>
                    <a:pt x="3349" y="273"/>
                  </a:lnTo>
                  <a:lnTo>
                    <a:pt x="3474" y="168"/>
                  </a:lnTo>
                  <a:lnTo>
                    <a:pt x="3516" y="168"/>
                  </a:lnTo>
                  <a:lnTo>
                    <a:pt x="3600" y="43"/>
                  </a:lnTo>
                  <a:lnTo>
                    <a:pt x="3579" y="22"/>
                  </a:lnTo>
                  <a:lnTo>
                    <a:pt x="351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Google Shape;12216;p43">
              <a:extLst>
                <a:ext uri="{FF2B5EF4-FFF2-40B4-BE49-F238E27FC236}">
                  <a16:creationId xmlns:a16="http://schemas.microsoft.com/office/drawing/2014/main" id="{DE8C407C-9A38-60BC-4342-CA79E013BD41}"/>
                </a:ext>
              </a:extLst>
            </p:cNvPr>
            <p:cNvSpPr/>
            <p:nvPr/>
          </p:nvSpPr>
          <p:spPr>
            <a:xfrm>
              <a:off x="3973565" y="2916668"/>
              <a:ext cx="10479" cy="29045"/>
            </a:xfrm>
            <a:custGeom>
              <a:avLst/>
              <a:gdLst/>
              <a:ahLst/>
              <a:cxnLst/>
              <a:rect l="l" t="t" r="r" b="b"/>
              <a:pathLst>
                <a:path w="880" h="2554" extrusionOk="0">
                  <a:moveTo>
                    <a:pt x="837" y="0"/>
                  </a:moveTo>
                  <a:lnTo>
                    <a:pt x="754" y="105"/>
                  </a:lnTo>
                  <a:lnTo>
                    <a:pt x="565" y="147"/>
                  </a:lnTo>
                  <a:lnTo>
                    <a:pt x="524" y="105"/>
                  </a:lnTo>
                  <a:lnTo>
                    <a:pt x="377" y="252"/>
                  </a:lnTo>
                  <a:lnTo>
                    <a:pt x="335" y="670"/>
                  </a:lnTo>
                  <a:lnTo>
                    <a:pt x="168" y="1005"/>
                  </a:lnTo>
                  <a:lnTo>
                    <a:pt x="1" y="1235"/>
                  </a:lnTo>
                  <a:lnTo>
                    <a:pt x="63" y="1256"/>
                  </a:lnTo>
                  <a:lnTo>
                    <a:pt x="168" y="1444"/>
                  </a:lnTo>
                  <a:lnTo>
                    <a:pt x="231" y="1653"/>
                  </a:lnTo>
                  <a:lnTo>
                    <a:pt x="377" y="1884"/>
                  </a:lnTo>
                  <a:lnTo>
                    <a:pt x="524" y="2197"/>
                  </a:lnTo>
                  <a:lnTo>
                    <a:pt x="461" y="2344"/>
                  </a:lnTo>
                  <a:lnTo>
                    <a:pt x="545" y="2553"/>
                  </a:lnTo>
                  <a:lnTo>
                    <a:pt x="628" y="2448"/>
                  </a:lnTo>
                  <a:lnTo>
                    <a:pt x="628" y="2407"/>
                  </a:lnTo>
                  <a:lnTo>
                    <a:pt x="628" y="2344"/>
                  </a:lnTo>
                  <a:lnTo>
                    <a:pt x="670" y="2281"/>
                  </a:lnTo>
                  <a:lnTo>
                    <a:pt x="670" y="2156"/>
                  </a:lnTo>
                  <a:lnTo>
                    <a:pt x="733" y="1988"/>
                  </a:lnTo>
                  <a:lnTo>
                    <a:pt x="691" y="1842"/>
                  </a:lnTo>
                  <a:lnTo>
                    <a:pt x="754" y="1821"/>
                  </a:lnTo>
                  <a:lnTo>
                    <a:pt x="754" y="1674"/>
                  </a:lnTo>
                  <a:lnTo>
                    <a:pt x="775" y="1549"/>
                  </a:lnTo>
                  <a:lnTo>
                    <a:pt x="775" y="1465"/>
                  </a:lnTo>
                  <a:lnTo>
                    <a:pt x="775" y="1214"/>
                  </a:lnTo>
                  <a:lnTo>
                    <a:pt x="754" y="1235"/>
                  </a:lnTo>
                  <a:lnTo>
                    <a:pt x="670" y="1235"/>
                  </a:lnTo>
                  <a:lnTo>
                    <a:pt x="565" y="1298"/>
                  </a:lnTo>
                  <a:lnTo>
                    <a:pt x="524" y="1235"/>
                  </a:lnTo>
                  <a:lnTo>
                    <a:pt x="545" y="1047"/>
                  </a:lnTo>
                  <a:lnTo>
                    <a:pt x="545" y="796"/>
                  </a:lnTo>
                  <a:lnTo>
                    <a:pt x="524" y="712"/>
                  </a:lnTo>
                  <a:lnTo>
                    <a:pt x="545" y="565"/>
                  </a:lnTo>
                  <a:lnTo>
                    <a:pt x="670" y="565"/>
                  </a:lnTo>
                  <a:lnTo>
                    <a:pt x="691" y="670"/>
                  </a:lnTo>
                  <a:lnTo>
                    <a:pt x="754" y="670"/>
                  </a:lnTo>
                  <a:lnTo>
                    <a:pt x="837" y="607"/>
                  </a:lnTo>
                  <a:lnTo>
                    <a:pt x="837" y="524"/>
                  </a:lnTo>
                  <a:lnTo>
                    <a:pt x="796" y="482"/>
                  </a:lnTo>
                  <a:lnTo>
                    <a:pt x="775" y="377"/>
                  </a:lnTo>
                  <a:lnTo>
                    <a:pt x="837" y="210"/>
                  </a:lnTo>
                  <a:lnTo>
                    <a:pt x="858" y="63"/>
                  </a:lnTo>
                  <a:lnTo>
                    <a:pt x="87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Google Shape;12217;p43">
              <a:extLst>
                <a:ext uri="{FF2B5EF4-FFF2-40B4-BE49-F238E27FC236}">
                  <a16:creationId xmlns:a16="http://schemas.microsoft.com/office/drawing/2014/main" id="{471D3CC0-1FCD-6DAD-7ED1-BA962EFB2CDB}"/>
                </a:ext>
              </a:extLst>
            </p:cNvPr>
            <p:cNvSpPr/>
            <p:nvPr/>
          </p:nvSpPr>
          <p:spPr>
            <a:xfrm>
              <a:off x="3982781" y="2916668"/>
              <a:ext cx="2751" cy="5959"/>
            </a:xfrm>
            <a:custGeom>
              <a:avLst/>
              <a:gdLst/>
              <a:ahLst/>
              <a:cxnLst/>
              <a:rect l="l" t="t" r="r" b="b"/>
              <a:pathLst>
                <a:path w="231" h="524" extrusionOk="0">
                  <a:moveTo>
                    <a:pt x="105" y="0"/>
                  </a:moveTo>
                  <a:lnTo>
                    <a:pt x="84" y="63"/>
                  </a:lnTo>
                  <a:lnTo>
                    <a:pt x="63" y="210"/>
                  </a:lnTo>
                  <a:lnTo>
                    <a:pt x="1" y="377"/>
                  </a:lnTo>
                  <a:lnTo>
                    <a:pt x="22" y="482"/>
                  </a:lnTo>
                  <a:lnTo>
                    <a:pt x="63" y="524"/>
                  </a:lnTo>
                  <a:lnTo>
                    <a:pt x="84" y="524"/>
                  </a:lnTo>
                  <a:lnTo>
                    <a:pt x="126" y="482"/>
                  </a:lnTo>
                  <a:lnTo>
                    <a:pt x="210" y="419"/>
                  </a:lnTo>
                  <a:lnTo>
                    <a:pt x="231" y="314"/>
                  </a:lnTo>
                  <a:lnTo>
                    <a:pt x="210" y="105"/>
                  </a:lnTo>
                  <a:lnTo>
                    <a:pt x="126" y="42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Google Shape;12218;p43">
              <a:extLst>
                <a:ext uri="{FF2B5EF4-FFF2-40B4-BE49-F238E27FC236}">
                  <a16:creationId xmlns:a16="http://schemas.microsoft.com/office/drawing/2014/main" id="{72B8C5BA-FE05-E384-A017-9AC2F3C3A118}"/>
                </a:ext>
              </a:extLst>
            </p:cNvPr>
            <p:cNvSpPr/>
            <p:nvPr/>
          </p:nvSpPr>
          <p:spPr>
            <a:xfrm>
              <a:off x="3979792" y="2923093"/>
              <a:ext cx="3751" cy="8336"/>
            </a:xfrm>
            <a:custGeom>
              <a:avLst/>
              <a:gdLst/>
              <a:ahLst/>
              <a:cxnLst/>
              <a:rect l="l" t="t" r="r" b="b"/>
              <a:pathLst>
                <a:path w="315" h="733" extrusionOk="0">
                  <a:moveTo>
                    <a:pt x="22" y="0"/>
                  </a:moveTo>
                  <a:lnTo>
                    <a:pt x="1" y="147"/>
                  </a:lnTo>
                  <a:lnTo>
                    <a:pt x="22" y="231"/>
                  </a:lnTo>
                  <a:lnTo>
                    <a:pt x="22" y="482"/>
                  </a:lnTo>
                  <a:lnTo>
                    <a:pt x="1" y="670"/>
                  </a:lnTo>
                  <a:lnTo>
                    <a:pt x="42" y="733"/>
                  </a:lnTo>
                  <a:lnTo>
                    <a:pt x="147" y="670"/>
                  </a:lnTo>
                  <a:lnTo>
                    <a:pt x="231" y="670"/>
                  </a:lnTo>
                  <a:lnTo>
                    <a:pt x="252" y="649"/>
                  </a:lnTo>
                  <a:lnTo>
                    <a:pt x="273" y="440"/>
                  </a:lnTo>
                  <a:lnTo>
                    <a:pt x="273" y="356"/>
                  </a:lnTo>
                  <a:lnTo>
                    <a:pt x="314" y="210"/>
                  </a:lnTo>
                  <a:lnTo>
                    <a:pt x="314" y="147"/>
                  </a:lnTo>
                  <a:lnTo>
                    <a:pt x="314" y="63"/>
                  </a:lnTo>
                  <a:lnTo>
                    <a:pt x="314" y="42"/>
                  </a:lnTo>
                  <a:lnTo>
                    <a:pt x="231" y="105"/>
                  </a:lnTo>
                  <a:lnTo>
                    <a:pt x="168" y="105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Google Shape;12219;p43">
              <a:extLst>
                <a:ext uri="{FF2B5EF4-FFF2-40B4-BE49-F238E27FC236}">
                  <a16:creationId xmlns:a16="http://schemas.microsoft.com/office/drawing/2014/main" id="{ACB286C1-B132-E4FF-83D1-A1B383D17FF9}"/>
                </a:ext>
              </a:extLst>
            </p:cNvPr>
            <p:cNvSpPr/>
            <p:nvPr/>
          </p:nvSpPr>
          <p:spPr>
            <a:xfrm>
              <a:off x="3979792" y="2907627"/>
              <a:ext cx="8978" cy="10713"/>
            </a:xfrm>
            <a:custGeom>
              <a:avLst/>
              <a:gdLst/>
              <a:ahLst/>
              <a:cxnLst/>
              <a:rect l="l" t="t" r="r" b="b"/>
              <a:pathLst>
                <a:path w="754" h="942" extrusionOk="0">
                  <a:moveTo>
                    <a:pt x="314" y="0"/>
                  </a:moveTo>
                  <a:lnTo>
                    <a:pt x="314" y="21"/>
                  </a:lnTo>
                  <a:lnTo>
                    <a:pt x="231" y="21"/>
                  </a:lnTo>
                  <a:lnTo>
                    <a:pt x="210" y="440"/>
                  </a:lnTo>
                  <a:lnTo>
                    <a:pt x="105" y="586"/>
                  </a:lnTo>
                  <a:lnTo>
                    <a:pt x="1" y="733"/>
                  </a:lnTo>
                  <a:lnTo>
                    <a:pt x="1" y="879"/>
                  </a:lnTo>
                  <a:lnTo>
                    <a:pt x="1" y="900"/>
                  </a:lnTo>
                  <a:lnTo>
                    <a:pt x="42" y="942"/>
                  </a:lnTo>
                  <a:lnTo>
                    <a:pt x="231" y="900"/>
                  </a:lnTo>
                  <a:lnTo>
                    <a:pt x="314" y="795"/>
                  </a:lnTo>
                  <a:lnTo>
                    <a:pt x="377" y="795"/>
                  </a:lnTo>
                  <a:lnTo>
                    <a:pt x="461" y="670"/>
                  </a:lnTo>
                  <a:lnTo>
                    <a:pt x="524" y="523"/>
                  </a:lnTo>
                  <a:lnTo>
                    <a:pt x="628" y="440"/>
                  </a:lnTo>
                  <a:lnTo>
                    <a:pt x="670" y="440"/>
                  </a:lnTo>
                  <a:lnTo>
                    <a:pt x="754" y="419"/>
                  </a:lnTo>
                  <a:lnTo>
                    <a:pt x="691" y="335"/>
                  </a:lnTo>
                  <a:lnTo>
                    <a:pt x="691" y="168"/>
                  </a:lnTo>
                  <a:lnTo>
                    <a:pt x="586" y="126"/>
                  </a:lnTo>
                  <a:lnTo>
                    <a:pt x="54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Google Shape;12220;p43">
              <a:extLst>
                <a:ext uri="{FF2B5EF4-FFF2-40B4-BE49-F238E27FC236}">
                  <a16:creationId xmlns:a16="http://schemas.microsoft.com/office/drawing/2014/main" id="{59E0C0F9-6AE8-82BB-7833-B1207E3024A6}"/>
                </a:ext>
              </a:extLst>
            </p:cNvPr>
            <p:cNvSpPr/>
            <p:nvPr/>
          </p:nvSpPr>
          <p:spPr>
            <a:xfrm>
              <a:off x="3980292" y="2915952"/>
              <a:ext cx="27661" cy="32616"/>
            </a:xfrm>
            <a:custGeom>
              <a:avLst/>
              <a:gdLst/>
              <a:ahLst/>
              <a:cxnLst/>
              <a:rect l="l" t="t" r="r" b="b"/>
              <a:pathLst>
                <a:path w="2323" h="2868" extrusionOk="0">
                  <a:moveTo>
                    <a:pt x="2051" y="1"/>
                  </a:moveTo>
                  <a:lnTo>
                    <a:pt x="900" y="691"/>
                  </a:lnTo>
                  <a:lnTo>
                    <a:pt x="816" y="670"/>
                  </a:lnTo>
                  <a:lnTo>
                    <a:pt x="796" y="670"/>
                  </a:lnTo>
                  <a:lnTo>
                    <a:pt x="649" y="566"/>
                  </a:lnTo>
                  <a:lnTo>
                    <a:pt x="482" y="482"/>
                  </a:lnTo>
                  <a:lnTo>
                    <a:pt x="419" y="482"/>
                  </a:lnTo>
                  <a:lnTo>
                    <a:pt x="335" y="545"/>
                  </a:lnTo>
                  <a:lnTo>
                    <a:pt x="293" y="587"/>
                  </a:lnTo>
                  <a:lnTo>
                    <a:pt x="272" y="587"/>
                  </a:lnTo>
                  <a:lnTo>
                    <a:pt x="272" y="670"/>
                  </a:lnTo>
                  <a:lnTo>
                    <a:pt x="272" y="691"/>
                  </a:lnTo>
                  <a:lnTo>
                    <a:pt x="272" y="775"/>
                  </a:lnTo>
                  <a:lnTo>
                    <a:pt x="272" y="838"/>
                  </a:lnTo>
                  <a:lnTo>
                    <a:pt x="231" y="984"/>
                  </a:lnTo>
                  <a:lnTo>
                    <a:pt x="231" y="1068"/>
                  </a:lnTo>
                  <a:lnTo>
                    <a:pt x="210" y="1528"/>
                  </a:lnTo>
                  <a:lnTo>
                    <a:pt x="210" y="1612"/>
                  </a:lnTo>
                  <a:lnTo>
                    <a:pt x="189" y="1737"/>
                  </a:lnTo>
                  <a:lnTo>
                    <a:pt x="189" y="1884"/>
                  </a:lnTo>
                  <a:lnTo>
                    <a:pt x="126" y="1905"/>
                  </a:lnTo>
                  <a:lnTo>
                    <a:pt x="168" y="2051"/>
                  </a:lnTo>
                  <a:lnTo>
                    <a:pt x="105" y="2219"/>
                  </a:lnTo>
                  <a:lnTo>
                    <a:pt x="105" y="2344"/>
                  </a:lnTo>
                  <a:lnTo>
                    <a:pt x="63" y="2407"/>
                  </a:lnTo>
                  <a:lnTo>
                    <a:pt x="63" y="2470"/>
                  </a:lnTo>
                  <a:lnTo>
                    <a:pt x="63" y="2553"/>
                  </a:lnTo>
                  <a:lnTo>
                    <a:pt x="0" y="2679"/>
                  </a:lnTo>
                  <a:lnTo>
                    <a:pt x="0" y="2721"/>
                  </a:lnTo>
                  <a:lnTo>
                    <a:pt x="189" y="2721"/>
                  </a:lnTo>
                  <a:lnTo>
                    <a:pt x="754" y="2867"/>
                  </a:lnTo>
                  <a:lnTo>
                    <a:pt x="1172" y="2449"/>
                  </a:lnTo>
                  <a:lnTo>
                    <a:pt x="1633" y="2407"/>
                  </a:lnTo>
                  <a:lnTo>
                    <a:pt x="1653" y="2219"/>
                  </a:lnTo>
                  <a:lnTo>
                    <a:pt x="1884" y="1926"/>
                  </a:lnTo>
                  <a:lnTo>
                    <a:pt x="1235" y="1214"/>
                  </a:lnTo>
                  <a:lnTo>
                    <a:pt x="2093" y="963"/>
                  </a:lnTo>
                  <a:lnTo>
                    <a:pt x="2302" y="754"/>
                  </a:lnTo>
                  <a:lnTo>
                    <a:pt x="2323" y="754"/>
                  </a:lnTo>
                  <a:lnTo>
                    <a:pt x="20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Google Shape;12221;p43">
              <a:extLst>
                <a:ext uri="{FF2B5EF4-FFF2-40B4-BE49-F238E27FC236}">
                  <a16:creationId xmlns:a16="http://schemas.microsoft.com/office/drawing/2014/main" id="{78743683-774D-AE7C-0AA1-D471AFE01C79}"/>
                </a:ext>
              </a:extLst>
            </p:cNvPr>
            <p:cNvSpPr/>
            <p:nvPr/>
          </p:nvSpPr>
          <p:spPr>
            <a:xfrm>
              <a:off x="3979792" y="2924515"/>
              <a:ext cx="142521" cy="114714"/>
            </a:xfrm>
            <a:custGeom>
              <a:avLst/>
              <a:gdLst/>
              <a:ahLst/>
              <a:cxnLst/>
              <a:rect l="l" t="t" r="r" b="b"/>
              <a:pathLst>
                <a:path w="11969" h="10087" extrusionOk="0">
                  <a:moveTo>
                    <a:pt x="2344" y="1"/>
                  </a:moveTo>
                  <a:lnTo>
                    <a:pt x="2135" y="210"/>
                  </a:lnTo>
                  <a:lnTo>
                    <a:pt x="1277" y="461"/>
                  </a:lnTo>
                  <a:lnTo>
                    <a:pt x="1926" y="1173"/>
                  </a:lnTo>
                  <a:lnTo>
                    <a:pt x="1695" y="1466"/>
                  </a:lnTo>
                  <a:lnTo>
                    <a:pt x="1675" y="1654"/>
                  </a:lnTo>
                  <a:lnTo>
                    <a:pt x="1214" y="1696"/>
                  </a:lnTo>
                  <a:lnTo>
                    <a:pt x="796" y="2114"/>
                  </a:lnTo>
                  <a:lnTo>
                    <a:pt x="231" y="1968"/>
                  </a:lnTo>
                  <a:lnTo>
                    <a:pt x="42" y="1968"/>
                  </a:lnTo>
                  <a:lnTo>
                    <a:pt x="42" y="2177"/>
                  </a:lnTo>
                  <a:lnTo>
                    <a:pt x="42" y="2407"/>
                  </a:lnTo>
                  <a:lnTo>
                    <a:pt x="1" y="2595"/>
                  </a:lnTo>
                  <a:lnTo>
                    <a:pt x="1" y="2637"/>
                  </a:lnTo>
                  <a:lnTo>
                    <a:pt x="63" y="2616"/>
                  </a:lnTo>
                  <a:lnTo>
                    <a:pt x="105" y="2637"/>
                  </a:lnTo>
                  <a:lnTo>
                    <a:pt x="168" y="2595"/>
                  </a:lnTo>
                  <a:lnTo>
                    <a:pt x="314" y="2658"/>
                  </a:lnTo>
                  <a:lnTo>
                    <a:pt x="273" y="2700"/>
                  </a:lnTo>
                  <a:lnTo>
                    <a:pt x="524" y="2972"/>
                  </a:lnTo>
                  <a:lnTo>
                    <a:pt x="545" y="3119"/>
                  </a:lnTo>
                  <a:lnTo>
                    <a:pt x="628" y="3139"/>
                  </a:lnTo>
                  <a:lnTo>
                    <a:pt x="628" y="3244"/>
                  </a:lnTo>
                  <a:lnTo>
                    <a:pt x="754" y="3349"/>
                  </a:lnTo>
                  <a:lnTo>
                    <a:pt x="838" y="3370"/>
                  </a:lnTo>
                  <a:lnTo>
                    <a:pt x="984" y="3663"/>
                  </a:lnTo>
                  <a:lnTo>
                    <a:pt x="984" y="3746"/>
                  </a:lnTo>
                  <a:lnTo>
                    <a:pt x="1047" y="3851"/>
                  </a:lnTo>
                  <a:lnTo>
                    <a:pt x="1110" y="3851"/>
                  </a:lnTo>
                  <a:lnTo>
                    <a:pt x="1151" y="3997"/>
                  </a:lnTo>
                  <a:lnTo>
                    <a:pt x="1193" y="4081"/>
                  </a:lnTo>
                  <a:lnTo>
                    <a:pt x="1319" y="4123"/>
                  </a:lnTo>
                  <a:lnTo>
                    <a:pt x="1423" y="4416"/>
                  </a:lnTo>
                  <a:lnTo>
                    <a:pt x="1528" y="4479"/>
                  </a:lnTo>
                  <a:lnTo>
                    <a:pt x="1570" y="4625"/>
                  </a:lnTo>
                  <a:lnTo>
                    <a:pt x="1528" y="4709"/>
                  </a:lnTo>
                  <a:lnTo>
                    <a:pt x="1528" y="4792"/>
                  </a:lnTo>
                  <a:lnTo>
                    <a:pt x="1633" y="4897"/>
                  </a:lnTo>
                  <a:lnTo>
                    <a:pt x="1633" y="4960"/>
                  </a:lnTo>
                  <a:lnTo>
                    <a:pt x="1716" y="5023"/>
                  </a:lnTo>
                  <a:lnTo>
                    <a:pt x="1821" y="4939"/>
                  </a:lnTo>
                  <a:lnTo>
                    <a:pt x="1926" y="5043"/>
                  </a:lnTo>
                  <a:lnTo>
                    <a:pt x="2114" y="5127"/>
                  </a:lnTo>
                  <a:lnTo>
                    <a:pt x="2260" y="5274"/>
                  </a:lnTo>
                  <a:lnTo>
                    <a:pt x="2323" y="5378"/>
                  </a:lnTo>
                  <a:lnTo>
                    <a:pt x="2344" y="5420"/>
                  </a:lnTo>
                  <a:lnTo>
                    <a:pt x="2365" y="5546"/>
                  </a:lnTo>
                  <a:lnTo>
                    <a:pt x="2428" y="5588"/>
                  </a:lnTo>
                  <a:lnTo>
                    <a:pt x="2470" y="5797"/>
                  </a:lnTo>
                  <a:lnTo>
                    <a:pt x="2574" y="5880"/>
                  </a:lnTo>
                  <a:lnTo>
                    <a:pt x="2637" y="6090"/>
                  </a:lnTo>
                  <a:lnTo>
                    <a:pt x="2658" y="6173"/>
                  </a:lnTo>
                  <a:lnTo>
                    <a:pt x="2616" y="6362"/>
                  </a:lnTo>
                  <a:lnTo>
                    <a:pt x="2574" y="6383"/>
                  </a:lnTo>
                  <a:lnTo>
                    <a:pt x="2616" y="6487"/>
                  </a:lnTo>
                  <a:lnTo>
                    <a:pt x="2658" y="6696"/>
                  </a:lnTo>
                  <a:lnTo>
                    <a:pt x="2679" y="6906"/>
                  </a:lnTo>
                  <a:lnTo>
                    <a:pt x="2783" y="7010"/>
                  </a:lnTo>
                  <a:lnTo>
                    <a:pt x="2825" y="7094"/>
                  </a:lnTo>
                  <a:lnTo>
                    <a:pt x="3097" y="7408"/>
                  </a:lnTo>
                  <a:lnTo>
                    <a:pt x="3202" y="7429"/>
                  </a:lnTo>
                  <a:lnTo>
                    <a:pt x="3307" y="7450"/>
                  </a:lnTo>
                  <a:lnTo>
                    <a:pt x="3390" y="7554"/>
                  </a:lnTo>
                  <a:lnTo>
                    <a:pt x="3474" y="7554"/>
                  </a:lnTo>
                  <a:lnTo>
                    <a:pt x="3620" y="7680"/>
                  </a:lnTo>
                  <a:lnTo>
                    <a:pt x="3620" y="7784"/>
                  </a:lnTo>
                  <a:lnTo>
                    <a:pt x="3788" y="7826"/>
                  </a:lnTo>
                  <a:lnTo>
                    <a:pt x="3767" y="7889"/>
                  </a:lnTo>
                  <a:lnTo>
                    <a:pt x="3830" y="7931"/>
                  </a:lnTo>
                  <a:lnTo>
                    <a:pt x="3976" y="8412"/>
                  </a:lnTo>
                  <a:lnTo>
                    <a:pt x="4102" y="8496"/>
                  </a:lnTo>
                  <a:lnTo>
                    <a:pt x="4102" y="8663"/>
                  </a:lnTo>
                  <a:lnTo>
                    <a:pt x="4541" y="9082"/>
                  </a:lnTo>
                  <a:lnTo>
                    <a:pt x="4604" y="9082"/>
                  </a:lnTo>
                  <a:lnTo>
                    <a:pt x="4646" y="9333"/>
                  </a:lnTo>
                  <a:lnTo>
                    <a:pt x="4834" y="9396"/>
                  </a:lnTo>
                  <a:lnTo>
                    <a:pt x="4939" y="9668"/>
                  </a:lnTo>
                  <a:lnTo>
                    <a:pt x="5043" y="9709"/>
                  </a:lnTo>
                  <a:lnTo>
                    <a:pt x="5127" y="9730"/>
                  </a:lnTo>
                  <a:lnTo>
                    <a:pt x="5169" y="9626"/>
                  </a:lnTo>
                  <a:lnTo>
                    <a:pt x="5336" y="9521"/>
                  </a:lnTo>
                  <a:lnTo>
                    <a:pt x="5232" y="9312"/>
                  </a:lnTo>
                  <a:lnTo>
                    <a:pt x="5294" y="9040"/>
                  </a:lnTo>
                  <a:lnTo>
                    <a:pt x="5462" y="8977"/>
                  </a:lnTo>
                  <a:lnTo>
                    <a:pt x="5650" y="9124"/>
                  </a:lnTo>
                  <a:lnTo>
                    <a:pt x="5985" y="9124"/>
                  </a:lnTo>
                  <a:lnTo>
                    <a:pt x="6487" y="9333"/>
                  </a:lnTo>
                  <a:lnTo>
                    <a:pt x="7010" y="9563"/>
                  </a:lnTo>
                  <a:lnTo>
                    <a:pt x="7031" y="10086"/>
                  </a:lnTo>
                  <a:lnTo>
                    <a:pt x="8077" y="8684"/>
                  </a:lnTo>
                  <a:lnTo>
                    <a:pt x="10253" y="8036"/>
                  </a:lnTo>
                  <a:lnTo>
                    <a:pt x="11885" y="7554"/>
                  </a:lnTo>
                  <a:lnTo>
                    <a:pt x="11969" y="6299"/>
                  </a:lnTo>
                  <a:lnTo>
                    <a:pt x="11843" y="5839"/>
                  </a:lnTo>
                  <a:lnTo>
                    <a:pt x="11655" y="5985"/>
                  </a:lnTo>
                  <a:lnTo>
                    <a:pt x="9960" y="5755"/>
                  </a:lnTo>
                  <a:lnTo>
                    <a:pt x="9835" y="5274"/>
                  </a:lnTo>
                  <a:lnTo>
                    <a:pt x="9688" y="5127"/>
                  </a:lnTo>
                  <a:lnTo>
                    <a:pt x="9688" y="4939"/>
                  </a:lnTo>
                  <a:lnTo>
                    <a:pt x="9688" y="4918"/>
                  </a:lnTo>
                  <a:lnTo>
                    <a:pt x="9667" y="4939"/>
                  </a:lnTo>
                  <a:lnTo>
                    <a:pt x="9625" y="4855"/>
                  </a:lnTo>
                  <a:lnTo>
                    <a:pt x="9625" y="4792"/>
                  </a:lnTo>
                  <a:lnTo>
                    <a:pt x="9667" y="4730"/>
                  </a:lnTo>
                  <a:lnTo>
                    <a:pt x="9563" y="4730"/>
                  </a:lnTo>
                  <a:lnTo>
                    <a:pt x="9563" y="4709"/>
                  </a:lnTo>
                  <a:lnTo>
                    <a:pt x="9458" y="4709"/>
                  </a:lnTo>
                  <a:lnTo>
                    <a:pt x="9270" y="4604"/>
                  </a:lnTo>
                  <a:lnTo>
                    <a:pt x="9249" y="4541"/>
                  </a:lnTo>
                  <a:lnTo>
                    <a:pt x="9228" y="4583"/>
                  </a:lnTo>
                  <a:lnTo>
                    <a:pt x="9123" y="4437"/>
                  </a:lnTo>
                  <a:lnTo>
                    <a:pt x="9102" y="4290"/>
                  </a:lnTo>
                  <a:lnTo>
                    <a:pt x="8809" y="3914"/>
                  </a:lnTo>
                  <a:lnTo>
                    <a:pt x="8726" y="3788"/>
                  </a:lnTo>
                  <a:lnTo>
                    <a:pt x="8809" y="3788"/>
                  </a:lnTo>
                  <a:lnTo>
                    <a:pt x="8809" y="3746"/>
                  </a:lnTo>
                  <a:lnTo>
                    <a:pt x="8705" y="3453"/>
                  </a:lnTo>
                  <a:lnTo>
                    <a:pt x="8705" y="3391"/>
                  </a:lnTo>
                  <a:lnTo>
                    <a:pt x="8621" y="3265"/>
                  </a:lnTo>
                  <a:lnTo>
                    <a:pt x="8579" y="3265"/>
                  </a:lnTo>
                  <a:lnTo>
                    <a:pt x="8391" y="3014"/>
                  </a:lnTo>
                  <a:lnTo>
                    <a:pt x="8307" y="3014"/>
                  </a:lnTo>
                  <a:lnTo>
                    <a:pt x="8224" y="2909"/>
                  </a:lnTo>
                  <a:lnTo>
                    <a:pt x="8224" y="2867"/>
                  </a:lnTo>
                  <a:lnTo>
                    <a:pt x="8286" y="2867"/>
                  </a:lnTo>
                  <a:lnTo>
                    <a:pt x="8307" y="2909"/>
                  </a:lnTo>
                  <a:lnTo>
                    <a:pt x="8286" y="2826"/>
                  </a:lnTo>
                  <a:lnTo>
                    <a:pt x="8182" y="2805"/>
                  </a:lnTo>
                  <a:lnTo>
                    <a:pt x="7973" y="2763"/>
                  </a:lnTo>
                  <a:lnTo>
                    <a:pt x="7868" y="2449"/>
                  </a:lnTo>
                  <a:lnTo>
                    <a:pt x="7805" y="2323"/>
                  </a:lnTo>
                  <a:lnTo>
                    <a:pt x="7742" y="2303"/>
                  </a:lnTo>
                  <a:lnTo>
                    <a:pt x="7742" y="2198"/>
                  </a:lnTo>
                  <a:lnTo>
                    <a:pt x="7701" y="2219"/>
                  </a:lnTo>
                  <a:lnTo>
                    <a:pt x="7659" y="2177"/>
                  </a:lnTo>
                  <a:lnTo>
                    <a:pt x="7282" y="2323"/>
                  </a:lnTo>
                  <a:lnTo>
                    <a:pt x="7261" y="2114"/>
                  </a:lnTo>
                  <a:lnTo>
                    <a:pt x="6738" y="1968"/>
                  </a:lnTo>
                  <a:lnTo>
                    <a:pt x="6654" y="1968"/>
                  </a:lnTo>
                  <a:lnTo>
                    <a:pt x="5566" y="1926"/>
                  </a:lnTo>
                  <a:lnTo>
                    <a:pt x="2867" y="43"/>
                  </a:lnTo>
                  <a:lnTo>
                    <a:pt x="234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6B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Google Shape;12222;p43">
              <a:extLst>
                <a:ext uri="{FF2B5EF4-FFF2-40B4-BE49-F238E27FC236}">
                  <a16:creationId xmlns:a16="http://schemas.microsoft.com/office/drawing/2014/main" id="{EF7454CC-31D5-1F09-7151-D5C003E41BC7}"/>
                </a:ext>
              </a:extLst>
            </p:cNvPr>
            <p:cNvSpPr/>
            <p:nvPr/>
          </p:nvSpPr>
          <p:spPr>
            <a:xfrm>
              <a:off x="4089663" y="2967116"/>
              <a:ext cx="5251" cy="10952"/>
            </a:xfrm>
            <a:custGeom>
              <a:avLst/>
              <a:gdLst/>
              <a:ahLst/>
              <a:cxnLst/>
              <a:rect l="l" t="t" r="r" b="b"/>
              <a:pathLst>
                <a:path w="441" h="963" extrusionOk="0">
                  <a:moveTo>
                    <a:pt x="147" y="0"/>
                  </a:moveTo>
                  <a:lnTo>
                    <a:pt x="147" y="42"/>
                  </a:lnTo>
                  <a:lnTo>
                    <a:pt x="106" y="42"/>
                  </a:lnTo>
                  <a:lnTo>
                    <a:pt x="106" y="105"/>
                  </a:lnTo>
                  <a:lnTo>
                    <a:pt x="43" y="126"/>
                  </a:lnTo>
                  <a:lnTo>
                    <a:pt x="85" y="209"/>
                  </a:lnTo>
                  <a:lnTo>
                    <a:pt x="43" y="209"/>
                  </a:lnTo>
                  <a:lnTo>
                    <a:pt x="85" y="377"/>
                  </a:lnTo>
                  <a:lnTo>
                    <a:pt x="43" y="356"/>
                  </a:lnTo>
                  <a:lnTo>
                    <a:pt x="1" y="356"/>
                  </a:lnTo>
                  <a:lnTo>
                    <a:pt x="1" y="544"/>
                  </a:lnTo>
                  <a:lnTo>
                    <a:pt x="22" y="628"/>
                  </a:lnTo>
                  <a:lnTo>
                    <a:pt x="43" y="670"/>
                  </a:lnTo>
                  <a:lnTo>
                    <a:pt x="43" y="795"/>
                  </a:lnTo>
                  <a:lnTo>
                    <a:pt x="22" y="795"/>
                  </a:lnTo>
                  <a:lnTo>
                    <a:pt x="43" y="858"/>
                  </a:lnTo>
                  <a:lnTo>
                    <a:pt x="231" y="963"/>
                  </a:lnTo>
                  <a:lnTo>
                    <a:pt x="336" y="963"/>
                  </a:lnTo>
                  <a:lnTo>
                    <a:pt x="398" y="942"/>
                  </a:lnTo>
                  <a:lnTo>
                    <a:pt x="440" y="670"/>
                  </a:lnTo>
                  <a:lnTo>
                    <a:pt x="398" y="544"/>
                  </a:lnTo>
                  <a:lnTo>
                    <a:pt x="336" y="544"/>
                  </a:lnTo>
                  <a:lnTo>
                    <a:pt x="315" y="356"/>
                  </a:lnTo>
                  <a:lnTo>
                    <a:pt x="336" y="356"/>
                  </a:lnTo>
                  <a:lnTo>
                    <a:pt x="398" y="168"/>
                  </a:lnTo>
                  <a:lnTo>
                    <a:pt x="357" y="126"/>
                  </a:lnTo>
                  <a:lnTo>
                    <a:pt x="315" y="126"/>
                  </a:lnTo>
                  <a:lnTo>
                    <a:pt x="315" y="63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Google Shape;12223;p43">
              <a:extLst>
                <a:ext uri="{FF2B5EF4-FFF2-40B4-BE49-F238E27FC236}">
                  <a16:creationId xmlns:a16="http://schemas.microsoft.com/office/drawing/2014/main" id="{34AC67FE-3FFD-B1DE-F763-A137B48FDCC6}"/>
                </a:ext>
              </a:extLst>
            </p:cNvPr>
            <p:cNvSpPr/>
            <p:nvPr/>
          </p:nvSpPr>
          <p:spPr>
            <a:xfrm>
              <a:off x="4095152" y="2967833"/>
              <a:ext cx="32900" cy="24758"/>
            </a:xfrm>
            <a:custGeom>
              <a:avLst/>
              <a:gdLst/>
              <a:ahLst/>
              <a:cxnLst/>
              <a:rect l="l" t="t" r="r" b="b"/>
              <a:pathLst>
                <a:path w="2763" h="2177" extrusionOk="0">
                  <a:moveTo>
                    <a:pt x="2490" y="0"/>
                  </a:moveTo>
                  <a:lnTo>
                    <a:pt x="2490" y="84"/>
                  </a:lnTo>
                  <a:lnTo>
                    <a:pt x="2469" y="146"/>
                  </a:lnTo>
                  <a:lnTo>
                    <a:pt x="2093" y="356"/>
                  </a:lnTo>
                  <a:lnTo>
                    <a:pt x="2093" y="502"/>
                  </a:lnTo>
                  <a:lnTo>
                    <a:pt x="1779" y="795"/>
                  </a:lnTo>
                  <a:lnTo>
                    <a:pt x="1737" y="879"/>
                  </a:lnTo>
                  <a:lnTo>
                    <a:pt x="1779" y="900"/>
                  </a:lnTo>
                  <a:lnTo>
                    <a:pt x="1821" y="983"/>
                  </a:lnTo>
                  <a:lnTo>
                    <a:pt x="1653" y="1130"/>
                  </a:lnTo>
                  <a:lnTo>
                    <a:pt x="1611" y="1046"/>
                  </a:lnTo>
                  <a:lnTo>
                    <a:pt x="1549" y="1088"/>
                  </a:lnTo>
                  <a:lnTo>
                    <a:pt x="1465" y="1088"/>
                  </a:lnTo>
                  <a:lnTo>
                    <a:pt x="1507" y="1193"/>
                  </a:lnTo>
                  <a:lnTo>
                    <a:pt x="1444" y="1193"/>
                  </a:lnTo>
                  <a:lnTo>
                    <a:pt x="1423" y="1234"/>
                  </a:lnTo>
                  <a:lnTo>
                    <a:pt x="1256" y="1255"/>
                  </a:lnTo>
                  <a:lnTo>
                    <a:pt x="1130" y="1297"/>
                  </a:lnTo>
                  <a:lnTo>
                    <a:pt x="1088" y="1214"/>
                  </a:lnTo>
                  <a:lnTo>
                    <a:pt x="837" y="1214"/>
                  </a:lnTo>
                  <a:lnTo>
                    <a:pt x="628" y="1151"/>
                  </a:lnTo>
                  <a:lnTo>
                    <a:pt x="398" y="1339"/>
                  </a:lnTo>
                  <a:lnTo>
                    <a:pt x="314" y="1318"/>
                  </a:lnTo>
                  <a:lnTo>
                    <a:pt x="251" y="1318"/>
                  </a:lnTo>
                  <a:lnTo>
                    <a:pt x="147" y="1360"/>
                  </a:lnTo>
                  <a:lnTo>
                    <a:pt x="105" y="1109"/>
                  </a:lnTo>
                  <a:lnTo>
                    <a:pt x="63" y="1151"/>
                  </a:lnTo>
                  <a:lnTo>
                    <a:pt x="0" y="1130"/>
                  </a:lnTo>
                  <a:lnTo>
                    <a:pt x="0" y="1318"/>
                  </a:lnTo>
                  <a:lnTo>
                    <a:pt x="147" y="1465"/>
                  </a:lnTo>
                  <a:lnTo>
                    <a:pt x="272" y="1946"/>
                  </a:lnTo>
                  <a:lnTo>
                    <a:pt x="1967" y="2176"/>
                  </a:lnTo>
                  <a:lnTo>
                    <a:pt x="2155" y="2030"/>
                  </a:lnTo>
                  <a:lnTo>
                    <a:pt x="2658" y="502"/>
                  </a:lnTo>
                  <a:lnTo>
                    <a:pt x="2762" y="481"/>
                  </a:lnTo>
                  <a:lnTo>
                    <a:pt x="2762" y="314"/>
                  </a:lnTo>
                  <a:lnTo>
                    <a:pt x="2720" y="251"/>
                  </a:lnTo>
                  <a:lnTo>
                    <a:pt x="2678" y="272"/>
                  </a:lnTo>
                  <a:lnTo>
                    <a:pt x="2658" y="251"/>
                  </a:lnTo>
                  <a:lnTo>
                    <a:pt x="2595" y="209"/>
                  </a:lnTo>
                  <a:lnTo>
                    <a:pt x="2574" y="42"/>
                  </a:lnTo>
                  <a:lnTo>
                    <a:pt x="249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Google Shape;12224;p43">
              <a:extLst>
                <a:ext uri="{FF2B5EF4-FFF2-40B4-BE49-F238E27FC236}">
                  <a16:creationId xmlns:a16="http://schemas.microsoft.com/office/drawing/2014/main" id="{21B8DF04-8AC1-CD51-C782-6FA448A4479A}"/>
                </a:ext>
              </a:extLst>
            </p:cNvPr>
            <p:cNvSpPr/>
            <p:nvPr/>
          </p:nvSpPr>
          <p:spPr>
            <a:xfrm>
              <a:off x="4101380" y="2973303"/>
              <a:ext cx="51583" cy="60684"/>
            </a:xfrm>
            <a:custGeom>
              <a:avLst/>
              <a:gdLst/>
              <a:ahLst/>
              <a:cxnLst/>
              <a:rect l="l" t="t" r="r" b="b"/>
              <a:pathLst>
                <a:path w="4332" h="5336" extrusionOk="0">
                  <a:moveTo>
                    <a:pt x="2239" y="0"/>
                  </a:moveTo>
                  <a:lnTo>
                    <a:pt x="2135" y="21"/>
                  </a:lnTo>
                  <a:lnTo>
                    <a:pt x="1632" y="1549"/>
                  </a:lnTo>
                  <a:lnTo>
                    <a:pt x="1758" y="2009"/>
                  </a:lnTo>
                  <a:lnTo>
                    <a:pt x="1674" y="3264"/>
                  </a:lnTo>
                  <a:lnTo>
                    <a:pt x="42" y="3746"/>
                  </a:lnTo>
                  <a:lnTo>
                    <a:pt x="0" y="4018"/>
                  </a:lnTo>
                  <a:lnTo>
                    <a:pt x="523" y="4708"/>
                  </a:lnTo>
                  <a:lnTo>
                    <a:pt x="461" y="4938"/>
                  </a:lnTo>
                  <a:lnTo>
                    <a:pt x="795" y="5336"/>
                  </a:lnTo>
                  <a:lnTo>
                    <a:pt x="879" y="5315"/>
                  </a:lnTo>
                  <a:lnTo>
                    <a:pt x="900" y="5336"/>
                  </a:lnTo>
                  <a:lnTo>
                    <a:pt x="1005" y="5336"/>
                  </a:lnTo>
                  <a:lnTo>
                    <a:pt x="1088" y="5231"/>
                  </a:lnTo>
                  <a:lnTo>
                    <a:pt x="1214" y="5231"/>
                  </a:lnTo>
                  <a:lnTo>
                    <a:pt x="1423" y="5127"/>
                  </a:lnTo>
                  <a:lnTo>
                    <a:pt x="1528" y="5127"/>
                  </a:lnTo>
                  <a:lnTo>
                    <a:pt x="1632" y="5106"/>
                  </a:lnTo>
                  <a:lnTo>
                    <a:pt x="1716" y="5147"/>
                  </a:lnTo>
                  <a:lnTo>
                    <a:pt x="1779" y="5147"/>
                  </a:lnTo>
                  <a:lnTo>
                    <a:pt x="1925" y="4938"/>
                  </a:lnTo>
                  <a:lnTo>
                    <a:pt x="1925" y="4917"/>
                  </a:lnTo>
                  <a:lnTo>
                    <a:pt x="1946" y="4917"/>
                  </a:lnTo>
                  <a:lnTo>
                    <a:pt x="1946" y="4834"/>
                  </a:lnTo>
                  <a:lnTo>
                    <a:pt x="1883" y="4813"/>
                  </a:lnTo>
                  <a:lnTo>
                    <a:pt x="1925" y="4750"/>
                  </a:lnTo>
                  <a:lnTo>
                    <a:pt x="1883" y="4687"/>
                  </a:lnTo>
                  <a:lnTo>
                    <a:pt x="1967" y="4603"/>
                  </a:lnTo>
                  <a:lnTo>
                    <a:pt x="2030" y="4541"/>
                  </a:lnTo>
                  <a:lnTo>
                    <a:pt x="2239" y="4541"/>
                  </a:lnTo>
                  <a:lnTo>
                    <a:pt x="2365" y="4520"/>
                  </a:lnTo>
                  <a:lnTo>
                    <a:pt x="2448" y="4583"/>
                  </a:lnTo>
                  <a:lnTo>
                    <a:pt x="2553" y="4436"/>
                  </a:lnTo>
                  <a:lnTo>
                    <a:pt x="2595" y="4415"/>
                  </a:lnTo>
                  <a:lnTo>
                    <a:pt x="2595" y="4227"/>
                  </a:lnTo>
                  <a:lnTo>
                    <a:pt x="2804" y="3976"/>
                  </a:lnTo>
                  <a:lnTo>
                    <a:pt x="2930" y="3955"/>
                  </a:lnTo>
                  <a:lnTo>
                    <a:pt x="3013" y="3976"/>
                  </a:lnTo>
                  <a:lnTo>
                    <a:pt x="3076" y="3913"/>
                  </a:lnTo>
                  <a:lnTo>
                    <a:pt x="3348" y="3913"/>
                  </a:lnTo>
                  <a:lnTo>
                    <a:pt x="3390" y="3850"/>
                  </a:lnTo>
                  <a:lnTo>
                    <a:pt x="3327" y="3808"/>
                  </a:lnTo>
                  <a:lnTo>
                    <a:pt x="3285" y="3599"/>
                  </a:lnTo>
                  <a:lnTo>
                    <a:pt x="3306" y="3599"/>
                  </a:lnTo>
                  <a:lnTo>
                    <a:pt x="3244" y="3494"/>
                  </a:lnTo>
                  <a:lnTo>
                    <a:pt x="3223" y="3474"/>
                  </a:lnTo>
                  <a:lnTo>
                    <a:pt x="3244" y="3390"/>
                  </a:lnTo>
                  <a:lnTo>
                    <a:pt x="3244" y="3285"/>
                  </a:lnTo>
                  <a:lnTo>
                    <a:pt x="3348" y="3118"/>
                  </a:lnTo>
                  <a:lnTo>
                    <a:pt x="3432" y="3076"/>
                  </a:lnTo>
                  <a:lnTo>
                    <a:pt x="3390" y="3013"/>
                  </a:lnTo>
                  <a:lnTo>
                    <a:pt x="3411" y="3013"/>
                  </a:lnTo>
                  <a:lnTo>
                    <a:pt x="3495" y="2867"/>
                  </a:lnTo>
                  <a:lnTo>
                    <a:pt x="3536" y="2846"/>
                  </a:lnTo>
                  <a:lnTo>
                    <a:pt x="3599" y="2846"/>
                  </a:lnTo>
                  <a:lnTo>
                    <a:pt x="3557" y="2909"/>
                  </a:lnTo>
                  <a:lnTo>
                    <a:pt x="3536" y="2971"/>
                  </a:lnTo>
                  <a:lnTo>
                    <a:pt x="3620" y="3013"/>
                  </a:lnTo>
                  <a:lnTo>
                    <a:pt x="3662" y="3013"/>
                  </a:lnTo>
                  <a:lnTo>
                    <a:pt x="3746" y="2804"/>
                  </a:lnTo>
                  <a:lnTo>
                    <a:pt x="3808" y="2741"/>
                  </a:lnTo>
                  <a:lnTo>
                    <a:pt x="3871" y="2616"/>
                  </a:lnTo>
                  <a:lnTo>
                    <a:pt x="4018" y="2490"/>
                  </a:lnTo>
                  <a:lnTo>
                    <a:pt x="4227" y="2134"/>
                  </a:lnTo>
                  <a:lnTo>
                    <a:pt x="4248" y="2072"/>
                  </a:lnTo>
                  <a:lnTo>
                    <a:pt x="4248" y="1988"/>
                  </a:lnTo>
                  <a:lnTo>
                    <a:pt x="4290" y="1862"/>
                  </a:lnTo>
                  <a:lnTo>
                    <a:pt x="4332" y="1758"/>
                  </a:lnTo>
                  <a:lnTo>
                    <a:pt x="4269" y="1695"/>
                  </a:lnTo>
                  <a:lnTo>
                    <a:pt x="4164" y="1674"/>
                  </a:lnTo>
                  <a:lnTo>
                    <a:pt x="3955" y="1507"/>
                  </a:lnTo>
                  <a:lnTo>
                    <a:pt x="3913" y="1402"/>
                  </a:lnTo>
                  <a:lnTo>
                    <a:pt x="3808" y="1298"/>
                  </a:lnTo>
                  <a:lnTo>
                    <a:pt x="3767" y="1151"/>
                  </a:lnTo>
                  <a:lnTo>
                    <a:pt x="3599" y="942"/>
                  </a:lnTo>
                  <a:lnTo>
                    <a:pt x="3516" y="942"/>
                  </a:lnTo>
                  <a:lnTo>
                    <a:pt x="3390" y="963"/>
                  </a:lnTo>
                  <a:lnTo>
                    <a:pt x="3118" y="921"/>
                  </a:lnTo>
                  <a:lnTo>
                    <a:pt x="3013" y="942"/>
                  </a:lnTo>
                  <a:lnTo>
                    <a:pt x="2930" y="963"/>
                  </a:lnTo>
                  <a:lnTo>
                    <a:pt x="2804" y="921"/>
                  </a:lnTo>
                  <a:lnTo>
                    <a:pt x="2469" y="649"/>
                  </a:lnTo>
                  <a:lnTo>
                    <a:pt x="2469" y="565"/>
                  </a:lnTo>
                  <a:lnTo>
                    <a:pt x="2260" y="335"/>
                  </a:lnTo>
                  <a:lnTo>
                    <a:pt x="223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Google Shape;12225;p43">
              <a:extLst>
                <a:ext uri="{FF2B5EF4-FFF2-40B4-BE49-F238E27FC236}">
                  <a16:creationId xmlns:a16="http://schemas.microsoft.com/office/drawing/2014/main" id="{D12F1C15-3F40-3890-46DD-C94A3A2EE753}"/>
                </a:ext>
              </a:extLst>
            </p:cNvPr>
            <p:cNvSpPr/>
            <p:nvPr/>
          </p:nvSpPr>
          <p:spPr>
            <a:xfrm>
              <a:off x="4124802" y="2964728"/>
              <a:ext cx="2751" cy="5971"/>
            </a:xfrm>
            <a:custGeom>
              <a:avLst/>
              <a:gdLst/>
              <a:ahLst/>
              <a:cxnLst/>
              <a:rect l="l" t="t" r="r" b="b"/>
              <a:pathLst>
                <a:path w="231" h="525" extrusionOk="0">
                  <a:moveTo>
                    <a:pt x="209" y="1"/>
                  </a:moveTo>
                  <a:lnTo>
                    <a:pt x="168" y="22"/>
                  </a:lnTo>
                  <a:lnTo>
                    <a:pt x="105" y="22"/>
                  </a:lnTo>
                  <a:lnTo>
                    <a:pt x="84" y="168"/>
                  </a:lnTo>
                  <a:lnTo>
                    <a:pt x="63" y="210"/>
                  </a:lnTo>
                  <a:lnTo>
                    <a:pt x="21" y="168"/>
                  </a:lnTo>
                  <a:lnTo>
                    <a:pt x="0" y="231"/>
                  </a:lnTo>
                  <a:lnTo>
                    <a:pt x="0" y="273"/>
                  </a:lnTo>
                  <a:lnTo>
                    <a:pt x="84" y="315"/>
                  </a:lnTo>
                  <a:lnTo>
                    <a:pt x="105" y="482"/>
                  </a:lnTo>
                  <a:lnTo>
                    <a:pt x="168" y="524"/>
                  </a:lnTo>
                  <a:lnTo>
                    <a:pt x="168" y="440"/>
                  </a:lnTo>
                  <a:lnTo>
                    <a:pt x="209" y="336"/>
                  </a:lnTo>
                  <a:lnTo>
                    <a:pt x="209" y="168"/>
                  </a:lnTo>
                  <a:lnTo>
                    <a:pt x="188" y="168"/>
                  </a:lnTo>
                  <a:lnTo>
                    <a:pt x="209" y="106"/>
                  </a:lnTo>
                  <a:lnTo>
                    <a:pt x="188" y="64"/>
                  </a:lnTo>
                  <a:lnTo>
                    <a:pt x="209" y="43"/>
                  </a:lnTo>
                  <a:lnTo>
                    <a:pt x="230" y="43"/>
                  </a:lnTo>
                  <a:lnTo>
                    <a:pt x="2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Google Shape;12226;p43">
              <a:extLst>
                <a:ext uri="{FF2B5EF4-FFF2-40B4-BE49-F238E27FC236}">
                  <a16:creationId xmlns:a16="http://schemas.microsoft.com/office/drawing/2014/main" id="{8934E090-1245-FAE1-404C-7320BE4B9E74}"/>
                </a:ext>
              </a:extLst>
            </p:cNvPr>
            <p:cNvSpPr/>
            <p:nvPr/>
          </p:nvSpPr>
          <p:spPr>
            <a:xfrm>
              <a:off x="4037591" y="3015893"/>
              <a:ext cx="73267" cy="45456"/>
            </a:xfrm>
            <a:custGeom>
              <a:avLst/>
              <a:gdLst/>
              <a:ahLst/>
              <a:cxnLst/>
              <a:rect l="l" t="t" r="r" b="b"/>
              <a:pathLst>
                <a:path w="6153" h="3997" extrusionOk="0">
                  <a:moveTo>
                    <a:pt x="5399" y="1"/>
                  </a:moveTo>
                  <a:lnTo>
                    <a:pt x="3223" y="649"/>
                  </a:lnTo>
                  <a:lnTo>
                    <a:pt x="2177" y="2051"/>
                  </a:lnTo>
                  <a:lnTo>
                    <a:pt x="2156" y="1528"/>
                  </a:lnTo>
                  <a:lnTo>
                    <a:pt x="1633" y="1298"/>
                  </a:lnTo>
                  <a:lnTo>
                    <a:pt x="1131" y="1089"/>
                  </a:lnTo>
                  <a:lnTo>
                    <a:pt x="796" y="1089"/>
                  </a:lnTo>
                  <a:lnTo>
                    <a:pt x="608" y="942"/>
                  </a:lnTo>
                  <a:lnTo>
                    <a:pt x="440" y="1005"/>
                  </a:lnTo>
                  <a:lnTo>
                    <a:pt x="378" y="1277"/>
                  </a:lnTo>
                  <a:lnTo>
                    <a:pt x="482" y="1486"/>
                  </a:lnTo>
                  <a:lnTo>
                    <a:pt x="315" y="1591"/>
                  </a:lnTo>
                  <a:lnTo>
                    <a:pt x="273" y="1695"/>
                  </a:lnTo>
                  <a:lnTo>
                    <a:pt x="189" y="1674"/>
                  </a:lnTo>
                  <a:lnTo>
                    <a:pt x="85" y="1633"/>
                  </a:lnTo>
                  <a:lnTo>
                    <a:pt x="106" y="1737"/>
                  </a:lnTo>
                  <a:lnTo>
                    <a:pt x="168" y="2030"/>
                  </a:lnTo>
                  <a:lnTo>
                    <a:pt x="168" y="2218"/>
                  </a:lnTo>
                  <a:lnTo>
                    <a:pt x="85" y="2218"/>
                  </a:lnTo>
                  <a:lnTo>
                    <a:pt x="85" y="2260"/>
                  </a:lnTo>
                  <a:lnTo>
                    <a:pt x="1" y="2239"/>
                  </a:lnTo>
                  <a:lnTo>
                    <a:pt x="1" y="2239"/>
                  </a:lnTo>
                  <a:lnTo>
                    <a:pt x="22" y="2344"/>
                  </a:lnTo>
                  <a:lnTo>
                    <a:pt x="106" y="2344"/>
                  </a:lnTo>
                  <a:lnTo>
                    <a:pt x="106" y="2428"/>
                  </a:lnTo>
                  <a:lnTo>
                    <a:pt x="231" y="2616"/>
                  </a:lnTo>
                  <a:lnTo>
                    <a:pt x="315" y="3139"/>
                  </a:lnTo>
                  <a:lnTo>
                    <a:pt x="482" y="3265"/>
                  </a:lnTo>
                  <a:lnTo>
                    <a:pt x="482" y="3453"/>
                  </a:lnTo>
                  <a:lnTo>
                    <a:pt x="419" y="3474"/>
                  </a:lnTo>
                  <a:lnTo>
                    <a:pt x="482" y="3620"/>
                  </a:lnTo>
                  <a:lnTo>
                    <a:pt x="608" y="3767"/>
                  </a:lnTo>
                  <a:lnTo>
                    <a:pt x="608" y="3913"/>
                  </a:lnTo>
                  <a:lnTo>
                    <a:pt x="650" y="3997"/>
                  </a:lnTo>
                  <a:lnTo>
                    <a:pt x="796" y="3997"/>
                  </a:lnTo>
                  <a:lnTo>
                    <a:pt x="817" y="3934"/>
                  </a:lnTo>
                  <a:lnTo>
                    <a:pt x="963" y="3997"/>
                  </a:lnTo>
                  <a:lnTo>
                    <a:pt x="1068" y="3976"/>
                  </a:lnTo>
                  <a:lnTo>
                    <a:pt x="1173" y="3871"/>
                  </a:lnTo>
                  <a:lnTo>
                    <a:pt x="1319" y="3871"/>
                  </a:lnTo>
                  <a:lnTo>
                    <a:pt x="1361" y="3934"/>
                  </a:lnTo>
                  <a:lnTo>
                    <a:pt x="1466" y="3892"/>
                  </a:lnTo>
                  <a:lnTo>
                    <a:pt x="1570" y="3725"/>
                  </a:lnTo>
                  <a:lnTo>
                    <a:pt x="1633" y="3725"/>
                  </a:lnTo>
                  <a:lnTo>
                    <a:pt x="1696" y="3579"/>
                  </a:lnTo>
                  <a:lnTo>
                    <a:pt x="1842" y="3495"/>
                  </a:lnTo>
                  <a:lnTo>
                    <a:pt x="1905" y="3474"/>
                  </a:lnTo>
                  <a:lnTo>
                    <a:pt x="2010" y="3474"/>
                  </a:lnTo>
                  <a:lnTo>
                    <a:pt x="2051" y="3495"/>
                  </a:lnTo>
                  <a:lnTo>
                    <a:pt x="2198" y="3495"/>
                  </a:lnTo>
                  <a:lnTo>
                    <a:pt x="2219" y="3558"/>
                  </a:lnTo>
                  <a:lnTo>
                    <a:pt x="2365" y="3579"/>
                  </a:lnTo>
                  <a:lnTo>
                    <a:pt x="2616" y="3474"/>
                  </a:lnTo>
                  <a:lnTo>
                    <a:pt x="2826" y="3453"/>
                  </a:lnTo>
                  <a:lnTo>
                    <a:pt x="2909" y="3369"/>
                  </a:lnTo>
                  <a:lnTo>
                    <a:pt x="2930" y="3307"/>
                  </a:lnTo>
                  <a:lnTo>
                    <a:pt x="3119" y="3160"/>
                  </a:lnTo>
                  <a:lnTo>
                    <a:pt x="3223" y="3160"/>
                  </a:lnTo>
                  <a:lnTo>
                    <a:pt x="3307" y="3202"/>
                  </a:lnTo>
                  <a:lnTo>
                    <a:pt x="3370" y="3181"/>
                  </a:lnTo>
                  <a:lnTo>
                    <a:pt x="3432" y="3139"/>
                  </a:lnTo>
                  <a:lnTo>
                    <a:pt x="3453" y="3181"/>
                  </a:lnTo>
                  <a:lnTo>
                    <a:pt x="3537" y="3181"/>
                  </a:lnTo>
                  <a:lnTo>
                    <a:pt x="3725" y="3034"/>
                  </a:lnTo>
                  <a:lnTo>
                    <a:pt x="3830" y="2846"/>
                  </a:lnTo>
                  <a:lnTo>
                    <a:pt x="3935" y="2783"/>
                  </a:lnTo>
                  <a:lnTo>
                    <a:pt x="3997" y="2783"/>
                  </a:lnTo>
                  <a:lnTo>
                    <a:pt x="4625" y="2616"/>
                  </a:lnTo>
                  <a:lnTo>
                    <a:pt x="4688" y="2532"/>
                  </a:lnTo>
                  <a:lnTo>
                    <a:pt x="5043" y="2470"/>
                  </a:lnTo>
                  <a:lnTo>
                    <a:pt x="5253" y="2365"/>
                  </a:lnTo>
                  <a:lnTo>
                    <a:pt x="5399" y="2260"/>
                  </a:lnTo>
                  <a:lnTo>
                    <a:pt x="5629" y="2218"/>
                  </a:lnTo>
                  <a:lnTo>
                    <a:pt x="5608" y="2135"/>
                  </a:lnTo>
                  <a:lnTo>
                    <a:pt x="5629" y="2114"/>
                  </a:lnTo>
                  <a:lnTo>
                    <a:pt x="5567" y="2051"/>
                  </a:lnTo>
                  <a:lnTo>
                    <a:pt x="5608" y="1905"/>
                  </a:lnTo>
                  <a:lnTo>
                    <a:pt x="5776" y="1674"/>
                  </a:lnTo>
                  <a:lnTo>
                    <a:pt x="6027" y="1612"/>
                  </a:lnTo>
                  <a:lnTo>
                    <a:pt x="6152" y="1591"/>
                  </a:lnTo>
                  <a:lnTo>
                    <a:pt x="5818" y="1193"/>
                  </a:lnTo>
                  <a:lnTo>
                    <a:pt x="5880" y="963"/>
                  </a:lnTo>
                  <a:lnTo>
                    <a:pt x="5357" y="273"/>
                  </a:lnTo>
                  <a:lnTo>
                    <a:pt x="539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Google Shape;12227;p43">
              <a:extLst>
                <a:ext uri="{FF2B5EF4-FFF2-40B4-BE49-F238E27FC236}">
                  <a16:creationId xmlns:a16="http://schemas.microsoft.com/office/drawing/2014/main" id="{2636A66E-6D00-27A8-B8D2-C2BE75248D0B}"/>
                </a:ext>
              </a:extLst>
            </p:cNvPr>
            <p:cNvSpPr/>
            <p:nvPr/>
          </p:nvSpPr>
          <p:spPr>
            <a:xfrm>
              <a:off x="3911526" y="2929280"/>
              <a:ext cx="85972" cy="69020"/>
            </a:xfrm>
            <a:custGeom>
              <a:avLst/>
              <a:gdLst/>
              <a:ahLst/>
              <a:cxnLst/>
              <a:rect l="l" t="t" r="r" b="b"/>
              <a:pathLst>
                <a:path w="7220" h="6069" extrusionOk="0">
                  <a:moveTo>
                    <a:pt x="503" y="0"/>
                  </a:moveTo>
                  <a:lnTo>
                    <a:pt x="210" y="21"/>
                  </a:lnTo>
                  <a:lnTo>
                    <a:pt x="147" y="21"/>
                  </a:lnTo>
                  <a:lnTo>
                    <a:pt x="126" y="126"/>
                  </a:lnTo>
                  <a:lnTo>
                    <a:pt x="84" y="356"/>
                  </a:lnTo>
                  <a:lnTo>
                    <a:pt x="126" y="523"/>
                  </a:lnTo>
                  <a:lnTo>
                    <a:pt x="126" y="649"/>
                  </a:lnTo>
                  <a:lnTo>
                    <a:pt x="42" y="858"/>
                  </a:lnTo>
                  <a:lnTo>
                    <a:pt x="1" y="1047"/>
                  </a:lnTo>
                  <a:lnTo>
                    <a:pt x="42" y="1193"/>
                  </a:lnTo>
                  <a:lnTo>
                    <a:pt x="126" y="1486"/>
                  </a:lnTo>
                  <a:lnTo>
                    <a:pt x="314" y="6068"/>
                  </a:lnTo>
                  <a:lnTo>
                    <a:pt x="7219" y="6005"/>
                  </a:lnTo>
                  <a:lnTo>
                    <a:pt x="7219" y="5985"/>
                  </a:lnTo>
                  <a:lnTo>
                    <a:pt x="7115" y="5964"/>
                  </a:lnTo>
                  <a:lnTo>
                    <a:pt x="6989" y="5796"/>
                  </a:lnTo>
                  <a:lnTo>
                    <a:pt x="6947" y="5754"/>
                  </a:lnTo>
                  <a:lnTo>
                    <a:pt x="6822" y="5692"/>
                  </a:lnTo>
                  <a:lnTo>
                    <a:pt x="6738" y="5566"/>
                  </a:lnTo>
                  <a:lnTo>
                    <a:pt x="6675" y="5587"/>
                  </a:lnTo>
                  <a:lnTo>
                    <a:pt x="6571" y="5587"/>
                  </a:lnTo>
                  <a:lnTo>
                    <a:pt x="6403" y="5461"/>
                  </a:lnTo>
                  <a:lnTo>
                    <a:pt x="6299" y="5169"/>
                  </a:lnTo>
                  <a:lnTo>
                    <a:pt x="6319" y="5106"/>
                  </a:lnTo>
                  <a:lnTo>
                    <a:pt x="6319" y="4938"/>
                  </a:lnTo>
                  <a:lnTo>
                    <a:pt x="6278" y="4855"/>
                  </a:lnTo>
                  <a:lnTo>
                    <a:pt x="6299" y="4813"/>
                  </a:lnTo>
                  <a:lnTo>
                    <a:pt x="6319" y="4855"/>
                  </a:lnTo>
                  <a:lnTo>
                    <a:pt x="6508" y="4855"/>
                  </a:lnTo>
                  <a:lnTo>
                    <a:pt x="6424" y="4792"/>
                  </a:lnTo>
                  <a:lnTo>
                    <a:pt x="6382" y="4792"/>
                  </a:lnTo>
                  <a:lnTo>
                    <a:pt x="6299" y="4624"/>
                  </a:lnTo>
                  <a:lnTo>
                    <a:pt x="6257" y="4604"/>
                  </a:lnTo>
                  <a:lnTo>
                    <a:pt x="6257" y="4645"/>
                  </a:lnTo>
                  <a:lnTo>
                    <a:pt x="6173" y="4583"/>
                  </a:lnTo>
                  <a:lnTo>
                    <a:pt x="6110" y="4415"/>
                  </a:lnTo>
                  <a:lnTo>
                    <a:pt x="5901" y="4080"/>
                  </a:lnTo>
                  <a:lnTo>
                    <a:pt x="5796" y="4018"/>
                  </a:lnTo>
                  <a:lnTo>
                    <a:pt x="5775" y="3871"/>
                  </a:lnTo>
                  <a:lnTo>
                    <a:pt x="5420" y="3327"/>
                  </a:lnTo>
                  <a:lnTo>
                    <a:pt x="5420" y="3223"/>
                  </a:lnTo>
                  <a:lnTo>
                    <a:pt x="5357" y="3118"/>
                  </a:lnTo>
                  <a:lnTo>
                    <a:pt x="5336" y="2867"/>
                  </a:lnTo>
                  <a:lnTo>
                    <a:pt x="5273" y="2825"/>
                  </a:lnTo>
                  <a:lnTo>
                    <a:pt x="5273" y="2741"/>
                  </a:lnTo>
                  <a:lnTo>
                    <a:pt x="5064" y="2532"/>
                  </a:lnTo>
                  <a:lnTo>
                    <a:pt x="5064" y="2448"/>
                  </a:lnTo>
                  <a:lnTo>
                    <a:pt x="5106" y="2344"/>
                  </a:lnTo>
                  <a:lnTo>
                    <a:pt x="5043" y="2281"/>
                  </a:lnTo>
                  <a:lnTo>
                    <a:pt x="4708" y="1988"/>
                  </a:lnTo>
                  <a:lnTo>
                    <a:pt x="4687" y="1884"/>
                  </a:lnTo>
                  <a:lnTo>
                    <a:pt x="4478" y="1653"/>
                  </a:lnTo>
                  <a:lnTo>
                    <a:pt x="4478" y="1507"/>
                  </a:lnTo>
                  <a:lnTo>
                    <a:pt x="4332" y="1360"/>
                  </a:lnTo>
                  <a:lnTo>
                    <a:pt x="4374" y="1277"/>
                  </a:lnTo>
                  <a:lnTo>
                    <a:pt x="4374" y="1193"/>
                  </a:lnTo>
                  <a:lnTo>
                    <a:pt x="4395" y="1151"/>
                  </a:lnTo>
                  <a:lnTo>
                    <a:pt x="4395" y="1193"/>
                  </a:lnTo>
                  <a:lnTo>
                    <a:pt x="4478" y="1193"/>
                  </a:lnTo>
                  <a:lnTo>
                    <a:pt x="4499" y="1339"/>
                  </a:lnTo>
                  <a:lnTo>
                    <a:pt x="4541" y="1402"/>
                  </a:lnTo>
                  <a:lnTo>
                    <a:pt x="4583" y="1465"/>
                  </a:lnTo>
                  <a:lnTo>
                    <a:pt x="4792" y="1674"/>
                  </a:lnTo>
                  <a:lnTo>
                    <a:pt x="4792" y="1779"/>
                  </a:lnTo>
                  <a:lnTo>
                    <a:pt x="4834" y="1884"/>
                  </a:lnTo>
                  <a:lnTo>
                    <a:pt x="5001" y="1967"/>
                  </a:lnTo>
                  <a:lnTo>
                    <a:pt x="5022" y="2072"/>
                  </a:lnTo>
                  <a:lnTo>
                    <a:pt x="5315" y="2344"/>
                  </a:lnTo>
                  <a:lnTo>
                    <a:pt x="5462" y="2428"/>
                  </a:lnTo>
                  <a:lnTo>
                    <a:pt x="5462" y="2490"/>
                  </a:lnTo>
                  <a:lnTo>
                    <a:pt x="5483" y="2407"/>
                  </a:lnTo>
                  <a:lnTo>
                    <a:pt x="5566" y="2323"/>
                  </a:lnTo>
                  <a:lnTo>
                    <a:pt x="5629" y="2114"/>
                  </a:lnTo>
                  <a:lnTo>
                    <a:pt x="5566" y="2072"/>
                  </a:lnTo>
                  <a:lnTo>
                    <a:pt x="5650" y="1904"/>
                  </a:lnTo>
                  <a:lnTo>
                    <a:pt x="5650" y="1779"/>
                  </a:lnTo>
                  <a:lnTo>
                    <a:pt x="5734" y="1465"/>
                  </a:lnTo>
                  <a:lnTo>
                    <a:pt x="5755" y="1444"/>
                  </a:lnTo>
                  <a:lnTo>
                    <a:pt x="5671" y="1235"/>
                  </a:lnTo>
                  <a:lnTo>
                    <a:pt x="5734" y="1088"/>
                  </a:lnTo>
                  <a:lnTo>
                    <a:pt x="5587" y="775"/>
                  </a:lnTo>
                  <a:lnTo>
                    <a:pt x="5441" y="544"/>
                  </a:lnTo>
                  <a:lnTo>
                    <a:pt x="5378" y="335"/>
                  </a:lnTo>
                  <a:lnTo>
                    <a:pt x="5273" y="147"/>
                  </a:lnTo>
                  <a:lnTo>
                    <a:pt x="5211" y="126"/>
                  </a:lnTo>
                  <a:lnTo>
                    <a:pt x="5127" y="231"/>
                  </a:lnTo>
                  <a:lnTo>
                    <a:pt x="4959" y="293"/>
                  </a:lnTo>
                  <a:lnTo>
                    <a:pt x="4604" y="231"/>
                  </a:lnTo>
                  <a:lnTo>
                    <a:pt x="4311" y="314"/>
                  </a:lnTo>
                  <a:lnTo>
                    <a:pt x="4102" y="147"/>
                  </a:lnTo>
                  <a:lnTo>
                    <a:pt x="4081" y="251"/>
                  </a:lnTo>
                  <a:lnTo>
                    <a:pt x="4164" y="398"/>
                  </a:lnTo>
                  <a:lnTo>
                    <a:pt x="4164" y="461"/>
                  </a:lnTo>
                  <a:lnTo>
                    <a:pt x="4081" y="335"/>
                  </a:lnTo>
                  <a:lnTo>
                    <a:pt x="3976" y="293"/>
                  </a:lnTo>
                  <a:lnTo>
                    <a:pt x="3955" y="189"/>
                  </a:lnTo>
                  <a:lnTo>
                    <a:pt x="3997" y="147"/>
                  </a:lnTo>
                  <a:lnTo>
                    <a:pt x="3955" y="105"/>
                  </a:lnTo>
                  <a:lnTo>
                    <a:pt x="3850" y="105"/>
                  </a:lnTo>
                  <a:lnTo>
                    <a:pt x="3746" y="84"/>
                  </a:lnTo>
                  <a:lnTo>
                    <a:pt x="3537" y="21"/>
                  </a:lnTo>
                  <a:lnTo>
                    <a:pt x="3495" y="42"/>
                  </a:lnTo>
                  <a:lnTo>
                    <a:pt x="3578" y="84"/>
                  </a:lnTo>
                  <a:lnTo>
                    <a:pt x="3599" y="105"/>
                  </a:lnTo>
                  <a:lnTo>
                    <a:pt x="3495" y="126"/>
                  </a:lnTo>
                  <a:lnTo>
                    <a:pt x="3390" y="105"/>
                  </a:lnTo>
                  <a:lnTo>
                    <a:pt x="3265" y="147"/>
                  </a:lnTo>
                  <a:lnTo>
                    <a:pt x="3223" y="126"/>
                  </a:lnTo>
                  <a:lnTo>
                    <a:pt x="3223" y="105"/>
                  </a:lnTo>
                  <a:lnTo>
                    <a:pt x="3348" y="84"/>
                  </a:lnTo>
                  <a:lnTo>
                    <a:pt x="3432" y="42"/>
                  </a:lnTo>
                  <a:lnTo>
                    <a:pt x="3327" y="42"/>
                  </a:lnTo>
                  <a:lnTo>
                    <a:pt x="3139" y="84"/>
                  </a:lnTo>
                  <a:lnTo>
                    <a:pt x="3076" y="126"/>
                  </a:lnTo>
                  <a:lnTo>
                    <a:pt x="2930" y="210"/>
                  </a:lnTo>
                  <a:lnTo>
                    <a:pt x="2846" y="231"/>
                  </a:lnTo>
                  <a:lnTo>
                    <a:pt x="2700" y="293"/>
                  </a:lnTo>
                  <a:lnTo>
                    <a:pt x="2595" y="419"/>
                  </a:lnTo>
                  <a:lnTo>
                    <a:pt x="2553" y="461"/>
                  </a:lnTo>
                  <a:lnTo>
                    <a:pt x="2386" y="461"/>
                  </a:lnTo>
                  <a:lnTo>
                    <a:pt x="2177" y="335"/>
                  </a:lnTo>
                  <a:lnTo>
                    <a:pt x="2009" y="314"/>
                  </a:lnTo>
                  <a:lnTo>
                    <a:pt x="1821" y="335"/>
                  </a:lnTo>
                  <a:lnTo>
                    <a:pt x="1674" y="231"/>
                  </a:lnTo>
                  <a:lnTo>
                    <a:pt x="1591" y="231"/>
                  </a:lnTo>
                  <a:lnTo>
                    <a:pt x="1507" y="251"/>
                  </a:lnTo>
                  <a:lnTo>
                    <a:pt x="1361" y="147"/>
                  </a:lnTo>
                  <a:lnTo>
                    <a:pt x="1172" y="105"/>
                  </a:lnTo>
                  <a:lnTo>
                    <a:pt x="733" y="84"/>
                  </a:lnTo>
                  <a:lnTo>
                    <a:pt x="503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Google Shape;12228;p43">
              <a:extLst>
                <a:ext uri="{FF2B5EF4-FFF2-40B4-BE49-F238E27FC236}">
                  <a16:creationId xmlns:a16="http://schemas.microsoft.com/office/drawing/2014/main" id="{522B10BC-1A17-44C2-2B1A-2DEE08FD4BB1}"/>
                </a:ext>
              </a:extLst>
            </p:cNvPr>
            <p:cNvSpPr/>
            <p:nvPr/>
          </p:nvSpPr>
          <p:spPr>
            <a:xfrm>
              <a:off x="3896332" y="2997572"/>
              <a:ext cx="113621" cy="124461"/>
            </a:xfrm>
            <a:custGeom>
              <a:avLst/>
              <a:gdLst/>
              <a:ahLst/>
              <a:cxnLst/>
              <a:rect l="l" t="t" r="r" b="b"/>
              <a:pathLst>
                <a:path w="9542" h="10944" extrusionOk="0">
                  <a:moveTo>
                    <a:pt x="8495" y="0"/>
                  </a:moveTo>
                  <a:lnTo>
                    <a:pt x="1590" y="63"/>
                  </a:lnTo>
                  <a:lnTo>
                    <a:pt x="1632" y="1193"/>
                  </a:lnTo>
                  <a:lnTo>
                    <a:pt x="1088" y="1235"/>
                  </a:lnTo>
                  <a:lnTo>
                    <a:pt x="1088" y="1444"/>
                  </a:lnTo>
                  <a:lnTo>
                    <a:pt x="1151" y="3725"/>
                  </a:lnTo>
                  <a:lnTo>
                    <a:pt x="1046" y="3746"/>
                  </a:lnTo>
                  <a:lnTo>
                    <a:pt x="942" y="3829"/>
                  </a:lnTo>
                  <a:lnTo>
                    <a:pt x="837" y="3767"/>
                  </a:lnTo>
                  <a:lnTo>
                    <a:pt x="691" y="3767"/>
                  </a:lnTo>
                  <a:lnTo>
                    <a:pt x="586" y="3850"/>
                  </a:lnTo>
                  <a:lnTo>
                    <a:pt x="586" y="3976"/>
                  </a:lnTo>
                  <a:lnTo>
                    <a:pt x="649" y="4060"/>
                  </a:lnTo>
                  <a:lnTo>
                    <a:pt x="586" y="4185"/>
                  </a:lnTo>
                  <a:lnTo>
                    <a:pt x="377" y="4457"/>
                  </a:lnTo>
                  <a:lnTo>
                    <a:pt x="335" y="4457"/>
                  </a:lnTo>
                  <a:lnTo>
                    <a:pt x="230" y="4541"/>
                  </a:lnTo>
                  <a:lnTo>
                    <a:pt x="251" y="4645"/>
                  </a:lnTo>
                  <a:lnTo>
                    <a:pt x="314" y="4687"/>
                  </a:lnTo>
                  <a:lnTo>
                    <a:pt x="251" y="4813"/>
                  </a:lnTo>
                  <a:lnTo>
                    <a:pt x="126" y="4897"/>
                  </a:lnTo>
                  <a:lnTo>
                    <a:pt x="105" y="4980"/>
                  </a:lnTo>
                  <a:lnTo>
                    <a:pt x="209" y="5022"/>
                  </a:lnTo>
                  <a:lnTo>
                    <a:pt x="230" y="5127"/>
                  </a:lnTo>
                  <a:lnTo>
                    <a:pt x="168" y="5231"/>
                  </a:lnTo>
                  <a:lnTo>
                    <a:pt x="0" y="5420"/>
                  </a:lnTo>
                  <a:lnTo>
                    <a:pt x="0" y="5545"/>
                  </a:lnTo>
                  <a:lnTo>
                    <a:pt x="63" y="5629"/>
                  </a:lnTo>
                  <a:lnTo>
                    <a:pt x="209" y="5524"/>
                  </a:lnTo>
                  <a:lnTo>
                    <a:pt x="251" y="5545"/>
                  </a:lnTo>
                  <a:lnTo>
                    <a:pt x="251" y="5629"/>
                  </a:lnTo>
                  <a:lnTo>
                    <a:pt x="209" y="5692"/>
                  </a:lnTo>
                  <a:lnTo>
                    <a:pt x="272" y="5734"/>
                  </a:lnTo>
                  <a:lnTo>
                    <a:pt x="230" y="5817"/>
                  </a:lnTo>
                  <a:lnTo>
                    <a:pt x="272" y="5922"/>
                  </a:lnTo>
                  <a:lnTo>
                    <a:pt x="272" y="6047"/>
                  </a:lnTo>
                  <a:lnTo>
                    <a:pt x="314" y="6152"/>
                  </a:lnTo>
                  <a:lnTo>
                    <a:pt x="544" y="6236"/>
                  </a:lnTo>
                  <a:lnTo>
                    <a:pt x="586" y="6319"/>
                  </a:lnTo>
                  <a:lnTo>
                    <a:pt x="544" y="6382"/>
                  </a:lnTo>
                  <a:lnTo>
                    <a:pt x="544" y="6466"/>
                  </a:lnTo>
                  <a:lnTo>
                    <a:pt x="523" y="6487"/>
                  </a:lnTo>
                  <a:lnTo>
                    <a:pt x="586" y="6570"/>
                  </a:lnTo>
                  <a:lnTo>
                    <a:pt x="586" y="6654"/>
                  </a:lnTo>
                  <a:lnTo>
                    <a:pt x="544" y="6675"/>
                  </a:lnTo>
                  <a:lnTo>
                    <a:pt x="670" y="6780"/>
                  </a:lnTo>
                  <a:lnTo>
                    <a:pt x="691" y="6863"/>
                  </a:lnTo>
                  <a:lnTo>
                    <a:pt x="858" y="7052"/>
                  </a:lnTo>
                  <a:lnTo>
                    <a:pt x="963" y="7282"/>
                  </a:lnTo>
                  <a:lnTo>
                    <a:pt x="984" y="7366"/>
                  </a:lnTo>
                  <a:lnTo>
                    <a:pt x="963" y="7491"/>
                  </a:lnTo>
                  <a:lnTo>
                    <a:pt x="942" y="7533"/>
                  </a:lnTo>
                  <a:lnTo>
                    <a:pt x="879" y="7638"/>
                  </a:lnTo>
                  <a:lnTo>
                    <a:pt x="879" y="7826"/>
                  </a:lnTo>
                  <a:lnTo>
                    <a:pt x="984" y="7910"/>
                  </a:lnTo>
                  <a:lnTo>
                    <a:pt x="1109" y="7910"/>
                  </a:lnTo>
                  <a:lnTo>
                    <a:pt x="1172" y="7847"/>
                  </a:lnTo>
                  <a:lnTo>
                    <a:pt x="1318" y="7847"/>
                  </a:lnTo>
                  <a:lnTo>
                    <a:pt x="1402" y="7889"/>
                  </a:lnTo>
                  <a:lnTo>
                    <a:pt x="1360" y="7951"/>
                  </a:lnTo>
                  <a:lnTo>
                    <a:pt x="1381" y="8098"/>
                  </a:lnTo>
                  <a:lnTo>
                    <a:pt x="1465" y="8140"/>
                  </a:lnTo>
                  <a:lnTo>
                    <a:pt x="1590" y="8223"/>
                  </a:lnTo>
                  <a:lnTo>
                    <a:pt x="1695" y="8223"/>
                  </a:lnTo>
                  <a:lnTo>
                    <a:pt x="1779" y="8265"/>
                  </a:lnTo>
                  <a:lnTo>
                    <a:pt x="1821" y="8349"/>
                  </a:lnTo>
                  <a:lnTo>
                    <a:pt x="1925" y="8412"/>
                  </a:lnTo>
                  <a:lnTo>
                    <a:pt x="2030" y="8412"/>
                  </a:lnTo>
                  <a:lnTo>
                    <a:pt x="2093" y="8475"/>
                  </a:lnTo>
                  <a:lnTo>
                    <a:pt x="2051" y="8558"/>
                  </a:lnTo>
                  <a:lnTo>
                    <a:pt x="1988" y="8621"/>
                  </a:lnTo>
                  <a:lnTo>
                    <a:pt x="1946" y="8663"/>
                  </a:lnTo>
                  <a:lnTo>
                    <a:pt x="1904" y="8726"/>
                  </a:lnTo>
                  <a:lnTo>
                    <a:pt x="2030" y="8830"/>
                  </a:lnTo>
                  <a:lnTo>
                    <a:pt x="2134" y="8851"/>
                  </a:lnTo>
                  <a:lnTo>
                    <a:pt x="2155" y="8830"/>
                  </a:lnTo>
                  <a:lnTo>
                    <a:pt x="2260" y="8872"/>
                  </a:lnTo>
                  <a:lnTo>
                    <a:pt x="2323" y="8851"/>
                  </a:lnTo>
                  <a:lnTo>
                    <a:pt x="2511" y="8977"/>
                  </a:lnTo>
                  <a:lnTo>
                    <a:pt x="2532" y="9039"/>
                  </a:lnTo>
                  <a:lnTo>
                    <a:pt x="2553" y="9207"/>
                  </a:lnTo>
                  <a:lnTo>
                    <a:pt x="2616" y="9270"/>
                  </a:lnTo>
                  <a:lnTo>
                    <a:pt x="2720" y="9291"/>
                  </a:lnTo>
                  <a:lnTo>
                    <a:pt x="2762" y="9353"/>
                  </a:lnTo>
                  <a:lnTo>
                    <a:pt x="2741" y="9458"/>
                  </a:lnTo>
                  <a:lnTo>
                    <a:pt x="2783" y="9521"/>
                  </a:lnTo>
                  <a:lnTo>
                    <a:pt x="2992" y="9563"/>
                  </a:lnTo>
                  <a:lnTo>
                    <a:pt x="3076" y="9625"/>
                  </a:lnTo>
                  <a:lnTo>
                    <a:pt x="3076" y="9688"/>
                  </a:lnTo>
                  <a:lnTo>
                    <a:pt x="3076" y="9876"/>
                  </a:lnTo>
                  <a:lnTo>
                    <a:pt x="3160" y="9918"/>
                  </a:lnTo>
                  <a:lnTo>
                    <a:pt x="3264" y="9981"/>
                  </a:lnTo>
                  <a:lnTo>
                    <a:pt x="3306" y="10044"/>
                  </a:lnTo>
                  <a:lnTo>
                    <a:pt x="3306" y="10086"/>
                  </a:lnTo>
                  <a:lnTo>
                    <a:pt x="3348" y="10190"/>
                  </a:lnTo>
                  <a:lnTo>
                    <a:pt x="3390" y="10232"/>
                  </a:lnTo>
                  <a:lnTo>
                    <a:pt x="3474" y="10253"/>
                  </a:lnTo>
                  <a:lnTo>
                    <a:pt x="3515" y="10337"/>
                  </a:lnTo>
                  <a:lnTo>
                    <a:pt x="3662" y="10420"/>
                  </a:lnTo>
                  <a:lnTo>
                    <a:pt x="3766" y="10462"/>
                  </a:lnTo>
                  <a:lnTo>
                    <a:pt x="3829" y="10441"/>
                  </a:lnTo>
                  <a:lnTo>
                    <a:pt x="3871" y="10399"/>
                  </a:lnTo>
                  <a:lnTo>
                    <a:pt x="3934" y="10337"/>
                  </a:lnTo>
                  <a:lnTo>
                    <a:pt x="4143" y="10337"/>
                  </a:lnTo>
                  <a:lnTo>
                    <a:pt x="4185" y="10399"/>
                  </a:lnTo>
                  <a:lnTo>
                    <a:pt x="4227" y="10399"/>
                  </a:lnTo>
                  <a:lnTo>
                    <a:pt x="4331" y="10337"/>
                  </a:lnTo>
                  <a:lnTo>
                    <a:pt x="4394" y="10295"/>
                  </a:lnTo>
                  <a:lnTo>
                    <a:pt x="4436" y="10211"/>
                  </a:lnTo>
                  <a:lnTo>
                    <a:pt x="4562" y="10211"/>
                  </a:lnTo>
                  <a:lnTo>
                    <a:pt x="4624" y="10232"/>
                  </a:lnTo>
                  <a:lnTo>
                    <a:pt x="4708" y="10399"/>
                  </a:lnTo>
                  <a:lnTo>
                    <a:pt x="4750" y="10462"/>
                  </a:lnTo>
                  <a:lnTo>
                    <a:pt x="4813" y="10525"/>
                  </a:lnTo>
                  <a:lnTo>
                    <a:pt x="4938" y="10567"/>
                  </a:lnTo>
                  <a:lnTo>
                    <a:pt x="5022" y="10630"/>
                  </a:lnTo>
                  <a:lnTo>
                    <a:pt x="5043" y="10734"/>
                  </a:lnTo>
                  <a:lnTo>
                    <a:pt x="5085" y="10755"/>
                  </a:lnTo>
                  <a:lnTo>
                    <a:pt x="5126" y="10839"/>
                  </a:lnTo>
                  <a:lnTo>
                    <a:pt x="5126" y="10923"/>
                  </a:lnTo>
                  <a:lnTo>
                    <a:pt x="5294" y="10923"/>
                  </a:lnTo>
                  <a:lnTo>
                    <a:pt x="5336" y="10944"/>
                  </a:lnTo>
                  <a:lnTo>
                    <a:pt x="5357" y="10923"/>
                  </a:lnTo>
                  <a:lnTo>
                    <a:pt x="5336" y="10860"/>
                  </a:lnTo>
                  <a:lnTo>
                    <a:pt x="5336" y="10776"/>
                  </a:lnTo>
                  <a:lnTo>
                    <a:pt x="5398" y="10713"/>
                  </a:lnTo>
                  <a:lnTo>
                    <a:pt x="5503" y="10755"/>
                  </a:lnTo>
                  <a:lnTo>
                    <a:pt x="5671" y="10818"/>
                  </a:lnTo>
                  <a:lnTo>
                    <a:pt x="5754" y="10776"/>
                  </a:lnTo>
                  <a:lnTo>
                    <a:pt x="5859" y="10818"/>
                  </a:lnTo>
                  <a:lnTo>
                    <a:pt x="5859" y="10923"/>
                  </a:lnTo>
                  <a:lnTo>
                    <a:pt x="6005" y="10944"/>
                  </a:lnTo>
                  <a:lnTo>
                    <a:pt x="6068" y="10944"/>
                  </a:lnTo>
                  <a:lnTo>
                    <a:pt x="6068" y="10860"/>
                  </a:lnTo>
                  <a:lnTo>
                    <a:pt x="6131" y="10776"/>
                  </a:lnTo>
                  <a:lnTo>
                    <a:pt x="6215" y="10818"/>
                  </a:lnTo>
                  <a:lnTo>
                    <a:pt x="6235" y="10776"/>
                  </a:lnTo>
                  <a:lnTo>
                    <a:pt x="6340" y="10776"/>
                  </a:lnTo>
                  <a:lnTo>
                    <a:pt x="6487" y="10734"/>
                  </a:lnTo>
                  <a:lnTo>
                    <a:pt x="6696" y="10713"/>
                  </a:lnTo>
                  <a:lnTo>
                    <a:pt x="6821" y="10755"/>
                  </a:lnTo>
                  <a:lnTo>
                    <a:pt x="6947" y="10713"/>
                  </a:lnTo>
                  <a:lnTo>
                    <a:pt x="7010" y="10609"/>
                  </a:lnTo>
                  <a:lnTo>
                    <a:pt x="7135" y="10525"/>
                  </a:lnTo>
                  <a:lnTo>
                    <a:pt x="7219" y="10420"/>
                  </a:lnTo>
                  <a:lnTo>
                    <a:pt x="7261" y="10399"/>
                  </a:lnTo>
                  <a:lnTo>
                    <a:pt x="7323" y="10337"/>
                  </a:lnTo>
                  <a:lnTo>
                    <a:pt x="7428" y="10232"/>
                  </a:lnTo>
                  <a:lnTo>
                    <a:pt x="7470" y="10232"/>
                  </a:lnTo>
                  <a:lnTo>
                    <a:pt x="7595" y="10023"/>
                  </a:lnTo>
                  <a:lnTo>
                    <a:pt x="7805" y="9814"/>
                  </a:lnTo>
                  <a:lnTo>
                    <a:pt x="7763" y="9604"/>
                  </a:lnTo>
                  <a:lnTo>
                    <a:pt x="7700" y="9563"/>
                  </a:lnTo>
                  <a:lnTo>
                    <a:pt x="7679" y="9353"/>
                  </a:lnTo>
                  <a:lnTo>
                    <a:pt x="7595" y="9249"/>
                  </a:lnTo>
                  <a:lnTo>
                    <a:pt x="7554" y="9144"/>
                  </a:lnTo>
                  <a:lnTo>
                    <a:pt x="7470" y="9060"/>
                  </a:lnTo>
                  <a:lnTo>
                    <a:pt x="7365" y="9060"/>
                  </a:lnTo>
                  <a:lnTo>
                    <a:pt x="7323" y="8998"/>
                  </a:lnTo>
                  <a:lnTo>
                    <a:pt x="7323" y="8956"/>
                  </a:lnTo>
                  <a:lnTo>
                    <a:pt x="7219" y="8893"/>
                  </a:lnTo>
                  <a:lnTo>
                    <a:pt x="7114" y="8726"/>
                  </a:lnTo>
                  <a:lnTo>
                    <a:pt x="7072" y="8684"/>
                  </a:lnTo>
                  <a:lnTo>
                    <a:pt x="7051" y="8621"/>
                  </a:lnTo>
                  <a:lnTo>
                    <a:pt x="6947" y="8516"/>
                  </a:lnTo>
                  <a:lnTo>
                    <a:pt x="6905" y="8433"/>
                  </a:lnTo>
                  <a:lnTo>
                    <a:pt x="6633" y="8433"/>
                  </a:lnTo>
                  <a:lnTo>
                    <a:pt x="6549" y="8412"/>
                  </a:lnTo>
                  <a:lnTo>
                    <a:pt x="6507" y="8328"/>
                  </a:lnTo>
                  <a:lnTo>
                    <a:pt x="6591" y="8203"/>
                  </a:lnTo>
                  <a:lnTo>
                    <a:pt x="6654" y="8161"/>
                  </a:lnTo>
                  <a:lnTo>
                    <a:pt x="6654" y="8035"/>
                  </a:lnTo>
                  <a:lnTo>
                    <a:pt x="6800" y="8056"/>
                  </a:lnTo>
                  <a:lnTo>
                    <a:pt x="6905" y="8035"/>
                  </a:lnTo>
                  <a:lnTo>
                    <a:pt x="6947" y="8098"/>
                  </a:lnTo>
                  <a:lnTo>
                    <a:pt x="7031" y="8098"/>
                  </a:lnTo>
                  <a:lnTo>
                    <a:pt x="7051" y="8035"/>
                  </a:lnTo>
                  <a:lnTo>
                    <a:pt x="7135" y="7951"/>
                  </a:lnTo>
                  <a:lnTo>
                    <a:pt x="7156" y="7700"/>
                  </a:lnTo>
                  <a:lnTo>
                    <a:pt x="7135" y="7470"/>
                  </a:lnTo>
                  <a:lnTo>
                    <a:pt x="7177" y="7303"/>
                  </a:lnTo>
                  <a:lnTo>
                    <a:pt x="7282" y="7177"/>
                  </a:lnTo>
                  <a:lnTo>
                    <a:pt x="7282" y="7052"/>
                  </a:lnTo>
                  <a:lnTo>
                    <a:pt x="7240" y="6968"/>
                  </a:lnTo>
                  <a:lnTo>
                    <a:pt x="7282" y="6863"/>
                  </a:lnTo>
                  <a:lnTo>
                    <a:pt x="7386" y="6696"/>
                  </a:lnTo>
                  <a:lnTo>
                    <a:pt x="7428" y="6633"/>
                  </a:lnTo>
                  <a:lnTo>
                    <a:pt x="7470" y="6633"/>
                  </a:lnTo>
                  <a:lnTo>
                    <a:pt x="7533" y="6654"/>
                  </a:lnTo>
                  <a:lnTo>
                    <a:pt x="7658" y="6215"/>
                  </a:lnTo>
                  <a:lnTo>
                    <a:pt x="7700" y="6026"/>
                  </a:lnTo>
                  <a:lnTo>
                    <a:pt x="7888" y="5922"/>
                  </a:lnTo>
                  <a:lnTo>
                    <a:pt x="7888" y="5817"/>
                  </a:lnTo>
                  <a:lnTo>
                    <a:pt x="8014" y="5608"/>
                  </a:lnTo>
                  <a:lnTo>
                    <a:pt x="8056" y="5503"/>
                  </a:lnTo>
                  <a:lnTo>
                    <a:pt x="8160" y="5482"/>
                  </a:lnTo>
                  <a:lnTo>
                    <a:pt x="8202" y="5482"/>
                  </a:lnTo>
                  <a:lnTo>
                    <a:pt x="8265" y="5294"/>
                  </a:lnTo>
                  <a:lnTo>
                    <a:pt x="8412" y="5022"/>
                  </a:lnTo>
                  <a:lnTo>
                    <a:pt x="8412" y="4813"/>
                  </a:lnTo>
                  <a:lnTo>
                    <a:pt x="8495" y="4666"/>
                  </a:lnTo>
                  <a:lnTo>
                    <a:pt x="8516" y="4604"/>
                  </a:lnTo>
                  <a:lnTo>
                    <a:pt x="8495" y="4604"/>
                  </a:lnTo>
                  <a:lnTo>
                    <a:pt x="8474" y="4478"/>
                  </a:lnTo>
                  <a:lnTo>
                    <a:pt x="8391" y="4248"/>
                  </a:lnTo>
                  <a:lnTo>
                    <a:pt x="8412" y="4122"/>
                  </a:lnTo>
                  <a:lnTo>
                    <a:pt x="8474" y="4039"/>
                  </a:lnTo>
                  <a:lnTo>
                    <a:pt x="8474" y="3934"/>
                  </a:lnTo>
                  <a:lnTo>
                    <a:pt x="8579" y="3809"/>
                  </a:lnTo>
                  <a:lnTo>
                    <a:pt x="8621" y="3516"/>
                  </a:lnTo>
                  <a:lnTo>
                    <a:pt x="8684" y="3327"/>
                  </a:lnTo>
                  <a:lnTo>
                    <a:pt x="8725" y="3285"/>
                  </a:lnTo>
                  <a:lnTo>
                    <a:pt x="8684" y="3223"/>
                  </a:lnTo>
                  <a:lnTo>
                    <a:pt x="8621" y="3202"/>
                  </a:lnTo>
                  <a:lnTo>
                    <a:pt x="8704" y="3076"/>
                  </a:lnTo>
                  <a:lnTo>
                    <a:pt x="8704" y="2930"/>
                  </a:lnTo>
                  <a:lnTo>
                    <a:pt x="8746" y="2909"/>
                  </a:lnTo>
                  <a:lnTo>
                    <a:pt x="8914" y="2909"/>
                  </a:lnTo>
                  <a:lnTo>
                    <a:pt x="8914" y="2825"/>
                  </a:lnTo>
                  <a:lnTo>
                    <a:pt x="8914" y="2783"/>
                  </a:lnTo>
                  <a:lnTo>
                    <a:pt x="8914" y="2721"/>
                  </a:lnTo>
                  <a:lnTo>
                    <a:pt x="9018" y="2700"/>
                  </a:lnTo>
                  <a:lnTo>
                    <a:pt x="9102" y="2658"/>
                  </a:lnTo>
                  <a:lnTo>
                    <a:pt x="9228" y="2658"/>
                  </a:lnTo>
                  <a:lnTo>
                    <a:pt x="9248" y="2574"/>
                  </a:lnTo>
                  <a:lnTo>
                    <a:pt x="9353" y="2553"/>
                  </a:lnTo>
                  <a:lnTo>
                    <a:pt x="9458" y="2490"/>
                  </a:lnTo>
                  <a:lnTo>
                    <a:pt x="9541" y="2386"/>
                  </a:lnTo>
                  <a:lnTo>
                    <a:pt x="9479" y="2386"/>
                  </a:lnTo>
                  <a:lnTo>
                    <a:pt x="9479" y="2302"/>
                  </a:lnTo>
                  <a:lnTo>
                    <a:pt x="9353" y="2239"/>
                  </a:lnTo>
                  <a:lnTo>
                    <a:pt x="9248" y="2239"/>
                  </a:lnTo>
                  <a:lnTo>
                    <a:pt x="9248" y="2135"/>
                  </a:lnTo>
                  <a:lnTo>
                    <a:pt x="8997" y="1946"/>
                  </a:lnTo>
                  <a:lnTo>
                    <a:pt x="8914" y="1946"/>
                  </a:lnTo>
                  <a:lnTo>
                    <a:pt x="8809" y="1737"/>
                  </a:lnTo>
                  <a:lnTo>
                    <a:pt x="8725" y="1507"/>
                  </a:lnTo>
                  <a:lnTo>
                    <a:pt x="8746" y="1256"/>
                  </a:lnTo>
                  <a:lnTo>
                    <a:pt x="8725" y="1047"/>
                  </a:lnTo>
                  <a:lnTo>
                    <a:pt x="8579" y="628"/>
                  </a:lnTo>
                  <a:lnTo>
                    <a:pt x="8579" y="524"/>
                  </a:lnTo>
                  <a:lnTo>
                    <a:pt x="8600" y="503"/>
                  </a:lnTo>
                  <a:lnTo>
                    <a:pt x="8621" y="565"/>
                  </a:lnTo>
                  <a:lnTo>
                    <a:pt x="8642" y="607"/>
                  </a:lnTo>
                  <a:lnTo>
                    <a:pt x="8684" y="607"/>
                  </a:lnTo>
                  <a:lnTo>
                    <a:pt x="8684" y="565"/>
                  </a:lnTo>
                  <a:lnTo>
                    <a:pt x="8579" y="419"/>
                  </a:lnTo>
                  <a:lnTo>
                    <a:pt x="8516" y="252"/>
                  </a:lnTo>
                  <a:lnTo>
                    <a:pt x="8495" y="210"/>
                  </a:lnTo>
                  <a:lnTo>
                    <a:pt x="8495" y="189"/>
                  </a:lnTo>
                  <a:lnTo>
                    <a:pt x="8495" y="168"/>
                  </a:lnTo>
                  <a:lnTo>
                    <a:pt x="8495" y="147"/>
                  </a:lnTo>
                  <a:lnTo>
                    <a:pt x="8474" y="84"/>
                  </a:lnTo>
                  <a:lnTo>
                    <a:pt x="8495" y="42"/>
                  </a:lnTo>
                  <a:lnTo>
                    <a:pt x="849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Google Shape;12229;p43">
              <a:extLst>
                <a:ext uri="{FF2B5EF4-FFF2-40B4-BE49-F238E27FC236}">
                  <a16:creationId xmlns:a16="http://schemas.microsoft.com/office/drawing/2014/main" id="{567C6AE3-A849-8102-0DB6-356F77DE2A22}"/>
                </a:ext>
              </a:extLst>
            </p:cNvPr>
            <p:cNvSpPr/>
            <p:nvPr/>
          </p:nvSpPr>
          <p:spPr>
            <a:xfrm>
              <a:off x="3973815" y="3045871"/>
              <a:ext cx="104655" cy="75923"/>
            </a:xfrm>
            <a:custGeom>
              <a:avLst/>
              <a:gdLst/>
              <a:ahLst/>
              <a:cxnLst/>
              <a:rect l="l" t="t" r="r" b="b"/>
              <a:pathLst>
                <a:path w="8789" h="6676" extrusionOk="0">
                  <a:moveTo>
                    <a:pt x="2511" y="1"/>
                  </a:moveTo>
                  <a:lnTo>
                    <a:pt x="2344" y="336"/>
                  </a:lnTo>
                  <a:lnTo>
                    <a:pt x="2239" y="336"/>
                  </a:lnTo>
                  <a:lnTo>
                    <a:pt x="2218" y="419"/>
                  </a:lnTo>
                  <a:lnTo>
                    <a:pt x="2093" y="398"/>
                  </a:lnTo>
                  <a:lnTo>
                    <a:pt x="2009" y="357"/>
                  </a:lnTo>
                  <a:lnTo>
                    <a:pt x="1988" y="419"/>
                  </a:lnTo>
                  <a:lnTo>
                    <a:pt x="1905" y="566"/>
                  </a:lnTo>
                  <a:lnTo>
                    <a:pt x="1905" y="775"/>
                  </a:lnTo>
                  <a:lnTo>
                    <a:pt x="1758" y="1047"/>
                  </a:lnTo>
                  <a:lnTo>
                    <a:pt x="1695" y="1235"/>
                  </a:lnTo>
                  <a:lnTo>
                    <a:pt x="1653" y="1235"/>
                  </a:lnTo>
                  <a:lnTo>
                    <a:pt x="1549" y="1256"/>
                  </a:lnTo>
                  <a:lnTo>
                    <a:pt x="1507" y="1361"/>
                  </a:lnTo>
                  <a:lnTo>
                    <a:pt x="1381" y="1570"/>
                  </a:lnTo>
                  <a:lnTo>
                    <a:pt x="1381" y="1675"/>
                  </a:lnTo>
                  <a:lnTo>
                    <a:pt x="1193" y="1779"/>
                  </a:lnTo>
                  <a:lnTo>
                    <a:pt x="1151" y="1968"/>
                  </a:lnTo>
                  <a:lnTo>
                    <a:pt x="1026" y="2407"/>
                  </a:lnTo>
                  <a:lnTo>
                    <a:pt x="963" y="2386"/>
                  </a:lnTo>
                  <a:lnTo>
                    <a:pt x="921" y="2386"/>
                  </a:lnTo>
                  <a:lnTo>
                    <a:pt x="879" y="2449"/>
                  </a:lnTo>
                  <a:lnTo>
                    <a:pt x="775" y="2616"/>
                  </a:lnTo>
                  <a:lnTo>
                    <a:pt x="733" y="2721"/>
                  </a:lnTo>
                  <a:lnTo>
                    <a:pt x="775" y="2805"/>
                  </a:lnTo>
                  <a:lnTo>
                    <a:pt x="775" y="2930"/>
                  </a:lnTo>
                  <a:lnTo>
                    <a:pt x="670" y="3056"/>
                  </a:lnTo>
                  <a:lnTo>
                    <a:pt x="628" y="3223"/>
                  </a:lnTo>
                  <a:lnTo>
                    <a:pt x="649" y="3453"/>
                  </a:lnTo>
                  <a:lnTo>
                    <a:pt x="628" y="3704"/>
                  </a:lnTo>
                  <a:lnTo>
                    <a:pt x="544" y="3788"/>
                  </a:lnTo>
                  <a:lnTo>
                    <a:pt x="524" y="3851"/>
                  </a:lnTo>
                  <a:lnTo>
                    <a:pt x="440" y="3851"/>
                  </a:lnTo>
                  <a:lnTo>
                    <a:pt x="398" y="3788"/>
                  </a:lnTo>
                  <a:lnTo>
                    <a:pt x="293" y="3809"/>
                  </a:lnTo>
                  <a:lnTo>
                    <a:pt x="147" y="3788"/>
                  </a:lnTo>
                  <a:lnTo>
                    <a:pt x="147" y="3914"/>
                  </a:lnTo>
                  <a:lnTo>
                    <a:pt x="84" y="3956"/>
                  </a:lnTo>
                  <a:lnTo>
                    <a:pt x="0" y="4081"/>
                  </a:lnTo>
                  <a:lnTo>
                    <a:pt x="42" y="4165"/>
                  </a:lnTo>
                  <a:lnTo>
                    <a:pt x="126" y="4186"/>
                  </a:lnTo>
                  <a:lnTo>
                    <a:pt x="398" y="4186"/>
                  </a:lnTo>
                  <a:lnTo>
                    <a:pt x="440" y="4269"/>
                  </a:lnTo>
                  <a:lnTo>
                    <a:pt x="544" y="4374"/>
                  </a:lnTo>
                  <a:lnTo>
                    <a:pt x="565" y="4437"/>
                  </a:lnTo>
                  <a:lnTo>
                    <a:pt x="607" y="4479"/>
                  </a:lnTo>
                  <a:lnTo>
                    <a:pt x="712" y="4646"/>
                  </a:lnTo>
                  <a:lnTo>
                    <a:pt x="816" y="4709"/>
                  </a:lnTo>
                  <a:lnTo>
                    <a:pt x="816" y="4751"/>
                  </a:lnTo>
                  <a:lnTo>
                    <a:pt x="858" y="4813"/>
                  </a:lnTo>
                  <a:lnTo>
                    <a:pt x="963" y="4813"/>
                  </a:lnTo>
                  <a:lnTo>
                    <a:pt x="1047" y="4897"/>
                  </a:lnTo>
                  <a:lnTo>
                    <a:pt x="1088" y="5002"/>
                  </a:lnTo>
                  <a:lnTo>
                    <a:pt x="1172" y="5106"/>
                  </a:lnTo>
                  <a:lnTo>
                    <a:pt x="1193" y="5316"/>
                  </a:lnTo>
                  <a:lnTo>
                    <a:pt x="1256" y="5357"/>
                  </a:lnTo>
                  <a:lnTo>
                    <a:pt x="1298" y="5567"/>
                  </a:lnTo>
                  <a:lnTo>
                    <a:pt x="1340" y="5525"/>
                  </a:lnTo>
                  <a:lnTo>
                    <a:pt x="1402" y="5629"/>
                  </a:lnTo>
                  <a:lnTo>
                    <a:pt x="1507" y="5588"/>
                  </a:lnTo>
                  <a:lnTo>
                    <a:pt x="1612" y="5629"/>
                  </a:lnTo>
                  <a:lnTo>
                    <a:pt x="1612" y="5964"/>
                  </a:lnTo>
                  <a:lnTo>
                    <a:pt x="1695" y="6069"/>
                  </a:lnTo>
                  <a:lnTo>
                    <a:pt x="1821" y="6090"/>
                  </a:lnTo>
                  <a:lnTo>
                    <a:pt x="1967" y="6048"/>
                  </a:lnTo>
                  <a:lnTo>
                    <a:pt x="2093" y="6090"/>
                  </a:lnTo>
                  <a:lnTo>
                    <a:pt x="2386" y="6069"/>
                  </a:lnTo>
                  <a:lnTo>
                    <a:pt x="2490" y="6152"/>
                  </a:lnTo>
                  <a:lnTo>
                    <a:pt x="2721" y="6383"/>
                  </a:lnTo>
                  <a:lnTo>
                    <a:pt x="2867" y="6466"/>
                  </a:lnTo>
                  <a:lnTo>
                    <a:pt x="2951" y="6571"/>
                  </a:lnTo>
                  <a:lnTo>
                    <a:pt x="3055" y="6613"/>
                  </a:lnTo>
                  <a:lnTo>
                    <a:pt x="3244" y="6613"/>
                  </a:lnTo>
                  <a:lnTo>
                    <a:pt x="3369" y="6676"/>
                  </a:lnTo>
                  <a:lnTo>
                    <a:pt x="3537" y="6634"/>
                  </a:lnTo>
                  <a:lnTo>
                    <a:pt x="3641" y="6676"/>
                  </a:lnTo>
                  <a:lnTo>
                    <a:pt x="3850" y="6676"/>
                  </a:lnTo>
                  <a:lnTo>
                    <a:pt x="3997" y="6424"/>
                  </a:lnTo>
                  <a:lnTo>
                    <a:pt x="4060" y="6362"/>
                  </a:lnTo>
                  <a:lnTo>
                    <a:pt x="4164" y="6299"/>
                  </a:lnTo>
                  <a:lnTo>
                    <a:pt x="4269" y="6299"/>
                  </a:lnTo>
                  <a:lnTo>
                    <a:pt x="4311" y="6278"/>
                  </a:lnTo>
                  <a:lnTo>
                    <a:pt x="4583" y="6257"/>
                  </a:lnTo>
                  <a:lnTo>
                    <a:pt x="4645" y="6278"/>
                  </a:lnTo>
                  <a:lnTo>
                    <a:pt x="4729" y="6404"/>
                  </a:lnTo>
                  <a:lnTo>
                    <a:pt x="4834" y="6466"/>
                  </a:lnTo>
                  <a:lnTo>
                    <a:pt x="5043" y="6424"/>
                  </a:lnTo>
                  <a:lnTo>
                    <a:pt x="5210" y="6424"/>
                  </a:lnTo>
                  <a:lnTo>
                    <a:pt x="5252" y="6320"/>
                  </a:lnTo>
                  <a:lnTo>
                    <a:pt x="5441" y="6257"/>
                  </a:lnTo>
                  <a:lnTo>
                    <a:pt x="5629" y="6215"/>
                  </a:lnTo>
                  <a:lnTo>
                    <a:pt x="5775" y="6152"/>
                  </a:lnTo>
                  <a:lnTo>
                    <a:pt x="5880" y="6069"/>
                  </a:lnTo>
                  <a:lnTo>
                    <a:pt x="5943" y="5964"/>
                  </a:lnTo>
                  <a:lnTo>
                    <a:pt x="6068" y="5880"/>
                  </a:lnTo>
                  <a:lnTo>
                    <a:pt x="6173" y="5880"/>
                  </a:lnTo>
                  <a:lnTo>
                    <a:pt x="6278" y="5797"/>
                  </a:lnTo>
                  <a:lnTo>
                    <a:pt x="7010" y="5797"/>
                  </a:lnTo>
                  <a:lnTo>
                    <a:pt x="8788" y="4018"/>
                  </a:lnTo>
                  <a:lnTo>
                    <a:pt x="8056" y="4018"/>
                  </a:lnTo>
                  <a:lnTo>
                    <a:pt x="6361" y="3495"/>
                  </a:lnTo>
                  <a:lnTo>
                    <a:pt x="6215" y="3370"/>
                  </a:lnTo>
                  <a:lnTo>
                    <a:pt x="6006" y="3349"/>
                  </a:lnTo>
                  <a:lnTo>
                    <a:pt x="5943" y="3160"/>
                  </a:lnTo>
                  <a:lnTo>
                    <a:pt x="5964" y="3014"/>
                  </a:lnTo>
                  <a:lnTo>
                    <a:pt x="5796" y="2930"/>
                  </a:lnTo>
                  <a:lnTo>
                    <a:pt x="5692" y="2616"/>
                  </a:lnTo>
                  <a:lnTo>
                    <a:pt x="5650" y="2386"/>
                  </a:lnTo>
                  <a:lnTo>
                    <a:pt x="5692" y="2323"/>
                  </a:lnTo>
                  <a:lnTo>
                    <a:pt x="5587" y="2282"/>
                  </a:lnTo>
                  <a:lnTo>
                    <a:pt x="5441" y="2303"/>
                  </a:lnTo>
                  <a:lnTo>
                    <a:pt x="5315" y="2386"/>
                  </a:lnTo>
                  <a:lnTo>
                    <a:pt x="5106" y="2386"/>
                  </a:lnTo>
                  <a:lnTo>
                    <a:pt x="5022" y="2323"/>
                  </a:lnTo>
                  <a:lnTo>
                    <a:pt x="5127" y="2198"/>
                  </a:lnTo>
                  <a:lnTo>
                    <a:pt x="5127" y="2093"/>
                  </a:lnTo>
                  <a:lnTo>
                    <a:pt x="5169" y="1989"/>
                  </a:lnTo>
                  <a:lnTo>
                    <a:pt x="5169" y="1821"/>
                  </a:lnTo>
                  <a:lnTo>
                    <a:pt x="5210" y="1717"/>
                  </a:lnTo>
                  <a:lnTo>
                    <a:pt x="5252" y="1591"/>
                  </a:lnTo>
                  <a:lnTo>
                    <a:pt x="5357" y="1570"/>
                  </a:lnTo>
                  <a:lnTo>
                    <a:pt x="5210" y="1361"/>
                  </a:lnTo>
                  <a:lnTo>
                    <a:pt x="5127" y="1361"/>
                  </a:lnTo>
                  <a:lnTo>
                    <a:pt x="5106" y="1277"/>
                  </a:lnTo>
                  <a:lnTo>
                    <a:pt x="5064" y="1173"/>
                  </a:lnTo>
                  <a:lnTo>
                    <a:pt x="4959" y="1026"/>
                  </a:lnTo>
                  <a:lnTo>
                    <a:pt x="4855" y="984"/>
                  </a:lnTo>
                  <a:lnTo>
                    <a:pt x="4687" y="838"/>
                  </a:lnTo>
                  <a:lnTo>
                    <a:pt x="4541" y="733"/>
                  </a:lnTo>
                  <a:lnTo>
                    <a:pt x="4520" y="671"/>
                  </a:lnTo>
                  <a:lnTo>
                    <a:pt x="4415" y="671"/>
                  </a:lnTo>
                  <a:lnTo>
                    <a:pt x="4394" y="629"/>
                  </a:lnTo>
                  <a:lnTo>
                    <a:pt x="4227" y="629"/>
                  </a:lnTo>
                  <a:lnTo>
                    <a:pt x="4185" y="524"/>
                  </a:lnTo>
                  <a:lnTo>
                    <a:pt x="3976" y="336"/>
                  </a:lnTo>
                  <a:lnTo>
                    <a:pt x="3871" y="315"/>
                  </a:lnTo>
                  <a:lnTo>
                    <a:pt x="3788" y="231"/>
                  </a:lnTo>
                  <a:lnTo>
                    <a:pt x="3662" y="210"/>
                  </a:lnTo>
                  <a:lnTo>
                    <a:pt x="3578" y="231"/>
                  </a:lnTo>
                  <a:lnTo>
                    <a:pt x="3557" y="252"/>
                  </a:lnTo>
                  <a:lnTo>
                    <a:pt x="3369" y="106"/>
                  </a:lnTo>
                  <a:lnTo>
                    <a:pt x="3265" y="106"/>
                  </a:lnTo>
                  <a:lnTo>
                    <a:pt x="3223" y="147"/>
                  </a:lnTo>
                  <a:lnTo>
                    <a:pt x="3139" y="85"/>
                  </a:lnTo>
                  <a:lnTo>
                    <a:pt x="3034" y="106"/>
                  </a:lnTo>
                  <a:lnTo>
                    <a:pt x="2930" y="189"/>
                  </a:lnTo>
                  <a:lnTo>
                    <a:pt x="2825" y="189"/>
                  </a:lnTo>
                  <a:lnTo>
                    <a:pt x="2595" y="106"/>
                  </a:lnTo>
                  <a:lnTo>
                    <a:pt x="2553" y="43"/>
                  </a:lnTo>
                  <a:lnTo>
                    <a:pt x="251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Google Shape;12230;p43">
              <a:extLst>
                <a:ext uri="{FF2B5EF4-FFF2-40B4-BE49-F238E27FC236}">
                  <a16:creationId xmlns:a16="http://schemas.microsoft.com/office/drawing/2014/main" id="{4271A64D-55A1-6FF1-117B-89DFECF61979}"/>
                </a:ext>
              </a:extLst>
            </p:cNvPr>
            <p:cNvSpPr/>
            <p:nvPr/>
          </p:nvSpPr>
          <p:spPr>
            <a:xfrm>
              <a:off x="3996236" y="3024695"/>
              <a:ext cx="46106" cy="39042"/>
            </a:xfrm>
            <a:custGeom>
              <a:avLst/>
              <a:gdLst/>
              <a:ahLst/>
              <a:cxnLst/>
              <a:rect l="l" t="t" r="r" b="b"/>
              <a:pathLst>
                <a:path w="3872" h="3433" extrusionOk="0">
                  <a:moveTo>
                    <a:pt x="1151" y="1"/>
                  </a:moveTo>
                  <a:lnTo>
                    <a:pt x="1068" y="105"/>
                  </a:lnTo>
                  <a:lnTo>
                    <a:pt x="963" y="168"/>
                  </a:lnTo>
                  <a:lnTo>
                    <a:pt x="858" y="189"/>
                  </a:lnTo>
                  <a:lnTo>
                    <a:pt x="838" y="273"/>
                  </a:lnTo>
                  <a:lnTo>
                    <a:pt x="712" y="273"/>
                  </a:lnTo>
                  <a:lnTo>
                    <a:pt x="628" y="315"/>
                  </a:lnTo>
                  <a:lnTo>
                    <a:pt x="524" y="336"/>
                  </a:lnTo>
                  <a:lnTo>
                    <a:pt x="524" y="398"/>
                  </a:lnTo>
                  <a:lnTo>
                    <a:pt x="524" y="440"/>
                  </a:lnTo>
                  <a:lnTo>
                    <a:pt x="524" y="524"/>
                  </a:lnTo>
                  <a:lnTo>
                    <a:pt x="356" y="524"/>
                  </a:lnTo>
                  <a:lnTo>
                    <a:pt x="314" y="545"/>
                  </a:lnTo>
                  <a:lnTo>
                    <a:pt x="314" y="691"/>
                  </a:lnTo>
                  <a:lnTo>
                    <a:pt x="231" y="817"/>
                  </a:lnTo>
                  <a:lnTo>
                    <a:pt x="294" y="838"/>
                  </a:lnTo>
                  <a:lnTo>
                    <a:pt x="335" y="900"/>
                  </a:lnTo>
                  <a:lnTo>
                    <a:pt x="294" y="942"/>
                  </a:lnTo>
                  <a:lnTo>
                    <a:pt x="231" y="1131"/>
                  </a:lnTo>
                  <a:lnTo>
                    <a:pt x="189" y="1424"/>
                  </a:lnTo>
                  <a:lnTo>
                    <a:pt x="84" y="1549"/>
                  </a:lnTo>
                  <a:lnTo>
                    <a:pt x="84" y="1654"/>
                  </a:lnTo>
                  <a:lnTo>
                    <a:pt x="22" y="1737"/>
                  </a:lnTo>
                  <a:lnTo>
                    <a:pt x="1" y="1863"/>
                  </a:lnTo>
                  <a:lnTo>
                    <a:pt x="84" y="2093"/>
                  </a:lnTo>
                  <a:lnTo>
                    <a:pt x="105" y="2219"/>
                  </a:lnTo>
                  <a:lnTo>
                    <a:pt x="126" y="2219"/>
                  </a:lnTo>
                  <a:lnTo>
                    <a:pt x="210" y="2260"/>
                  </a:lnTo>
                  <a:lnTo>
                    <a:pt x="335" y="2281"/>
                  </a:lnTo>
                  <a:lnTo>
                    <a:pt x="356" y="2198"/>
                  </a:lnTo>
                  <a:lnTo>
                    <a:pt x="461" y="2198"/>
                  </a:lnTo>
                  <a:lnTo>
                    <a:pt x="628" y="1863"/>
                  </a:lnTo>
                  <a:lnTo>
                    <a:pt x="670" y="1905"/>
                  </a:lnTo>
                  <a:lnTo>
                    <a:pt x="712" y="1968"/>
                  </a:lnTo>
                  <a:lnTo>
                    <a:pt x="942" y="2051"/>
                  </a:lnTo>
                  <a:lnTo>
                    <a:pt x="1047" y="2051"/>
                  </a:lnTo>
                  <a:lnTo>
                    <a:pt x="1151" y="1968"/>
                  </a:lnTo>
                  <a:lnTo>
                    <a:pt x="1256" y="1947"/>
                  </a:lnTo>
                  <a:lnTo>
                    <a:pt x="1340" y="2009"/>
                  </a:lnTo>
                  <a:lnTo>
                    <a:pt x="1382" y="1968"/>
                  </a:lnTo>
                  <a:lnTo>
                    <a:pt x="1486" y="1968"/>
                  </a:lnTo>
                  <a:lnTo>
                    <a:pt x="1674" y="2114"/>
                  </a:lnTo>
                  <a:lnTo>
                    <a:pt x="1695" y="2093"/>
                  </a:lnTo>
                  <a:lnTo>
                    <a:pt x="1779" y="2072"/>
                  </a:lnTo>
                  <a:lnTo>
                    <a:pt x="1905" y="2093"/>
                  </a:lnTo>
                  <a:lnTo>
                    <a:pt x="1988" y="2177"/>
                  </a:lnTo>
                  <a:lnTo>
                    <a:pt x="2093" y="2198"/>
                  </a:lnTo>
                  <a:lnTo>
                    <a:pt x="2302" y="2386"/>
                  </a:lnTo>
                  <a:lnTo>
                    <a:pt x="2344" y="2491"/>
                  </a:lnTo>
                  <a:lnTo>
                    <a:pt x="2511" y="2491"/>
                  </a:lnTo>
                  <a:lnTo>
                    <a:pt x="2532" y="2533"/>
                  </a:lnTo>
                  <a:lnTo>
                    <a:pt x="2637" y="2533"/>
                  </a:lnTo>
                  <a:lnTo>
                    <a:pt x="2658" y="2595"/>
                  </a:lnTo>
                  <a:lnTo>
                    <a:pt x="2804" y="2700"/>
                  </a:lnTo>
                  <a:lnTo>
                    <a:pt x="2972" y="2846"/>
                  </a:lnTo>
                  <a:lnTo>
                    <a:pt x="3076" y="2888"/>
                  </a:lnTo>
                  <a:lnTo>
                    <a:pt x="3181" y="3035"/>
                  </a:lnTo>
                  <a:lnTo>
                    <a:pt x="3223" y="3139"/>
                  </a:lnTo>
                  <a:lnTo>
                    <a:pt x="3244" y="3223"/>
                  </a:lnTo>
                  <a:lnTo>
                    <a:pt x="3327" y="3223"/>
                  </a:lnTo>
                  <a:lnTo>
                    <a:pt x="3474" y="3432"/>
                  </a:lnTo>
                  <a:lnTo>
                    <a:pt x="3599" y="3369"/>
                  </a:lnTo>
                  <a:lnTo>
                    <a:pt x="3662" y="3328"/>
                  </a:lnTo>
                  <a:lnTo>
                    <a:pt x="3746" y="3307"/>
                  </a:lnTo>
                  <a:lnTo>
                    <a:pt x="3871" y="3202"/>
                  </a:lnTo>
                  <a:lnTo>
                    <a:pt x="3809" y="3160"/>
                  </a:lnTo>
                  <a:lnTo>
                    <a:pt x="3809" y="3139"/>
                  </a:lnTo>
                  <a:lnTo>
                    <a:pt x="3767" y="3202"/>
                  </a:lnTo>
                  <a:lnTo>
                    <a:pt x="3683" y="3139"/>
                  </a:lnTo>
                  <a:lnTo>
                    <a:pt x="3641" y="3139"/>
                  </a:lnTo>
                  <a:lnTo>
                    <a:pt x="3579" y="3035"/>
                  </a:lnTo>
                  <a:lnTo>
                    <a:pt x="3599" y="3014"/>
                  </a:lnTo>
                  <a:lnTo>
                    <a:pt x="3537" y="2909"/>
                  </a:lnTo>
                  <a:lnTo>
                    <a:pt x="3453" y="2888"/>
                  </a:lnTo>
                  <a:lnTo>
                    <a:pt x="3348" y="2637"/>
                  </a:lnTo>
                  <a:lnTo>
                    <a:pt x="3327" y="2595"/>
                  </a:lnTo>
                  <a:lnTo>
                    <a:pt x="3327" y="2616"/>
                  </a:lnTo>
                  <a:lnTo>
                    <a:pt x="3265" y="2616"/>
                  </a:lnTo>
                  <a:lnTo>
                    <a:pt x="3181" y="2512"/>
                  </a:lnTo>
                  <a:lnTo>
                    <a:pt x="3055" y="2470"/>
                  </a:lnTo>
                  <a:lnTo>
                    <a:pt x="2972" y="2323"/>
                  </a:lnTo>
                  <a:lnTo>
                    <a:pt x="2804" y="2093"/>
                  </a:lnTo>
                  <a:lnTo>
                    <a:pt x="2742" y="2051"/>
                  </a:lnTo>
                  <a:lnTo>
                    <a:pt x="2595" y="2009"/>
                  </a:lnTo>
                  <a:lnTo>
                    <a:pt x="2532" y="1947"/>
                  </a:lnTo>
                  <a:lnTo>
                    <a:pt x="2428" y="1800"/>
                  </a:lnTo>
                  <a:lnTo>
                    <a:pt x="2344" y="1842"/>
                  </a:lnTo>
                  <a:lnTo>
                    <a:pt x="2218" y="1842"/>
                  </a:lnTo>
                  <a:lnTo>
                    <a:pt x="2177" y="1863"/>
                  </a:lnTo>
                  <a:lnTo>
                    <a:pt x="2114" y="1800"/>
                  </a:lnTo>
                  <a:lnTo>
                    <a:pt x="2009" y="1654"/>
                  </a:lnTo>
                  <a:lnTo>
                    <a:pt x="2072" y="1633"/>
                  </a:lnTo>
                  <a:lnTo>
                    <a:pt x="1967" y="1465"/>
                  </a:lnTo>
                  <a:lnTo>
                    <a:pt x="1905" y="1486"/>
                  </a:lnTo>
                  <a:lnTo>
                    <a:pt x="1905" y="1591"/>
                  </a:lnTo>
                  <a:lnTo>
                    <a:pt x="1926" y="1591"/>
                  </a:lnTo>
                  <a:lnTo>
                    <a:pt x="1926" y="1758"/>
                  </a:lnTo>
                  <a:lnTo>
                    <a:pt x="1821" y="1737"/>
                  </a:lnTo>
                  <a:lnTo>
                    <a:pt x="1800" y="1549"/>
                  </a:lnTo>
                  <a:lnTo>
                    <a:pt x="1758" y="1444"/>
                  </a:lnTo>
                  <a:lnTo>
                    <a:pt x="1674" y="1424"/>
                  </a:lnTo>
                  <a:lnTo>
                    <a:pt x="1674" y="1361"/>
                  </a:lnTo>
                  <a:lnTo>
                    <a:pt x="1654" y="1214"/>
                  </a:lnTo>
                  <a:lnTo>
                    <a:pt x="1591" y="1172"/>
                  </a:lnTo>
                  <a:lnTo>
                    <a:pt x="1507" y="754"/>
                  </a:lnTo>
                  <a:lnTo>
                    <a:pt x="1277" y="126"/>
                  </a:lnTo>
                  <a:lnTo>
                    <a:pt x="1151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Google Shape;12231;p43">
              <a:extLst>
                <a:ext uri="{FF2B5EF4-FFF2-40B4-BE49-F238E27FC236}">
                  <a16:creationId xmlns:a16="http://schemas.microsoft.com/office/drawing/2014/main" id="{95B8A8F7-3E70-0180-5596-2B6F7FD01BF1}"/>
                </a:ext>
              </a:extLst>
            </p:cNvPr>
            <p:cNvSpPr/>
            <p:nvPr/>
          </p:nvSpPr>
          <p:spPr>
            <a:xfrm>
              <a:off x="4033614" y="3061110"/>
              <a:ext cx="10467" cy="11907"/>
            </a:xfrm>
            <a:custGeom>
              <a:avLst/>
              <a:gdLst/>
              <a:ahLst/>
              <a:cxnLst/>
              <a:rect l="l" t="t" r="r" b="b"/>
              <a:pathLst>
                <a:path w="879" h="1047" extrusionOk="0">
                  <a:moveTo>
                    <a:pt x="732" y="0"/>
                  </a:moveTo>
                  <a:lnTo>
                    <a:pt x="607" y="105"/>
                  </a:lnTo>
                  <a:lnTo>
                    <a:pt x="523" y="126"/>
                  </a:lnTo>
                  <a:lnTo>
                    <a:pt x="460" y="167"/>
                  </a:lnTo>
                  <a:lnTo>
                    <a:pt x="230" y="251"/>
                  </a:lnTo>
                  <a:lnTo>
                    <a:pt x="188" y="377"/>
                  </a:lnTo>
                  <a:lnTo>
                    <a:pt x="147" y="481"/>
                  </a:lnTo>
                  <a:lnTo>
                    <a:pt x="147" y="649"/>
                  </a:lnTo>
                  <a:lnTo>
                    <a:pt x="105" y="753"/>
                  </a:lnTo>
                  <a:lnTo>
                    <a:pt x="105" y="858"/>
                  </a:lnTo>
                  <a:lnTo>
                    <a:pt x="0" y="983"/>
                  </a:lnTo>
                  <a:lnTo>
                    <a:pt x="84" y="1046"/>
                  </a:lnTo>
                  <a:lnTo>
                    <a:pt x="293" y="1046"/>
                  </a:lnTo>
                  <a:lnTo>
                    <a:pt x="419" y="963"/>
                  </a:lnTo>
                  <a:lnTo>
                    <a:pt x="565" y="942"/>
                  </a:lnTo>
                  <a:lnTo>
                    <a:pt x="670" y="983"/>
                  </a:lnTo>
                  <a:lnTo>
                    <a:pt x="670" y="963"/>
                  </a:lnTo>
                  <a:lnTo>
                    <a:pt x="837" y="732"/>
                  </a:lnTo>
                  <a:lnTo>
                    <a:pt x="816" y="670"/>
                  </a:lnTo>
                  <a:lnTo>
                    <a:pt x="649" y="670"/>
                  </a:lnTo>
                  <a:lnTo>
                    <a:pt x="565" y="732"/>
                  </a:lnTo>
                  <a:lnTo>
                    <a:pt x="523" y="691"/>
                  </a:lnTo>
                  <a:lnTo>
                    <a:pt x="460" y="628"/>
                  </a:lnTo>
                  <a:lnTo>
                    <a:pt x="565" y="628"/>
                  </a:lnTo>
                  <a:lnTo>
                    <a:pt x="649" y="544"/>
                  </a:lnTo>
                  <a:lnTo>
                    <a:pt x="732" y="544"/>
                  </a:lnTo>
                  <a:lnTo>
                    <a:pt x="837" y="419"/>
                  </a:lnTo>
                  <a:lnTo>
                    <a:pt x="879" y="377"/>
                  </a:lnTo>
                  <a:lnTo>
                    <a:pt x="858" y="230"/>
                  </a:lnTo>
                  <a:lnTo>
                    <a:pt x="879" y="147"/>
                  </a:lnTo>
                  <a:lnTo>
                    <a:pt x="858" y="147"/>
                  </a:lnTo>
                  <a:lnTo>
                    <a:pt x="732" y="21"/>
                  </a:lnTo>
                  <a:lnTo>
                    <a:pt x="73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Google Shape;12232;p43">
              <a:extLst>
                <a:ext uri="{FF2B5EF4-FFF2-40B4-BE49-F238E27FC236}">
                  <a16:creationId xmlns:a16="http://schemas.microsoft.com/office/drawing/2014/main" id="{27B28A5B-CAF8-7285-8B84-652F0DAEC81B}"/>
                </a:ext>
              </a:extLst>
            </p:cNvPr>
            <p:cNvSpPr/>
            <p:nvPr/>
          </p:nvSpPr>
          <p:spPr>
            <a:xfrm>
              <a:off x="4029125" y="3065864"/>
              <a:ext cx="70516" cy="89240"/>
            </a:xfrm>
            <a:custGeom>
              <a:avLst/>
              <a:gdLst/>
              <a:ahLst/>
              <a:cxnLst/>
              <a:rect l="l" t="t" r="r" b="b"/>
              <a:pathLst>
                <a:path w="5922" h="7847" extrusionOk="0">
                  <a:moveTo>
                    <a:pt x="5587" y="1"/>
                  </a:moveTo>
                  <a:lnTo>
                    <a:pt x="5587" y="21"/>
                  </a:lnTo>
                  <a:lnTo>
                    <a:pt x="5545" y="21"/>
                  </a:lnTo>
                  <a:lnTo>
                    <a:pt x="5482" y="105"/>
                  </a:lnTo>
                  <a:lnTo>
                    <a:pt x="5441" y="210"/>
                  </a:lnTo>
                  <a:lnTo>
                    <a:pt x="5420" y="168"/>
                  </a:lnTo>
                  <a:lnTo>
                    <a:pt x="5315" y="273"/>
                  </a:lnTo>
                  <a:lnTo>
                    <a:pt x="5127" y="314"/>
                  </a:lnTo>
                  <a:lnTo>
                    <a:pt x="5127" y="335"/>
                  </a:lnTo>
                  <a:lnTo>
                    <a:pt x="5085" y="314"/>
                  </a:lnTo>
                  <a:lnTo>
                    <a:pt x="4897" y="335"/>
                  </a:lnTo>
                  <a:lnTo>
                    <a:pt x="4792" y="419"/>
                  </a:lnTo>
                  <a:lnTo>
                    <a:pt x="4499" y="461"/>
                  </a:lnTo>
                  <a:lnTo>
                    <a:pt x="4457" y="461"/>
                  </a:lnTo>
                  <a:lnTo>
                    <a:pt x="4394" y="440"/>
                  </a:lnTo>
                  <a:lnTo>
                    <a:pt x="4227" y="440"/>
                  </a:lnTo>
                  <a:lnTo>
                    <a:pt x="4060" y="524"/>
                  </a:lnTo>
                  <a:lnTo>
                    <a:pt x="3913" y="524"/>
                  </a:lnTo>
                  <a:lnTo>
                    <a:pt x="3830" y="545"/>
                  </a:lnTo>
                  <a:lnTo>
                    <a:pt x="3704" y="482"/>
                  </a:lnTo>
                  <a:lnTo>
                    <a:pt x="3599" y="524"/>
                  </a:lnTo>
                  <a:lnTo>
                    <a:pt x="3244" y="733"/>
                  </a:lnTo>
                  <a:lnTo>
                    <a:pt x="3076" y="754"/>
                  </a:lnTo>
                  <a:lnTo>
                    <a:pt x="2972" y="691"/>
                  </a:lnTo>
                  <a:lnTo>
                    <a:pt x="2909" y="733"/>
                  </a:lnTo>
                  <a:lnTo>
                    <a:pt x="2762" y="733"/>
                  </a:lnTo>
                  <a:lnTo>
                    <a:pt x="2700" y="691"/>
                  </a:lnTo>
                  <a:lnTo>
                    <a:pt x="2658" y="691"/>
                  </a:lnTo>
                  <a:lnTo>
                    <a:pt x="2469" y="858"/>
                  </a:lnTo>
                  <a:lnTo>
                    <a:pt x="2365" y="858"/>
                  </a:lnTo>
                  <a:lnTo>
                    <a:pt x="2239" y="942"/>
                  </a:lnTo>
                  <a:lnTo>
                    <a:pt x="2177" y="1005"/>
                  </a:lnTo>
                  <a:lnTo>
                    <a:pt x="1988" y="1047"/>
                  </a:lnTo>
                  <a:lnTo>
                    <a:pt x="1863" y="984"/>
                  </a:lnTo>
                  <a:lnTo>
                    <a:pt x="1716" y="858"/>
                  </a:lnTo>
                  <a:lnTo>
                    <a:pt x="1653" y="858"/>
                  </a:lnTo>
                  <a:lnTo>
                    <a:pt x="1633" y="754"/>
                  </a:lnTo>
                  <a:lnTo>
                    <a:pt x="1256" y="377"/>
                  </a:lnTo>
                  <a:lnTo>
                    <a:pt x="1235" y="356"/>
                  </a:lnTo>
                  <a:lnTo>
                    <a:pt x="1214" y="314"/>
                  </a:lnTo>
                  <a:lnTo>
                    <a:pt x="1047" y="545"/>
                  </a:lnTo>
                  <a:lnTo>
                    <a:pt x="1005" y="628"/>
                  </a:lnTo>
                  <a:lnTo>
                    <a:pt x="1047" y="858"/>
                  </a:lnTo>
                  <a:lnTo>
                    <a:pt x="1151" y="1172"/>
                  </a:lnTo>
                  <a:lnTo>
                    <a:pt x="1319" y="1256"/>
                  </a:lnTo>
                  <a:lnTo>
                    <a:pt x="1298" y="1402"/>
                  </a:lnTo>
                  <a:lnTo>
                    <a:pt x="1361" y="1591"/>
                  </a:lnTo>
                  <a:lnTo>
                    <a:pt x="1570" y="1612"/>
                  </a:lnTo>
                  <a:lnTo>
                    <a:pt x="1716" y="1737"/>
                  </a:lnTo>
                  <a:lnTo>
                    <a:pt x="3411" y="2260"/>
                  </a:lnTo>
                  <a:lnTo>
                    <a:pt x="4143" y="2260"/>
                  </a:lnTo>
                  <a:lnTo>
                    <a:pt x="2365" y="4039"/>
                  </a:lnTo>
                  <a:lnTo>
                    <a:pt x="1633" y="4039"/>
                  </a:lnTo>
                  <a:lnTo>
                    <a:pt x="1528" y="4122"/>
                  </a:lnTo>
                  <a:lnTo>
                    <a:pt x="1423" y="4122"/>
                  </a:lnTo>
                  <a:lnTo>
                    <a:pt x="1298" y="4206"/>
                  </a:lnTo>
                  <a:lnTo>
                    <a:pt x="1235" y="4311"/>
                  </a:lnTo>
                  <a:lnTo>
                    <a:pt x="1130" y="4394"/>
                  </a:lnTo>
                  <a:lnTo>
                    <a:pt x="984" y="4457"/>
                  </a:lnTo>
                  <a:lnTo>
                    <a:pt x="796" y="4499"/>
                  </a:lnTo>
                  <a:lnTo>
                    <a:pt x="607" y="4562"/>
                  </a:lnTo>
                  <a:lnTo>
                    <a:pt x="565" y="4666"/>
                  </a:lnTo>
                  <a:lnTo>
                    <a:pt x="0" y="5169"/>
                  </a:lnTo>
                  <a:lnTo>
                    <a:pt x="0" y="7449"/>
                  </a:lnTo>
                  <a:lnTo>
                    <a:pt x="419" y="7847"/>
                  </a:lnTo>
                  <a:lnTo>
                    <a:pt x="419" y="7805"/>
                  </a:lnTo>
                  <a:lnTo>
                    <a:pt x="900" y="7261"/>
                  </a:lnTo>
                  <a:lnTo>
                    <a:pt x="942" y="7156"/>
                  </a:lnTo>
                  <a:lnTo>
                    <a:pt x="1089" y="7031"/>
                  </a:lnTo>
                  <a:lnTo>
                    <a:pt x="1193" y="7010"/>
                  </a:lnTo>
                  <a:lnTo>
                    <a:pt x="1235" y="6926"/>
                  </a:lnTo>
                  <a:lnTo>
                    <a:pt x="1298" y="6905"/>
                  </a:lnTo>
                  <a:lnTo>
                    <a:pt x="1633" y="6529"/>
                  </a:lnTo>
                  <a:lnTo>
                    <a:pt x="1716" y="6508"/>
                  </a:lnTo>
                  <a:lnTo>
                    <a:pt x="2093" y="6089"/>
                  </a:lnTo>
                  <a:lnTo>
                    <a:pt x="2302" y="5922"/>
                  </a:lnTo>
                  <a:lnTo>
                    <a:pt x="2469" y="5817"/>
                  </a:lnTo>
                  <a:lnTo>
                    <a:pt x="2658" y="5796"/>
                  </a:lnTo>
                  <a:lnTo>
                    <a:pt x="2930" y="5566"/>
                  </a:lnTo>
                  <a:lnTo>
                    <a:pt x="3558" y="4980"/>
                  </a:lnTo>
                  <a:lnTo>
                    <a:pt x="3871" y="4625"/>
                  </a:lnTo>
                  <a:lnTo>
                    <a:pt x="4060" y="4436"/>
                  </a:lnTo>
                  <a:lnTo>
                    <a:pt x="4081" y="4311"/>
                  </a:lnTo>
                  <a:lnTo>
                    <a:pt x="4478" y="3788"/>
                  </a:lnTo>
                  <a:lnTo>
                    <a:pt x="4478" y="3683"/>
                  </a:lnTo>
                  <a:lnTo>
                    <a:pt x="4687" y="3390"/>
                  </a:lnTo>
                  <a:lnTo>
                    <a:pt x="4708" y="3202"/>
                  </a:lnTo>
                  <a:lnTo>
                    <a:pt x="5022" y="2574"/>
                  </a:lnTo>
                  <a:lnTo>
                    <a:pt x="5106" y="2532"/>
                  </a:lnTo>
                  <a:lnTo>
                    <a:pt x="5064" y="2449"/>
                  </a:lnTo>
                  <a:lnTo>
                    <a:pt x="5064" y="2365"/>
                  </a:lnTo>
                  <a:lnTo>
                    <a:pt x="5190" y="2239"/>
                  </a:lnTo>
                  <a:lnTo>
                    <a:pt x="5231" y="2239"/>
                  </a:lnTo>
                  <a:lnTo>
                    <a:pt x="5315" y="2135"/>
                  </a:lnTo>
                  <a:lnTo>
                    <a:pt x="5441" y="1842"/>
                  </a:lnTo>
                  <a:lnTo>
                    <a:pt x="5650" y="1591"/>
                  </a:lnTo>
                  <a:lnTo>
                    <a:pt x="5650" y="1423"/>
                  </a:lnTo>
                  <a:lnTo>
                    <a:pt x="5692" y="1381"/>
                  </a:lnTo>
                  <a:lnTo>
                    <a:pt x="5713" y="1214"/>
                  </a:lnTo>
                  <a:lnTo>
                    <a:pt x="5650" y="1151"/>
                  </a:lnTo>
                  <a:lnTo>
                    <a:pt x="5734" y="1005"/>
                  </a:lnTo>
                  <a:lnTo>
                    <a:pt x="5796" y="984"/>
                  </a:lnTo>
                  <a:lnTo>
                    <a:pt x="5859" y="984"/>
                  </a:lnTo>
                  <a:lnTo>
                    <a:pt x="5901" y="1005"/>
                  </a:lnTo>
                  <a:lnTo>
                    <a:pt x="5922" y="1005"/>
                  </a:lnTo>
                  <a:lnTo>
                    <a:pt x="5901" y="942"/>
                  </a:lnTo>
                  <a:lnTo>
                    <a:pt x="5838" y="942"/>
                  </a:lnTo>
                  <a:lnTo>
                    <a:pt x="5859" y="963"/>
                  </a:lnTo>
                  <a:lnTo>
                    <a:pt x="5796" y="963"/>
                  </a:lnTo>
                  <a:lnTo>
                    <a:pt x="5817" y="879"/>
                  </a:lnTo>
                  <a:lnTo>
                    <a:pt x="5817" y="775"/>
                  </a:lnTo>
                  <a:lnTo>
                    <a:pt x="5754" y="691"/>
                  </a:lnTo>
                  <a:lnTo>
                    <a:pt x="5817" y="586"/>
                  </a:lnTo>
                  <a:lnTo>
                    <a:pt x="5859" y="545"/>
                  </a:lnTo>
                  <a:lnTo>
                    <a:pt x="5859" y="482"/>
                  </a:lnTo>
                  <a:lnTo>
                    <a:pt x="5796" y="482"/>
                  </a:lnTo>
                  <a:lnTo>
                    <a:pt x="5754" y="440"/>
                  </a:lnTo>
                  <a:lnTo>
                    <a:pt x="5796" y="377"/>
                  </a:lnTo>
                  <a:lnTo>
                    <a:pt x="5796" y="314"/>
                  </a:lnTo>
                  <a:lnTo>
                    <a:pt x="5838" y="210"/>
                  </a:lnTo>
                  <a:lnTo>
                    <a:pt x="5901" y="126"/>
                  </a:lnTo>
                  <a:lnTo>
                    <a:pt x="5859" y="105"/>
                  </a:lnTo>
                  <a:lnTo>
                    <a:pt x="5796" y="105"/>
                  </a:lnTo>
                  <a:lnTo>
                    <a:pt x="5650" y="42"/>
                  </a:lnTo>
                  <a:lnTo>
                    <a:pt x="558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Google Shape;12233;p43">
              <a:extLst>
                <a:ext uri="{FF2B5EF4-FFF2-40B4-BE49-F238E27FC236}">
                  <a16:creationId xmlns:a16="http://schemas.microsoft.com/office/drawing/2014/main" id="{B1049661-AEBD-A031-C803-FAEC00281F8D}"/>
                </a:ext>
              </a:extLst>
            </p:cNvPr>
            <p:cNvSpPr/>
            <p:nvPr/>
          </p:nvSpPr>
          <p:spPr>
            <a:xfrm>
              <a:off x="3978054" y="3108693"/>
              <a:ext cx="57811" cy="66882"/>
            </a:xfrm>
            <a:custGeom>
              <a:avLst/>
              <a:gdLst/>
              <a:ahLst/>
              <a:cxnLst/>
              <a:rect l="l" t="t" r="r" b="b"/>
              <a:pathLst>
                <a:path w="4855" h="5881" extrusionOk="0">
                  <a:moveTo>
                    <a:pt x="984" y="1"/>
                  </a:moveTo>
                  <a:lnTo>
                    <a:pt x="942" y="43"/>
                  </a:lnTo>
                  <a:lnTo>
                    <a:pt x="732" y="252"/>
                  </a:lnTo>
                  <a:lnTo>
                    <a:pt x="607" y="461"/>
                  </a:lnTo>
                  <a:lnTo>
                    <a:pt x="565" y="461"/>
                  </a:lnTo>
                  <a:lnTo>
                    <a:pt x="460" y="566"/>
                  </a:lnTo>
                  <a:lnTo>
                    <a:pt x="398" y="628"/>
                  </a:lnTo>
                  <a:lnTo>
                    <a:pt x="356" y="649"/>
                  </a:lnTo>
                  <a:lnTo>
                    <a:pt x="272" y="754"/>
                  </a:lnTo>
                  <a:lnTo>
                    <a:pt x="293" y="733"/>
                  </a:lnTo>
                  <a:lnTo>
                    <a:pt x="356" y="796"/>
                  </a:lnTo>
                  <a:lnTo>
                    <a:pt x="377" y="963"/>
                  </a:lnTo>
                  <a:lnTo>
                    <a:pt x="419" y="984"/>
                  </a:lnTo>
                  <a:lnTo>
                    <a:pt x="419" y="1089"/>
                  </a:lnTo>
                  <a:lnTo>
                    <a:pt x="502" y="1089"/>
                  </a:lnTo>
                  <a:lnTo>
                    <a:pt x="523" y="1214"/>
                  </a:lnTo>
                  <a:lnTo>
                    <a:pt x="523" y="1361"/>
                  </a:lnTo>
                  <a:lnTo>
                    <a:pt x="670" y="1486"/>
                  </a:lnTo>
                  <a:lnTo>
                    <a:pt x="732" y="1633"/>
                  </a:lnTo>
                  <a:lnTo>
                    <a:pt x="816" y="1696"/>
                  </a:lnTo>
                  <a:lnTo>
                    <a:pt x="900" y="1737"/>
                  </a:lnTo>
                  <a:lnTo>
                    <a:pt x="837" y="1800"/>
                  </a:lnTo>
                  <a:lnTo>
                    <a:pt x="921" y="1884"/>
                  </a:lnTo>
                  <a:lnTo>
                    <a:pt x="942" y="2009"/>
                  </a:lnTo>
                  <a:lnTo>
                    <a:pt x="942" y="2114"/>
                  </a:lnTo>
                  <a:lnTo>
                    <a:pt x="816" y="2261"/>
                  </a:lnTo>
                  <a:lnTo>
                    <a:pt x="816" y="2365"/>
                  </a:lnTo>
                  <a:lnTo>
                    <a:pt x="774" y="2512"/>
                  </a:lnTo>
                  <a:lnTo>
                    <a:pt x="565" y="2512"/>
                  </a:lnTo>
                  <a:lnTo>
                    <a:pt x="565" y="2553"/>
                  </a:lnTo>
                  <a:lnTo>
                    <a:pt x="502" y="2616"/>
                  </a:lnTo>
                  <a:lnTo>
                    <a:pt x="460" y="2721"/>
                  </a:lnTo>
                  <a:lnTo>
                    <a:pt x="377" y="2784"/>
                  </a:lnTo>
                  <a:lnTo>
                    <a:pt x="293" y="2930"/>
                  </a:lnTo>
                  <a:lnTo>
                    <a:pt x="188" y="3056"/>
                  </a:lnTo>
                  <a:lnTo>
                    <a:pt x="168" y="3202"/>
                  </a:lnTo>
                  <a:lnTo>
                    <a:pt x="0" y="3767"/>
                  </a:lnTo>
                  <a:lnTo>
                    <a:pt x="188" y="3767"/>
                  </a:lnTo>
                  <a:lnTo>
                    <a:pt x="2281" y="4981"/>
                  </a:lnTo>
                  <a:lnTo>
                    <a:pt x="2406" y="5169"/>
                  </a:lnTo>
                  <a:lnTo>
                    <a:pt x="2385" y="5253"/>
                  </a:lnTo>
                  <a:lnTo>
                    <a:pt x="2406" y="5294"/>
                  </a:lnTo>
                  <a:lnTo>
                    <a:pt x="2469" y="5378"/>
                  </a:lnTo>
                  <a:lnTo>
                    <a:pt x="3181" y="5880"/>
                  </a:lnTo>
                  <a:lnTo>
                    <a:pt x="3222" y="5880"/>
                  </a:lnTo>
                  <a:lnTo>
                    <a:pt x="3327" y="5818"/>
                  </a:lnTo>
                  <a:lnTo>
                    <a:pt x="3536" y="5546"/>
                  </a:lnTo>
                  <a:lnTo>
                    <a:pt x="3641" y="5357"/>
                  </a:lnTo>
                  <a:lnTo>
                    <a:pt x="3641" y="5232"/>
                  </a:lnTo>
                  <a:lnTo>
                    <a:pt x="3725" y="5085"/>
                  </a:lnTo>
                  <a:lnTo>
                    <a:pt x="3829" y="4939"/>
                  </a:lnTo>
                  <a:lnTo>
                    <a:pt x="3808" y="4918"/>
                  </a:lnTo>
                  <a:lnTo>
                    <a:pt x="3808" y="4855"/>
                  </a:lnTo>
                  <a:lnTo>
                    <a:pt x="3871" y="4750"/>
                  </a:lnTo>
                  <a:lnTo>
                    <a:pt x="3871" y="4730"/>
                  </a:lnTo>
                  <a:lnTo>
                    <a:pt x="3955" y="4709"/>
                  </a:lnTo>
                  <a:lnTo>
                    <a:pt x="4122" y="4709"/>
                  </a:lnTo>
                  <a:lnTo>
                    <a:pt x="4227" y="4541"/>
                  </a:lnTo>
                  <a:lnTo>
                    <a:pt x="4436" y="4458"/>
                  </a:lnTo>
                  <a:lnTo>
                    <a:pt x="4394" y="4416"/>
                  </a:lnTo>
                  <a:lnTo>
                    <a:pt x="4457" y="4332"/>
                  </a:lnTo>
                  <a:lnTo>
                    <a:pt x="4499" y="4332"/>
                  </a:lnTo>
                  <a:lnTo>
                    <a:pt x="4687" y="4102"/>
                  </a:lnTo>
                  <a:lnTo>
                    <a:pt x="4708" y="4081"/>
                  </a:lnTo>
                  <a:lnTo>
                    <a:pt x="4289" y="3683"/>
                  </a:lnTo>
                  <a:lnTo>
                    <a:pt x="4289" y="1403"/>
                  </a:lnTo>
                  <a:lnTo>
                    <a:pt x="4854" y="900"/>
                  </a:lnTo>
                  <a:lnTo>
                    <a:pt x="4687" y="900"/>
                  </a:lnTo>
                  <a:lnTo>
                    <a:pt x="4478" y="942"/>
                  </a:lnTo>
                  <a:lnTo>
                    <a:pt x="4373" y="880"/>
                  </a:lnTo>
                  <a:lnTo>
                    <a:pt x="4289" y="754"/>
                  </a:lnTo>
                  <a:lnTo>
                    <a:pt x="4227" y="733"/>
                  </a:lnTo>
                  <a:lnTo>
                    <a:pt x="3955" y="754"/>
                  </a:lnTo>
                  <a:lnTo>
                    <a:pt x="3913" y="775"/>
                  </a:lnTo>
                  <a:lnTo>
                    <a:pt x="3808" y="775"/>
                  </a:lnTo>
                  <a:lnTo>
                    <a:pt x="3704" y="838"/>
                  </a:lnTo>
                  <a:lnTo>
                    <a:pt x="3641" y="900"/>
                  </a:lnTo>
                  <a:lnTo>
                    <a:pt x="3494" y="1152"/>
                  </a:lnTo>
                  <a:lnTo>
                    <a:pt x="3285" y="1152"/>
                  </a:lnTo>
                  <a:lnTo>
                    <a:pt x="3181" y="1110"/>
                  </a:lnTo>
                  <a:lnTo>
                    <a:pt x="3013" y="1152"/>
                  </a:lnTo>
                  <a:lnTo>
                    <a:pt x="2888" y="1089"/>
                  </a:lnTo>
                  <a:lnTo>
                    <a:pt x="2699" y="1089"/>
                  </a:lnTo>
                  <a:lnTo>
                    <a:pt x="2595" y="1047"/>
                  </a:lnTo>
                  <a:lnTo>
                    <a:pt x="2511" y="942"/>
                  </a:lnTo>
                  <a:lnTo>
                    <a:pt x="2365" y="859"/>
                  </a:lnTo>
                  <a:lnTo>
                    <a:pt x="2134" y="628"/>
                  </a:lnTo>
                  <a:lnTo>
                    <a:pt x="2030" y="545"/>
                  </a:lnTo>
                  <a:lnTo>
                    <a:pt x="1737" y="566"/>
                  </a:lnTo>
                  <a:lnTo>
                    <a:pt x="1611" y="524"/>
                  </a:lnTo>
                  <a:lnTo>
                    <a:pt x="1465" y="566"/>
                  </a:lnTo>
                  <a:lnTo>
                    <a:pt x="1339" y="545"/>
                  </a:lnTo>
                  <a:lnTo>
                    <a:pt x="1256" y="440"/>
                  </a:lnTo>
                  <a:lnTo>
                    <a:pt x="1256" y="105"/>
                  </a:lnTo>
                  <a:lnTo>
                    <a:pt x="1151" y="64"/>
                  </a:lnTo>
                  <a:lnTo>
                    <a:pt x="1046" y="105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6B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Google Shape;12234;p43">
              <a:extLst>
                <a:ext uri="{FF2B5EF4-FFF2-40B4-BE49-F238E27FC236}">
                  <a16:creationId xmlns:a16="http://schemas.microsoft.com/office/drawing/2014/main" id="{67D544D6-3879-8F9C-D0E9-17633180C056}"/>
                </a:ext>
              </a:extLst>
            </p:cNvPr>
            <p:cNvSpPr/>
            <p:nvPr/>
          </p:nvSpPr>
          <p:spPr>
            <a:xfrm>
              <a:off x="3963598" y="3151999"/>
              <a:ext cx="5239" cy="11"/>
            </a:xfrm>
            <a:custGeom>
              <a:avLst/>
              <a:gdLst/>
              <a:ahLst/>
              <a:cxnLst/>
              <a:rect l="l" t="t" r="r" b="b"/>
              <a:pathLst>
                <a:path w="440" h="1" extrusionOk="0">
                  <a:moveTo>
                    <a:pt x="1" y="1"/>
                  </a:moveTo>
                  <a:lnTo>
                    <a:pt x="210" y="1"/>
                  </a:lnTo>
                  <a:lnTo>
                    <a:pt x="440" y="1"/>
                  </a:lnTo>
                  <a:lnTo>
                    <a:pt x="2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Google Shape;12235;p43">
              <a:extLst>
                <a:ext uri="{FF2B5EF4-FFF2-40B4-BE49-F238E27FC236}">
                  <a16:creationId xmlns:a16="http://schemas.microsoft.com/office/drawing/2014/main" id="{BE50780C-7BCB-74A5-E062-2E449FB889E7}"/>
                </a:ext>
              </a:extLst>
            </p:cNvPr>
            <p:cNvSpPr/>
            <p:nvPr/>
          </p:nvSpPr>
          <p:spPr>
            <a:xfrm>
              <a:off x="3949392" y="3117029"/>
              <a:ext cx="39878" cy="37609"/>
            </a:xfrm>
            <a:custGeom>
              <a:avLst/>
              <a:gdLst/>
              <a:ahLst/>
              <a:cxnLst/>
              <a:rect l="l" t="t" r="r" b="b"/>
              <a:pathLst>
                <a:path w="3349" h="3307" extrusionOk="0">
                  <a:moveTo>
                    <a:pt x="2700" y="0"/>
                  </a:moveTo>
                  <a:lnTo>
                    <a:pt x="2679" y="21"/>
                  </a:lnTo>
                  <a:lnTo>
                    <a:pt x="2554" y="105"/>
                  </a:lnTo>
                  <a:lnTo>
                    <a:pt x="2491" y="209"/>
                  </a:lnTo>
                  <a:lnTo>
                    <a:pt x="2365" y="251"/>
                  </a:lnTo>
                  <a:lnTo>
                    <a:pt x="2240" y="209"/>
                  </a:lnTo>
                  <a:lnTo>
                    <a:pt x="2031" y="230"/>
                  </a:lnTo>
                  <a:lnTo>
                    <a:pt x="1884" y="272"/>
                  </a:lnTo>
                  <a:lnTo>
                    <a:pt x="1779" y="272"/>
                  </a:lnTo>
                  <a:lnTo>
                    <a:pt x="1759" y="314"/>
                  </a:lnTo>
                  <a:lnTo>
                    <a:pt x="1675" y="272"/>
                  </a:lnTo>
                  <a:lnTo>
                    <a:pt x="1612" y="356"/>
                  </a:lnTo>
                  <a:lnTo>
                    <a:pt x="1612" y="440"/>
                  </a:lnTo>
                  <a:lnTo>
                    <a:pt x="1549" y="440"/>
                  </a:lnTo>
                  <a:lnTo>
                    <a:pt x="1403" y="419"/>
                  </a:lnTo>
                  <a:lnTo>
                    <a:pt x="1403" y="314"/>
                  </a:lnTo>
                  <a:lnTo>
                    <a:pt x="1298" y="272"/>
                  </a:lnTo>
                  <a:lnTo>
                    <a:pt x="1215" y="314"/>
                  </a:lnTo>
                  <a:lnTo>
                    <a:pt x="1047" y="251"/>
                  </a:lnTo>
                  <a:lnTo>
                    <a:pt x="942" y="209"/>
                  </a:lnTo>
                  <a:lnTo>
                    <a:pt x="880" y="272"/>
                  </a:lnTo>
                  <a:lnTo>
                    <a:pt x="880" y="356"/>
                  </a:lnTo>
                  <a:lnTo>
                    <a:pt x="901" y="419"/>
                  </a:lnTo>
                  <a:lnTo>
                    <a:pt x="880" y="440"/>
                  </a:lnTo>
                  <a:lnTo>
                    <a:pt x="838" y="544"/>
                  </a:lnTo>
                  <a:lnTo>
                    <a:pt x="796" y="628"/>
                  </a:lnTo>
                  <a:lnTo>
                    <a:pt x="796" y="774"/>
                  </a:lnTo>
                  <a:lnTo>
                    <a:pt x="775" y="984"/>
                  </a:lnTo>
                  <a:lnTo>
                    <a:pt x="733" y="1109"/>
                  </a:lnTo>
                  <a:lnTo>
                    <a:pt x="817" y="1172"/>
                  </a:lnTo>
                  <a:lnTo>
                    <a:pt x="880" y="1256"/>
                  </a:lnTo>
                  <a:lnTo>
                    <a:pt x="922" y="1318"/>
                  </a:lnTo>
                  <a:lnTo>
                    <a:pt x="901" y="1402"/>
                  </a:lnTo>
                  <a:lnTo>
                    <a:pt x="608" y="1800"/>
                  </a:lnTo>
                  <a:lnTo>
                    <a:pt x="419" y="2009"/>
                  </a:lnTo>
                  <a:lnTo>
                    <a:pt x="378" y="2092"/>
                  </a:lnTo>
                  <a:lnTo>
                    <a:pt x="147" y="2511"/>
                  </a:lnTo>
                  <a:lnTo>
                    <a:pt x="106" y="2553"/>
                  </a:lnTo>
                  <a:lnTo>
                    <a:pt x="106" y="2720"/>
                  </a:lnTo>
                  <a:lnTo>
                    <a:pt x="85" y="2929"/>
                  </a:lnTo>
                  <a:lnTo>
                    <a:pt x="1" y="3139"/>
                  </a:lnTo>
                  <a:lnTo>
                    <a:pt x="43" y="3264"/>
                  </a:lnTo>
                  <a:lnTo>
                    <a:pt x="1" y="3285"/>
                  </a:lnTo>
                  <a:lnTo>
                    <a:pt x="43" y="3306"/>
                  </a:lnTo>
                  <a:lnTo>
                    <a:pt x="106" y="3285"/>
                  </a:lnTo>
                  <a:lnTo>
                    <a:pt x="210" y="3201"/>
                  </a:lnTo>
                  <a:lnTo>
                    <a:pt x="273" y="3243"/>
                  </a:lnTo>
                  <a:lnTo>
                    <a:pt x="315" y="3285"/>
                  </a:lnTo>
                  <a:lnTo>
                    <a:pt x="398" y="3285"/>
                  </a:lnTo>
                  <a:lnTo>
                    <a:pt x="461" y="3243"/>
                  </a:lnTo>
                  <a:lnTo>
                    <a:pt x="461" y="3160"/>
                  </a:lnTo>
                  <a:lnTo>
                    <a:pt x="566" y="3160"/>
                  </a:lnTo>
                  <a:lnTo>
                    <a:pt x="566" y="3180"/>
                  </a:lnTo>
                  <a:lnTo>
                    <a:pt x="608" y="3139"/>
                  </a:lnTo>
                  <a:lnTo>
                    <a:pt x="670" y="3139"/>
                  </a:lnTo>
                  <a:lnTo>
                    <a:pt x="712" y="3076"/>
                  </a:lnTo>
                  <a:lnTo>
                    <a:pt x="1633" y="3076"/>
                  </a:lnTo>
                  <a:lnTo>
                    <a:pt x="2407" y="3034"/>
                  </a:lnTo>
                  <a:lnTo>
                    <a:pt x="2575" y="2469"/>
                  </a:lnTo>
                  <a:lnTo>
                    <a:pt x="2595" y="2323"/>
                  </a:lnTo>
                  <a:lnTo>
                    <a:pt x="2700" y="2197"/>
                  </a:lnTo>
                  <a:lnTo>
                    <a:pt x="2784" y="2051"/>
                  </a:lnTo>
                  <a:lnTo>
                    <a:pt x="2867" y="1988"/>
                  </a:lnTo>
                  <a:lnTo>
                    <a:pt x="2909" y="1883"/>
                  </a:lnTo>
                  <a:lnTo>
                    <a:pt x="2972" y="1820"/>
                  </a:lnTo>
                  <a:lnTo>
                    <a:pt x="2972" y="1779"/>
                  </a:lnTo>
                  <a:lnTo>
                    <a:pt x="3181" y="1779"/>
                  </a:lnTo>
                  <a:lnTo>
                    <a:pt x="3223" y="1632"/>
                  </a:lnTo>
                  <a:lnTo>
                    <a:pt x="3223" y="1528"/>
                  </a:lnTo>
                  <a:lnTo>
                    <a:pt x="3349" y="1381"/>
                  </a:lnTo>
                  <a:lnTo>
                    <a:pt x="3349" y="1276"/>
                  </a:lnTo>
                  <a:lnTo>
                    <a:pt x="3328" y="1151"/>
                  </a:lnTo>
                  <a:lnTo>
                    <a:pt x="3244" y="1067"/>
                  </a:lnTo>
                  <a:lnTo>
                    <a:pt x="3307" y="1004"/>
                  </a:lnTo>
                  <a:lnTo>
                    <a:pt x="3223" y="963"/>
                  </a:lnTo>
                  <a:lnTo>
                    <a:pt x="3139" y="900"/>
                  </a:lnTo>
                  <a:lnTo>
                    <a:pt x="3077" y="753"/>
                  </a:lnTo>
                  <a:lnTo>
                    <a:pt x="2930" y="628"/>
                  </a:lnTo>
                  <a:lnTo>
                    <a:pt x="2930" y="481"/>
                  </a:lnTo>
                  <a:lnTo>
                    <a:pt x="2909" y="356"/>
                  </a:lnTo>
                  <a:lnTo>
                    <a:pt x="2826" y="356"/>
                  </a:lnTo>
                  <a:lnTo>
                    <a:pt x="2826" y="251"/>
                  </a:lnTo>
                  <a:lnTo>
                    <a:pt x="2784" y="230"/>
                  </a:lnTo>
                  <a:lnTo>
                    <a:pt x="2763" y="63"/>
                  </a:lnTo>
                  <a:lnTo>
                    <a:pt x="270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Google Shape;12236;p43">
              <a:extLst>
                <a:ext uri="{FF2B5EF4-FFF2-40B4-BE49-F238E27FC236}">
                  <a16:creationId xmlns:a16="http://schemas.microsoft.com/office/drawing/2014/main" id="{00ABC981-9E2F-1669-1E2B-5384F1B439CE}"/>
                </a:ext>
              </a:extLst>
            </p:cNvPr>
            <p:cNvSpPr/>
            <p:nvPr/>
          </p:nvSpPr>
          <p:spPr>
            <a:xfrm>
              <a:off x="3845999" y="3071334"/>
              <a:ext cx="89711" cy="57841"/>
            </a:xfrm>
            <a:custGeom>
              <a:avLst/>
              <a:gdLst/>
              <a:ahLst/>
              <a:cxnLst/>
              <a:rect l="l" t="t" r="r" b="b"/>
              <a:pathLst>
                <a:path w="7534" h="5086" extrusionOk="0">
                  <a:moveTo>
                    <a:pt x="4750" y="1"/>
                  </a:moveTo>
                  <a:lnTo>
                    <a:pt x="4708" y="64"/>
                  </a:lnTo>
                  <a:lnTo>
                    <a:pt x="4583" y="147"/>
                  </a:lnTo>
                  <a:lnTo>
                    <a:pt x="4499" y="84"/>
                  </a:lnTo>
                  <a:lnTo>
                    <a:pt x="4374" y="84"/>
                  </a:lnTo>
                  <a:lnTo>
                    <a:pt x="4269" y="168"/>
                  </a:lnTo>
                  <a:lnTo>
                    <a:pt x="4123" y="252"/>
                  </a:lnTo>
                  <a:lnTo>
                    <a:pt x="4081" y="315"/>
                  </a:lnTo>
                  <a:lnTo>
                    <a:pt x="4123" y="398"/>
                  </a:lnTo>
                  <a:lnTo>
                    <a:pt x="4039" y="419"/>
                  </a:lnTo>
                  <a:lnTo>
                    <a:pt x="3934" y="587"/>
                  </a:lnTo>
                  <a:lnTo>
                    <a:pt x="3872" y="587"/>
                  </a:lnTo>
                  <a:lnTo>
                    <a:pt x="3830" y="566"/>
                  </a:lnTo>
                  <a:lnTo>
                    <a:pt x="3746" y="670"/>
                  </a:lnTo>
                  <a:lnTo>
                    <a:pt x="3746" y="733"/>
                  </a:lnTo>
                  <a:lnTo>
                    <a:pt x="3662" y="796"/>
                  </a:lnTo>
                  <a:lnTo>
                    <a:pt x="3641" y="900"/>
                  </a:lnTo>
                  <a:lnTo>
                    <a:pt x="3662" y="984"/>
                  </a:lnTo>
                  <a:lnTo>
                    <a:pt x="3641" y="1089"/>
                  </a:lnTo>
                  <a:lnTo>
                    <a:pt x="3537" y="1131"/>
                  </a:lnTo>
                  <a:lnTo>
                    <a:pt x="3432" y="1214"/>
                  </a:lnTo>
                  <a:lnTo>
                    <a:pt x="3202" y="1235"/>
                  </a:lnTo>
                  <a:lnTo>
                    <a:pt x="3035" y="1256"/>
                  </a:lnTo>
                  <a:lnTo>
                    <a:pt x="2909" y="1235"/>
                  </a:lnTo>
                  <a:lnTo>
                    <a:pt x="2804" y="1193"/>
                  </a:lnTo>
                  <a:lnTo>
                    <a:pt x="2679" y="1214"/>
                  </a:lnTo>
                  <a:lnTo>
                    <a:pt x="2595" y="1193"/>
                  </a:lnTo>
                  <a:lnTo>
                    <a:pt x="2511" y="1235"/>
                  </a:lnTo>
                  <a:lnTo>
                    <a:pt x="2491" y="1340"/>
                  </a:lnTo>
                  <a:lnTo>
                    <a:pt x="2595" y="1445"/>
                  </a:lnTo>
                  <a:lnTo>
                    <a:pt x="2658" y="1445"/>
                  </a:lnTo>
                  <a:lnTo>
                    <a:pt x="2679" y="1528"/>
                  </a:lnTo>
                  <a:lnTo>
                    <a:pt x="2511" y="1633"/>
                  </a:lnTo>
                  <a:lnTo>
                    <a:pt x="2449" y="1737"/>
                  </a:lnTo>
                  <a:lnTo>
                    <a:pt x="2281" y="1737"/>
                  </a:lnTo>
                  <a:lnTo>
                    <a:pt x="1947" y="1821"/>
                  </a:lnTo>
                  <a:lnTo>
                    <a:pt x="1821" y="1926"/>
                  </a:lnTo>
                  <a:lnTo>
                    <a:pt x="1633" y="1968"/>
                  </a:lnTo>
                  <a:lnTo>
                    <a:pt x="1507" y="2072"/>
                  </a:lnTo>
                  <a:lnTo>
                    <a:pt x="1403" y="2093"/>
                  </a:lnTo>
                  <a:lnTo>
                    <a:pt x="1340" y="2051"/>
                  </a:lnTo>
                  <a:lnTo>
                    <a:pt x="1298" y="1926"/>
                  </a:lnTo>
                  <a:lnTo>
                    <a:pt x="1235" y="1863"/>
                  </a:lnTo>
                  <a:lnTo>
                    <a:pt x="1151" y="1926"/>
                  </a:lnTo>
                  <a:lnTo>
                    <a:pt x="1151" y="2051"/>
                  </a:lnTo>
                  <a:lnTo>
                    <a:pt x="1110" y="2177"/>
                  </a:lnTo>
                  <a:lnTo>
                    <a:pt x="942" y="2177"/>
                  </a:lnTo>
                  <a:lnTo>
                    <a:pt x="838" y="2198"/>
                  </a:lnTo>
                  <a:lnTo>
                    <a:pt x="733" y="2198"/>
                  </a:lnTo>
                  <a:lnTo>
                    <a:pt x="712" y="2072"/>
                  </a:lnTo>
                  <a:lnTo>
                    <a:pt x="670" y="2030"/>
                  </a:lnTo>
                  <a:lnTo>
                    <a:pt x="670" y="2051"/>
                  </a:lnTo>
                  <a:lnTo>
                    <a:pt x="566" y="2198"/>
                  </a:lnTo>
                  <a:lnTo>
                    <a:pt x="461" y="2240"/>
                  </a:lnTo>
                  <a:lnTo>
                    <a:pt x="398" y="2365"/>
                  </a:lnTo>
                  <a:lnTo>
                    <a:pt x="294" y="2553"/>
                  </a:lnTo>
                  <a:lnTo>
                    <a:pt x="252" y="2679"/>
                  </a:lnTo>
                  <a:lnTo>
                    <a:pt x="147" y="2867"/>
                  </a:lnTo>
                  <a:lnTo>
                    <a:pt x="63" y="2867"/>
                  </a:lnTo>
                  <a:lnTo>
                    <a:pt x="1" y="2930"/>
                  </a:lnTo>
                  <a:lnTo>
                    <a:pt x="42" y="3077"/>
                  </a:lnTo>
                  <a:lnTo>
                    <a:pt x="84" y="3223"/>
                  </a:lnTo>
                  <a:lnTo>
                    <a:pt x="63" y="3349"/>
                  </a:lnTo>
                  <a:lnTo>
                    <a:pt x="84" y="3516"/>
                  </a:lnTo>
                  <a:lnTo>
                    <a:pt x="105" y="3641"/>
                  </a:lnTo>
                  <a:lnTo>
                    <a:pt x="105" y="3872"/>
                  </a:lnTo>
                  <a:lnTo>
                    <a:pt x="168" y="3934"/>
                  </a:lnTo>
                  <a:lnTo>
                    <a:pt x="314" y="4018"/>
                  </a:lnTo>
                  <a:lnTo>
                    <a:pt x="419" y="4123"/>
                  </a:lnTo>
                  <a:lnTo>
                    <a:pt x="461" y="4248"/>
                  </a:lnTo>
                  <a:lnTo>
                    <a:pt x="607" y="4458"/>
                  </a:lnTo>
                  <a:lnTo>
                    <a:pt x="691" y="4604"/>
                  </a:lnTo>
                  <a:lnTo>
                    <a:pt x="775" y="4688"/>
                  </a:lnTo>
                  <a:lnTo>
                    <a:pt x="942" y="4813"/>
                  </a:lnTo>
                  <a:lnTo>
                    <a:pt x="942" y="4960"/>
                  </a:lnTo>
                  <a:lnTo>
                    <a:pt x="942" y="5022"/>
                  </a:lnTo>
                  <a:lnTo>
                    <a:pt x="984" y="5085"/>
                  </a:lnTo>
                  <a:lnTo>
                    <a:pt x="1005" y="5085"/>
                  </a:lnTo>
                  <a:lnTo>
                    <a:pt x="1256" y="4667"/>
                  </a:lnTo>
                  <a:lnTo>
                    <a:pt x="1403" y="4499"/>
                  </a:lnTo>
                  <a:lnTo>
                    <a:pt x="1507" y="4478"/>
                  </a:lnTo>
                  <a:lnTo>
                    <a:pt x="1549" y="4437"/>
                  </a:lnTo>
                  <a:lnTo>
                    <a:pt x="1779" y="4332"/>
                  </a:lnTo>
                  <a:lnTo>
                    <a:pt x="1884" y="4353"/>
                  </a:lnTo>
                  <a:lnTo>
                    <a:pt x="1947" y="4290"/>
                  </a:lnTo>
                  <a:lnTo>
                    <a:pt x="2135" y="4290"/>
                  </a:lnTo>
                  <a:lnTo>
                    <a:pt x="2156" y="4353"/>
                  </a:lnTo>
                  <a:lnTo>
                    <a:pt x="2260" y="4395"/>
                  </a:lnTo>
                  <a:lnTo>
                    <a:pt x="2302" y="4374"/>
                  </a:lnTo>
                  <a:lnTo>
                    <a:pt x="2386" y="4353"/>
                  </a:lnTo>
                  <a:lnTo>
                    <a:pt x="2386" y="4269"/>
                  </a:lnTo>
                  <a:lnTo>
                    <a:pt x="2407" y="4185"/>
                  </a:lnTo>
                  <a:lnTo>
                    <a:pt x="2470" y="4144"/>
                  </a:lnTo>
                  <a:lnTo>
                    <a:pt x="2365" y="4018"/>
                  </a:lnTo>
                  <a:lnTo>
                    <a:pt x="2365" y="3955"/>
                  </a:lnTo>
                  <a:lnTo>
                    <a:pt x="2449" y="3955"/>
                  </a:lnTo>
                  <a:lnTo>
                    <a:pt x="2491" y="3913"/>
                  </a:lnTo>
                  <a:lnTo>
                    <a:pt x="2491" y="3851"/>
                  </a:lnTo>
                  <a:lnTo>
                    <a:pt x="2553" y="3767"/>
                  </a:lnTo>
                  <a:lnTo>
                    <a:pt x="2553" y="3704"/>
                  </a:lnTo>
                  <a:lnTo>
                    <a:pt x="2595" y="3662"/>
                  </a:lnTo>
                  <a:lnTo>
                    <a:pt x="2679" y="3662"/>
                  </a:lnTo>
                  <a:lnTo>
                    <a:pt x="2763" y="3558"/>
                  </a:lnTo>
                  <a:lnTo>
                    <a:pt x="2867" y="3600"/>
                  </a:lnTo>
                  <a:lnTo>
                    <a:pt x="2867" y="3537"/>
                  </a:lnTo>
                  <a:lnTo>
                    <a:pt x="2930" y="3537"/>
                  </a:lnTo>
                  <a:lnTo>
                    <a:pt x="3014" y="3600"/>
                  </a:lnTo>
                  <a:lnTo>
                    <a:pt x="3076" y="3621"/>
                  </a:lnTo>
                  <a:lnTo>
                    <a:pt x="3244" y="3746"/>
                  </a:lnTo>
                  <a:lnTo>
                    <a:pt x="3327" y="3767"/>
                  </a:lnTo>
                  <a:lnTo>
                    <a:pt x="3495" y="3913"/>
                  </a:lnTo>
                  <a:lnTo>
                    <a:pt x="3516" y="3955"/>
                  </a:lnTo>
                  <a:lnTo>
                    <a:pt x="3641" y="3934"/>
                  </a:lnTo>
                  <a:lnTo>
                    <a:pt x="3767" y="4018"/>
                  </a:lnTo>
                  <a:lnTo>
                    <a:pt x="3913" y="4018"/>
                  </a:lnTo>
                  <a:lnTo>
                    <a:pt x="3976" y="4039"/>
                  </a:lnTo>
                  <a:lnTo>
                    <a:pt x="4060" y="3976"/>
                  </a:lnTo>
                  <a:lnTo>
                    <a:pt x="4144" y="3976"/>
                  </a:lnTo>
                  <a:lnTo>
                    <a:pt x="4248" y="4039"/>
                  </a:lnTo>
                  <a:lnTo>
                    <a:pt x="4374" y="4060"/>
                  </a:lnTo>
                  <a:lnTo>
                    <a:pt x="4436" y="4081"/>
                  </a:lnTo>
                  <a:lnTo>
                    <a:pt x="4562" y="4060"/>
                  </a:lnTo>
                  <a:lnTo>
                    <a:pt x="4583" y="4018"/>
                  </a:lnTo>
                  <a:lnTo>
                    <a:pt x="4541" y="3955"/>
                  </a:lnTo>
                  <a:lnTo>
                    <a:pt x="4499" y="3913"/>
                  </a:lnTo>
                  <a:lnTo>
                    <a:pt x="4604" y="3809"/>
                  </a:lnTo>
                  <a:lnTo>
                    <a:pt x="4688" y="3704"/>
                  </a:lnTo>
                  <a:lnTo>
                    <a:pt x="4792" y="3704"/>
                  </a:lnTo>
                  <a:lnTo>
                    <a:pt x="4897" y="3725"/>
                  </a:lnTo>
                  <a:lnTo>
                    <a:pt x="4980" y="3809"/>
                  </a:lnTo>
                  <a:lnTo>
                    <a:pt x="5064" y="3767"/>
                  </a:lnTo>
                  <a:lnTo>
                    <a:pt x="5294" y="3746"/>
                  </a:lnTo>
                  <a:lnTo>
                    <a:pt x="5336" y="3704"/>
                  </a:lnTo>
                  <a:lnTo>
                    <a:pt x="5420" y="3641"/>
                  </a:lnTo>
                  <a:lnTo>
                    <a:pt x="5650" y="3537"/>
                  </a:lnTo>
                  <a:lnTo>
                    <a:pt x="5734" y="3558"/>
                  </a:lnTo>
                  <a:lnTo>
                    <a:pt x="5755" y="3600"/>
                  </a:lnTo>
                  <a:lnTo>
                    <a:pt x="5796" y="3600"/>
                  </a:lnTo>
                  <a:lnTo>
                    <a:pt x="5817" y="3662"/>
                  </a:lnTo>
                  <a:lnTo>
                    <a:pt x="5859" y="3662"/>
                  </a:lnTo>
                  <a:lnTo>
                    <a:pt x="5943" y="3621"/>
                  </a:lnTo>
                  <a:lnTo>
                    <a:pt x="6068" y="3621"/>
                  </a:lnTo>
                  <a:lnTo>
                    <a:pt x="6152" y="3600"/>
                  </a:lnTo>
                  <a:lnTo>
                    <a:pt x="6236" y="3600"/>
                  </a:lnTo>
                  <a:lnTo>
                    <a:pt x="6320" y="3495"/>
                  </a:lnTo>
                  <a:lnTo>
                    <a:pt x="6278" y="3453"/>
                  </a:lnTo>
                  <a:lnTo>
                    <a:pt x="6278" y="3411"/>
                  </a:lnTo>
                  <a:lnTo>
                    <a:pt x="6361" y="3411"/>
                  </a:lnTo>
                  <a:lnTo>
                    <a:pt x="6445" y="3453"/>
                  </a:lnTo>
                  <a:lnTo>
                    <a:pt x="6633" y="3453"/>
                  </a:lnTo>
                  <a:lnTo>
                    <a:pt x="6675" y="3495"/>
                  </a:lnTo>
                  <a:lnTo>
                    <a:pt x="6759" y="3516"/>
                  </a:lnTo>
                  <a:lnTo>
                    <a:pt x="6843" y="3558"/>
                  </a:lnTo>
                  <a:lnTo>
                    <a:pt x="7073" y="3558"/>
                  </a:lnTo>
                  <a:lnTo>
                    <a:pt x="7094" y="3600"/>
                  </a:lnTo>
                  <a:lnTo>
                    <a:pt x="7282" y="3516"/>
                  </a:lnTo>
                  <a:lnTo>
                    <a:pt x="7408" y="3516"/>
                  </a:lnTo>
                  <a:lnTo>
                    <a:pt x="7512" y="3558"/>
                  </a:lnTo>
                  <a:lnTo>
                    <a:pt x="7533" y="3600"/>
                  </a:lnTo>
                  <a:lnTo>
                    <a:pt x="7533" y="3558"/>
                  </a:lnTo>
                  <a:lnTo>
                    <a:pt x="7491" y="3495"/>
                  </a:lnTo>
                  <a:lnTo>
                    <a:pt x="7387" y="3432"/>
                  </a:lnTo>
                  <a:lnTo>
                    <a:pt x="7303" y="3390"/>
                  </a:lnTo>
                  <a:lnTo>
                    <a:pt x="7303" y="3202"/>
                  </a:lnTo>
                  <a:lnTo>
                    <a:pt x="7303" y="3139"/>
                  </a:lnTo>
                  <a:lnTo>
                    <a:pt x="7219" y="3077"/>
                  </a:lnTo>
                  <a:lnTo>
                    <a:pt x="7010" y="3035"/>
                  </a:lnTo>
                  <a:lnTo>
                    <a:pt x="6968" y="2972"/>
                  </a:lnTo>
                  <a:lnTo>
                    <a:pt x="6989" y="2867"/>
                  </a:lnTo>
                  <a:lnTo>
                    <a:pt x="6947" y="2805"/>
                  </a:lnTo>
                  <a:lnTo>
                    <a:pt x="6843" y="2784"/>
                  </a:lnTo>
                  <a:lnTo>
                    <a:pt x="6780" y="2721"/>
                  </a:lnTo>
                  <a:lnTo>
                    <a:pt x="6759" y="2553"/>
                  </a:lnTo>
                  <a:lnTo>
                    <a:pt x="6738" y="2491"/>
                  </a:lnTo>
                  <a:lnTo>
                    <a:pt x="6550" y="2365"/>
                  </a:lnTo>
                  <a:lnTo>
                    <a:pt x="6487" y="2386"/>
                  </a:lnTo>
                  <a:lnTo>
                    <a:pt x="6382" y="2344"/>
                  </a:lnTo>
                  <a:lnTo>
                    <a:pt x="6361" y="2365"/>
                  </a:lnTo>
                  <a:lnTo>
                    <a:pt x="6257" y="2344"/>
                  </a:lnTo>
                  <a:lnTo>
                    <a:pt x="6131" y="2240"/>
                  </a:lnTo>
                  <a:lnTo>
                    <a:pt x="6173" y="2177"/>
                  </a:lnTo>
                  <a:lnTo>
                    <a:pt x="6215" y="2135"/>
                  </a:lnTo>
                  <a:lnTo>
                    <a:pt x="6278" y="2072"/>
                  </a:lnTo>
                  <a:lnTo>
                    <a:pt x="6320" y="1989"/>
                  </a:lnTo>
                  <a:lnTo>
                    <a:pt x="6257" y="1926"/>
                  </a:lnTo>
                  <a:lnTo>
                    <a:pt x="6152" y="1926"/>
                  </a:lnTo>
                  <a:lnTo>
                    <a:pt x="6048" y="1863"/>
                  </a:lnTo>
                  <a:lnTo>
                    <a:pt x="6006" y="1779"/>
                  </a:lnTo>
                  <a:lnTo>
                    <a:pt x="5922" y="1737"/>
                  </a:lnTo>
                  <a:lnTo>
                    <a:pt x="5817" y="1737"/>
                  </a:lnTo>
                  <a:lnTo>
                    <a:pt x="5692" y="1654"/>
                  </a:lnTo>
                  <a:lnTo>
                    <a:pt x="5608" y="1612"/>
                  </a:lnTo>
                  <a:lnTo>
                    <a:pt x="5587" y="1465"/>
                  </a:lnTo>
                  <a:lnTo>
                    <a:pt x="5629" y="1403"/>
                  </a:lnTo>
                  <a:lnTo>
                    <a:pt x="5545" y="1361"/>
                  </a:lnTo>
                  <a:lnTo>
                    <a:pt x="5399" y="1361"/>
                  </a:lnTo>
                  <a:lnTo>
                    <a:pt x="5336" y="1424"/>
                  </a:lnTo>
                  <a:lnTo>
                    <a:pt x="5211" y="1424"/>
                  </a:lnTo>
                  <a:lnTo>
                    <a:pt x="5106" y="1340"/>
                  </a:lnTo>
                  <a:lnTo>
                    <a:pt x="5106" y="1152"/>
                  </a:lnTo>
                  <a:lnTo>
                    <a:pt x="5169" y="1047"/>
                  </a:lnTo>
                  <a:lnTo>
                    <a:pt x="5190" y="1005"/>
                  </a:lnTo>
                  <a:lnTo>
                    <a:pt x="5211" y="880"/>
                  </a:lnTo>
                  <a:lnTo>
                    <a:pt x="5190" y="796"/>
                  </a:lnTo>
                  <a:lnTo>
                    <a:pt x="5085" y="566"/>
                  </a:lnTo>
                  <a:lnTo>
                    <a:pt x="4918" y="377"/>
                  </a:lnTo>
                  <a:lnTo>
                    <a:pt x="4897" y="294"/>
                  </a:lnTo>
                  <a:lnTo>
                    <a:pt x="4771" y="189"/>
                  </a:lnTo>
                  <a:lnTo>
                    <a:pt x="4813" y="168"/>
                  </a:lnTo>
                  <a:lnTo>
                    <a:pt x="4813" y="84"/>
                  </a:lnTo>
                  <a:lnTo>
                    <a:pt x="475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Google Shape;12237;p43">
              <a:extLst>
                <a:ext uri="{FF2B5EF4-FFF2-40B4-BE49-F238E27FC236}">
                  <a16:creationId xmlns:a16="http://schemas.microsoft.com/office/drawing/2014/main" id="{E8078CF3-CCFA-C780-29A7-9C71B12890C8}"/>
                </a:ext>
              </a:extLst>
            </p:cNvPr>
            <p:cNvSpPr/>
            <p:nvPr/>
          </p:nvSpPr>
          <p:spPr>
            <a:xfrm>
              <a:off x="3809372" y="2919523"/>
              <a:ext cx="106405" cy="94483"/>
            </a:xfrm>
            <a:custGeom>
              <a:avLst/>
              <a:gdLst/>
              <a:ahLst/>
              <a:cxnLst/>
              <a:rect l="l" t="t" r="r" b="b"/>
              <a:pathLst>
                <a:path w="8936" h="8308" extrusionOk="0">
                  <a:moveTo>
                    <a:pt x="1068" y="1"/>
                  </a:moveTo>
                  <a:lnTo>
                    <a:pt x="1047" y="42"/>
                  </a:lnTo>
                  <a:lnTo>
                    <a:pt x="1089" y="252"/>
                  </a:lnTo>
                  <a:lnTo>
                    <a:pt x="1152" y="314"/>
                  </a:lnTo>
                  <a:lnTo>
                    <a:pt x="1026" y="482"/>
                  </a:lnTo>
                  <a:lnTo>
                    <a:pt x="670" y="691"/>
                  </a:lnTo>
                  <a:lnTo>
                    <a:pt x="670" y="775"/>
                  </a:lnTo>
                  <a:lnTo>
                    <a:pt x="566" y="900"/>
                  </a:lnTo>
                  <a:lnTo>
                    <a:pt x="440" y="900"/>
                  </a:lnTo>
                  <a:lnTo>
                    <a:pt x="357" y="963"/>
                  </a:lnTo>
                  <a:lnTo>
                    <a:pt x="357" y="1047"/>
                  </a:lnTo>
                  <a:lnTo>
                    <a:pt x="336" y="1109"/>
                  </a:lnTo>
                  <a:lnTo>
                    <a:pt x="398" y="1298"/>
                  </a:lnTo>
                  <a:lnTo>
                    <a:pt x="398" y="1423"/>
                  </a:lnTo>
                  <a:lnTo>
                    <a:pt x="357" y="1465"/>
                  </a:lnTo>
                  <a:lnTo>
                    <a:pt x="357" y="1507"/>
                  </a:lnTo>
                  <a:lnTo>
                    <a:pt x="336" y="1570"/>
                  </a:lnTo>
                  <a:lnTo>
                    <a:pt x="294" y="1674"/>
                  </a:lnTo>
                  <a:lnTo>
                    <a:pt x="189" y="1716"/>
                  </a:lnTo>
                  <a:lnTo>
                    <a:pt x="147" y="1737"/>
                  </a:lnTo>
                  <a:lnTo>
                    <a:pt x="85" y="1737"/>
                  </a:lnTo>
                  <a:lnTo>
                    <a:pt x="22" y="1800"/>
                  </a:lnTo>
                  <a:lnTo>
                    <a:pt x="22" y="2009"/>
                  </a:lnTo>
                  <a:lnTo>
                    <a:pt x="85" y="2030"/>
                  </a:lnTo>
                  <a:lnTo>
                    <a:pt x="147" y="2156"/>
                  </a:lnTo>
                  <a:lnTo>
                    <a:pt x="147" y="2553"/>
                  </a:lnTo>
                  <a:lnTo>
                    <a:pt x="189" y="2762"/>
                  </a:lnTo>
                  <a:lnTo>
                    <a:pt x="189" y="2825"/>
                  </a:lnTo>
                  <a:lnTo>
                    <a:pt x="189" y="3139"/>
                  </a:lnTo>
                  <a:lnTo>
                    <a:pt x="252" y="3286"/>
                  </a:lnTo>
                  <a:lnTo>
                    <a:pt x="210" y="3599"/>
                  </a:lnTo>
                  <a:lnTo>
                    <a:pt x="189" y="3662"/>
                  </a:lnTo>
                  <a:lnTo>
                    <a:pt x="231" y="3788"/>
                  </a:lnTo>
                  <a:lnTo>
                    <a:pt x="252" y="3997"/>
                  </a:lnTo>
                  <a:lnTo>
                    <a:pt x="210" y="4081"/>
                  </a:lnTo>
                  <a:lnTo>
                    <a:pt x="85" y="4185"/>
                  </a:lnTo>
                  <a:lnTo>
                    <a:pt x="43" y="4227"/>
                  </a:lnTo>
                  <a:lnTo>
                    <a:pt x="1" y="4290"/>
                  </a:lnTo>
                  <a:lnTo>
                    <a:pt x="85" y="4353"/>
                  </a:lnTo>
                  <a:lnTo>
                    <a:pt x="210" y="4541"/>
                  </a:lnTo>
                  <a:lnTo>
                    <a:pt x="315" y="4771"/>
                  </a:lnTo>
                  <a:lnTo>
                    <a:pt x="357" y="4813"/>
                  </a:lnTo>
                  <a:lnTo>
                    <a:pt x="398" y="4938"/>
                  </a:lnTo>
                  <a:lnTo>
                    <a:pt x="357" y="5022"/>
                  </a:lnTo>
                  <a:lnTo>
                    <a:pt x="398" y="5169"/>
                  </a:lnTo>
                  <a:lnTo>
                    <a:pt x="440" y="5252"/>
                  </a:lnTo>
                  <a:lnTo>
                    <a:pt x="461" y="5357"/>
                  </a:lnTo>
                  <a:lnTo>
                    <a:pt x="545" y="5441"/>
                  </a:lnTo>
                  <a:lnTo>
                    <a:pt x="984" y="5441"/>
                  </a:lnTo>
                  <a:lnTo>
                    <a:pt x="1089" y="5503"/>
                  </a:lnTo>
                  <a:lnTo>
                    <a:pt x="1173" y="5650"/>
                  </a:lnTo>
                  <a:lnTo>
                    <a:pt x="1277" y="5880"/>
                  </a:lnTo>
                  <a:lnTo>
                    <a:pt x="1340" y="5922"/>
                  </a:lnTo>
                  <a:lnTo>
                    <a:pt x="1403" y="6006"/>
                  </a:lnTo>
                  <a:lnTo>
                    <a:pt x="1486" y="6089"/>
                  </a:lnTo>
                  <a:lnTo>
                    <a:pt x="2491" y="6319"/>
                  </a:lnTo>
                  <a:lnTo>
                    <a:pt x="2595" y="6424"/>
                  </a:lnTo>
                  <a:lnTo>
                    <a:pt x="3118" y="6215"/>
                  </a:lnTo>
                  <a:lnTo>
                    <a:pt x="3746" y="5964"/>
                  </a:lnTo>
                  <a:lnTo>
                    <a:pt x="8391" y="8307"/>
                  </a:lnTo>
                  <a:lnTo>
                    <a:pt x="8391" y="8098"/>
                  </a:lnTo>
                  <a:lnTo>
                    <a:pt x="8935" y="8056"/>
                  </a:lnTo>
                  <a:lnTo>
                    <a:pt x="8705" y="2344"/>
                  </a:lnTo>
                  <a:lnTo>
                    <a:pt x="8621" y="2051"/>
                  </a:lnTo>
                  <a:lnTo>
                    <a:pt x="8580" y="1905"/>
                  </a:lnTo>
                  <a:lnTo>
                    <a:pt x="8621" y="1716"/>
                  </a:lnTo>
                  <a:lnTo>
                    <a:pt x="8705" y="1507"/>
                  </a:lnTo>
                  <a:lnTo>
                    <a:pt x="8705" y="1381"/>
                  </a:lnTo>
                  <a:lnTo>
                    <a:pt x="8663" y="1214"/>
                  </a:lnTo>
                  <a:lnTo>
                    <a:pt x="8705" y="984"/>
                  </a:lnTo>
                  <a:lnTo>
                    <a:pt x="8726" y="879"/>
                  </a:lnTo>
                  <a:lnTo>
                    <a:pt x="8684" y="733"/>
                  </a:lnTo>
                  <a:lnTo>
                    <a:pt x="8600" y="649"/>
                  </a:lnTo>
                  <a:lnTo>
                    <a:pt x="8496" y="628"/>
                  </a:lnTo>
                  <a:lnTo>
                    <a:pt x="8391" y="649"/>
                  </a:lnTo>
                  <a:lnTo>
                    <a:pt x="7994" y="586"/>
                  </a:lnTo>
                  <a:lnTo>
                    <a:pt x="7931" y="524"/>
                  </a:lnTo>
                  <a:lnTo>
                    <a:pt x="7764" y="524"/>
                  </a:lnTo>
                  <a:lnTo>
                    <a:pt x="7575" y="461"/>
                  </a:lnTo>
                  <a:lnTo>
                    <a:pt x="7533" y="377"/>
                  </a:lnTo>
                  <a:lnTo>
                    <a:pt x="7575" y="356"/>
                  </a:lnTo>
                  <a:lnTo>
                    <a:pt x="7554" y="314"/>
                  </a:lnTo>
                  <a:lnTo>
                    <a:pt x="7324" y="168"/>
                  </a:lnTo>
                  <a:lnTo>
                    <a:pt x="7199" y="168"/>
                  </a:lnTo>
                  <a:lnTo>
                    <a:pt x="7010" y="126"/>
                  </a:lnTo>
                  <a:lnTo>
                    <a:pt x="6948" y="105"/>
                  </a:lnTo>
                  <a:lnTo>
                    <a:pt x="6885" y="147"/>
                  </a:lnTo>
                  <a:lnTo>
                    <a:pt x="6780" y="63"/>
                  </a:lnTo>
                  <a:lnTo>
                    <a:pt x="6717" y="63"/>
                  </a:lnTo>
                  <a:lnTo>
                    <a:pt x="6529" y="168"/>
                  </a:lnTo>
                  <a:lnTo>
                    <a:pt x="6257" y="210"/>
                  </a:lnTo>
                  <a:lnTo>
                    <a:pt x="6006" y="314"/>
                  </a:lnTo>
                  <a:lnTo>
                    <a:pt x="5880" y="440"/>
                  </a:lnTo>
                  <a:lnTo>
                    <a:pt x="5839" y="586"/>
                  </a:lnTo>
                  <a:lnTo>
                    <a:pt x="5776" y="670"/>
                  </a:lnTo>
                  <a:lnTo>
                    <a:pt x="5755" y="963"/>
                  </a:lnTo>
                  <a:lnTo>
                    <a:pt x="5859" y="1109"/>
                  </a:lnTo>
                  <a:lnTo>
                    <a:pt x="5943" y="1361"/>
                  </a:lnTo>
                  <a:lnTo>
                    <a:pt x="5880" y="1486"/>
                  </a:lnTo>
                  <a:lnTo>
                    <a:pt x="5734" y="1633"/>
                  </a:lnTo>
                  <a:lnTo>
                    <a:pt x="5692" y="1695"/>
                  </a:lnTo>
                  <a:lnTo>
                    <a:pt x="5525" y="1842"/>
                  </a:lnTo>
                  <a:lnTo>
                    <a:pt x="5378" y="1905"/>
                  </a:lnTo>
                  <a:lnTo>
                    <a:pt x="5148" y="1800"/>
                  </a:lnTo>
                  <a:lnTo>
                    <a:pt x="4918" y="1612"/>
                  </a:lnTo>
                  <a:lnTo>
                    <a:pt x="4730" y="1486"/>
                  </a:lnTo>
                  <a:lnTo>
                    <a:pt x="4479" y="1319"/>
                  </a:lnTo>
                  <a:lnTo>
                    <a:pt x="4060" y="1172"/>
                  </a:lnTo>
                  <a:lnTo>
                    <a:pt x="3872" y="1151"/>
                  </a:lnTo>
                  <a:lnTo>
                    <a:pt x="3788" y="1172"/>
                  </a:lnTo>
                  <a:lnTo>
                    <a:pt x="3579" y="1172"/>
                  </a:lnTo>
                  <a:lnTo>
                    <a:pt x="3390" y="1068"/>
                  </a:lnTo>
                  <a:lnTo>
                    <a:pt x="3223" y="733"/>
                  </a:lnTo>
                  <a:lnTo>
                    <a:pt x="3223" y="545"/>
                  </a:lnTo>
                  <a:lnTo>
                    <a:pt x="3056" y="356"/>
                  </a:lnTo>
                  <a:lnTo>
                    <a:pt x="2700" y="314"/>
                  </a:lnTo>
                  <a:lnTo>
                    <a:pt x="2512" y="168"/>
                  </a:lnTo>
                  <a:lnTo>
                    <a:pt x="2198" y="168"/>
                  </a:lnTo>
                  <a:lnTo>
                    <a:pt x="2010" y="105"/>
                  </a:lnTo>
                  <a:lnTo>
                    <a:pt x="1591" y="168"/>
                  </a:lnTo>
                  <a:lnTo>
                    <a:pt x="1298" y="126"/>
                  </a:lnTo>
                  <a:lnTo>
                    <a:pt x="1194" y="21"/>
                  </a:lnTo>
                  <a:lnTo>
                    <a:pt x="106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Google Shape;12238;p43">
              <a:extLst>
                <a:ext uri="{FF2B5EF4-FFF2-40B4-BE49-F238E27FC236}">
                  <a16:creationId xmlns:a16="http://schemas.microsoft.com/office/drawing/2014/main" id="{C93E627A-621E-7DC3-983A-F663B8F7477E}"/>
                </a:ext>
              </a:extLst>
            </p:cNvPr>
            <p:cNvSpPr/>
            <p:nvPr/>
          </p:nvSpPr>
          <p:spPr>
            <a:xfrm>
              <a:off x="3795917" y="2888589"/>
              <a:ext cx="27173" cy="50699"/>
            </a:xfrm>
            <a:custGeom>
              <a:avLst/>
              <a:gdLst/>
              <a:ahLst/>
              <a:cxnLst/>
              <a:rect l="l" t="t" r="r" b="b"/>
              <a:pathLst>
                <a:path w="2282" h="4458" extrusionOk="0">
                  <a:moveTo>
                    <a:pt x="1235" y="0"/>
                  </a:moveTo>
                  <a:lnTo>
                    <a:pt x="1110" y="21"/>
                  </a:lnTo>
                  <a:lnTo>
                    <a:pt x="1110" y="105"/>
                  </a:lnTo>
                  <a:lnTo>
                    <a:pt x="1026" y="21"/>
                  </a:lnTo>
                  <a:lnTo>
                    <a:pt x="859" y="42"/>
                  </a:lnTo>
                  <a:lnTo>
                    <a:pt x="650" y="147"/>
                  </a:lnTo>
                  <a:lnTo>
                    <a:pt x="524" y="272"/>
                  </a:lnTo>
                  <a:lnTo>
                    <a:pt x="503" y="356"/>
                  </a:lnTo>
                  <a:lnTo>
                    <a:pt x="524" y="440"/>
                  </a:lnTo>
                  <a:lnTo>
                    <a:pt x="503" y="586"/>
                  </a:lnTo>
                  <a:lnTo>
                    <a:pt x="503" y="775"/>
                  </a:lnTo>
                  <a:lnTo>
                    <a:pt x="399" y="1047"/>
                  </a:lnTo>
                  <a:lnTo>
                    <a:pt x="440" y="1193"/>
                  </a:lnTo>
                  <a:lnTo>
                    <a:pt x="503" y="1298"/>
                  </a:lnTo>
                  <a:lnTo>
                    <a:pt x="524" y="1319"/>
                  </a:lnTo>
                  <a:lnTo>
                    <a:pt x="482" y="1381"/>
                  </a:lnTo>
                  <a:lnTo>
                    <a:pt x="419" y="1465"/>
                  </a:lnTo>
                  <a:lnTo>
                    <a:pt x="503" y="1528"/>
                  </a:lnTo>
                  <a:lnTo>
                    <a:pt x="440" y="1591"/>
                  </a:lnTo>
                  <a:lnTo>
                    <a:pt x="419" y="1800"/>
                  </a:lnTo>
                  <a:lnTo>
                    <a:pt x="336" y="1842"/>
                  </a:lnTo>
                  <a:lnTo>
                    <a:pt x="294" y="1925"/>
                  </a:lnTo>
                  <a:lnTo>
                    <a:pt x="210" y="1946"/>
                  </a:lnTo>
                  <a:lnTo>
                    <a:pt x="85" y="2114"/>
                  </a:lnTo>
                  <a:lnTo>
                    <a:pt x="1" y="2365"/>
                  </a:lnTo>
                  <a:lnTo>
                    <a:pt x="64" y="2407"/>
                  </a:lnTo>
                  <a:lnTo>
                    <a:pt x="106" y="2553"/>
                  </a:lnTo>
                  <a:lnTo>
                    <a:pt x="85" y="2616"/>
                  </a:lnTo>
                  <a:lnTo>
                    <a:pt x="168" y="2741"/>
                  </a:lnTo>
                  <a:lnTo>
                    <a:pt x="210" y="2741"/>
                  </a:lnTo>
                  <a:lnTo>
                    <a:pt x="399" y="2888"/>
                  </a:lnTo>
                  <a:lnTo>
                    <a:pt x="419" y="3034"/>
                  </a:lnTo>
                  <a:lnTo>
                    <a:pt x="545" y="3076"/>
                  </a:lnTo>
                  <a:lnTo>
                    <a:pt x="608" y="3139"/>
                  </a:lnTo>
                  <a:lnTo>
                    <a:pt x="712" y="3160"/>
                  </a:lnTo>
                  <a:lnTo>
                    <a:pt x="838" y="3306"/>
                  </a:lnTo>
                  <a:lnTo>
                    <a:pt x="1215" y="4457"/>
                  </a:lnTo>
                  <a:lnTo>
                    <a:pt x="1277" y="4457"/>
                  </a:lnTo>
                  <a:lnTo>
                    <a:pt x="1319" y="4436"/>
                  </a:lnTo>
                  <a:lnTo>
                    <a:pt x="1424" y="4394"/>
                  </a:lnTo>
                  <a:lnTo>
                    <a:pt x="1466" y="4290"/>
                  </a:lnTo>
                  <a:lnTo>
                    <a:pt x="1487" y="4227"/>
                  </a:lnTo>
                  <a:lnTo>
                    <a:pt x="1487" y="4185"/>
                  </a:lnTo>
                  <a:lnTo>
                    <a:pt x="1528" y="4143"/>
                  </a:lnTo>
                  <a:lnTo>
                    <a:pt x="1528" y="4018"/>
                  </a:lnTo>
                  <a:lnTo>
                    <a:pt x="1466" y="3829"/>
                  </a:lnTo>
                  <a:lnTo>
                    <a:pt x="1487" y="3767"/>
                  </a:lnTo>
                  <a:lnTo>
                    <a:pt x="1487" y="3683"/>
                  </a:lnTo>
                  <a:lnTo>
                    <a:pt x="1570" y="3620"/>
                  </a:lnTo>
                  <a:lnTo>
                    <a:pt x="1696" y="3620"/>
                  </a:lnTo>
                  <a:lnTo>
                    <a:pt x="1800" y="3495"/>
                  </a:lnTo>
                  <a:lnTo>
                    <a:pt x="1800" y="3411"/>
                  </a:lnTo>
                  <a:lnTo>
                    <a:pt x="2156" y="3202"/>
                  </a:lnTo>
                  <a:lnTo>
                    <a:pt x="2282" y="3034"/>
                  </a:lnTo>
                  <a:lnTo>
                    <a:pt x="2219" y="2972"/>
                  </a:lnTo>
                  <a:lnTo>
                    <a:pt x="2177" y="2762"/>
                  </a:lnTo>
                  <a:lnTo>
                    <a:pt x="2198" y="2721"/>
                  </a:lnTo>
                  <a:lnTo>
                    <a:pt x="2156" y="2679"/>
                  </a:lnTo>
                  <a:lnTo>
                    <a:pt x="1968" y="2574"/>
                  </a:lnTo>
                  <a:lnTo>
                    <a:pt x="1947" y="2532"/>
                  </a:lnTo>
                  <a:lnTo>
                    <a:pt x="1947" y="2448"/>
                  </a:lnTo>
                  <a:lnTo>
                    <a:pt x="1863" y="2407"/>
                  </a:lnTo>
                  <a:lnTo>
                    <a:pt x="1842" y="2428"/>
                  </a:lnTo>
                  <a:lnTo>
                    <a:pt x="1842" y="2469"/>
                  </a:lnTo>
                  <a:lnTo>
                    <a:pt x="1779" y="2511"/>
                  </a:lnTo>
                  <a:lnTo>
                    <a:pt x="1696" y="2469"/>
                  </a:lnTo>
                  <a:lnTo>
                    <a:pt x="1675" y="2365"/>
                  </a:lnTo>
                  <a:lnTo>
                    <a:pt x="1591" y="2407"/>
                  </a:lnTo>
                  <a:lnTo>
                    <a:pt x="1424" y="2260"/>
                  </a:lnTo>
                  <a:lnTo>
                    <a:pt x="1340" y="2114"/>
                  </a:lnTo>
                  <a:lnTo>
                    <a:pt x="1382" y="1925"/>
                  </a:lnTo>
                  <a:lnTo>
                    <a:pt x="1675" y="1737"/>
                  </a:lnTo>
                  <a:lnTo>
                    <a:pt x="1842" y="1570"/>
                  </a:lnTo>
                  <a:lnTo>
                    <a:pt x="1884" y="1507"/>
                  </a:lnTo>
                  <a:lnTo>
                    <a:pt x="1842" y="1465"/>
                  </a:lnTo>
                  <a:lnTo>
                    <a:pt x="1884" y="1381"/>
                  </a:lnTo>
                  <a:lnTo>
                    <a:pt x="1863" y="1298"/>
                  </a:lnTo>
                  <a:lnTo>
                    <a:pt x="1842" y="1277"/>
                  </a:lnTo>
                  <a:lnTo>
                    <a:pt x="1842" y="1088"/>
                  </a:lnTo>
                  <a:lnTo>
                    <a:pt x="1654" y="1005"/>
                  </a:lnTo>
                  <a:lnTo>
                    <a:pt x="1528" y="837"/>
                  </a:lnTo>
                  <a:lnTo>
                    <a:pt x="1549" y="670"/>
                  </a:lnTo>
                  <a:lnTo>
                    <a:pt x="1675" y="586"/>
                  </a:lnTo>
                  <a:lnTo>
                    <a:pt x="1696" y="482"/>
                  </a:lnTo>
                  <a:lnTo>
                    <a:pt x="1800" y="314"/>
                  </a:lnTo>
                  <a:lnTo>
                    <a:pt x="1800" y="210"/>
                  </a:lnTo>
                  <a:lnTo>
                    <a:pt x="1759" y="147"/>
                  </a:lnTo>
                  <a:lnTo>
                    <a:pt x="1549" y="335"/>
                  </a:lnTo>
                  <a:lnTo>
                    <a:pt x="1487" y="419"/>
                  </a:lnTo>
                  <a:lnTo>
                    <a:pt x="1424" y="377"/>
                  </a:lnTo>
                  <a:lnTo>
                    <a:pt x="1340" y="168"/>
                  </a:lnTo>
                  <a:lnTo>
                    <a:pt x="1277" y="168"/>
                  </a:lnTo>
                  <a:lnTo>
                    <a:pt x="1277" y="63"/>
                  </a:lnTo>
                  <a:lnTo>
                    <a:pt x="1235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Google Shape;12239;p43">
              <a:extLst>
                <a:ext uri="{FF2B5EF4-FFF2-40B4-BE49-F238E27FC236}">
                  <a16:creationId xmlns:a16="http://schemas.microsoft.com/office/drawing/2014/main" id="{07A2BBF3-4F83-6415-90C4-D47F9274EDF1}"/>
                </a:ext>
              </a:extLst>
            </p:cNvPr>
            <p:cNvSpPr/>
            <p:nvPr/>
          </p:nvSpPr>
          <p:spPr>
            <a:xfrm>
              <a:off x="3689035" y="2890250"/>
              <a:ext cx="138044" cy="127554"/>
            </a:xfrm>
            <a:custGeom>
              <a:avLst/>
              <a:gdLst/>
              <a:ahLst/>
              <a:cxnLst/>
              <a:rect l="l" t="t" r="r" b="b"/>
              <a:pathLst>
                <a:path w="11593" h="11216" extrusionOk="0">
                  <a:moveTo>
                    <a:pt x="8307" y="1"/>
                  </a:moveTo>
                  <a:lnTo>
                    <a:pt x="8161" y="22"/>
                  </a:lnTo>
                  <a:lnTo>
                    <a:pt x="8140" y="106"/>
                  </a:lnTo>
                  <a:lnTo>
                    <a:pt x="8035" y="126"/>
                  </a:lnTo>
                  <a:lnTo>
                    <a:pt x="7994" y="210"/>
                  </a:lnTo>
                  <a:lnTo>
                    <a:pt x="7910" y="189"/>
                  </a:lnTo>
                  <a:lnTo>
                    <a:pt x="7805" y="189"/>
                  </a:lnTo>
                  <a:lnTo>
                    <a:pt x="7701" y="294"/>
                  </a:lnTo>
                  <a:lnTo>
                    <a:pt x="7575" y="294"/>
                  </a:lnTo>
                  <a:lnTo>
                    <a:pt x="7491" y="168"/>
                  </a:lnTo>
                  <a:lnTo>
                    <a:pt x="7324" y="168"/>
                  </a:lnTo>
                  <a:lnTo>
                    <a:pt x="7261" y="126"/>
                  </a:lnTo>
                  <a:lnTo>
                    <a:pt x="7115" y="168"/>
                  </a:lnTo>
                  <a:lnTo>
                    <a:pt x="6989" y="126"/>
                  </a:lnTo>
                  <a:lnTo>
                    <a:pt x="6947" y="168"/>
                  </a:lnTo>
                  <a:lnTo>
                    <a:pt x="6843" y="106"/>
                  </a:lnTo>
                  <a:lnTo>
                    <a:pt x="6759" y="126"/>
                  </a:lnTo>
                  <a:lnTo>
                    <a:pt x="6696" y="273"/>
                  </a:lnTo>
                  <a:lnTo>
                    <a:pt x="6571" y="273"/>
                  </a:lnTo>
                  <a:lnTo>
                    <a:pt x="6466" y="210"/>
                  </a:lnTo>
                  <a:lnTo>
                    <a:pt x="6320" y="336"/>
                  </a:lnTo>
                  <a:lnTo>
                    <a:pt x="6236" y="336"/>
                  </a:lnTo>
                  <a:lnTo>
                    <a:pt x="6110" y="273"/>
                  </a:lnTo>
                  <a:lnTo>
                    <a:pt x="5964" y="315"/>
                  </a:lnTo>
                  <a:lnTo>
                    <a:pt x="5629" y="315"/>
                  </a:lnTo>
                  <a:lnTo>
                    <a:pt x="5336" y="524"/>
                  </a:lnTo>
                  <a:lnTo>
                    <a:pt x="5190" y="545"/>
                  </a:lnTo>
                  <a:lnTo>
                    <a:pt x="5106" y="545"/>
                  </a:lnTo>
                  <a:lnTo>
                    <a:pt x="4981" y="629"/>
                  </a:lnTo>
                  <a:lnTo>
                    <a:pt x="4960" y="712"/>
                  </a:lnTo>
                  <a:lnTo>
                    <a:pt x="4897" y="817"/>
                  </a:lnTo>
                  <a:lnTo>
                    <a:pt x="4813" y="817"/>
                  </a:lnTo>
                  <a:lnTo>
                    <a:pt x="4792" y="796"/>
                  </a:lnTo>
                  <a:lnTo>
                    <a:pt x="4709" y="796"/>
                  </a:lnTo>
                  <a:lnTo>
                    <a:pt x="4646" y="817"/>
                  </a:lnTo>
                  <a:lnTo>
                    <a:pt x="4604" y="859"/>
                  </a:lnTo>
                  <a:lnTo>
                    <a:pt x="4457" y="901"/>
                  </a:lnTo>
                  <a:lnTo>
                    <a:pt x="4332" y="942"/>
                  </a:lnTo>
                  <a:lnTo>
                    <a:pt x="4248" y="1026"/>
                  </a:lnTo>
                  <a:lnTo>
                    <a:pt x="4227" y="1068"/>
                  </a:lnTo>
                  <a:lnTo>
                    <a:pt x="4123" y="1214"/>
                  </a:lnTo>
                  <a:lnTo>
                    <a:pt x="3934" y="1256"/>
                  </a:lnTo>
                  <a:lnTo>
                    <a:pt x="3767" y="1256"/>
                  </a:lnTo>
                  <a:lnTo>
                    <a:pt x="3830" y="1340"/>
                  </a:lnTo>
                  <a:lnTo>
                    <a:pt x="3851" y="1382"/>
                  </a:lnTo>
                  <a:lnTo>
                    <a:pt x="3913" y="1486"/>
                  </a:lnTo>
                  <a:lnTo>
                    <a:pt x="3934" y="1591"/>
                  </a:lnTo>
                  <a:lnTo>
                    <a:pt x="3955" y="1633"/>
                  </a:lnTo>
                  <a:lnTo>
                    <a:pt x="3955" y="1800"/>
                  </a:lnTo>
                  <a:lnTo>
                    <a:pt x="3955" y="2051"/>
                  </a:lnTo>
                  <a:lnTo>
                    <a:pt x="3976" y="2114"/>
                  </a:lnTo>
                  <a:lnTo>
                    <a:pt x="4039" y="2575"/>
                  </a:lnTo>
                  <a:lnTo>
                    <a:pt x="4123" y="2721"/>
                  </a:lnTo>
                  <a:lnTo>
                    <a:pt x="4144" y="2847"/>
                  </a:lnTo>
                  <a:lnTo>
                    <a:pt x="4227" y="2847"/>
                  </a:lnTo>
                  <a:lnTo>
                    <a:pt x="4269" y="2909"/>
                  </a:lnTo>
                  <a:lnTo>
                    <a:pt x="4353" y="2930"/>
                  </a:lnTo>
                  <a:lnTo>
                    <a:pt x="4395" y="2951"/>
                  </a:lnTo>
                  <a:lnTo>
                    <a:pt x="4332" y="3119"/>
                  </a:lnTo>
                  <a:lnTo>
                    <a:pt x="4353" y="3160"/>
                  </a:lnTo>
                  <a:lnTo>
                    <a:pt x="4269" y="3265"/>
                  </a:lnTo>
                  <a:lnTo>
                    <a:pt x="3600" y="3265"/>
                  </a:lnTo>
                  <a:lnTo>
                    <a:pt x="3453" y="3307"/>
                  </a:lnTo>
                  <a:lnTo>
                    <a:pt x="3307" y="3516"/>
                  </a:lnTo>
                  <a:lnTo>
                    <a:pt x="3202" y="3621"/>
                  </a:lnTo>
                  <a:lnTo>
                    <a:pt x="3118" y="3746"/>
                  </a:lnTo>
                  <a:lnTo>
                    <a:pt x="3139" y="3935"/>
                  </a:lnTo>
                  <a:lnTo>
                    <a:pt x="3097" y="4060"/>
                  </a:lnTo>
                  <a:lnTo>
                    <a:pt x="2700" y="4311"/>
                  </a:lnTo>
                  <a:lnTo>
                    <a:pt x="2072" y="4688"/>
                  </a:lnTo>
                  <a:lnTo>
                    <a:pt x="1612" y="4939"/>
                  </a:lnTo>
                  <a:lnTo>
                    <a:pt x="1361" y="5002"/>
                  </a:lnTo>
                  <a:lnTo>
                    <a:pt x="1152" y="5002"/>
                  </a:lnTo>
                  <a:lnTo>
                    <a:pt x="1047" y="5043"/>
                  </a:lnTo>
                  <a:lnTo>
                    <a:pt x="880" y="5043"/>
                  </a:lnTo>
                  <a:lnTo>
                    <a:pt x="587" y="5106"/>
                  </a:lnTo>
                  <a:lnTo>
                    <a:pt x="398" y="5211"/>
                  </a:lnTo>
                  <a:lnTo>
                    <a:pt x="294" y="5357"/>
                  </a:lnTo>
                  <a:lnTo>
                    <a:pt x="43" y="5546"/>
                  </a:lnTo>
                  <a:lnTo>
                    <a:pt x="43" y="6048"/>
                  </a:lnTo>
                  <a:lnTo>
                    <a:pt x="1" y="6194"/>
                  </a:lnTo>
                  <a:lnTo>
                    <a:pt x="2093" y="7617"/>
                  </a:lnTo>
                  <a:lnTo>
                    <a:pt x="5901" y="10128"/>
                  </a:lnTo>
                  <a:lnTo>
                    <a:pt x="5943" y="10379"/>
                  </a:lnTo>
                  <a:lnTo>
                    <a:pt x="6069" y="10484"/>
                  </a:lnTo>
                  <a:lnTo>
                    <a:pt x="6278" y="10484"/>
                  </a:lnTo>
                  <a:lnTo>
                    <a:pt x="6445" y="10546"/>
                  </a:lnTo>
                  <a:lnTo>
                    <a:pt x="6550" y="10672"/>
                  </a:lnTo>
                  <a:lnTo>
                    <a:pt x="6696" y="10735"/>
                  </a:lnTo>
                  <a:lnTo>
                    <a:pt x="6801" y="10797"/>
                  </a:lnTo>
                  <a:lnTo>
                    <a:pt x="6801" y="10902"/>
                  </a:lnTo>
                  <a:lnTo>
                    <a:pt x="6738" y="11090"/>
                  </a:lnTo>
                  <a:lnTo>
                    <a:pt x="6780" y="11174"/>
                  </a:lnTo>
                  <a:lnTo>
                    <a:pt x="6906" y="11216"/>
                  </a:lnTo>
                  <a:lnTo>
                    <a:pt x="7178" y="11195"/>
                  </a:lnTo>
                  <a:lnTo>
                    <a:pt x="7408" y="11111"/>
                  </a:lnTo>
                  <a:lnTo>
                    <a:pt x="8266" y="10902"/>
                  </a:lnTo>
                  <a:lnTo>
                    <a:pt x="8998" y="10253"/>
                  </a:lnTo>
                  <a:lnTo>
                    <a:pt x="11592" y="8663"/>
                  </a:lnTo>
                  <a:lnTo>
                    <a:pt x="11509" y="8580"/>
                  </a:lnTo>
                  <a:lnTo>
                    <a:pt x="11446" y="8496"/>
                  </a:lnTo>
                  <a:lnTo>
                    <a:pt x="11383" y="8454"/>
                  </a:lnTo>
                  <a:lnTo>
                    <a:pt x="11279" y="8224"/>
                  </a:lnTo>
                  <a:lnTo>
                    <a:pt x="11195" y="8077"/>
                  </a:lnTo>
                  <a:lnTo>
                    <a:pt x="11090" y="8015"/>
                  </a:lnTo>
                  <a:lnTo>
                    <a:pt x="10651" y="8015"/>
                  </a:lnTo>
                  <a:lnTo>
                    <a:pt x="10567" y="7931"/>
                  </a:lnTo>
                  <a:lnTo>
                    <a:pt x="10546" y="7826"/>
                  </a:lnTo>
                  <a:lnTo>
                    <a:pt x="10504" y="7743"/>
                  </a:lnTo>
                  <a:lnTo>
                    <a:pt x="10463" y="7596"/>
                  </a:lnTo>
                  <a:lnTo>
                    <a:pt x="10504" y="7512"/>
                  </a:lnTo>
                  <a:lnTo>
                    <a:pt x="10463" y="7387"/>
                  </a:lnTo>
                  <a:lnTo>
                    <a:pt x="10421" y="7345"/>
                  </a:lnTo>
                  <a:lnTo>
                    <a:pt x="10316" y="7115"/>
                  </a:lnTo>
                  <a:lnTo>
                    <a:pt x="10191" y="6927"/>
                  </a:lnTo>
                  <a:lnTo>
                    <a:pt x="10107" y="6864"/>
                  </a:lnTo>
                  <a:lnTo>
                    <a:pt x="10149" y="6801"/>
                  </a:lnTo>
                  <a:lnTo>
                    <a:pt x="10191" y="6759"/>
                  </a:lnTo>
                  <a:lnTo>
                    <a:pt x="10316" y="6655"/>
                  </a:lnTo>
                  <a:lnTo>
                    <a:pt x="10358" y="6571"/>
                  </a:lnTo>
                  <a:lnTo>
                    <a:pt x="10337" y="6362"/>
                  </a:lnTo>
                  <a:lnTo>
                    <a:pt x="10295" y="6236"/>
                  </a:lnTo>
                  <a:lnTo>
                    <a:pt x="10316" y="6173"/>
                  </a:lnTo>
                  <a:lnTo>
                    <a:pt x="10358" y="5860"/>
                  </a:lnTo>
                  <a:lnTo>
                    <a:pt x="10295" y="5713"/>
                  </a:lnTo>
                  <a:lnTo>
                    <a:pt x="10295" y="5399"/>
                  </a:lnTo>
                  <a:lnTo>
                    <a:pt x="10295" y="5336"/>
                  </a:lnTo>
                  <a:lnTo>
                    <a:pt x="10253" y="5127"/>
                  </a:lnTo>
                  <a:lnTo>
                    <a:pt x="10253" y="4730"/>
                  </a:lnTo>
                  <a:lnTo>
                    <a:pt x="10191" y="4604"/>
                  </a:lnTo>
                  <a:lnTo>
                    <a:pt x="10128" y="4583"/>
                  </a:lnTo>
                  <a:lnTo>
                    <a:pt x="10128" y="4374"/>
                  </a:lnTo>
                  <a:lnTo>
                    <a:pt x="10191" y="4311"/>
                  </a:lnTo>
                  <a:lnTo>
                    <a:pt x="9814" y="3160"/>
                  </a:lnTo>
                  <a:lnTo>
                    <a:pt x="9688" y="3014"/>
                  </a:lnTo>
                  <a:lnTo>
                    <a:pt x="9584" y="2993"/>
                  </a:lnTo>
                  <a:lnTo>
                    <a:pt x="9521" y="2930"/>
                  </a:lnTo>
                  <a:lnTo>
                    <a:pt x="9395" y="2888"/>
                  </a:lnTo>
                  <a:lnTo>
                    <a:pt x="9375" y="2742"/>
                  </a:lnTo>
                  <a:lnTo>
                    <a:pt x="9186" y="2595"/>
                  </a:lnTo>
                  <a:lnTo>
                    <a:pt x="9144" y="2595"/>
                  </a:lnTo>
                  <a:lnTo>
                    <a:pt x="9061" y="2470"/>
                  </a:lnTo>
                  <a:lnTo>
                    <a:pt x="9082" y="2407"/>
                  </a:lnTo>
                  <a:lnTo>
                    <a:pt x="9040" y="2261"/>
                  </a:lnTo>
                  <a:lnTo>
                    <a:pt x="8977" y="2219"/>
                  </a:lnTo>
                  <a:lnTo>
                    <a:pt x="9061" y="1968"/>
                  </a:lnTo>
                  <a:lnTo>
                    <a:pt x="9186" y="1800"/>
                  </a:lnTo>
                  <a:lnTo>
                    <a:pt x="9270" y="1779"/>
                  </a:lnTo>
                  <a:lnTo>
                    <a:pt x="9312" y="1696"/>
                  </a:lnTo>
                  <a:lnTo>
                    <a:pt x="9395" y="1654"/>
                  </a:lnTo>
                  <a:lnTo>
                    <a:pt x="9416" y="1445"/>
                  </a:lnTo>
                  <a:lnTo>
                    <a:pt x="9479" y="1382"/>
                  </a:lnTo>
                  <a:lnTo>
                    <a:pt x="9395" y="1319"/>
                  </a:lnTo>
                  <a:lnTo>
                    <a:pt x="9458" y="1235"/>
                  </a:lnTo>
                  <a:lnTo>
                    <a:pt x="9500" y="1173"/>
                  </a:lnTo>
                  <a:lnTo>
                    <a:pt x="9479" y="1152"/>
                  </a:lnTo>
                  <a:lnTo>
                    <a:pt x="9416" y="1047"/>
                  </a:lnTo>
                  <a:lnTo>
                    <a:pt x="9375" y="901"/>
                  </a:lnTo>
                  <a:lnTo>
                    <a:pt x="9479" y="629"/>
                  </a:lnTo>
                  <a:lnTo>
                    <a:pt x="9479" y="440"/>
                  </a:lnTo>
                  <a:lnTo>
                    <a:pt x="9500" y="294"/>
                  </a:lnTo>
                  <a:lnTo>
                    <a:pt x="9479" y="210"/>
                  </a:lnTo>
                  <a:lnTo>
                    <a:pt x="9500" y="126"/>
                  </a:lnTo>
                  <a:lnTo>
                    <a:pt x="9479" y="106"/>
                  </a:lnTo>
                  <a:lnTo>
                    <a:pt x="9291" y="126"/>
                  </a:lnTo>
                  <a:lnTo>
                    <a:pt x="9207" y="106"/>
                  </a:lnTo>
                  <a:lnTo>
                    <a:pt x="8977" y="189"/>
                  </a:lnTo>
                  <a:lnTo>
                    <a:pt x="8851" y="85"/>
                  </a:lnTo>
                  <a:lnTo>
                    <a:pt x="8684" y="22"/>
                  </a:lnTo>
                  <a:lnTo>
                    <a:pt x="8684" y="85"/>
                  </a:lnTo>
                  <a:lnTo>
                    <a:pt x="8579" y="189"/>
                  </a:lnTo>
                  <a:lnTo>
                    <a:pt x="8370" y="168"/>
                  </a:lnTo>
                  <a:lnTo>
                    <a:pt x="8370" y="64"/>
                  </a:lnTo>
                  <a:lnTo>
                    <a:pt x="83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Google Shape;12240;p43">
              <a:extLst>
                <a:ext uri="{FF2B5EF4-FFF2-40B4-BE49-F238E27FC236}">
                  <a16:creationId xmlns:a16="http://schemas.microsoft.com/office/drawing/2014/main" id="{1976F876-FE2E-6752-8C3C-86779B859B62}"/>
                </a:ext>
              </a:extLst>
            </p:cNvPr>
            <p:cNvSpPr/>
            <p:nvPr/>
          </p:nvSpPr>
          <p:spPr>
            <a:xfrm>
              <a:off x="3661636" y="2898825"/>
              <a:ext cx="79733" cy="60206"/>
            </a:xfrm>
            <a:custGeom>
              <a:avLst/>
              <a:gdLst/>
              <a:ahLst/>
              <a:cxnLst/>
              <a:rect l="l" t="t" r="r" b="b"/>
              <a:pathLst>
                <a:path w="6696" h="5294" extrusionOk="0">
                  <a:moveTo>
                    <a:pt x="4269" y="0"/>
                  </a:moveTo>
                  <a:lnTo>
                    <a:pt x="4164" y="42"/>
                  </a:lnTo>
                  <a:lnTo>
                    <a:pt x="4122" y="84"/>
                  </a:lnTo>
                  <a:lnTo>
                    <a:pt x="4038" y="84"/>
                  </a:lnTo>
                  <a:lnTo>
                    <a:pt x="3913" y="188"/>
                  </a:lnTo>
                  <a:lnTo>
                    <a:pt x="3871" y="502"/>
                  </a:lnTo>
                  <a:lnTo>
                    <a:pt x="3766" y="691"/>
                  </a:lnTo>
                  <a:lnTo>
                    <a:pt x="3745" y="921"/>
                  </a:lnTo>
                  <a:lnTo>
                    <a:pt x="3662" y="1046"/>
                  </a:lnTo>
                  <a:lnTo>
                    <a:pt x="3411" y="1318"/>
                  </a:lnTo>
                  <a:lnTo>
                    <a:pt x="3327" y="1318"/>
                  </a:lnTo>
                  <a:lnTo>
                    <a:pt x="3222" y="1402"/>
                  </a:lnTo>
                  <a:lnTo>
                    <a:pt x="2992" y="1465"/>
                  </a:lnTo>
                  <a:lnTo>
                    <a:pt x="2825" y="1632"/>
                  </a:lnTo>
                  <a:lnTo>
                    <a:pt x="2783" y="1632"/>
                  </a:lnTo>
                  <a:lnTo>
                    <a:pt x="2553" y="1779"/>
                  </a:lnTo>
                  <a:lnTo>
                    <a:pt x="2406" y="1841"/>
                  </a:lnTo>
                  <a:lnTo>
                    <a:pt x="2344" y="1967"/>
                  </a:lnTo>
                  <a:lnTo>
                    <a:pt x="2072" y="2155"/>
                  </a:lnTo>
                  <a:lnTo>
                    <a:pt x="2155" y="2365"/>
                  </a:lnTo>
                  <a:lnTo>
                    <a:pt x="2155" y="2490"/>
                  </a:lnTo>
                  <a:lnTo>
                    <a:pt x="1925" y="2699"/>
                  </a:lnTo>
                  <a:lnTo>
                    <a:pt x="1758" y="3013"/>
                  </a:lnTo>
                  <a:lnTo>
                    <a:pt x="1758" y="3118"/>
                  </a:lnTo>
                  <a:lnTo>
                    <a:pt x="1862" y="3327"/>
                  </a:lnTo>
                  <a:lnTo>
                    <a:pt x="1779" y="3536"/>
                  </a:lnTo>
                  <a:lnTo>
                    <a:pt x="1841" y="3599"/>
                  </a:lnTo>
                  <a:lnTo>
                    <a:pt x="1883" y="3662"/>
                  </a:lnTo>
                  <a:lnTo>
                    <a:pt x="1862" y="3829"/>
                  </a:lnTo>
                  <a:lnTo>
                    <a:pt x="1507" y="4248"/>
                  </a:lnTo>
                  <a:lnTo>
                    <a:pt x="1444" y="4394"/>
                  </a:lnTo>
                  <a:lnTo>
                    <a:pt x="1297" y="4582"/>
                  </a:lnTo>
                  <a:lnTo>
                    <a:pt x="1109" y="4603"/>
                  </a:lnTo>
                  <a:lnTo>
                    <a:pt x="712" y="4959"/>
                  </a:lnTo>
                  <a:lnTo>
                    <a:pt x="147" y="5064"/>
                  </a:lnTo>
                  <a:lnTo>
                    <a:pt x="0" y="5273"/>
                  </a:lnTo>
                  <a:lnTo>
                    <a:pt x="2344" y="5294"/>
                  </a:lnTo>
                  <a:lnTo>
                    <a:pt x="2344" y="4792"/>
                  </a:lnTo>
                  <a:lnTo>
                    <a:pt x="2595" y="4603"/>
                  </a:lnTo>
                  <a:lnTo>
                    <a:pt x="2699" y="4457"/>
                  </a:lnTo>
                  <a:lnTo>
                    <a:pt x="2888" y="4352"/>
                  </a:lnTo>
                  <a:lnTo>
                    <a:pt x="3181" y="4289"/>
                  </a:lnTo>
                  <a:lnTo>
                    <a:pt x="3348" y="4289"/>
                  </a:lnTo>
                  <a:lnTo>
                    <a:pt x="3453" y="4248"/>
                  </a:lnTo>
                  <a:lnTo>
                    <a:pt x="3662" y="4248"/>
                  </a:lnTo>
                  <a:lnTo>
                    <a:pt x="3913" y="4185"/>
                  </a:lnTo>
                  <a:lnTo>
                    <a:pt x="4373" y="3934"/>
                  </a:lnTo>
                  <a:lnTo>
                    <a:pt x="5001" y="3557"/>
                  </a:lnTo>
                  <a:lnTo>
                    <a:pt x="5398" y="3306"/>
                  </a:lnTo>
                  <a:lnTo>
                    <a:pt x="5440" y="3181"/>
                  </a:lnTo>
                  <a:lnTo>
                    <a:pt x="5419" y="2992"/>
                  </a:lnTo>
                  <a:lnTo>
                    <a:pt x="5503" y="2867"/>
                  </a:lnTo>
                  <a:lnTo>
                    <a:pt x="5608" y="2762"/>
                  </a:lnTo>
                  <a:lnTo>
                    <a:pt x="5754" y="2553"/>
                  </a:lnTo>
                  <a:lnTo>
                    <a:pt x="5901" y="2511"/>
                  </a:lnTo>
                  <a:lnTo>
                    <a:pt x="6570" y="2511"/>
                  </a:lnTo>
                  <a:lnTo>
                    <a:pt x="6654" y="2406"/>
                  </a:lnTo>
                  <a:lnTo>
                    <a:pt x="6633" y="2365"/>
                  </a:lnTo>
                  <a:lnTo>
                    <a:pt x="6696" y="2197"/>
                  </a:lnTo>
                  <a:lnTo>
                    <a:pt x="6654" y="2176"/>
                  </a:lnTo>
                  <a:lnTo>
                    <a:pt x="6570" y="2155"/>
                  </a:lnTo>
                  <a:lnTo>
                    <a:pt x="6528" y="2093"/>
                  </a:lnTo>
                  <a:lnTo>
                    <a:pt x="6445" y="2093"/>
                  </a:lnTo>
                  <a:lnTo>
                    <a:pt x="6424" y="1967"/>
                  </a:lnTo>
                  <a:lnTo>
                    <a:pt x="6340" y="1821"/>
                  </a:lnTo>
                  <a:lnTo>
                    <a:pt x="6277" y="1360"/>
                  </a:lnTo>
                  <a:lnTo>
                    <a:pt x="6256" y="1297"/>
                  </a:lnTo>
                  <a:lnTo>
                    <a:pt x="6256" y="1046"/>
                  </a:lnTo>
                  <a:lnTo>
                    <a:pt x="6256" y="879"/>
                  </a:lnTo>
                  <a:lnTo>
                    <a:pt x="6235" y="837"/>
                  </a:lnTo>
                  <a:lnTo>
                    <a:pt x="6214" y="732"/>
                  </a:lnTo>
                  <a:lnTo>
                    <a:pt x="6152" y="628"/>
                  </a:lnTo>
                  <a:lnTo>
                    <a:pt x="6131" y="586"/>
                  </a:lnTo>
                  <a:lnTo>
                    <a:pt x="6068" y="502"/>
                  </a:lnTo>
                  <a:lnTo>
                    <a:pt x="6005" y="523"/>
                  </a:lnTo>
                  <a:lnTo>
                    <a:pt x="5691" y="502"/>
                  </a:lnTo>
                  <a:lnTo>
                    <a:pt x="5608" y="419"/>
                  </a:lnTo>
                  <a:lnTo>
                    <a:pt x="5587" y="314"/>
                  </a:lnTo>
                  <a:lnTo>
                    <a:pt x="5524" y="293"/>
                  </a:lnTo>
                  <a:lnTo>
                    <a:pt x="5419" y="398"/>
                  </a:lnTo>
                  <a:lnTo>
                    <a:pt x="5231" y="460"/>
                  </a:lnTo>
                  <a:lnTo>
                    <a:pt x="5064" y="398"/>
                  </a:lnTo>
                  <a:lnTo>
                    <a:pt x="4959" y="398"/>
                  </a:lnTo>
                  <a:lnTo>
                    <a:pt x="4854" y="460"/>
                  </a:lnTo>
                  <a:lnTo>
                    <a:pt x="4666" y="481"/>
                  </a:lnTo>
                  <a:lnTo>
                    <a:pt x="4541" y="460"/>
                  </a:lnTo>
                  <a:lnTo>
                    <a:pt x="4373" y="293"/>
                  </a:lnTo>
                  <a:lnTo>
                    <a:pt x="4331" y="251"/>
                  </a:lnTo>
                  <a:lnTo>
                    <a:pt x="4290" y="147"/>
                  </a:lnTo>
                  <a:lnTo>
                    <a:pt x="4290" y="84"/>
                  </a:lnTo>
                  <a:lnTo>
                    <a:pt x="4290" y="42"/>
                  </a:lnTo>
                  <a:lnTo>
                    <a:pt x="426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Google Shape;12241;p43">
              <a:extLst>
                <a:ext uri="{FF2B5EF4-FFF2-40B4-BE49-F238E27FC236}">
                  <a16:creationId xmlns:a16="http://schemas.microsoft.com/office/drawing/2014/main" id="{FFD348A8-B548-E2CC-2C81-E118B252FF32}"/>
                </a:ext>
              </a:extLst>
            </p:cNvPr>
            <p:cNvSpPr/>
            <p:nvPr/>
          </p:nvSpPr>
          <p:spPr>
            <a:xfrm>
              <a:off x="3632974" y="2958780"/>
              <a:ext cx="56573" cy="43318"/>
            </a:xfrm>
            <a:custGeom>
              <a:avLst/>
              <a:gdLst/>
              <a:ahLst/>
              <a:cxnLst/>
              <a:rect l="l" t="t" r="r" b="b"/>
              <a:pathLst>
                <a:path w="4751" h="3809" extrusionOk="0">
                  <a:moveTo>
                    <a:pt x="2407" y="1"/>
                  </a:moveTo>
                  <a:lnTo>
                    <a:pt x="2177" y="315"/>
                  </a:lnTo>
                  <a:lnTo>
                    <a:pt x="2177" y="524"/>
                  </a:lnTo>
                  <a:lnTo>
                    <a:pt x="2072" y="545"/>
                  </a:lnTo>
                  <a:lnTo>
                    <a:pt x="1675" y="754"/>
                  </a:lnTo>
                  <a:lnTo>
                    <a:pt x="1633" y="859"/>
                  </a:lnTo>
                  <a:lnTo>
                    <a:pt x="1466" y="942"/>
                  </a:lnTo>
                  <a:lnTo>
                    <a:pt x="1528" y="1089"/>
                  </a:lnTo>
                  <a:lnTo>
                    <a:pt x="1194" y="1612"/>
                  </a:lnTo>
                  <a:lnTo>
                    <a:pt x="1152" y="1779"/>
                  </a:lnTo>
                  <a:lnTo>
                    <a:pt x="901" y="2030"/>
                  </a:lnTo>
                  <a:lnTo>
                    <a:pt x="796" y="2093"/>
                  </a:lnTo>
                  <a:lnTo>
                    <a:pt x="671" y="2365"/>
                  </a:lnTo>
                  <a:lnTo>
                    <a:pt x="671" y="2470"/>
                  </a:lnTo>
                  <a:lnTo>
                    <a:pt x="461" y="2763"/>
                  </a:lnTo>
                  <a:lnTo>
                    <a:pt x="419" y="2847"/>
                  </a:lnTo>
                  <a:lnTo>
                    <a:pt x="503" y="2888"/>
                  </a:lnTo>
                  <a:lnTo>
                    <a:pt x="398" y="2930"/>
                  </a:lnTo>
                  <a:lnTo>
                    <a:pt x="210" y="3265"/>
                  </a:lnTo>
                  <a:lnTo>
                    <a:pt x="147" y="3286"/>
                  </a:lnTo>
                  <a:lnTo>
                    <a:pt x="64" y="3370"/>
                  </a:lnTo>
                  <a:lnTo>
                    <a:pt x="85" y="3495"/>
                  </a:lnTo>
                  <a:lnTo>
                    <a:pt x="1" y="3621"/>
                  </a:lnTo>
                  <a:lnTo>
                    <a:pt x="43" y="3809"/>
                  </a:lnTo>
                  <a:lnTo>
                    <a:pt x="2344" y="3809"/>
                  </a:lnTo>
                  <a:lnTo>
                    <a:pt x="2303" y="2742"/>
                  </a:lnTo>
                  <a:lnTo>
                    <a:pt x="2386" y="2575"/>
                  </a:lnTo>
                  <a:lnTo>
                    <a:pt x="2512" y="2512"/>
                  </a:lnTo>
                  <a:lnTo>
                    <a:pt x="2658" y="2470"/>
                  </a:lnTo>
                  <a:lnTo>
                    <a:pt x="2867" y="2470"/>
                  </a:lnTo>
                  <a:lnTo>
                    <a:pt x="2888" y="963"/>
                  </a:lnTo>
                  <a:lnTo>
                    <a:pt x="4709" y="984"/>
                  </a:lnTo>
                  <a:lnTo>
                    <a:pt x="4709" y="168"/>
                  </a:lnTo>
                  <a:lnTo>
                    <a:pt x="4751" y="22"/>
                  </a:lnTo>
                  <a:lnTo>
                    <a:pt x="2407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Google Shape;12242;p43">
              <a:extLst>
                <a:ext uri="{FF2B5EF4-FFF2-40B4-BE49-F238E27FC236}">
                  <a16:creationId xmlns:a16="http://schemas.microsoft.com/office/drawing/2014/main" id="{A9E5BB73-162D-0F0C-49AA-86276374DE81}"/>
                </a:ext>
              </a:extLst>
            </p:cNvPr>
            <p:cNvSpPr/>
            <p:nvPr/>
          </p:nvSpPr>
          <p:spPr>
            <a:xfrm>
              <a:off x="3632736" y="2960691"/>
              <a:ext cx="81233" cy="85430"/>
            </a:xfrm>
            <a:custGeom>
              <a:avLst/>
              <a:gdLst/>
              <a:ahLst/>
              <a:cxnLst/>
              <a:rect l="l" t="t" r="r" b="b"/>
              <a:pathLst>
                <a:path w="6822" h="7512" extrusionOk="0">
                  <a:moveTo>
                    <a:pt x="4729" y="0"/>
                  </a:moveTo>
                  <a:lnTo>
                    <a:pt x="4729" y="816"/>
                  </a:lnTo>
                  <a:lnTo>
                    <a:pt x="2908" y="795"/>
                  </a:lnTo>
                  <a:lnTo>
                    <a:pt x="2887" y="2302"/>
                  </a:lnTo>
                  <a:lnTo>
                    <a:pt x="2678" y="2302"/>
                  </a:lnTo>
                  <a:lnTo>
                    <a:pt x="2532" y="2344"/>
                  </a:lnTo>
                  <a:lnTo>
                    <a:pt x="2406" y="2407"/>
                  </a:lnTo>
                  <a:lnTo>
                    <a:pt x="2323" y="2574"/>
                  </a:lnTo>
                  <a:lnTo>
                    <a:pt x="2364" y="3641"/>
                  </a:lnTo>
                  <a:lnTo>
                    <a:pt x="63" y="3641"/>
                  </a:lnTo>
                  <a:lnTo>
                    <a:pt x="63" y="3662"/>
                  </a:lnTo>
                  <a:lnTo>
                    <a:pt x="0" y="3808"/>
                  </a:lnTo>
                  <a:lnTo>
                    <a:pt x="0" y="4039"/>
                  </a:lnTo>
                  <a:lnTo>
                    <a:pt x="126" y="3871"/>
                  </a:lnTo>
                  <a:lnTo>
                    <a:pt x="188" y="4018"/>
                  </a:lnTo>
                  <a:lnTo>
                    <a:pt x="209" y="4039"/>
                  </a:lnTo>
                  <a:lnTo>
                    <a:pt x="293" y="3976"/>
                  </a:lnTo>
                  <a:lnTo>
                    <a:pt x="439" y="4248"/>
                  </a:lnTo>
                  <a:lnTo>
                    <a:pt x="398" y="4331"/>
                  </a:lnTo>
                  <a:lnTo>
                    <a:pt x="418" y="4436"/>
                  </a:lnTo>
                  <a:lnTo>
                    <a:pt x="398" y="4645"/>
                  </a:lnTo>
                  <a:lnTo>
                    <a:pt x="314" y="4645"/>
                  </a:lnTo>
                  <a:lnTo>
                    <a:pt x="230" y="4687"/>
                  </a:lnTo>
                  <a:lnTo>
                    <a:pt x="418" y="4917"/>
                  </a:lnTo>
                  <a:lnTo>
                    <a:pt x="523" y="5524"/>
                  </a:lnTo>
                  <a:lnTo>
                    <a:pt x="481" y="5943"/>
                  </a:lnTo>
                  <a:lnTo>
                    <a:pt x="335" y="6131"/>
                  </a:lnTo>
                  <a:lnTo>
                    <a:pt x="272" y="6487"/>
                  </a:lnTo>
                  <a:lnTo>
                    <a:pt x="209" y="6738"/>
                  </a:lnTo>
                  <a:lnTo>
                    <a:pt x="314" y="6654"/>
                  </a:lnTo>
                  <a:lnTo>
                    <a:pt x="398" y="6654"/>
                  </a:lnTo>
                  <a:lnTo>
                    <a:pt x="523" y="6549"/>
                  </a:lnTo>
                  <a:lnTo>
                    <a:pt x="837" y="6487"/>
                  </a:lnTo>
                  <a:lnTo>
                    <a:pt x="1130" y="6382"/>
                  </a:lnTo>
                  <a:lnTo>
                    <a:pt x="1235" y="6382"/>
                  </a:lnTo>
                  <a:lnTo>
                    <a:pt x="1486" y="6466"/>
                  </a:lnTo>
                  <a:lnTo>
                    <a:pt x="1653" y="6487"/>
                  </a:lnTo>
                  <a:lnTo>
                    <a:pt x="1779" y="6654"/>
                  </a:lnTo>
                  <a:lnTo>
                    <a:pt x="1779" y="6738"/>
                  </a:lnTo>
                  <a:lnTo>
                    <a:pt x="1862" y="6759"/>
                  </a:lnTo>
                  <a:lnTo>
                    <a:pt x="1946" y="6696"/>
                  </a:lnTo>
                  <a:lnTo>
                    <a:pt x="1988" y="6738"/>
                  </a:lnTo>
                  <a:lnTo>
                    <a:pt x="2071" y="6738"/>
                  </a:lnTo>
                  <a:lnTo>
                    <a:pt x="2113" y="6780"/>
                  </a:lnTo>
                  <a:lnTo>
                    <a:pt x="2155" y="6905"/>
                  </a:lnTo>
                  <a:lnTo>
                    <a:pt x="2281" y="7010"/>
                  </a:lnTo>
                  <a:lnTo>
                    <a:pt x="2281" y="7156"/>
                  </a:lnTo>
                  <a:lnTo>
                    <a:pt x="2406" y="7177"/>
                  </a:lnTo>
                  <a:lnTo>
                    <a:pt x="2427" y="7303"/>
                  </a:lnTo>
                  <a:lnTo>
                    <a:pt x="2532" y="7324"/>
                  </a:lnTo>
                  <a:lnTo>
                    <a:pt x="2699" y="7428"/>
                  </a:lnTo>
                  <a:lnTo>
                    <a:pt x="2720" y="7512"/>
                  </a:lnTo>
                  <a:lnTo>
                    <a:pt x="2846" y="7407"/>
                  </a:lnTo>
                  <a:lnTo>
                    <a:pt x="3034" y="7407"/>
                  </a:lnTo>
                  <a:lnTo>
                    <a:pt x="3097" y="7261"/>
                  </a:lnTo>
                  <a:lnTo>
                    <a:pt x="3097" y="7177"/>
                  </a:lnTo>
                  <a:lnTo>
                    <a:pt x="3097" y="6947"/>
                  </a:lnTo>
                  <a:lnTo>
                    <a:pt x="3264" y="6884"/>
                  </a:lnTo>
                  <a:lnTo>
                    <a:pt x="3411" y="6884"/>
                  </a:lnTo>
                  <a:lnTo>
                    <a:pt x="3431" y="7052"/>
                  </a:lnTo>
                  <a:lnTo>
                    <a:pt x="3515" y="7219"/>
                  </a:lnTo>
                  <a:lnTo>
                    <a:pt x="3578" y="7282"/>
                  </a:lnTo>
                  <a:lnTo>
                    <a:pt x="3724" y="6989"/>
                  </a:lnTo>
                  <a:lnTo>
                    <a:pt x="3996" y="6863"/>
                  </a:lnTo>
                  <a:lnTo>
                    <a:pt x="4143" y="6905"/>
                  </a:lnTo>
                  <a:lnTo>
                    <a:pt x="4164" y="7093"/>
                  </a:lnTo>
                  <a:lnTo>
                    <a:pt x="4206" y="7156"/>
                  </a:lnTo>
                  <a:lnTo>
                    <a:pt x="4310" y="7052"/>
                  </a:lnTo>
                  <a:lnTo>
                    <a:pt x="4394" y="7052"/>
                  </a:lnTo>
                  <a:lnTo>
                    <a:pt x="4457" y="7114"/>
                  </a:lnTo>
                  <a:lnTo>
                    <a:pt x="4520" y="7156"/>
                  </a:lnTo>
                  <a:lnTo>
                    <a:pt x="6570" y="7156"/>
                  </a:lnTo>
                  <a:lnTo>
                    <a:pt x="6758" y="6633"/>
                  </a:lnTo>
                  <a:lnTo>
                    <a:pt x="6570" y="6528"/>
                  </a:lnTo>
                  <a:lnTo>
                    <a:pt x="6131" y="1423"/>
                  </a:lnTo>
                  <a:lnTo>
                    <a:pt x="6821" y="1423"/>
                  </a:lnTo>
                  <a:lnTo>
                    <a:pt x="472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Google Shape;12243;p43">
              <a:extLst>
                <a:ext uri="{FF2B5EF4-FFF2-40B4-BE49-F238E27FC236}">
                  <a16:creationId xmlns:a16="http://schemas.microsoft.com/office/drawing/2014/main" id="{A3D8E189-8D6A-2937-D984-ED27D0AEFA95}"/>
                </a:ext>
              </a:extLst>
            </p:cNvPr>
            <p:cNvSpPr/>
            <p:nvPr/>
          </p:nvSpPr>
          <p:spPr>
            <a:xfrm>
              <a:off x="3665125" y="2976874"/>
              <a:ext cx="112121" cy="99236"/>
            </a:xfrm>
            <a:custGeom>
              <a:avLst/>
              <a:gdLst/>
              <a:ahLst/>
              <a:cxnLst/>
              <a:rect l="l" t="t" r="r" b="b"/>
              <a:pathLst>
                <a:path w="9416" h="8726" extrusionOk="0">
                  <a:moveTo>
                    <a:pt x="3411" y="0"/>
                  </a:moveTo>
                  <a:lnTo>
                    <a:pt x="3850" y="5105"/>
                  </a:lnTo>
                  <a:lnTo>
                    <a:pt x="4038" y="5210"/>
                  </a:lnTo>
                  <a:lnTo>
                    <a:pt x="3850" y="5733"/>
                  </a:lnTo>
                  <a:lnTo>
                    <a:pt x="1800" y="5733"/>
                  </a:lnTo>
                  <a:lnTo>
                    <a:pt x="1737" y="5691"/>
                  </a:lnTo>
                  <a:lnTo>
                    <a:pt x="1674" y="5629"/>
                  </a:lnTo>
                  <a:lnTo>
                    <a:pt x="1590" y="5629"/>
                  </a:lnTo>
                  <a:lnTo>
                    <a:pt x="1486" y="5733"/>
                  </a:lnTo>
                  <a:lnTo>
                    <a:pt x="1444" y="5670"/>
                  </a:lnTo>
                  <a:lnTo>
                    <a:pt x="1423" y="5482"/>
                  </a:lnTo>
                  <a:lnTo>
                    <a:pt x="1276" y="5440"/>
                  </a:lnTo>
                  <a:lnTo>
                    <a:pt x="1004" y="5566"/>
                  </a:lnTo>
                  <a:lnTo>
                    <a:pt x="858" y="5859"/>
                  </a:lnTo>
                  <a:lnTo>
                    <a:pt x="795" y="5796"/>
                  </a:lnTo>
                  <a:lnTo>
                    <a:pt x="711" y="5629"/>
                  </a:lnTo>
                  <a:lnTo>
                    <a:pt x="691" y="5461"/>
                  </a:lnTo>
                  <a:lnTo>
                    <a:pt x="544" y="5461"/>
                  </a:lnTo>
                  <a:lnTo>
                    <a:pt x="377" y="5524"/>
                  </a:lnTo>
                  <a:lnTo>
                    <a:pt x="377" y="5754"/>
                  </a:lnTo>
                  <a:lnTo>
                    <a:pt x="377" y="5838"/>
                  </a:lnTo>
                  <a:lnTo>
                    <a:pt x="314" y="5984"/>
                  </a:lnTo>
                  <a:lnTo>
                    <a:pt x="126" y="5984"/>
                  </a:lnTo>
                  <a:lnTo>
                    <a:pt x="0" y="6089"/>
                  </a:lnTo>
                  <a:lnTo>
                    <a:pt x="84" y="6173"/>
                  </a:lnTo>
                  <a:lnTo>
                    <a:pt x="84" y="6277"/>
                  </a:lnTo>
                  <a:lnTo>
                    <a:pt x="105" y="6361"/>
                  </a:lnTo>
                  <a:lnTo>
                    <a:pt x="63" y="6591"/>
                  </a:lnTo>
                  <a:lnTo>
                    <a:pt x="84" y="6675"/>
                  </a:lnTo>
                  <a:lnTo>
                    <a:pt x="209" y="6800"/>
                  </a:lnTo>
                  <a:lnTo>
                    <a:pt x="272" y="6926"/>
                  </a:lnTo>
                  <a:lnTo>
                    <a:pt x="335" y="7010"/>
                  </a:lnTo>
                  <a:lnTo>
                    <a:pt x="398" y="6989"/>
                  </a:lnTo>
                  <a:lnTo>
                    <a:pt x="481" y="7030"/>
                  </a:lnTo>
                  <a:lnTo>
                    <a:pt x="502" y="7114"/>
                  </a:lnTo>
                  <a:lnTo>
                    <a:pt x="586" y="7219"/>
                  </a:lnTo>
                  <a:lnTo>
                    <a:pt x="586" y="7261"/>
                  </a:lnTo>
                  <a:lnTo>
                    <a:pt x="523" y="7344"/>
                  </a:lnTo>
                  <a:lnTo>
                    <a:pt x="544" y="7428"/>
                  </a:lnTo>
                  <a:lnTo>
                    <a:pt x="691" y="7512"/>
                  </a:lnTo>
                  <a:lnTo>
                    <a:pt x="691" y="7616"/>
                  </a:lnTo>
                  <a:lnTo>
                    <a:pt x="649" y="7679"/>
                  </a:lnTo>
                  <a:lnTo>
                    <a:pt x="732" y="7721"/>
                  </a:lnTo>
                  <a:lnTo>
                    <a:pt x="837" y="7658"/>
                  </a:lnTo>
                  <a:lnTo>
                    <a:pt x="921" y="7679"/>
                  </a:lnTo>
                  <a:lnTo>
                    <a:pt x="1046" y="7784"/>
                  </a:lnTo>
                  <a:lnTo>
                    <a:pt x="1214" y="7784"/>
                  </a:lnTo>
                  <a:lnTo>
                    <a:pt x="1318" y="7721"/>
                  </a:lnTo>
                  <a:lnTo>
                    <a:pt x="1381" y="7679"/>
                  </a:lnTo>
                  <a:lnTo>
                    <a:pt x="1486" y="7533"/>
                  </a:lnTo>
                  <a:lnTo>
                    <a:pt x="1632" y="7533"/>
                  </a:lnTo>
                  <a:lnTo>
                    <a:pt x="1779" y="7616"/>
                  </a:lnTo>
                  <a:lnTo>
                    <a:pt x="1800" y="7554"/>
                  </a:lnTo>
                  <a:lnTo>
                    <a:pt x="1904" y="7533"/>
                  </a:lnTo>
                  <a:lnTo>
                    <a:pt x="1946" y="7574"/>
                  </a:lnTo>
                  <a:lnTo>
                    <a:pt x="2072" y="7679"/>
                  </a:lnTo>
                  <a:lnTo>
                    <a:pt x="2113" y="7826"/>
                  </a:lnTo>
                  <a:lnTo>
                    <a:pt x="2092" y="7972"/>
                  </a:lnTo>
                  <a:lnTo>
                    <a:pt x="2155" y="8035"/>
                  </a:lnTo>
                  <a:lnTo>
                    <a:pt x="2281" y="8056"/>
                  </a:lnTo>
                  <a:lnTo>
                    <a:pt x="2281" y="8098"/>
                  </a:lnTo>
                  <a:lnTo>
                    <a:pt x="2176" y="8265"/>
                  </a:lnTo>
                  <a:lnTo>
                    <a:pt x="2113" y="8411"/>
                  </a:lnTo>
                  <a:lnTo>
                    <a:pt x="2113" y="8411"/>
                  </a:lnTo>
                  <a:lnTo>
                    <a:pt x="2218" y="8390"/>
                  </a:lnTo>
                  <a:lnTo>
                    <a:pt x="2281" y="8307"/>
                  </a:lnTo>
                  <a:lnTo>
                    <a:pt x="2364" y="8307"/>
                  </a:lnTo>
                  <a:lnTo>
                    <a:pt x="2364" y="8411"/>
                  </a:lnTo>
                  <a:lnTo>
                    <a:pt x="2385" y="8495"/>
                  </a:lnTo>
                  <a:lnTo>
                    <a:pt x="2385" y="8558"/>
                  </a:lnTo>
                  <a:lnTo>
                    <a:pt x="2532" y="8579"/>
                  </a:lnTo>
                  <a:lnTo>
                    <a:pt x="2595" y="8621"/>
                  </a:lnTo>
                  <a:lnTo>
                    <a:pt x="2595" y="8704"/>
                  </a:lnTo>
                  <a:lnTo>
                    <a:pt x="2783" y="8600"/>
                  </a:lnTo>
                  <a:lnTo>
                    <a:pt x="2846" y="8600"/>
                  </a:lnTo>
                  <a:lnTo>
                    <a:pt x="2992" y="8683"/>
                  </a:lnTo>
                  <a:lnTo>
                    <a:pt x="3222" y="8683"/>
                  </a:lnTo>
                  <a:lnTo>
                    <a:pt x="3264" y="8662"/>
                  </a:lnTo>
                  <a:lnTo>
                    <a:pt x="3264" y="8600"/>
                  </a:lnTo>
                  <a:lnTo>
                    <a:pt x="3452" y="8558"/>
                  </a:lnTo>
                  <a:lnTo>
                    <a:pt x="3620" y="8579"/>
                  </a:lnTo>
                  <a:lnTo>
                    <a:pt x="3578" y="8621"/>
                  </a:lnTo>
                  <a:lnTo>
                    <a:pt x="3620" y="8683"/>
                  </a:lnTo>
                  <a:lnTo>
                    <a:pt x="3787" y="8725"/>
                  </a:lnTo>
                  <a:lnTo>
                    <a:pt x="3892" y="8579"/>
                  </a:lnTo>
                  <a:lnTo>
                    <a:pt x="3976" y="8516"/>
                  </a:lnTo>
                  <a:lnTo>
                    <a:pt x="3997" y="8390"/>
                  </a:lnTo>
                  <a:lnTo>
                    <a:pt x="3976" y="8307"/>
                  </a:lnTo>
                  <a:lnTo>
                    <a:pt x="3976" y="8181"/>
                  </a:lnTo>
                  <a:lnTo>
                    <a:pt x="4080" y="8160"/>
                  </a:lnTo>
                  <a:lnTo>
                    <a:pt x="4059" y="7993"/>
                  </a:lnTo>
                  <a:lnTo>
                    <a:pt x="4038" y="7888"/>
                  </a:lnTo>
                  <a:lnTo>
                    <a:pt x="4143" y="7826"/>
                  </a:lnTo>
                  <a:lnTo>
                    <a:pt x="4269" y="7679"/>
                  </a:lnTo>
                  <a:lnTo>
                    <a:pt x="4457" y="7407"/>
                  </a:lnTo>
                  <a:lnTo>
                    <a:pt x="4561" y="7219"/>
                  </a:lnTo>
                  <a:lnTo>
                    <a:pt x="4582" y="7135"/>
                  </a:lnTo>
                  <a:lnTo>
                    <a:pt x="4708" y="6926"/>
                  </a:lnTo>
                  <a:lnTo>
                    <a:pt x="4792" y="6905"/>
                  </a:lnTo>
                  <a:lnTo>
                    <a:pt x="4813" y="6821"/>
                  </a:lnTo>
                  <a:lnTo>
                    <a:pt x="4980" y="6800"/>
                  </a:lnTo>
                  <a:lnTo>
                    <a:pt x="5043" y="6821"/>
                  </a:lnTo>
                  <a:lnTo>
                    <a:pt x="5336" y="6738"/>
                  </a:lnTo>
                  <a:lnTo>
                    <a:pt x="5398" y="6612"/>
                  </a:lnTo>
                  <a:lnTo>
                    <a:pt x="5712" y="6403"/>
                  </a:lnTo>
                  <a:lnTo>
                    <a:pt x="6152" y="6173"/>
                  </a:lnTo>
                  <a:lnTo>
                    <a:pt x="6277" y="6047"/>
                  </a:lnTo>
                  <a:lnTo>
                    <a:pt x="6465" y="5942"/>
                  </a:lnTo>
                  <a:lnTo>
                    <a:pt x="6758" y="5901"/>
                  </a:lnTo>
                  <a:lnTo>
                    <a:pt x="6884" y="5880"/>
                  </a:lnTo>
                  <a:lnTo>
                    <a:pt x="7072" y="5942"/>
                  </a:lnTo>
                  <a:lnTo>
                    <a:pt x="7177" y="5942"/>
                  </a:lnTo>
                  <a:lnTo>
                    <a:pt x="7198" y="5984"/>
                  </a:lnTo>
                  <a:lnTo>
                    <a:pt x="7219" y="5963"/>
                  </a:lnTo>
                  <a:lnTo>
                    <a:pt x="7344" y="5984"/>
                  </a:lnTo>
                  <a:lnTo>
                    <a:pt x="7742" y="5963"/>
                  </a:lnTo>
                  <a:lnTo>
                    <a:pt x="7867" y="5963"/>
                  </a:lnTo>
                  <a:lnTo>
                    <a:pt x="8035" y="5880"/>
                  </a:lnTo>
                  <a:lnTo>
                    <a:pt x="8390" y="5880"/>
                  </a:lnTo>
                  <a:lnTo>
                    <a:pt x="8558" y="5775"/>
                  </a:lnTo>
                  <a:lnTo>
                    <a:pt x="8746" y="5775"/>
                  </a:lnTo>
                  <a:lnTo>
                    <a:pt x="8893" y="5670"/>
                  </a:lnTo>
                  <a:lnTo>
                    <a:pt x="9186" y="5524"/>
                  </a:lnTo>
                  <a:lnTo>
                    <a:pt x="9227" y="5377"/>
                  </a:lnTo>
                  <a:lnTo>
                    <a:pt x="9269" y="5210"/>
                  </a:lnTo>
                  <a:lnTo>
                    <a:pt x="9332" y="5126"/>
                  </a:lnTo>
                  <a:lnTo>
                    <a:pt x="9395" y="4624"/>
                  </a:lnTo>
                  <a:lnTo>
                    <a:pt x="9416" y="3494"/>
                  </a:lnTo>
                  <a:lnTo>
                    <a:pt x="9186" y="3578"/>
                  </a:lnTo>
                  <a:lnTo>
                    <a:pt x="8914" y="3599"/>
                  </a:lnTo>
                  <a:lnTo>
                    <a:pt x="8788" y="3557"/>
                  </a:lnTo>
                  <a:lnTo>
                    <a:pt x="8746" y="3473"/>
                  </a:lnTo>
                  <a:lnTo>
                    <a:pt x="8809" y="3285"/>
                  </a:lnTo>
                  <a:lnTo>
                    <a:pt x="8809" y="3180"/>
                  </a:lnTo>
                  <a:lnTo>
                    <a:pt x="8704" y="3118"/>
                  </a:lnTo>
                  <a:lnTo>
                    <a:pt x="8558" y="3055"/>
                  </a:lnTo>
                  <a:lnTo>
                    <a:pt x="8453" y="2929"/>
                  </a:lnTo>
                  <a:lnTo>
                    <a:pt x="8286" y="2867"/>
                  </a:lnTo>
                  <a:lnTo>
                    <a:pt x="8077" y="2867"/>
                  </a:lnTo>
                  <a:lnTo>
                    <a:pt x="7951" y="2762"/>
                  </a:lnTo>
                  <a:lnTo>
                    <a:pt x="7909" y="2511"/>
                  </a:lnTo>
                  <a:lnTo>
                    <a:pt x="410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Google Shape;12244;p43">
              <a:extLst>
                <a:ext uri="{FF2B5EF4-FFF2-40B4-BE49-F238E27FC236}">
                  <a16:creationId xmlns:a16="http://schemas.microsoft.com/office/drawing/2014/main" id="{FC4C4D4D-7422-39EB-3C74-57B314FB0A40}"/>
                </a:ext>
              </a:extLst>
            </p:cNvPr>
            <p:cNvSpPr/>
            <p:nvPr/>
          </p:nvSpPr>
          <p:spPr>
            <a:xfrm>
              <a:off x="3712457" y="3043733"/>
              <a:ext cx="51833" cy="35948"/>
            </a:xfrm>
            <a:custGeom>
              <a:avLst/>
              <a:gdLst/>
              <a:ahLst/>
              <a:cxnLst/>
              <a:rect l="l" t="t" r="r" b="b"/>
              <a:pathLst>
                <a:path w="4353" h="3161" extrusionOk="0">
                  <a:moveTo>
                    <a:pt x="2909" y="1"/>
                  </a:moveTo>
                  <a:lnTo>
                    <a:pt x="2783" y="22"/>
                  </a:lnTo>
                  <a:lnTo>
                    <a:pt x="2490" y="63"/>
                  </a:lnTo>
                  <a:lnTo>
                    <a:pt x="2302" y="168"/>
                  </a:lnTo>
                  <a:lnTo>
                    <a:pt x="2177" y="294"/>
                  </a:lnTo>
                  <a:lnTo>
                    <a:pt x="1737" y="524"/>
                  </a:lnTo>
                  <a:lnTo>
                    <a:pt x="1423" y="733"/>
                  </a:lnTo>
                  <a:lnTo>
                    <a:pt x="1361" y="859"/>
                  </a:lnTo>
                  <a:lnTo>
                    <a:pt x="1068" y="942"/>
                  </a:lnTo>
                  <a:lnTo>
                    <a:pt x="1005" y="921"/>
                  </a:lnTo>
                  <a:lnTo>
                    <a:pt x="838" y="942"/>
                  </a:lnTo>
                  <a:lnTo>
                    <a:pt x="817" y="1026"/>
                  </a:lnTo>
                  <a:lnTo>
                    <a:pt x="733" y="1047"/>
                  </a:lnTo>
                  <a:lnTo>
                    <a:pt x="607" y="1256"/>
                  </a:lnTo>
                  <a:lnTo>
                    <a:pt x="586" y="1340"/>
                  </a:lnTo>
                  <a:lnTo>
                    <a:pt x="482" y="1528"/>
                  </a:lnTo>
                  <a:lnTo>
                    <a:pt x="294" y="1800"/>
                  </a:lnTo>
                  <a:lnTo>
                    <a:pt x="168" y="1947"/>
                  </a:lnTo>
                  <a:lnTo>
                    <a:pt x="63" y="2009"/>
                  </a:lnTo>
                  <a:lnTo>
                    <a:pt x="84" y="2114"/>
                  </a:lnTo>
                  <a:lnTo>
                    <a:pt x="105" y="2281"/>
                  </a:lnTo>
                  <a:lnTo>
                    <a:pt x="1" y="2302"/>
                  </a:lnTo>
                  <a:lnTo>
                    <a:pt x="1" y="2428"/>
                  </a:lnTo>
                  <a:lnTo>
                    <a:pt x="22" y="2511"/>
                  </a:lnTo>
                  <a:lnTo>
                    <a:pt x="1" y="2637"/>
                  </a:lnTo>
                  <a:lnTo>
                    <a:pt x="22" y="2637"/>
                  </a:lnTo>
                  <a:lnTo>
                    <a:pt x="189" y="2783"/>
                  </a:lnTo>
                  <a:lnTo>
                    <a:pt x="398" y="2888"/>
                  </a:lnTo>
                  <a:lnTo>
                    <a:pt x="503" y="2888"/>
                  </a:lnTo>
                  <a:lnTo>
                    <a:pt x="545" y="2930"/>
                  </a:lnTo>
                  <a:lnTo>
                    <a:pt x="649" y="2930"/>
                  </a:lnTo>
                  <a:lnTo>
                    <a:pt x="754" y="2993"/>
                  </a:lnTo>
                  <a:lnTo>
                    <a:pt x="838" y="3097"/>
                  </a:lnTo>
                  <a:lnTo>
                    <a:pt x="1026" y="3160"/>
                  </a:lnTo>
                  <a:lnTo>
                    <a:pt x="1151" y="3139"/>
                  </a:lnTo>
                  <a:lnTo>
                    <a:pt x="1256" y="3055"/>
                  </a:lnTo>
                  <a:lnTo>
                    <a:pt x="1340" y="3055"/>
                  </a:lnTo>
                  <a:lnTo>
                    <a:pt x="1423" y="3139"/>
                  </a:lnTo>
                  <a:lnTo>
                    <a:pt x="1549" y="3139"/>
                  </a:lnTo>
                  <a:lnTo>
                    <a:pt x="1549" y="2993"/>
                  </a:lnTo>
                  <a:lnTo>
                    <a:pt x="1465" y="2825"/>
                  </a:lnTo>
                  <a:lnTo>
                    <a:pt x="1423" y="2783"/>
                  </a:lnTo>
                  <a:lnTo>
                    <a:pt x="1361" y="2595"/>
                  </a:lnTo>
                  <a:lnTo>
                    <a:pt x="1382" y="2470"/>
                  </a:lnTo>
                  <a:lnTo>
                    <a:pt x="1591" y="2428"/>
                  </a:lnTo>
                  <a:lnTo>
                    <a:pt x="2365" y="2428"/>
                  </a:lnTo>
                  <a:lnTo>
                    <a:pt x="2574" y="2386"/>
                  </a:lnTo>
                  <a:lnTo>
                    <a:pt x="2721" y="2386"/>
                  </a:lnTo>
                  <a:lnTo>
                    <a:pt x="2846" y="2323"/>
                  </a:lnTo>
                  <a:lnTo>
                    <a:pt x="2930" y="2323"/>
                  </a:lnTo>
                  <a:lnTo>
                    <a:pt x="3537" y="2491"/>
                  </a:lnTo>
                  <a:lnTo>
                    <a:pt x="3558" y="2428"/>
                  </a:lnTo>
                  <a:lnTo>
                    <a:pt x="3683" y="2386"/>
                  </a:lnTo>
                  <a:lnTo>
                    <a:pt x="3683" y="2281"/>
                  </a:lnTo>
                  <a:lnTo>
                    <a:pt x="3767" y="2198"/>
                  </a:lnTo>
                  <a:lnTo>
                    <a:pt x="3767" y="2093"/>
                  </a:lnTo>
                  <a:lnTo>
                    <a:pt x="3871" y="2051"/>
                  </a:lnTo>
                  <a:lnTo>
                    <a:pt x="3955" y="2072"/>
                  </a:lnTo>
                  <a:lnTo>
                    <a:pt x="4143" y="1967"/>
                  </a:lnTo>
                  <a:lnTo>
                    <a:pt x="4206" y="1967"/>
                  </a:lnTo>
                  <a:lnTo>
                    <a:pt x="4353" y="1800"/>
                  </a:lnTo>
                  <a:lnTo>
                    <a:pt x="4353" y="1737"/>
                  </a:lnTo>
                  <a:lnTo>
                    <a:pt x="4311" y="1737"/>
                  </a:lnTo>
                  <a:lnTo>
                    <a:pt x="4185" y="1570"/>
                  </a:lnTo>
                  <a:lnTo>
                    <a:pt x="4248" y="1465"/>
                  </a:lnTo>
                  <a:lnTo>
                    <a:pt x="4248" y="1361"/>
                  </a:lnTo>
                  <a:lnTo>
                    <a:pt x="4185" y="1319"/>
                  </a:lnTo>
                  <a:lnTo>
                    <a:pt x="4185" y="1256"/>
                  </a:lnTo>
                  <a:lnTo>
                    <a:pt x="4102" y="1214"/>
                  </a:lnTo>
                  <a:lnTo>
                    <a:pt x="3871" y="1340"/>
                  </a:lnTo>
                  <a:lnTo>
                    <a:pt x="3662" y="1214"/>
                  </a:lnTo>
                  <a:lnTo>
                    <a:pt x="3662" y="963"/>
                  </a:lnTo>
                  <a:lnTo>
                    <a:pt x="3118" y="607"/>
                  </a:lnTo>
                  <a:lnTo>
                    <a:pt x="3118" y="419"/>
                  </a:lnTo>
                  <a:lnTo>
                    <a:pt x="3202" y="314"/>
                  </a:lnTo>
                  <a:lnTo>
                    <a:pt x="3202" y="168"/>
                  </a:lnTo>
                  <a:lnTo>
                    <a:pt x="3223" y="105"/>
                  </a:lnTo>
                  <a:lnTo>
                    <a:pt x="3202" y="63"/>
                  </a:lnTo>
                  <a:lnTo>
                    <a:pt x="3097" y="63"/>
                  </a:lnTo>
                  <a:lnTo>
                    <a:pt x="290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Google Shape;12245;p43">
              <a:extLst>
                <a:ext uri="{FF2B5EF4-FFF2-40B4-BE49-F238E27FC236}">
                  <a16:creationId xmlns:a16="http://schemas.microsoft.com/office/drawing/2014/main" id="{56754B79-44A2-58F1-44B7-DB3B18684EE9}"/>
                </a:ext>
              </a:extLst>
            </p:cNvPr>
            <p:cNvSpPr/>
            <p:nvPr/>
          </p:nvSpPr>
          <p:spPr>
            <a:xfrm>
              <a:off x="3628997" y="3033259"/>
              <a:ext cx="44355" cy="30956"/>
            </a:xfrm>
            <a:custGeom>
              <a:avLst/>
              <a:gdLst/>
              <a:ahLst/>
              <a:cxnLst/>
              <a:rect l="l" t="t" r="r" b="b"/>
              <a:pathLst>
                <a:path w="3725" h="2722" extrusionOk="0">
                  <a:moveTo>
                    <a:pt x="1444" y="1"/>
                  </a:moveTo>
                  <a:lnTo>
                    <a:pt x="1151" y="106"/>
                  </a:lnTo>
                  <a:lnTo>
                    <a:pt x="837" y="168"/>
                  </a:lnTo>
                  <a:lnTo>
                    <a:pt x="712" y="273"/>
                  </a:lnTo>
                  <a:lnTo>
                    <a:pt x="628" y="273"/>
                  </a:lnTo>
                  <a:lnTo>
                    <a:pt x="523" y="357"/>
                  </a:lnTo>
                  <a:lnTo>
                    <a:pt x="502" y="524"/>
                  </a:lnTo>
                  <a:lnTo>
                    <a:pt x="377" y="817"/>
                  </a:lnTo>
                  <a:lnTo>
                    <a:pt x="0" y="1131"/>
                  </a:lnTo>
                  <a:lnTo>
                    <a:pt x="188" y="1298"/>
                  </a:lnTo>
                  <a:lnTo>
                    <a:pt x="314" y="1528"/>
                  </a:lnTo>
                  <a:lnTo>
                    <a:pt x="419" y="1528"/>
                  </a:lnTo>
                  <a:lnTo>
                    <a:pt x="419" y="1654"/>
                  </a:lnTo>
                  <a:lnTo>
                    <a:pt x="398" y="1654"/>
                  </a:lnTo>
                  <a:lnTo>
                    <a:pt x="523" y="1759"/>
                  </a:lnTo>
                  <a:lnTo>
                    <a:pt x="440" y="1821"/>
                  </a:lnTo>
                  <a:lnTo>
                    <a:pt x="481" y="1863"/>
                  </a:lnTo>
                  <a:lnTo>
                    <a:pt x="732" y="1863"/>
                  </a:lnTo>
                  <a:lnTo>
                    <a:pt x="795" y="1842"/>
                  </a:lnTo>
                  <a:lnTo>
                    <a:pt x="900" y="1842"/>
                  </a:lnTo>
                  <a:lnTo>
                    <a:pt x="1109" y="1675"/>
                  </a:lnTo>
                  <a:lnTo>
                    <a:pt x="1256" y="1612"/>
                  </a:lnTo>
                  <a:lnTo>
                    <a:pt x="1360" y="1633"/>
                  </a:lnTo>
                  <a:lnTo>
                    <a:pt x="1486" y="1633"/>
                  </a:lnTo>
                  <a:lnTo>
                    <a:pt x="1674" y="1759"/>
                  </a:lnTo>
                  <a:lnTo>
                    <a:pt x="1779" y="1759"/>
                  </a:lnTo>
                  <a:lnTo>
                    <a:pt x="2051" y="1926"/>
                  </a:lnTo>
                  <a:lnTo>
                    <a:pt x="2093" y="1884"/>
                  </a:lnTo>
                  <a:lnTo>
                    <a:pt x="2155" y="1968"/>
                  </a:lnTo>
                  <a:lnTo>
                    <a:pt x="2093" y="2052"/>
                  </a:lnTo>
                  <a:lnTo>
                    <a:pt x="1967" y="2052"/>
                  </a:lnTo>
                  <a:lnTo>
                    <a:pt x="1779" y="1968"/>
                  </a:lnTo>
                  <a:lnTo>
                    <a:pt x="1632" y="1926"/>
                  </a:lnTo>
                  <a:lnTo>
                    <a:pt x="1528" y="1926"/>
                  </a:lnTo>
                  <a:lnTo>
                    <a:pt x="1381" y="1821"/>
                  </a:lnTo>
                  <a:lnTo>
                    <a:pt x="1318" y="1842"/>
                  </a:lnTo>
                  <a:lnTo>
                    <a:pt x="1235" y="1926"/>
                  </a:lnTo>
                  <a:lnTo>
                    <a:pt x="1214" y="1884"/>
                  </a:lnTo>
                  <a:lnTo>
                    <a:pt x="1130" y="1863"/>
                  </a:lnTo>
                  <a:lnTo>
                    <a:pt x="1005" y="1947"/>
                  </a:lnTo>
                  <a:lnTo>
                    <a:pt x="900" y="1968"/>
                  </a:lnTo>
                  <a:lnTo>
                    <a:pt x="795" y="2093"/>
                  </a:lnTo>
                  <a:lnTo>
                    <a:pt x="419" y="2093"/>
                  </a:lnTo>
                  <a:lnTo>
                    <a:pt x="377" y="2156"/>
                  </a:lnTo>
                  <a:lnTo>
                    <a:pt x="377" y="2282"/>
                  </a:lnTo>
                  <a:lnTo>
                    <a:pt x="314" y="2344"/>
                  </a:lnTo>
                  <a:lnTo>
                    <a:pt x="335" y="2386"/>
                  </a:lnTo>
                  <a:lnTo>
                    <a:pt x="481" y="2303"/>
                  </a:lnTo>
                  <a:lnTo>
                    <a:pt x="691" y="2386"/>
                  </a:lnTo>
                  <a:lnTo>
                    <a:pt x="544" y="2470"/>
                  </a:lnTo>
                  <a:lnTo>
                    <a:pt x="502" y="2449"/>
                  </a:lnTo>
                  <a:lnTo>
                    <a:pt x="398" y="2407"/>
                  </a:lnTo>
                  <a:lnTo>
                    <a:pt x="398" y="2407"/>
                  </a:lnTo>
                  <a:lnTo>
                    <a:pt x="440" y="2470"/>
                  </a:lnTo>
                  <a:lnTo>
                    <a:pt x="419" y="2575"/>
                  </a:lnTo>
                  <a:lnTo>
                    <a:pt x="586" y="2616"/>
                  </a:lnTo>
                  <a:lnTo>
                    <a:pt x="753" y="2512"/>
                  </a:lnTo>
                  <a:lnTo>
                    <a:pt x="1151" y="2554"/>
                  </a:lnTo>
                  <a:lnTo>
                    <a:pt x="1256" y="2407"/>
                  </a:lnTo>
                  <a:lnTo>
                    <a:pt x="1465" y="2344"/>
                  </a:lnTo>
                  <a:lnTo>
                    <a:pt x="1988" y="2344"/>
                  </a:lnTo>
                  <a:lnTo>
                    <a:pt x="2113" y="2386"/>
                  </a:lnTo>
                  <a:lnTo>
                    <a:pt x="2113" y="2365"/>
                  </a:lnTo>
                  <a:lnTo>
                    <a:pt x="2260" y="2344"/>
                  </a:lnTo>
                  <a:lnTo>
                    <a:pt x="2595" y="2365"/>
                  </a:lnTo>
                  <a:lnTo>
                    <a:pt x="2825" y="2470"/>
                  </a:lnTo>
                  <a:lnTo>
                    <a:pt x="2929" y="2554"/>
                  </a:lnTo>
                  <a:lnTo>
                    <a:pt x="3118" y="2554"/>
                  </a:lnTo>
                  <a:lnTo>
                    <a:pt x="3306" y="2616"/>
                  </a:lnTo>
                  <a:lnTo>
                    <a:pt x="3411" y="2554"/>
                  </a:lnTo>
                  <a:lnTo>
                    <a:pt x="3515" y="2575"/>
                  </a:lnTo>
                  <a:lnTo>
                    <a:pt x="3557" y="2616"/>
                  </a:lnTo>
                  <a:lnTo>
                    <a:pt x="3683" y="2616"/>
                  </a:lnTo>
                  <a:lnTo>
                    <a:pt x="3683" y="2721"/>
                  </a:lnTo>
                  <a:lnTo>
                    <a:pt x="3725" y="2658"/>
                  </a:lnTo>
                  <a:lnTo>
                    <a:pt x="3725" y="2554"/>
                  </a:lnTo>
                  <a:lnTo>
                    <a:pt x="3578" y="2470"/>
                  </a:lnTo>
                  <a:lnTo>
                    <a:pt x="3557" y="2386"/>
                  </a:lnTo>
                  <a:lnTo>
                    <a:pt x="3620" y="2303"/>
                  </a:lnTo>
                  <a:lnTo>
                    <a:pt x="3620" y="2261"/>
                  </a:lnTo>
                  <a:lnTo>
                    <a:pt x="3536" y="2156"/>
                  </a:lnTo>
                  <a:lnTo>
                    <a:pt x="3515" y="2072"/>
                  </a:lnTo>
                  <a:lnTo>
                    <a:pt x="3432" y="2031"/>
                  </a:lnTo>
                  <a:lnTo>
                    <a:pt x="3369" y="2052"/>
                  </a:lnTo>
                  <a:lnTo>
                    <a:pt x="3306" y="1968"/>
                  </a:lnTo>
                  <a:lnTo>
                    <a:pt x="3243" y="1842"/>
                  </a:lnTo>
                  <a:lnTo>
                    <a:pt x="3118" y="1717"/>
                  </a:lnTo>
                  <a:lnTo>
                    <a:pt x="3097" y="1633"/>
                  </a:lnTo>
                  <a:lnTo>
                    <a:pt x="3139" y="1403"/>
                  </a:lnTo>
                  <a:lnTo>
                    <a:pt x="3118" y="1319"/>
                  </a:lnTo>
                  <a:lnTo>
                    <a:pt x="3118" y="1215"/>
                  </a:lnTo>
                  <a:lnTo>
                    <a:pt x="3034" y="1131"/>
                  </a:lnTo>
                  <a:lnTo>
                    <a:pt x="3013" y="1047"/>
                  </a:lnTo>
                  <a:lnTo>
                    <a:pt x="2846" y="943"/>
                  </a:lnTo>
                  <a:lnTo>
                    <a:pt x="2741" y="922"/>
                  </a:lnTo>
                  <a:lnTo>
                    <a:pt x="2720" y="796"/>
                  </a:lnTo>
                  <a:lnTo>
                    <a:pt x="2595" y="775"/>
                  </a:lnTo>
                  <a:lnTo>
                    <a:pt x="2595" y="629"/>
                  </a:lnTo>
                  <a:lnTo>
                    <a:pt x="2469" y="524"/>
                  </a:lnTo>
                  <a:lnTo>
                    <a:pt x="2427" y="399"/>
                  </a:lnTo>
                  <a:lnTo>
                    <a:pt x="2385" y="357"/>
                  </a:lnTo>
                  <a:lnTo>
                    <a:pt x="2302" y="357"/>
                  </a:lnTo>
                  <a:lnTo>
                    <a:pt x="2260" y="315"/>
                  </a:lnTo>
                  <a:lnTo>
                    <a:pt x="2176" y="378"/>
                  </a:lnTo>
                  <a:lnTo>
                    <a:pt x="2093" y="357"/>
                  </a:lnTo>
                  <a:lnTo>
                    <a:pt x="2093" y="273"/>
                  </a:lnTo>
                  <a:lnTo>
                    <a:pt x="1967" y="106"/>
                  </a:lnTo>
                  <a:lnTo>
                    <a:pt x="1800" y="85"/>
                  </a:lnTo>
                  <a:lnTo>
                    <a:pt x="154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Google Shape;12246;p43">
              <a:extLst>
                <a:ext uri="{FF2B5EF4-FFF2-40B4-BE49-F238E27FC236}">
                  <a16:creationId xmlns:a16="http://schemas.microsoft.com/office/drawing/2014/main" id="{A3F4F810-A9B2-0D93-A63D-DA8A661F50A7}"/>
                </a:ext>
              </a:extLst>
            </p:cNvPr>
            <p:cNvSpPr/>
            <p:nvPr/>
          </p:nvSpPr>
          <p:spPr>
            <a:xfrm>
              <a:off x="3633975" y="3059916"/>
              <a:ext cx="21195" cy="12146"/>
            </a:xfrm>
            <a:custGeom>
              <a:avLst/>
              <a:gdLst/>
              <a:ahLst/>
              <a:cxnLst/>
              <a:rect l="l" t="t" r="r" b="b"/>
              <a:pathLst>
                <a:path w="1780" h="1068" extrusionOk="0">
                  <a:moveTo>
                    <a:pt x="1047" y="0"/>
                  </a:moveTo>
                  <a:lnTo>
                    <a:pt x="838" y="63"/>
                  </a:lnTo>
                  <a:lnTo>
                    <a:pt x="733" y="210"/>
                  </a:lnTo>
                  <a:lnTo>
                    <a:pt x="335" y="168"/>
                  </a:lnTo>
                  <a:lnTo>
                    <a:pt x="168" y="272"/>
                  </a:lnTo>
                  <a:lnTo>
                    <a:pt x="1" y="231"/>
                  </a:lnTo>
                  <a:lnTo>
                    <a:pt x="1" y="231"/>
                  </a:lnTo>
                  <a:lnTo>
                    <a:pt x="63" y="314"/>
                  </a:lnTo>
                  <a:lnTo>
                    <a:pt x="273" y="335"/>
                  </a:lnTo>
                  <a:lnTo>
                    <a:pt x="335" y="335"/>
                  </a:lnTo>
                  <a:lnTo>
                    <a:pt x="231" y="419"/>
                  </a:lnTo>
                  <a:lnTo>
                    <a:pt x="335" y="524"/>
                  </a:lnTo>
                  <a:lnTo>
                    <a:pt x="440" y="524"/>
                  </a:lnTo>
                  <a:lnTo>
                    <a:pt x="482" y="586"/>
                  </a:lnTo>
                  <a:lnTo>
                    <a:pt x="545" y="586"/>
                  </a:lnTo>
                  <a:lnTo>
                    <a:pt x="691" y="544"/>
                  </a:lnTo>
                  <a:lnTo>
                    <a:pt x="838" y="524"/>
                  </a:lnTo>
                  <a:lnTo>
                    <a:pt x="1005" y="586"/>
                  </a:lnTo>
                  <a:lnTo>
                    <a:pt x="942" y="649"/>
                  </a:lnTo>
                  <a:lnTo>
                    <a:pt x="649" y="649"/>
                  </a:lnTo>
                  <a:lnTo>
                    <a:pt x="691" y="691"/>
                  </a:lnTo>
                  <a:lnTo>
                    <a:pt x="796" y="691"/>
                  </a:lnTo>
                  <a:lnTo>
                    <a:pt x="838" y="754"/>
                  </a:lnTo>
                  <a:lnTo>
                    <a:pt x="817" y="796"/>
                  </a:lnTo>
                  <a:lnTo>
                    <a:pt x="859" y="796"/>
                  </a:lnTo>
                  <a:lnTo>
                    <a:pt x="733" y="963"/>
                  </a:lnTo>
                  <a:lnTo>
                    <a:pt x="963" y="942"/>
                  </a:lnTo>
                  <a:lnTo>
                    <a:pt x="963" y="1047"/>
                  </a:lnTo>
                  <a:lnTo>
                    <a:pt x="1005" y="1068"/>
                  </a:lnTo>
                  <a:lnTo>
                    <a:pt x="1131" y="1047"/>
                  </a:lnTo>
                  <a:lnTo>
                    <a:pt x="1214" y="879"/>
                  </a:lnTo>
                  <a:lnTo>
                    <a:pt x="1319" y="858"/>
                  </a:lnTo>
                  <a:lnTo>
                    <a:pt x="1465" y="775"/>
                  </a:lnTo>
                  <a:lnTo>
                    <a:pt x="1675" y="733"/>
                  </a:lnTo>
                  <a:lnTo>
                    <a:pt x="1758" y="670"/>
                  </a:lnTo>
                  <a:lnTo>
                    <a:pt x="1779" y="565"/>
                  </a:lnTo>
                  <a:lnTo>
                    <a:pt x="1695" y="482"/>
                  </a:lnTo>
                  <a:lnTo>
                    <a:pt x="1695" y="314"/>
                  </a:lnTo>
                  <a:lnTo>
                    <a:pt x="1737" y="210"/>
                  </a:lnTo>
                  <a:lnTo>
                    <a:pt x="1695" y="42"/>
                  </a:lnTo>
                  <a:lnTo>
                    <a:pt x="1570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66" name="Google Shape;12247;p43">
              <a:extLst>
                <a:ext uri="{FF2B5EF4-FFF2-40B4-BE49-F238E27FC236}">
                  <a16:creationId xmlns:a16="http://schemas.microsoft.com/office/drawing/2014/main" id="{3429CFCD-F25C-A375-FAFE-ED3DDF7187BD}"/>
                </a:ext>
              </a:extLst>
            </p:cNvPr>
            <p:cNvGrpSpPr/>
            <p:nvPr/>
          </p:nvGrpSpPr>
          <p:grpSpPr>
            <a:xfrm>
              <a:off x="3632736" y="3051591"/>
              <a:ext cx="63288" cy="45217"/>
              <a:chOff x="3450375" y="3038225"/>
              <a:chExt cx="132875" cy="99400"/>
            </a:xfrm>
          </p:grpSpPr>
          <p:sp>
            <p:nvSpPr>
              <p:cNvPr id="202" name="Google Shape;12248;p43">
                <a:extLst>
                  <a:ext uri="{FF2B5EF4-FFF2-40B4-BE49-F238E27FC236}">
                    <a16:creationId xmlns:a16="http://schemas.microsoft.com/office/drawing/2014/main" id="{562EB623-FF5C-F25F-9A36-274F1650D516}"/>
                  </a:ext>
                </a:extLst>
              </p:cNvPr>
              <p:cNvSpPr/>
              <p:nvPr/>
            </p:nvSpPr>
            <p:spPr>
              <a:xfrm>
                <a:off x="3450375" y="3038225"/>
                <a:ext cx="46050" cy="13625"/>
              </a:xfrm>
              <a:custGeom>
                <a:avLst/>
                <a:gdLst/>
                <a:ahLst/>
                <a:cxnLst/>
                <a:rect l="l" t="t" r="r" b="b"/>
                <a:pathLst>
                  <a:path w="1842" h="545" extrusionOk="0">
                    <a:moveTo>
                      <a:pt x="942" y="0"/>
                    </a:moveTo>
                    <a:lnTo>
                      <a:pt x="795" y="63"/>
                    </a:lnTo>
                    <a:lnTo>
                      <a:pt x="586" y="230"/>
                    </a:lnTo>
                    <a:lnTo>
                      <a:pt x="481" y="230"/>
                    </a:lnTo>
                    <a:lnTo>
                      <a:pt x="418" y="251"/>
                    </a:lnTo>
                    <a:lnTo>
                      <a:pt x="167" y="251"/>
                    </a:lnTo>
                    <a:lnTo>
                      <a:pt x="188" y="335"/>
                    </a:lnTo>
                    <a:lnTo>
                      <a:pt x="314" y="419"/>
                    </a:lnTo>
                    <a:lnTo>
                      <a:pt x="439" y="377"/>
                    </a:lnTo>
                    <a:lnTo>
                      <a:pt x="439" y="377"/>
                    </a:lnTo>
                    <a:lnTo>
                      <a:pt x="377" y="460"/>
                    </a:lnTo>
                    <a:lnTo>
                      <a:pt x="209" y="460"/>
                    </a:lnTo>
                    <a:lnTo>
                      <a:pt x="105" y="314"/>
                    </a:lnTo>
                    <a:lnTo>
                      <a:pt x="0" y="419"/>
                    </a:lnTo>
                    <a:lnTo>
                      <a:pt x="63" y="481"/>
                    </a:lnTo>
                    <a:lnTo>
                      <a:pt x="63" y="544"/>
                    </a:lnTo>
                    <a:lnTo>
                      <a:pt x="105" y="481"/>
                    </a:lnTo>
                    <a:lnTo>
                      <a:pt x="481" y="481"/>
                    </a:lnTo>
                    <a:lnTo>
                      <a:pt x="586" y="356"/>
                    </a:lnTo>
                    <a:lnTo>
                      <a:pt x="691" y="335"/>
                    </a:lnTo>
                    <a:lnTo>
                      <a:pt x="816" y="251"/>
                    </a:lnTo>
                    <a:lnTo>
                      <a:pt x="900" y="272"/>
                    </a:lnTo>
                    <a:lnTo>
                      <a:pt x="921" y="314"/>
                    </a:lnTo>
                    <a:lnTo>
                      <a:pt x="1004" y="230"/>
                    </a:lnTo>
                    <a:lnTo>
                      <a:pt x="1067" y="209"/>
                    </a:lnTo>
                    <a:lnTo>
                      <a:pt x="1214" y="314"/>
                    </a:lnTo>
                    <a:lnTo>
                      <a:pt x="1318" y="314"/>
                    </a:lnTo>
                    <a:lnTo>
                      <a:pt x="1465" y="356"/>
                    </a:lnTo>
                    <a:lnTo>
                      <a:pt x="1653" y="440"/>
                    </a:lnTo>
                    <a:lnTo>
                      <a:pt x="1779" y="440"/>
                    </a:lnTo>
                    <a:lnTo>
                      <a:pt x="1841" y="356"/>
                    </a:lnTo>
                    <a:lnTo>
                      <a:pt x="1779" y="272"/>
                    </a:lnTo>
                    <a:lnTo>
                      <a:pt x="1737" y="314"/>
                    </a:lnTo>
                    <a:lnTo>
                      <a:pt x="1465" y="147"/>
                    </a:lnTo>
                    <a:lnTo>
                      <a:pt x="1360" y="147"/>
                    </a:lnTo>
                    <a:lnTo>
                      <a:pt x="1172" y="21"/>
                    </a:lnTo>
                    <a:lnTo>
                      <a:pt x="1046" y="21"/>
                    </a:lnTo>
                    <a:lnTo>
                      <a:pt x="94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3" name="Google Shape;12249;p43">
                <a:extLst>
                  <a:ext uri="{FF2B5EF4-FFF2-40B4-BE49-F238E27FC236}">
                    <a16:creationId xmlns:a16="http://schemas.microsoft.com/office/drawing/2014/main" id="{9121E9D4-C9CB-05E2-6AF2-AF9BB9791707}"/>
                  </a:ext>
                </a:extLst>
              </p:cNvPr>
              <p:cNvSpPr/>
              <p:nvPr/>
            </p:nvSpPr>
            <p:spPr>
              <a:xfrm>
                <a:off x="3481225" y="3056525"/>
                <a:ext cx="102025" cy="81100"/>
              </a:xfrm>
              <a:custGeom>
                <a:avLst/>
                <a:gdLst/>
                <a:ahLst/>
                <a:cxnLst/>
                <a:rect l="l" t="t" r="r" b="b"/>
                <a:pathLst>
                  <a:path w="4081" h="3244" extrusionOk="0">
                    <a:moveTo>
                      <a:pt x="712" y="0"/>
                    </a:moveTo>
                    <a:lnTo>
                      <a:pt x="565" y="21"/>
                    </a:lnTo>
                    <a:lnTo>
                      <a:pt x="565" y="42"/>
                    </a:lnTo>
                    <a:lnTo>
                      <a:pt x="607" y="210"/>
                    </a:lnTo>
                    <a:lnTo>
                      <a:pt x="565" y="314"/>
                    </a:lnTo>
                    <a:lnTo>
                      <a:pt x="565" y="482"/>
                    </a:lnTo>
                    <a:lnTo>
                      <a:pt x="649" y="565"/>
                    </a:lnTo>
                    <a:lnTo>
                      <a:pt x="628" y="670"/>
                    </a:lnTo>
                    <a:lnTo>
                      <a:pt x="545" y="733"/>
                    </a:lnTo>
                    <a:lnTo>
                      <a:pt x="335" y="775"/>
                    </a:lnTo>
                    <a:lnTo>
                      <a:pt x="189" y="858"/>
                    </a:lnTo>
                    <a:lnTo>
                      <a:pt x="84" y="879"/>
                    </a:lnTo>
                    <a:lnTo>
                      <a:pt x="1" y="1046"/>
                    </a:lnTo>
                    <a:lnTo>
                      <a:pt x="21" y="1005"/>
                    </a:lnTo>
                    <a:lnTo>
                      <a:pt x="105" y="1109"/>
                    </a:lnTo>
                    <a:lnTo>
                      <a:pt x="42" y="1319"/>
                    </a:lnTo>
                    <a:lnTo>
                      <a:pt x="189" y="1507"/>
                    </a:lnTo>
                    <a:lnTo>
                      <a:pt x="314" y="1528"/>
                    </a:lnTo>
                    <a:lnTo>
                      <a:pt x="398" y="1570"/>
                    </a:lnTo>
                    <a:lnTo>
                      <a:pt x="440" y="1486"/>
                    </a:lnTo>
                    <a:lnTo>
                      <a:pt x="545" y="1528"/>
                    </a:lnTo>
                    <a:lnTo>
                      <a:pt x="503" y="1570"/>
                    </a:lnTo>
                    <a:lnTo>
                      <a:pt x="503" y="1674"/>
                    </a:lnTo>
                    <a:lnTo>
                      <a:pt x="545" y="1716"/>
                    </a:lnTo>
                    <a:lnTo>
                      <a:pt x="670" y="1716"/>
                    </a:lnTo>
                    <a:lnTo>
                      <a:pt x="733" y="1904"/>
                    </a:lnTo>
                    <a:lnTo>
                      <a:pt x="879" y="1988"/>
                    </a:lnTo>
                    <a:lnTo>
                      <a:pt x="963" y="2051"/>
                    </a:lnTo>
                    <a:lnTo>
                      <a:pt x="1047" y="2030"/>
                    </a:lnTo>
                    <a:lnTo>
                      <a:pt x="1235" y="1946"/>
                    </a:lnTo>
                    <a:lnTo>
                      <a:pt x="1235" y="1884"/>
                    </a:lnTo>
                    <a:lnTo>
                      <a:pt x="1381" y="1716"/>
                    </a:lnTo>
                    <a:lnTo>
                      <a:pt x="1486" y="1632"/>
                    </a:lnTo>
                    <a:lnTo>
                      <a:pt x="1612" y="1570"/>
                    </a:lnTo>
                    <a:lnTo>
                      <a:pt x="2114" y="1570"/>
                    </a:lnTo>
                    <a:lnTo>
                      <a:pt x="2197" y="1716"/>
                    </a:lnTo>
                    <a:lnTo>
                      <a:pt x="2239" y="1821"/>
                    </a:lnTo>
                    <a:lnTo>
                      <a:pt x="2407" y="2093"/>
                    </a:lnTo>
                    <a:lnTo>
                      <a:pt x="2386" y="2156"/>
                    </a:lnTo>
                    <a:lnTo>
                      <a:pt x="2490" y="2260"/>
                    </a:lnTo>
                    <a:lnTo>
                      <a:pt x="2490" y="2365"/>
                    </a:lnTo>
                    <a:lnTo>
                      <a:pt x="2407" y="2407"/>
                    </a:lnTo>
                    <a:lnTo>
                      <a:pt x="2407" y="2511"/>
                    </a:lnTo>
                    <a:lnTo>
                      <a:pt x="2449" y="2532"/>
                    </a:lnTo>
                    <a:lnTo>
                      <a:pt x="2449" y="2574"/>
                    </a:lnTo>
                    <a:lnTo>
                      <a:pt x="2595" y="2532"/>
                    </a:lnTo>
                    <a:lnTo>
                      <a:pt x="2637" y="2532"/>
                    </a:lnTo>
                    <a:lnTo>
                      <a:pt x="2867" y="2449"/>
                    </a:lnTo>
                    <a:lnTo>
                      <a:pt x="3014" y="2511"/>
                    </a:lnTo>
                    <a:lnTo>
                      <a:pt x="3055" y="2637"/>
                    </a:lnTo>
                    <a:lnTo>
                      <a:pt x="3181" y="2721"/>
                    </a:lnTo>
                    <a:lnTo>
                      <a:pt x="3160" y="2930"/>
                    </a:lnTo>
                    <a:lnTo>
                      <a:pt x="3139" y="3055"/>
                    </a:lnTo>
                    <a:lnTo>
                      <a:pt x="3286" y="3202"/>
                    </a:lnTo>
                    <a:lnTo>
                      <a:pt x="3369" y="3202"/>
                    </a:lnTo>
                    <a:lnTo>
                      <a:pt x="3537" y="3076"/>
                    </a:lnTo>
                    <a:lnTo>
                      <a:pt x="3578" y="3076"/>
                    </a:lnTo>
                    <a:lnTo>
                      <a:pt x="3683" y="3181"/>
                    </a:lnTo>
                    <a:lnTo>
                      <a:pt x="3704" y="3244"/>
                    </a:lnTo>
                    <a:lnTo>
                      <a:pt x="3704" y="3202"/>
                    </a:lnTo>
                    <a:lnTo>
                      <a:pt x="3809" y="3181"/>
                    </a:lnTo>
                    <a:lnTo>
                      <a:pt x="3976" y="2846"/>
                    </a:lnTo>
                    <a:lnTo>
                      <a:pt x="3976" y="2721"/>
                    </a:lnTo>
                    <a:lnTo>
                      <a:pt x="3955" y="2658"/>
                    </a:lnTo>
                    <a:lnTo>
                      <a:pt x="3850" y="2553"/>
                    </a:lnTo>
                    <a:lnTo>
                      <a:pt x="3850" y="2469"/>
                    </a:lnTo>
                    <a:lnTo>
                      <a:pt x="3913" y="2428"/>
                    </a:lnTo>
                    <a:lnTo>
                      <a:pt x="3997" y="2449"/>
                    </a:lnTo>
                    <a:lnTo>
                      <a:pt x="4018" y="2365"/>
                    </a:lnTo>
                    <a:lnTo>
                      <a:pt x="3955" y="2239"/>
                    </a:lnTo>
                    <a:lnTo>
                      <a:pt x="3871" y="2218"/>
                    </a:lnTo>
                    <a:lnTo>
                      <a:pt x="3871" y="2009"/>
                    </a:lnTo>
                    <a:lnTo>
                      <a:pt x="3892" y="1925"/>
                    </a:lnTo>
                    <a:lnTo>
                      <a:pt x="3871" y="1674"/>
                    </a:lnTo>
                    <a:lnTo>
                      <a:pt x="3809" y="1612"/>
                    </a:lnTo>
                    <a:lnTo>
                      <a:pt x="3809" y="1507"/>
                    </a:lnTo>
                    <a:lnTo>
                      <a:pt x="4060" y="1423"/>
                    </a:lnTo>
                    <a:lnTo>
                      <a:pt x="4081" y="1402"/>
                    </a:lnTo>
                    <a:lnTo>
                      <a:pt x="4081" y="1319"/>
                    </a:lnTo>
                    <a:lnTo>
                      <a:pt x="4018" y="1277"/>
                    </a:lnTo>
                    <a:lnTo>
                      <a:pt x="3871" y="1256"/>
                    </a:lnTo>
                    <a:lnTo>
                      <a:pt x="3871" y="1193"/>
                    </a:lnTo>
                    <a:lnTo>
                      <a:pt x="3850" y="1109"/>
                    </a:lnTo>
                    <a:lnTo>
                      <a:pt x="3850" y="1005"/>
                    </a:lnTo>
                    <a:lnTo>
                      <a:pt x="3767" y="1005"/>
                    </a:lnTo>
                    <a:lnTo>
                      <a:pt x="3704" y="1088"/>
                    </a:lnTo>
                    <a:lnTo>
                      <a:pt x="3599" y="1109"/>
                    </a:lnTo>
                    <a:lnTo>
                      <a:pt x="3599" y="1109"/>
                    </a:lnTo>
                    <a:lnTo>
                      <a:pt x="3662" y="963"/>
                    </a:lnTo>
                    <a:lnTo>
                      <a:pt x="3767" y="796"/>
                    </a:lnTo>
                    <a:lnTo>
                      <a:pt x="3767" y="754"/>
                    </a:lnTo>
                    <a:lnTo>
                      <a:pt x="3641" y="733"/>
                    </a:lnTo>
                    <a:lnTo>
                      <a:pt x="3578" y="670"/>
                    </a:lnTo>
                    <a:lnTo>
                      <a:pt x="3599" y="524"/>
                    </a:lnTo>
                    <a:lnTo>
                      <a:pt x="3558" y="377"/>
                    </a:lnTo>
                    <a:lnTo>
                      <a:pt x="3432" y="272"/>
                    </a:lnTo>
                    <a:lnTo>
                      <a:pt x="3390" y="231"/>
                    </a:lnTo>
                    <a:lnTo>
                      <a:pt x="3286" y="252"/>
                    </a:lnTo>
                    <a:lnTo>
                      <a:pt x="3265" y="314"/>
                    </a:lnTo>
                    <a:lnTo>
                      <a:pt x="3118" y="231"/>
                    </a:lnTo>
                    <a:lnTo>
                      <a:pt x="2972" y="231"/>
                    </a:lnTo>
                    <a:lnTo>
                      <a:pt x="2867" y="377"/>
                    </a:lnTo>
                    <a:lnTo>
                      <a:pt x="2804" y="419"/>
                    </a:lnTo>
                    <a:lnTo>
                      <a:pt x="2700" y="482"/>
                    </a:lnTo>
                    <a:lnTo>
                      <a:pt x="2532" y="482"/>
                    </a:lnTo>
                    <a:lnTo>
                      <a:pt x="2407" y="377"/>
                    </a:lnTo>
                    <a:lnTo>
                      <a:pt x="2323" y="356"/>
                    </a:lnTo>
                    <a:lnTo>
                      <a:pt x="2218" y="419"/>
                    </a:lnTo>
                    <a:lnTo>
                      <a:pt x="2135" y="377"/>
                    </a:lnTo>
                    <a:lnTo>
                      <a:pt x="2135" y="272"/>
                    </a:lnTo>
                    <a:lnTo>
                      <a:pt x="2009" y="272"/>
                    </a:lnTo>
                    <a:lnTo>
                      <a:pt x="1967" y="231"/>
                    </a:lnTo>
                    <a:lnTo>
                      <a:pt x="1863" y="210"/>
                    </a:lnTo>
                    <a:lnTo>
                      <a:pt x="1758" y="272"/>
                    </a:lnTo>
                    <a:lnTo>
                      <a:pt x="1570" y="210"/>
                    </a:lnTo>
                    <a:lnTo>
                      <a:pt x="1381" y="210"/>
                    </a:lnTo>
                    <a:lnTo>
                      <a:pt x="1277" y="126"/>
                    </a:lnTo>
                    <a:lnTo>
                      <a:pt x="1047" y="21"/>
                    </a:lnTo>
                    <a:lnTo>
                      <a:pt x="712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67" name="Google Shape;12250;p43">
              <a:extLst>
                <a:ext uri="{FF2B5EF4-FFF2-40B4-BE49-F238E27FC236}">
                  <a16:creationId xmlns:a16="http://schemas.microsoft.com/office/drawing/2014/main" id="{1D043879-872F-8B5B-C6A8-3164B59162C8}"/>
                </a:ext>
              </a:extLst>
            </p:cNvPr>
            <p:cNvSpPr/>
            <p:nvPr/>
          </p:nvSpPr>
          <p:spPr>
            <a:xfrm>
              <a:off x="3657897" y="3077759"/>
              <a:ext cx="19195" cy="21903"/>
            </a:xfrm>
            <a:custGeom>
              <a:avLst/>
              <a:gdLst/>
              <a:ahLst/>
              <a:cxnLst/>
              <a:rect l="l" t="t" r="r" b="b"/>
              <a:pathLst>
                <a:path w="1612" h="1926" extrusionOk="0">
                  <a:moveTo>
                    <a:pt x="733" y="1"/>
                  </a:moveTo>
                  <a:lnTo>
                    <a:pt x="607" y="63"/>
                  </a:lnTo>
                  <a:lnTo>
                    <a:pt x="502" y="147"/>
                  </a:lnTo>
                  <a:lnTo>
                    <a:pt x="356" y="315"/>
                  </a:lnTo>
                  <a:lnTo>
                    <a:pt x="356" y="377"/>
                  </a:lnTo>
                  <a:lnTo>
                    <a:pt x="168" y="461"/>
                  </a:lnTo>
                  <a:lnTo>
                    <a:pt x="84" y="482"/>
                  </a:lnTo>
                  <a:lnTo>
                    <a:pt x="42" y="587"/>
                  </a:lnTo>
                  <a:lnTo>
                    <a:pt x="0" y="670"/>
                  </a:lnTo>
                  <a:lnTo>
                    <a:pt x="105" y="733"/>
                  </a:lnTo>
                  <a:lnTo>
                    <a:pt x="42" y="880"/>
                  </a:lnTo>
                  <a:lnTo>
                    <a:pt x="63" y="963"/>
                  </a:lnTo>
                  <a:lnTo>
                    <a:pt x="168" y="984"/>
                  </a:lnTo>
                  <a:lnTo>
                    <a:pt x="251" y="1172"/>
                  </a:lnTo>
                  <a:lnTo>
                    <a:pt x="251" y="1298"/>
                  </a:lnTo>
                  <a:lnTo>
                    <a:pt x="377" y="1424"/>
                  </a:lnTo>
                  <a:lnTo>
                    <a:pt x="482" y="1382"/>
                  </a:lnTo>
                  <a:lnTo>
                    <a:pt x="482" y="1403"/>
                  </a:lnTo>
                  <a:lnTo>
                    <a:pt x="419" y="1507"/>
                  </a:lnTo>
                  <a:lnTo>
                    <a:pt x="502" y="1591"/>
                  </a:lnTo>
                  <a:lnTo>
                    <a:pt x="586" y="1675"/>
                  </a:lnTo>
                  <a:lnTo>
                    <a:pt x="565" y="1737"/>
                  </a:lnTo>
                  <a:lnTo>
                    <a:pt x="691" y="1779"/>
                  </a:lnTo>
                  <a:lnTo>
                    <a:pt x="1005" y="1926"/>
                  </a:lnTo>
                  <a:lnTo>
                    <a:pt x="1046" y="1926"/>
                  </a:lnTo>
                  <a:lnTo>
                    <a:pt x="1088" y="1842"/>
                  </a:lnTo>
                  <a:lnTo>
                    <a:pt x="1151" y="1696"/>
                  </a:lnTo>
                  <a:lnTo>
                    <a:pt x="1298" y="1633"/>
                  </a:lnTo>
                  <a:lnTo>
                    <a:pt x="1402" y="1507"/>
                  </a:lnTo>
                  <a:lnTo>
                    <a:pt x="1402" y="1403"/>
                  </a:lnTo>
                  <a:lnTo>
                    <a:pt x="1444" y="1256"/>
                  </a:lnTo>
                  <a:lnTo>
                    <a:pt x="1528" y="1214"/>
                  </a:lnTo>
                  <a:lnTo>
                    <a:pt x="1528" y="1152"/>
                  </a:lnTo>
                  <a:lnTo>
                    <a:pt x="1549" y="1005"/>
                  </a:lnTo>
                  <a:lnTo>
                    <a:pt x="1570" y="1005"/>
                  </a:lnTo>
                  <a:lnTo>
                    <a:pt x="1570" y="963"/>
                  </a:lnTo>
                  <a:lnTo>
                    <a:pt x="1528" y="942"/>
                  </a:lnTo>
                  <a:lnTo>
                    <a:pt x="1528" y="838"/>
                  </a:lnTo>
                  <a:lnTo>
                    <a:pt x="1611" y="796"/>
                  </a:lnTo>
                  <a:lnTo>
                    <a:pt x="1611" y="691"/>
                  </a:lnTo>
                  <a:lnTo>
                    <a:pt x="1507" y="587"/>
                  </a:lnTo>
                  <a:lnTo>
                    <a:pt x="1528" y="524"/>
                  </a:lnTo>
                  <a:lnTo>
                    <a:pt x="1360" y="252"/>
                  </a:lnTo>
                  <a:lnTo>
                    <a:pt x="1318" y="147"/>
                  </a:lnTo>
                  <a:lnTo>
                    <a:pt x="123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Google Shape;12251;p43">
              <a:extLst>
                <a:ext uri="{FF2B5EF4-FFF2-40B4-BE49-F238E27FC236}">
                  <a16:creationId xmlns:a16="http://schemas.microsoft.com/office/drawing/2014/main" id="{847BC54B-DDF0-1F09-0BDA-AC14F94175FD}"/>
                </a:ext>
              </a:extLst>
            </p:cNvPr>
            <p:cNvSpPr/>
            <p:nvPr/>
          </p:nvSpPr>
          <p:spPr>
            <a:xfrm>
              <a:off x="3670352" y="3087756"/>
              <a:ext cx="27911" cy="28568"/>
            </a:xfrm>
            <a:custGeom>
              <a:avLst/>
              <a:gdLst/>
              <a:ahLst/>
              <a:cxnLst/>
              <a:rect l="l" t="t" r="r" b="b"/>
              <a:pathLst>
                <a:path w="2344" h="2512" extrusionOk="0">
                  <a:moveTo>
                    <a:pt x="942" y="1"/>
                  </a:moveTo>
                  <a:lnTo>
                    <a:pt x="712" y="84"/>
                  </a:lnTo>
                  <a:lnTo>
                    <a:pt x="670" y="84"/>
                  </a:lnTo>
                  <a:lnTo>
                    <a:pt x="524" y="126"/>
                  </a:lnTo>
                  <a:lnTo>
                    <a:pt x="503" y="126"/>
                  </a:lnTo>
                  <a:lnTo>
                    <a:pt x="482" y="273"/>
                  </a:lnTo>
                  <a:lnTo>
                    <a:pt x="482" y="335"/>
                  </a:lnTo>
                  <a:lnTo>
                    <a:pt x="398" y="377"/>
                  </a:lnTo>
                  <a:lnTo>
                    <a:pt x="356" y="524"/>
                  </a:lnTo>
                  <a:lnTo>
                    <a:pt x="356" y="628"/>
                  </a:lnTo>
                  <a:lnTo>
                    <a:pt x="252" y="754"/>
                  </a:lnTo>
                  <a:lnTo>
                    <a:pt x="105" y="817"/>
                  </a:lnTo>
                  <a:lnTo>
                    <a:pt x="42" y="963"/>
                  </a:lnTo>
                  <a:lnTo>
                    <a:pt x="0" y="1047"/>
                  </a:lnTo>
                  <a:lnTo>
                    <a:pt x="168" y="1047"/>
                  </a:lnTo>
                  <a:lnTo>
                    <a:pt x="252" y="1109"/>
                  </a:lnTo>
                  <a:lnTo>
                    <a:pt x="210" y="1172"/>
                  </a:lnTo>
                  <a:lnTo>
                    <a:pt x="293" y="1235"/>
                  </a:lnTo>
                  <a:lnTo>
                    <a:pt x="461" y="1444"/>
                  </a:lnTo>
                  <a:lnTo>
                    <a:pt x="524" y="1444"/>
                  </a:lnTo>
                  <a:lnTo>
                    <a:pt x="775" y="1591"/>
                  </a:lnTo>
                  <a:lnTo>
                    <a:pt x="796" y="1591"/>
                  </a:lnTo>
                  <a:lnTo>
                    <a:pt x="1130" y="1967"/>
                  </a:lnTo>
                  <a:lnTo>
                    <a:pt x="1256" y="1988"/>
                  </a:lnTo>
                  <a:lnTo>
                    <a:pt x="1716" y="2302"/>
                  </a:lnTo>
                  <a:lnTo>
                    <a:pt x="2260" y="2511"/>
                  </a:lnTo>
                  <a:lnTo>
                    <a:pt x="2260" y="2386"/>
                  </a:lnTo>
                  <a:lnTo>
                    <a:pt x="2197" y="2281"/>
                  </a:lnTo>
                  <a:lnTo>
                    <a:pt x="2260" y="2156"/>
                  </a:lnTo>
                  <a:lnTo>
                    <a:pt x="2239" y="2072"/>
                  </a:lnTo>
                  <a:lnTo>
                    <a:pt x="2260" y="1967"/>
                  </a:lnTo>
                  <a:lnTo>
                    <a:pt x="2302" y="1884"/>
                  </a:lnTo>
                  <a:lnTo>
                    <a:pt x="2260" y="1800"/>
                  </a:lnTo>
                  <a:lnTo>
                    <a:pt x="2344" y="1758"/>
                  </a:lnTo>
                  <a:lnTo>
                    <a:pt x="2302" y="1653"/>
                  </a:lnTo>
                  <a:lnTo>
                    <a:pt x="2239" y="1633"/>
                  </a:lnTo>
                  <a:lnTo>
                    <a:pt x="2156" y="1570"/>
                  </a:lnTo>
                  <a:lnTo>
                    <a:pt x="2093" y="1465"/>
                  </a:lnTo>
                  <a:lnTo>
                    <a:pt x="2030" y="1444"/>
                  </a:lnTo>
                  <a:lnTo>
                    <a:pt x="1967" y="1444"/>
                  </a:lnTo>
                  <a:lnTo>
                    <a:pt x="1884" y="1361"/>
                  </a:lnTo>
                  <a:lnTo>
                    <a:pt x="1779" y="1361"/>
                  </a:lnTo>
                  <a:lnTo>
                    <a:pt x="1758" y="1381"/>
                  </a:lnTo>
                  <a:lnTo>
                    <a:pt x="1653" y="1361"/>
                  </a:lnTo>
                  <a:lnTo>
                    <a:pt x="1633" y="1256"/>
                  </a:lnTo>
                  <a:lnTo>
                    <a:pt x="1716" y="1151"/>
                  </a:lnTo>
                  <a:lnTo>
                    <a:pt x="1821" y="942"/>
                  </a:lnTo>
                  <a:lnTo>
                    <a:pt x="1758" y="837"/>
                  </a:lnTo>
                  <a:lnTo>
                    <a:pt x="1779" y="796"/>
                  </a:lnTo>
                  <a:lnTo>
                    <a:pt x="1758" y="733"/>
                  </a:lnTo>
                  <a:lnTo>
                    <a:pt x="1653" y="628"/>
                  </a:lnTo>
                  <a:lnTo>
                    <a:pt x="1612" y="628"/>
                  </a:lnTo>
                  <a:lnTo>
                    <a:pt x="1444" y="754"/>
                  </a:lnTo>
                  <a:lnTo>
                    <a:pt x="1361" y="754"/>
                  </a:lnTo>
                  <a:lnTo>
                    <a:pt x="1214" y="607"/>
                  </a:lnTo>
                  <a:lnTo>
                    <a:pt x="1235" y="482"/>
                  </a:lnTo>
                  <a:lnTo>
                    <a:pt x="1256" y="273"/>
                  </a:lnTo>
                  <a:lnTo>
                    <a:pt x="1130" y="189"/>
                  </a:lnTo>
                  <a:lnTo>
                    <a:pt x="1089" y="63"/>
                  </a:lnTo>
                  <a:lnTo>
                    <a:pt x="94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Google Shape;12252;p43">
              <a:extLst>
                <a:ext uri="{FF2B5EF4-FFF2-40B4-BE49-F238E27FC236}">
                  <a16:creationId xmlns:a16="http://schemas.microsoft.com/office/drawing/2014/main" id="{919DAD7D-F8F6-D7FC-084C-CD28558FA2A2}"/>
                </a:ext>
              </a:extLst>
            </p:cNvPr>
            <p:cNvSpPr/>
            <p:nvPr/>
          </p:nvSpPr>
          <p:spPr>
            <a:xfrm>
              <a:off x="3689785" y="3073722"/>
              <a:ext cx="42617" cy="42840"/>
            </a:xfrm>
            <a:custGeom>
              <a:avLst/>
              <a:gdLst/>
              <a:ahLst/>
              <a:cxnLst/>
              <a:rect l="l" t="t" r="r" b="b"/>
              <a:pathLst>
                <a:path w="3579" h="3767" extrusionOk="0">
                  <a:moveTo>
                    <a:pt x="1905" y="0"/>
                  </a:moveTo>
                  <a:lnTo>
                    <a:pt x="1821" y="63"/>
                  </a:lnTo>
                  <a:lnTo>
                    <a:pt x="1716" y="209"/>
                  </a:lnTo>
                  <a:lnTo>
                    <a:pt x="1549" y="167"/>
                  </a:lnTo>
                  <a:lnTo>
                    <a:pt x="1507" y="105"/>
                  </a:lnTo>
                  <a:lnTo>
                    <a:pt x="1549" y="63"/>
                  </a:lnTo>
                  <a:lnTo>
                    <a:pt x="1381" y="42"/>
                  </a:lnTo>
                  <a:lnTo>
                    <a:pt x="1193" y="84"/>
                  </a:lnTo>
                  <a:lnTo>
                    <a:pt x="1193" y="146"/>
                  </a:lnTo>
                  <a:lnTo>
                    <a:pt x="1151" y="167"/>
                  </a:lnTo>
                  <a:lnTo>
                    <a:pt x="921" y="167"/>
                  </a:lnTo>
                  <a:lnTo>
                    <a:pt x="775" y="84"/>
                  </a:lnTo>
                  <a:lnTo>
                    <a:pt x="712" y="84"/>
                  </a:lnTo>
                  <a:lnTo>
                    <a:pt x="503" y="209"/>
                  </a:lnTo>
                  <a:lnTo>
                    <a:pt x="252" y="293"/>
                  </a:lnTo>
                  <a:lnTo>
                    <a:pt x="252" y="398"/>
                  </a:lnTo>
                  <a:lnTo>
                    <a:pt x="314" y="460"/>
                  </a:lnTo>
                  <a:lnTo>
                    <a:pt x="335" y="711"/>
                  </a:lnTo>
                  <a:lnTo>
                    <a:pt x="314" y="795"/>
                  </a:lnTo>
                  <a:lnTo>
                    <a:pt x="314" y="1004"/>
                  </a:lnTo>
                  <a:lnTo>
                    <a:pt x="398" y="1025"/>
                  </a:lnTo>
                  <a:lnTo>
                    <a:pt x="461" y="1151"/>
                  </a:lnTo>
                  <a:lnTo>
                    <a:pt x="440" y="1235"/>
                  </a:lnTo>
                  <a:lnTo>
                    <a:pt x="356" y="1214"/>
                  </a:lnTo>
                  <a:lnTo>
                    <a:pt x="293" y="1255"/>
                  </a:lnTo>
                  <a:lnTo>
                    <a:pt x="293" y="1339"/>
                  </a:lnTo>
                  <a:lnTo>
                    <a:pt x="398" y="1444"/>
                  </a:lnTo>
                  <a:lnTo>
                    <a:pt x="419" y="1507"/>
                  </a:lnTo>
                  <a:lnTo>
                    <a:pt x="419" y="1632"/>
                  </a:lnTo>
                  <a:lnTo>
                    <a:pt x="252" y="1967"/>
                  </a:lnTo>
                  <a:lnTo>
                    <a:pt x="147" y="1988"/>
                  </a:lnTo>
                  <a:lnTo>
                    <a:pt x="147" y="2030"/>
                  </a:lnTo>
                  <a:lnTo>
                    <a:pt x="126" y="2071"/>
                  </a:lnTo>
                  <a:lnTo>
                    <a:pt x="189" y="2176"/>
                  </a:lnTo>
                  <a:lnTo>
                    <a:pt x="84" y="2385"/>
                  </a:lnTo>
                  <a:lnTo>
                    <a:pt x="1" y="2490"/>
                  </a:lnTo>
                  <a:lnTo>
                    <a:pt x="21" y="2595"/>
                  </a:lnTo>
                  <a:lnTo>
                    <a:pt x="126" y="2615"/>
                  </a:lnTo>
                  <a:lnTo>
                    <a:pt x="147" y="2595"/>
                  </a:lnTo>
                  <a:lnTo>
                    <a:pt x="252" y="2595"/>
                  </a:lnTo>
                  <a:lnTo>
                    <a:pt x="335" y="2678"/>
                  </a:lnTo>
                  <a:lnTo>
                    <a:pt x="398" y="2678"/>
                  </a:lnTo>
                  <a:lnTo>
                    <a:pt x="461" y="2699"/>
                  </a:lnTo>
                  <a:lnTo>
                    <a:pt x="524" y="2804"/>
                  </a:lnTo>
                  <a:lnTo>
                    <a:pt x="607" y="2867"/>
                  </a:lnTo>
                  <a:lnTo>
                    <a:pt x="670" y="2887"/>
                  </a:lnTo>
                  <a:lnTo>
                    <a:pt x="712" y="2992"/>
                  </a:lnTo>
                  <a:lnTo>
                    <a:pt x="628" y="3034"/>
                  </a:lnTo>
                  <a:lnTo>
                    <a:pt x="670" y="3118"/>
                  </a:lnTo>
                  <a:lnTo>
                    <a:pt x="628" y="3201"/>
                  </a:lnTo>
                  <a:lnTo>
                    <a:pt x="607" y="3306"/>
                  </a:lnTo>
                  <a:lnTo>
                    <a:pt x="628" y="3390"/>
                  </a:lnTo>
                  <a:lnTo>
                    <a:pt x="565" y="3515"/>
                  </a:lnTo>
                  <a:lnTo>
                    <a:pt x="628" y="3620"/>
                  </a:lnTo>
                  <a:lnTo>
                    <a:pt x="628" y="3745"/>
                  </a:lnTo>
                  <a:lnTo>
                    <a:pt x="712" y="3766"/>
                  </a:lnTo>
                  <a:lnTo>
                    <a:pt x="879" y="3599"/>
                  </a:lnTo>
                  <a:lnTo>
                    <a:pt x="1026" y="3599"/>
                  </a:lnTo>
                  <a:lnTo>
                    <a:pt x="1068" y="3536"/>
                  </a:lnTo>
                  <a:lnTo>
                    <a:pt x="1465" y="3390"/>
                  </a:lnTo>
                  <a:lnTo>
                    <a:pt x="1465" y="3327"/>
                  </a:lnTo>
                  <a:lnTo>
                    <a:pt x="1674" y="3306"/>
                  </a:lnTo>
                  <a:lnTo>
                    <a:pt x="2449" y="3306"/>
                  </a:lnTo>
                  <a:lnTo>
                    <a:pt x="2742" y="3201"/>
                  </a:lnTo>
                  <a:lnTo>
                    <a:pt x="3014" y="3327"/>
                  </a:lnTo>
                  <a:lnTo>
                    <a:pt x="3034" y="3201"/>
                  </a:lnTo>
                  <a:lnTo>
                    <a:pt x="3139" y="3180"/>
                  </a:lnTo>
                  <a:lnTo>
                    <a:pt x="3223" y="3306"/>
                  </a:lnTo>
                  <a:lnTo>
                    <a:pt x="3244" y="3285"/>
                  </a:lnTo>
                  <a:lnTo>
                    <a:pt x="3348" y="3285"/>
                  </a:lnTo>
                  <a:lnTo>
                    <a:pt x="3453" y="3243"/>
                  </a:lnTo>
                  <a:lnTo>
                    <a:pt x="3453" y="3097"/>
                  </a:lnTo>
                  <a:lnTo>
                    <a:pt x="3390" y="2992"/>
                  </a:lnTo>
                  <a:lnTo>
                    <a:pt x="3265" y="2971"/>
                  </a:lnTo>
                  <a:lnTo>
                    <a:pt x="3244" y="2804"/>
                  </a:lnTo>
                  <a:lnTo>
                    <a:pt x="3160" y="2595"/>
                  </a:lnTo>
                  <a:lnTo>
                    <a:pt x="3076" y="2511"/>
                  </a:lnTo>
                  <a:lnTo>
                    <a:pt x="3118" y="2469"/>
                  </a:lnTo>
                  <a:lnTo>
                    <a:pt x="3139" y="2448"/>
                  </a:lnTo>
                  <a:lnTo>
                    <a:pt x="3139" y="2176"/>
                  </a:lnTo>
                  <a:lnTo>
                    <a:pt x="3181" y="2092"/>
                  </a:lnTo>
                  <a:lnTo>
                    <a:pt x="3223" y="1967"/>
                  </a:lnTo>
                  <a:lnTo>
                    <a:pt x="3244" y="1883"/>
                  </a:lnTo>
                  <a:lnTo>
                    <a:pt x="3244" y="1758"/>
                  </a:lnTo>
                  <a:lnTo>
                    <a:pt x="3432" y="1507"/>
                  </a:lnTo>
                  <a:lnTo>
                    <a:pt x="3537" y="1423"/>
                  </a:lnTo>
                  <a:lnTo>
                    <a:pt x="3537" y="1318"/>
                  </a:lnTo>
                  <a:lnTo>
                    <a:pt x="3578" y="1193"/>
                  </a:lnTo>
                  <a:lnTo>
                    <a:pt x="3537" y="1025"/>
                  </a:lnTo>
                  <a:lnTo>
                    <a:pt x="3453" y="942"/>
                  </a:lnTo>
                  <a:lnTo>
                    <a:pt x="3453" y="879"/>
                  </a:lnTo>
                  <a:lnTo>
                    <a:pt x="3390" y="732"/>
                  </a:lnTo>
                  <a:lnTo>
                    <a:pt x="3453" y="565"/>
                  </a:lnTo>
                  <a:lnTo>
                    <a:pt x="3453" y="502"/>
                  </a:lnTo>
                  <a:lnTo>
                    <a:pt x="3327" y="502"/>
                  </a:lnTo>
                  <a:lnTo>
                    <a:pt x="3244" y="418"/>
                  </a:lnTo>
                  <a:lnTo>
                    <a:pt x="3160" y="418"/>
                  </a:lnTo>
                  <a:lnTo>
                    <a:pt x="3055" y="502"/>
                  </a:lnTo>
                  <a:lnTo>
                    <a:pt x="2930" y="523"/>
                  </a:lnTo>
                  <a:lnTo>
                    <a:pt x="2742" y="460"/>
                  </a:lnTo>
                  <a:lnTo>
                    <a:pt x="2658" y="356"/>
                  </a:lnTo>
                  <a:lnTo>
                    <a:pt x="2553" y="293"/>
                  </a:lnTo>
                  <a:lnTo>
                    <a:pt x="2449" y="293"/>
                  </a:lnTo>
                  <a:lnTo>
                    <a:pt x="2407" y="251"/>
                  </a:lnTo>
                  <a:lnTo>
                    <a:pt x="2302" y="251"/>
                  </a:lnTo>
                  <a:lnTo>
                    <a:pt x="2093" y="146"/>
                  </a:lnTo>
                  <a:lnTo>
                    <a:pt x="192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Google Shape;12253;p43">
              <a:extLst>
                <a:ext uri="{FF2B5EF4-FFF2-40B4-BE49-F238E27FC236}">
                  <a16:creationId xmlns:a16="http://schemas.microsoft.com/office/drawing/2014/main" id="{1BDF751F-B638-9334-7E56-2CB30ED6AB1D}"/>
                </a:ext>
              </a:extLst>
            </p:cNvPr>
            <p:cNvSpPr/>
            <p:nvPr/>
          </p:nvSpPr>
          <p:spPr>
            <a:xfrm>
              <a:off x="3726412" y="3070151"/>
              <a:ext cx="29161" cy="43557"/>
            </a:xfrm>
            <a:custGeom>
              <a:avLst/>
              <a:gdLst/>
              <a:ahLst/>
              <a:cxnLst/>
              <a:rect l="l" t="t" r="r" b="b"/>
              <a:pathLst>
                <a:path w="2449" h="3830" extrusionOk="0">
                  <a:moveTo>
                    <a:pt x="1674" y="0"/>
                  </a:moveTo>
                  <a:lnTo>
                    <a:pt x="1549" y="63"/>
                  </a:lnTo>
                  <a:lnTo>
                    <a:pt x="1402" y="63"/>
                  </a:lnTo>
                  <a:lnTo>
                    <a:pt x="1193" y="105"/>
                  </a:lnTo>
                  <a:lnTo>
                    <a:pt x="419" y="105"/>
                  </a:lnTo>
                  <a:lnTo>
                    <a:pt x="210" y="147"/>
                  </a:lnTo>
                  <a:lnTo>
                    <a:pt x="189" y="272"/>
                  </a:lnTo>
                  <a:lnTo>
                    <a:pt x="251" y="460"/>
                  </a:lnTo>
                  <a:lnTo>
                    <a:pt x="293" y="502"/>
                  </a:lnTo>
                  <a:lnTo>
                    <a:pt x="377" y="670"/>
                  </a:lnTo>
                  <a:lnTo>
                    <a:pt x="377" y="816"/>
                  </a:lnTo>
                  <a:lnTo>
                    <a:pt x="377" y="879"/>
                  </a:lnTo>
                  <a:lnTo>
                    <a:pt x="314" y="1046"/>
                  </a:lnTo>
                  <a:lnTo>
                    <a:pt x="377" y="1193"/>
                  </a:lnTo>
                  <a:lnTo>
                    <a:pt x="377" y="1256"/>
                  </a:lnTo>
                  <a:lnTo>
                    <a:pt x="461" y="1339"/>
                  </a:lnTo>
                  <a:lnTo>
                    <a:pt x="502" y="1507"/>
                  </a:lnTo>
                  <a:lnTo>
                    <a:pt x="461" y="1632"/>
                  </a:lnTo>
                  <a:lnTo>
                    <a:pt x="461" y="1737"/>
                  </a:lnTo>
                  <a:lnTo>
                    <a:pt x="356" y="1821"/>
                  </a:lnTo>
                  <a:lnTo>
                    <a:pt x="168" y="2072"/>
                  </a:lnTo>
                  <a:lnTo>
                    <a:pt x="168" y="2197"/>
                  </a:lnTo>
                  <a:lnTo>
                    <a:pt x="147" y="2281"/>
                  </a:lnTo>
                  <a:lnTo>
                    <a:pt x="105" y="2406"/>
                  </a:lnTo>
                  <a:lnTo>
                    <a:pt x="63" y="2490"/>
                  </a:lnTo>
                  <a:lnTo>
                    <a:pt x="63" y="2762"/>
                  </a:lnTo>
                  <a:lnTo>
                    <a:pt x="42" y="2783"/>
                  </a:lnTo>
                  <a:lnTo>
                    <a:pt x="0" y="2825"/>
                  </a:lnTo>
                  <a:lnTo>
                    <a:pt x="84" y="2909"/>
                  </a:lnTo>
                  <a:lnTo>
                    <a:pt x="168" y="3118"/>
                  </a:lnTo>
                  <a:lnTo>
                    <a:pt x="189" y="3285"/>
                  </a:lnTo>
                  <a:lnTo>
                    <a:pt x="314" y="3306"/>
                  </a:lnTo>
                  <a:lnTo>
                    <a:pt x="377" y="3411"/>
                  </a:lnTo>
                  <a:lnTo>
                    <a:pt x="377" y="3557"/>
                  </a:lnTo>
                  <a:lnTo>
                    <a:pt x="272" y="3599"/>
                  </a:lnTo>
                  <a:lnTo>
                    <a:pt x="168" y="3599"/>
                  </a:lnTo>
                  <a:lnTo>
                    <a:pt x="147" y="3620"/>
                  </a:lnTo>
                  <a:lnTo>
                    <a:pt x="168" y="3662"/>
                  </a:lnTo>
                  <a:lnTo>
                    <a:pt x="482" y="3725"/>
                  </a:lnTo>
                  <a:lnTo>
                    <a:pt x="712" y="3829"/>
                  </a:lnTo>
                  <a:lnTo>
                    <a:pt x="1214" y="3599"/>
                  </a:lnTo>
                  <a:lnTo>
                    <a:pt x="1549" y="3557"/>
                  </a:lnTo>
                  <a:lnTo>
                    <a:pt x="1863" y="3306"/>
                  </a:lnTo>
                  <a:lnTo>
                    <a:pt x="2135" y="3181"/>
                  </a:lnTo>
                  <a:lnTo>
                    <a:pt x="2448" y="3118"/>
                  </a:lnTo>
                  <a:lnTo>
                    <a:pt x="2386" y="3034"/>
                  </a:lnTo>
                  <a:lnTo>
                    <a:pt x="2302" y="2971"/>
                  </a:lnTo>
                  <a:lnTo>
                    <a:pt x="2260" y="2929"/>
                  </a:lnTo>
                  <a:lnTo>
                    <a:pt x="2197" y="2804"/>
                  </a:lnTo>
                  <a:lnTo>
                    <a:pt x="2176" y="2657"/>
                  </a:lnTo>
                  <a:lnTo>
                    <a:pt x="2197" y="2490"/>
                  </a:lnTo>
                  <a:lnTo>
                    <a:pt x="2197" y="2448"/>
                  </a:lnTo>
                  <a:lnTo>
                    <a:pt x="2260" y="2302"/>
                  </a:lnTo>
                  <a:lnTo>
                    <a:pt x="2260" y="1967"/>
                  </a:lnTo>
                  <a:lnTo>
                    <a:pt x="2197" y="1883"/>
                  </a:lnTo>
                  <a:lnTo>
                    <a:pt x="2239" y="1674"/>
                  </a:lnTo>
                  <a:lnTo>
                    <a:pt x="2176" y="1611"/>
                  </a:lnTo>
                  <a:lnTo>
                    <a:pt x="2239" y="1528"/>
                  </a:lnTo>
                  <a:lnTo>
                    <a:pt x="2197" y="1423"/>
                  </a:lnTo>
                  <a:lnTo>
                    <a:pt x="2155" y="1360"/>
                  </a:lnTo>
                  <a:lnTo>
                    <a:pt x="2176" y="1297"/>
                  </a:lnTo>
                  <a:lnTo>
                    <a:pt x="2197" y="1214"/>
                  </a:lnTo>
                  <a:lnTo>
                    <a:pt x="2197" y="1004"/>
                  </a:lnTo>
                  <a:lnTo>
                    <a:pt x="2155" y="1004"/>
                  </a:lnTo>
                  <a:lnTo>
                    <a:pt x="2093" y="942"/>
                  </a:lnTo>
                  <a:lnTo>
                    <a:pt x="2093" y="732"/>
                  </a:lnTo>
                  <a:lnTo>
                    <a:pt x="2135" y="586"/>
                  </a:lnTo>
                  <a:lnTo>
                    <a:pt x="1988" y="502"/>
                  </a:lnTo>
                  <a:lnTo>
                    <a:pt x="1946" y="419"/>
                  </a:lnTo>
                  <a:lnTo>
                    <a:pt x="1821" y="293"/>
                  </a:lnTo>
                  <a:lnTo>
                    <a:pt x="1821" y="209"/>
                  </a:lnTo>
                  <a:lnTo>
                    <a:pt x="1758" y="168"/>
                  </a:lnTo>
                  <a:lnTo>
                    <a:pt x="1716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Google Shape;12254;p43">
              <a:extLst>
                <a:ext uri="{FF2B5EF4-FFF2-40B4-BE49-F238E27FC236}">
                  <a16:creationId xmlns:a16="http://schemas.microsoft.com/office/drawing/2014/main" id="{CC9FC585-2611-E401-1804-2733555E437D}"/>
                </a:ext>
              </a:extLst>
            </p:cNvPr>
            <p:cNvSpPr/>
            <p:nvPr/>
          </p:nvSpPr>
          <p:spPr>
            <a:xfrm>
              <a:off x="3746846" y="3070151"/>
              <a:ext cx="13956" cy="35459"/>
            </a:xfrm>
            <a:custGeom>
              <a:avLst/>
              <a:gdLst/>
              <a:ahLst/>
              <a:cxnLst/>
              <a:rect l="l" t="t" r="r" b="b"/>
              <a:pathLst>
                <a:path w="1172" h="3118" extrusionOk="0">
                  <a:moveTo>
                    <a:pt x="0" y="0"/>
                  </a:moveTo>
                  <a:lnTo>
                    <a:pt x="42" y="168"/>
                  </a:lnTo>
                  <a:lnTo>
                    <a:pt x="105" y="209"/>
                  </a:lnTo>
                  <a:lnTo>
                    <a:pt x="105" y="293"/>
                  </a:lnTo>
                  <a:lnTo>
                    <a:pt x="230" y="419"/>
                  </a:lnTo>
                  <a:lnTo>
                    <a:pt x="272" y="502"/>
                  </a:lnTo>
                  <a:lnTo>
                    <a:pt x="419" y="586"/>
                  </a:lnTo>
                  <a:lnTo>
                    <a:pt x="377" y="732"/>
                  </a:lnTo>
                  <a:lnTo>
                    <a:pt x="377" y="942"/>
                  </a:lnTo>
                  <a:lnTo>
                    <a:pt x="439" y="1004"/>
                  </a:lnTo>
                  <a:lnTo>
                    <a:pt x="481" y="1004"/>
                  </a:lnTo>
                  <a:lnTo>
                    <a:pt x="481" y="1214"/>
                  </a:lnTo>
                  <a:lnTo>
                    <a:pt x="460" y="1297"/>
                  </a:lnTo>
                  <a:lnTo>
                    <a:pt x="439" y="1360"/>
                  </a:lnTo>
                  <a:lnTo>
                    <a:pt x="481" y="1423"/>
                  </a:lnTo>
                  <a:lnTo>
                    <a:pt x="523" y="1528"/>
                  </a:lnTo>
                  <a:lnTo>
                    <a:pt x="460" y="1611"/>
                  </a:lnTo>
                  <a:lnTo>
                    <a:pt x="523" y="1674"/>
                  </a:lnTo>
                  <a:lnTo>
                    <a:pt x="481" y="1883"/>
                  </a:lnTo>
                  <a:lnTo>
                    <a:pt x="544" y="1967"/>
                  </a:lnTo>
                  <a:lnTo>
                    <a:pt x="544" y="2302"/>
                  </a:lnTo>
                  <a:lnTo>
                    <a:pt x="481" y="2448"/>
                  </a:lnTo>
                  <a:lnTo>
                    <a:pt x="481" y="2490"/>
                  </a:lnTo>
                  <a:lnTo>
                    <a:pt x="460" y="2657"/>
                  </a:lnTo>
                  <a:lnTo>
                    <a:pt x="481" y="2804"/>
                  </a:lnTo>
                  <a:lnTo>
                    <a:pt x="544" y="2929"/>
                  </a:lnTo>
                  <a:lnTo>
                    <a:pt x="586" y="2971"/>
                  </a:lnTo>
                  <a:lnTo>
                    <a:pt x="670" y="3034"/>
                  </a:lnTo>
                  <a:lnTo>
                    <a:pt x="732" y="3118"/>
                  </a:lnTo>
                  <a:lnTo>
                    <a:pt x="774" y="3118"/>
                  </a:lnTo>
                  <a:lnTo>
                    <a:pt x="1088" y="2929"/>
                  </a:lnTo>
                  <a:lnTo>
                    <a:pt x="1151" y="2929"/>
                  </a:lnTo>
                  <a:lnTo>
                    <a:pt x="1172" y="2825"/>
                  </a:lnTo>
                  <a:lnTo>
                    <a:pt x="1088" y="2699"/>
                  </a:lnTo>
                  <a:lnTo>
                    <a:pt x="1088" y="2553"/>
                  </a:lnTo>
                  <a:lnTo>
                    <a:pt x="1046" y="2385"/>
                  </a:lnTo>
                  <a:lnTo>
                    <a:pt x="1067" y="1716"/>
                  </a:lnTo>
                  <a:lnTo>
                    <a:pt x="1067" y="1611"/>
                  </a:lnTo>
                  <a:lnTo>
                    <a:pt x="1109" y="1528"/>
                  </a:lnTo>
                  <a:lnTo>
                    <a:pt x="1109" y="1402"/>
                  </a:lnTo>
                  <a:lnTo>
                    <a:pt x="1088" y="1297"/>
                  </a:lnTo>
                  <a:lnTo>
                    <a:pt x="1088" y="1130"/>
                  </a:lnTo>
                  <a:lnTo>
                    <a:pt x="1046" y="900"/>
                  </a:lnTo>
                  <a:lnTo>
                    <a:pt x="900" y="586"/>
                  </a:lnTo>
                  <a:lnTo>
                    <a:pt x="858" y="565"/>
                  </a:lnTo>
                  <a:lnTo>
                    <a:pt x="774" y="481"/>
                  </a:lnTo>
                  <a:lnTo>
                    <a:pt x="649" y="398"/>
                  </a:lnTo>
                  <a:lnTo>
                    <a:pt x="628" y="209"/>
                  </a:lnTo>
                  <a:lnTo>
                    <a:pt x="649" y="168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Google Shape;12255;p43">
              <a:extLst>
                <a:ext uri="{FF2B5EF4-FFF2-40B4-BE49-F238E27FC236}">
                  <a16:creationId xmlns:a16="http://schemas.microsoft.com/office/drawing/2014/main" id="{E395EE5E-FCB7-8120-D272-B24B86F2F230}"/>
                </a:ext>
              </a:extLst>
            </p:cNvPr>
            <p:cNvSpPr/>
            <p:nvPr/>
          </p:nvSpPr>
          <p:spPr>
            <a:xfrm>
              <a:off x="3754312" y="3061110"/>
              <a:ext cx="21445" cy="42840"/>
            </a:xfrm>
            <a:custGeom>
              <a:avLst/>
              <a:gdLst/>
              <a:ahLst/>
              <a:cxnLst/>
              <a:rect l="l" t="t" r="r" b="b"/>
              <a:pathLst>
                <a:path w="1801" h="3767" extrusionOk="0">
                  <a:moveTo>
                    <a:pt x="1047" y="0"/>
                  </a:moveTo>
                  <a:lnTo>
                    <a:pt x="984" y="105"/>
                  </a:lnTo>
                  <a:lnTo>
                    <a:pt x="1005" y="147"/>
                  </a:lnTo>
                  <a:lnTo>
                    <a:pt x="900" y="209"/>
                  </a:lnTo>
                  <a:lnTo>
                    <a:pt x="838" y="209"/>
                  </a:lnTo>
                  <a:lnTo>
                    <a:pt x="838" y="272"/>
                  </a:lnTo>
                  <a:lnTo>
                    <a:pt x="691" y="439"/>
                  </a:lnTo>
                  <a:lnTo>
                    <a:pt x="628" y="439"/>
                  </a:lnTo>
                  <a:lnTo>
                    <a:pt x="440" y="544"/>
                  </a:lnTo>
                  <a:lnTo>
                    <a:pt x="356" y="523"/>
                  </a:lnTo>
                  <a:lnTo>
                    <a:pt x="252" y="565"/>
                  </a:lnTo>
                  <a:lnTo>
                    <a:pt x="252" y="670"/>
                  </a:lnTo>
                  <a:lnTo>
                    <a:pt x="168" y="753"/>
                  </a:lnTo>
                  <a:lnTo>
                    <a:pt x="168" y="858"/>
                  </a:lnTo>
                  <a:lnTo>
                    <a:pt x="43" y="900"/>
                  </a:lnTo>
                  <a:lnTo>
                    <a:pt x="22" y="963"/>
                  </a:lnTo>
                  <a:lnTo>
                    <a:pt x="1" y="1004"/>
                  </a:lnTo>
                  <a:lnTo>
                    <a:pt x="22" y="1193"/>
                  </a:lnTo>
                  <a:lnTo>
                    <a:pt x="147" y="1276"/>
                  </a:lnTo>
                  <a:lnTo>
                    <a:pt x="231" y="1360"/>
                  </a:lnTo>
                  <a:lnTo>
                    <a:pt x="273" y="1381"/>
                  </a:lnTo>
                  <a:lnTo>
                    <a:pt x="419" y="1695"/>
                  </a:lnTo>
                  <a:lnTo>
                    <a:pt x="461" y="1925"/>
                  </a:lnTo>
                  <a:lnTo>
                    <a:pt x="461" y="2092"/>
                  </a:lnTo>
                  <a:lnTo>
                    <a:pt x="482" y="2197"/>
                  </a:lnTo>
                  <a:lnTo>
                    <a:pt x="482" y="2323"/>
                  </a:lnTo>
                  <a:lnTo>
                    <a:pt x="440" y="2406"/>
                  </a:lnTo>
                  <a:lnTo>
                    <a:pt x="440" y="2511"/>
                  </a:lnTo>
                  <a:lnTo>
                    <a:pt x="419" y="3180"/>
                  </a:lnTo>
                  <a:lnTo>
                    <a:pt x="461" y="3348"/>
                  </a:lnTo>
                  <a:lnTo>
                    <a:pt x="461" y="3494"/>
                  </a:lnTo>
                  <a:lnTo>
                    <a:pt x="545" y="3620"/>
                  </a:lnTo>
                  <a:lnTo>
                    <a:pt x="524" y="3724"/>
                  </a:lnTo>
                  <a:lnTo>
                    <a:pt x="733" y="3766"/>
                  </a:lnTo>
                  <a:lnTo>
                    <a:pt x="1110" y="3620"/>
                  </a:lnTo>
                  <a:lnTo>
                    <a:pt x="1152" y="3620"/>
                  </a:lnTo>
                  <a:lnTo>
                    <a:pt x="1110" y="3515"/>
                  </a:lnTo>
                  <a:lnTo>
                    <a:pt x="1152" y="3243"/>
                  </a:lnTo>
                  <a:lnTo>
                    <a:pt x="1110" y="3139"/>
                  </a:lnTo>
                  <a:lnTo>
                    <a:pt x="1152" y="3055"/>
                  </a:lnTo>
                  <a:lnTo>
                    <a:pt x="1110" y="2825"/>
                  </a:lnTo>
                  <a:lnTo>
                    <a:pt x="1110" y="2720"/>
                  </a:lnTo>
                  <a:lnTo>
                    <a:pt x="1110" y="2657"/>
                  </a:lnTo>
                  <a:lnTo>
                    <a:pt x="1089" y="2616"/>
                  </a:lnTo>
                  <a:lnTo>
                    <a:pt x="1110" y="2553"/>
                  </a:lnTo>
                  <a:lnTo>
                    <a:pt x="1089" y="2469"/>
                  </a:lnTo>
                  <a:lnTo>
                    <a:pt x="1089" y="2427"/>
                  </a:lnTo>
                  <a:lnTo>
                    <a:pt x="1089" y="2302"/>
                  </a:lnTo>
                  <a:lnTo>
                    <a:pt x="1110" y="2218"/>
                  </a:lnTo>
                  <a:lnTo>
                    <a:pt x="1110" y="2113"/>
                  </a:lnTo>
                  <a:lnTo>
                    <a:pt x="1152" y="2051"/>
                  </a:lnTo>
                  <a:lnTo>
                    <a:pt x="1256" y="2009"/>
                  </a:lnTo>
                  <a:lnTo>
                    <a:pt x="1298" y="2009"/>
                  </a:lnTo>
                  <a:lnTo>
                    <a:pt x="1361" y="1946"/>
                  </a:lnTo>
                  <a:lnTo>
                    <a:pt x="1403" y="1841"/>
                  </a:lnTo>
                  <a:lnTo>
                    <a:pt x="1486" y="1716"/>
                  </a:lnTo>
                  <a:lnTo>
                    <a:pt x="1528" y="1611"/>
                  </a:lnTo>
                  <a:lnTo>
                    <a:pt x="1612" y="1569"/>
                  </a:lnTo>
                  <a:lnTo>
                    <a:pt x="1696" y="1569"/>
                  </a:lnTo>
                  <a:lnTo>
                    <a:pt x="1716" y="1507"/>
                  </a:lnTo>
                  <a:lnTo>
                    <a:pt x="1591" y="1381"/>
                  </a:lnTo>
                  <a:lnTo>
                    <a:pt x="1591" y="1318"/>
                  </a:lnTo>
                  <a:lnTo>
                    <a:pt x="1633" y="1255"/>
                  </a:lnTo>
                  <a:lnTo>
                    <a:pt x="1779" y="1255"/>
                  </a:lnTo>
                  <a:lnTo>
                    <a:pt x="1800" y="1172"/>
                  </a:lnTo>
                  <a:lnTo>
                    <a:pt x="1737" y="963"/>
                  </a:lnTo>
                  <a:lnTo>
                    <a:pt x="1716" y="837"/>
                  </a:lnTo>
                  <a:lnTo>
                    <a:pt x="1570" y="691"/>
                  </a:lnTo>
                  <a:lnTo>
                    <a:pt x="1528" y="628"/>
                  </a:lnTo>
                  <a:lnTo>
                    <a:pt x="1570" y="481"/>
                  </a:lnTo>
                  <a:lnTo>
                    <a:pt x="1591" y="481"/>
                  </a:lnTo>
                  <a:lnTo>
                    <a:pt x="1465" y="314"/>
                  </a:lnTo>
                  <a:lnTo>
                    <a:pt x="1319" y="272"/>
                  </a:lnTo>
                  <a:lnTo>
                    <a:pt x="1214" y="147"/>
                  </a:lnTo>
                  <a:lnTo>
                    <a:pt x="104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Google Shape;12256;p43">
              <a:extLst>
                <a:ext uri="{FF2B5EF4-FFF2-40B4-BE49-F238E27FC236}">
                  <a16:creationId xmlns:a16="http://schemas.microsoft.com/office/drawing/2014/main" id="{DDB5B40F-819D-4226-166D-D63D414EDB55}"/>
                </a:ext>
              </a:extLst>
            </p:cNvPr>
            <p:cNvSpPr/>
            <p:nvPr/>
          </p:nvSpPr>
          <p:spPr>
            <a:xfrm>
              <a:off x="3838283" y="2987337"/>
              <a:ext cx="71755" cy="108994"/>
            </a:xfrm>
            <a:custGeom>
              <a:avLst/>
              <a:gdLst/>
              <a:ahLst/>
              <a:cxnLst/>
              <a:rect l="l" t="t" r="r" b="b"/>
              <a:pathLst>
                <a:path w="6026" h="9584" extrusionOk="0">
                  <a:moveTo>
                    <a:pt x="1318" y="1"/>
                  </a:moveTo>
                  <a:lnTo>
                    <a:pt x="690" y="252"/>
                  </a:lnTo>
                  <a:lnTo>
                    <a:pt x="732" y="336"/>
                  </a:lnTo>
                  <a:lnTo>
                    <a:pt x="1025" y="1110"/>
                  </a:lnTo>
                  <a:lnTo>
                    <a:pt x="1004" y="1277"/>
                  </a:lnTo>
                  <a:lnTo>
                    <a:pt x="962" y="1361"/>
                  </a:lnTo>
                  <a:lnTo>
                    <a:pt x="1360" y="1821"/>
                  </a:lnTo>
                  <a:lnTo>
                    <a:pt x="1339" y="2030"/>
                  </a:lnTo>
                  <a:lnTo>
                    <a:pt x="1255" y="2114"/>
                  </a:lnTo>
                  <a:lnTo>
                    <a:pt x="1109" y="3202"/>
                  </a:lnTo>
                  <a:lnTo>
                    <a:pt x="1130" y="4039"/>
                  </a:lnTo>
                  <a:lnTo>
                    <a:pt x="167" y="5022"/>
                  </a:lnTo>
                  <a:lnTo>
                    <a:pt x="126" y="5085"/>
                  </a:lnTo>
                  <a:lnTo>
                    <a:pt x="0" y="5085"/>
                  </a:lnTo>
                  <a:lnTo>
                    <a:pt x="0" y="5169"/>
                  </a:lnTo>
                  <a:lnTo>
                    <a:pt x="21" y="5901"/>
                  </a:lnTo>
                  <a:lnTo>
                    <a:pt x="105" y="5922"/>
                  </a:lnTo>
                  <a:lnTo>
                    <a:pt x="272" y="6131"/>
                  </a:lnTo>
                  <a:lnTo>
                    <a:pt x="335" y="6278"/>
                  </a:lnTo>
                  <a:lnTo>
                    <a:pt x="628" y="6424"/>
                  </a:lnTo>
                  <a:lnTo>
                    <a:pt x="753" y="6529"/>
                  </a:lnTo>
                  <a:lnTo>
                    <a:pt x="795" y="6717"/>
                  </a:lnTo>
                  <a:lnTo>
                    <a:pt x="837" y="6759"/>
                  </a:lnTo>
                  <a:lnTo>
                    <a:pt x="858" y="6864"/>
                  </a:lnTo>
                  <a:lnTo>
                    <a:pt x="942" y="7031"/>
                  </a:lnTo>
                  <a:lnTo>
                    <a:pt x="942" y="7115"/>
                  </a:lnTo>
                  <a:lnTo>
                    <a:pt x="921" y="7157"/>
                  </a:lnTo>
                  <a:lnTo>
                    <a:pt x="900" y="7219"/>
                  </a:lnTo>
                  <a:lnTo>
                    <a:pt x="962" y="7282"/>
                  </a:lnTo>
                  <a:lnTo>
                    <a:pt x="921" y="7429"/>
                  </a:lnTo>
                  <a:lnTo>
                    <a:pt x="837" y="7491"/>
                  </a:lnTo>
                  <a:lnTo>
                    <a:pt x="858" y="7596"/>
                  </a:lnTo>
                  <a:lnTo>
                    <a:pt x="962" y="7763"/>
                  </a:lnTo>
                  <a:lnTo>
                    <a:pt x="1046" y="7805"/>
                  </a:lnTo>
                  <a:lnTo>
                    <a:pt x="1067" y="7910"/>
                  </a:lnTo>
                  <a:lnTo>
                    <a:pt x="1234" y="8056"/>
                  </a:lnTo>
                  <a:lnTo>
                    <a:pt x="1276" y="8077"/>
                  </a:lnTo>
                  <a:lnTo>
                    <a:pt x="1234" y="8119"/>
                  </a:lnTo>
                  <a:lnTo>
                    <a:pt x="1151" y="8098"/>
                  </a:lnTo>
                  <a:lnTo>
                    <a:pt x="1067" y="8077"/>
                  </a:lnTo>
                  <a:lnTo>
                    <a:pt x="942" y="8056"/>
                  </a:lnTo>
                  <a:lnTo>
                    <a:pt x="900" y="8077"/>
                  </a:lnTo>
                  <a:lnTo>
                    <a:pt x="795" y="8056"/>
                  </a:lnTo>
                  <a:lnTo>
                    <a:pt x="690" y="8077"/>
                  </a:lnTo>
                  <a:lnTo>
                    <a:pt x="628" y="8056"/>
                  </a:lnTo>
                  <a:lnTo>
                    <a:pt x="439" y="8056"/>
                  </a:lnTo>
                  <a:lnTo>
                    <a:pt x="439" y="8161"/>
                  </a:lnTo>
                  <a:lnTo>
                    <a:pt x="418" y="8203"/>
                  </a:lnTo>
                  <a:lnTo>
                    <a:pt x="418" y="8307"/>
                  </a:lnTo>
                  <a:lnTo>
                    <a:pt x="418" y="8370"/>
                  </a:lnTo>
                  <a:lnTo>
                    <a:pt x="502" y="8412"/>
                  </a:lnTo>
                  <a:lnTo>
                    <a:pt x="502" y="8496"/>
                  </a:lnTo>
                  <a:lnTo>
                    <a:pt x="607" y="8517"/>
                  </a:lnTo>
                  <a:lnTo>
                    <a:pt x="816" y="8705"/>
                  </a:lnTo>
                  <a:lnTo>
                    <a:pt x="1025" y="8914"/>
                  </a:lnTo>
                  <a:lnTo>
                    <a:pt x="1109" y="8998"/>
                  </a:lnTo>
                  <a:lnTo>
                    <a:pt x="1214" y="9144"/>
                  </a:lnTo>
                  <a:lnTo>
                    <a:pt x="1276" y="9312"/>
                  </a:lnTo>
                  <a:lnTo>
                    <a:pt x="1318" y="9416"/>
                  </a:lnTo>
                  <a:lnTo>
                    <a:pt x="1360" y="9458"/>
                  </a:lnTo>
                  <a:lnTo>
                    <a:pt x="1381" y="9584"/>
                  </a:lnTo>
                  <a:lnTo>
                    <a:pt x="1486" y="9584"/>
                  </a:lnTo>
                  <a:lnTo>
                    <a:pt x="1590" y="9563"/>
                  </a:lnTo>
                  <a:lnTo>
                    <a:pt x="1758" y="9563"/>
                  </a:lnTo>
                  <a:lnTo>
                    <a:pt x="1799" y="9437"/>
                  </a:lnTo>
                  <a:lnTo>
                    <a:pt x="1799" y="9312"/>
                  </a:lnTo>
                  <a:lnTo>
                    <a:pt x="1883" y="9249"/>
                  </a:lnTo>
                  <a:lnTo>
                    <a:pt x="1946" y="9312"/>
                  </a:lnTo>
                  <a:lnTo>
                    <a:pt x="1988" y="9437"/>
                  </a:lnTo>
                  <a:lnTo>
                    <a:pt x="2051" y="9479"/>
                  </a:lnTo>
                  <a:lnTo>
                    <a:pt x="2155" y="9458"/>
                  </a:lnTo>
                  <a:lnTo>
                    <a:pt x="2281" y="9354"/>
                  </a:lnTo>
                  <a:lnTo>
                    <a:pt x="2469" y="9312"/>
                  </a:lnTo>
                  <a:lnTo>
                    <a:pt x="2595" y="9207"/>
                  </a:lnTo>
                  <a:lnTo>
                    <a:pt x="2929" y="9123"/>
                  </a:lnTo>
                  <a:lnTo>
                    <a:pt x="3097" y="9123"/>
                  </a:lnTo>
                  <a:lnTo>
                    <a:pt x="3159" y="9019"/>
                  </a:lnTo>
                  <a:lnTo>
                    <a:pt x="3327" y="8914"/>
                  </a:lnTo>
                  <a:lnTo>
                    <a:pt x="3306" y="8831"/>
                  </a:lnTo>
                  <a:lnTo>
                    <a:pt x="3243" y="8831"/>
                  </a:lnTo>
                  <a:lnTo>
                    <a:pt x="3139" y="8726"/>
                  </a:lnTo>
                  <a:lnTo>
                    <a:pt x="3159" y="8621"/>
                  </a:lnTo>
                  <a:lnTo>
                    <a:pt x="3243" y="8579"/>
                  </a:lnTo>
                  <a:lnTo>
                    <a:pt x="3327" y="8600"/>
                  </a:lnTo>
                  <a:lnTo>
                    <a:pt x="3452" y="8579"/>
                  </a:lnTo>
                  <a:lnTo>
                    <a:pt x="3557" y="8621"/>
                  </a:lnTo>
                  <a:lnTo>
                    <a:pt x="3683" y="8642"/>
                  </a:lnTo>
                  <a:lnTo>
                    <a:pt x="3850" y="8621"/>
                  </a:lnTo>
                  <a:lnTo>
                    <a:pt x="4080" y="8600"/>
                  </a:lnTo>
                  <a:lnTo>
                    <a:pt x="4185" y="8517"/>
                  </a:lnTo>
                  <a:lnTo>
                    <a:pt x="4289" y="8475"/>
                  </a:lnTo>
                  <a:lnTo>
                    <a:pt x="4310" y="8370"/>
                  </a:lnTo>
                  <a:lnTo>
                    <a:pt x="4289" y="8286"/>
                  </a:lnTo>
                  <a:lnTo>
                    <a:pt x="4310" y="8182"/>
                  </a:lnTo>
                  <a:lnTo>
                    <a:pt x="4394" y="8119"/>
                  </a:lnTo>
                  <a:lnTo>
                    <a:pt x="4394" y="8056"/>
                  </a:lnTo>
                  <a:lnTo>
                    <a:pt x="4478" y="7952"/>
                  </a:lnTo>
                  <a:lnTo>
                    <a:pt x="4520" y="7973"/>
                  </a:lnTo>
                  <a:lnTo>
                    <a:pt x="4582" y="7973"/>
                  </a:lnTo>
                  <a:lnTo>
                    <a:pt x="4687" y="7805"/>
                  </a:lnTo>
                  <a:lnTo>
                    <a:pt x="4771" y="7784"/>
                  </a:lnTo>
                  <a:lnTo>
                    <a:pt x="4729" y="7701"/>
                  </a:lnTo>
                  <a:lnTo>
                    <a:pt x="4771" y="7638"/>
                  </a:lnTo>
                  <a:lnTo>
                    <a:pt x="4917" y="7554"/>
                  </a:lnTo>
                  <a:lnTo>
                    <a:pt x="5022" y="7470"/>
                  </a:lnTo>
                  <a:lnTo>
                    <a:pt x="5147" y="7470"/>
                  </a:lnTo>
                  <a:lnTo>
                    <a:pt x="5231" y="7533"/>
                  </a:lnTo>
                  <a:lnTo>
                    <a:pt x="5356" y="7450"/>
                  </a:lnTo>
                  <a:lnTo>
                    <a:pt x="5398" y="7387"/>
                  </a:lnTo>
                  <a:lnTo>
                    <a:pt x="5419" y="7366"/>
                  </a:lnTo>
                  <a:lnTo>
                    <a:pt x="5419" y="7282"/>
                  </a:lnTo>
                  <a:lnTo>
                    <a:pt x="5461" y="7219"/>
                  </a:lnTo>
                  <a:lnTo>
                    <a:pt x="5419" y="7136"/>
                  </a:lnTo>
                  <a:lnTo>
                    <a:pt x="5189" y="7052"/>
                  </a:lnTo>
                  <a:lnTo>
                    <a:pt x="5147" y="6947"/>
                  </a:lnTo>
                  <a:lnTo>
                    <a:pt x="5147" y="6822"/>
                  </a:lnTo>
                  <a:lnTo>
                    <a:pt x="5105" y="6717"/>
                  </a:lnTo>
                  <a:lnTo>
                    <a:pt x="5147" y="6634"/>
                  </a:lnTo>
                  <a:lnTo>
                    <a:pt x="5084" y="6592"/>
                  </a:lnTo>
                  <a:lnTo>
                    <a:pt x="5126" y="6529"/>
                  </a:lnTo>
                  <a:lnTo>
                    <a:pt x="5126" y="6445"/>
                  </a:lnTo>
                  <a:lnTo>
                    <a:pt x="5084" y="6424"/>
                  </a:lnTo>
                  <a:lnTo>
                    <a:pt x="4938" y="6529"/>
                  </a:lnTo>
                  <a:lnTo>
                    <a:pt x="4875" y="6445"/>
                  </a:lnTo>
                  <a:lnTo>
                    <a:pt x="4875" y="6320"/>
                  </a:lnTo>
                  <a:lnTo>
                    <a:pt x="5043" y="6131"/>
                  </a:lnTo>
                  <a:lnTo>
                    <a:pt x="5105" y="6027"/>
                  </a:lnTo>
                  <a:lnTo>
                    <a:pt x="5084" y="5922"/>
                  </a:lnTo>
                  <a:lnTo>
                    <a:pt x="4980" y="5880"/>
                  </a:lnTo>
                  <a:lnTo>
                    <a:pt x="5001" y="5797"/>
                  </a:lnTo>
                  <a:lnTo>
                    <a:pt x="5126" y="5713"/>
                  </a:lnTo>
                  <a:lnTo>
                    <a:pt x="5189" y="5587"/>
                  </a:lnTo>
                  <a:lnTo>
                    <a:pt x="5126" y="5545"/>
                  </a:lnTo>
                  <a:lnTo>
                    <a:pt x="5105" y="5441"/>
                  </a:lnTo>
                  <a:lnTo>
                    <a:pt x="5210" y="5357"/>
                  </a:lnTo>
                  <a:lnTo>
                    <a:pt x="5252" y="5357"/>
                  </a:lnTo>
                  <a:lnTo>
                    <a:pt x="5461" y="5085"/>
                  </a:lnTo>
                  <a:lnTo>
                    <a:pt x="5524" y="4960"/>
                  </a:lnTo>
                  <a:lnTo>
                    <a:pt x="5461" y="4876"/>
                  </a:lnTo>
                  <a:lnTo>
                    <a:pt x="5461" y="4750"/>
                  </a:lnTo>
                  <a:lnTo>
                    <a:pt x="5566" y="4667"/>
                  </a:lnTo>
                  <a:lnTo>
                    <a:pt x="5712" y="4667"/>
                  </a:lnTo>
                  <a:lnTo>
                    <a:pt x="5817" y="4729"/>
                  </a:lnTo>
                  <a:lnTo>
                    <a:pt x="5921" y="4646"/>
                  </a:lnTo>
                  <a:lnTo>
                    <a:pt x="6026" y="4625"/>
                  </a:lnTo>
                  <a:lnTo>
                    <a:pt x="5963" y="2344"/>
                  </a:lnTo>
                  <a:lnTo>
                    <a:pt x="131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Google Shape;12257;p43">
              <a:extLst>
                <a:ext uri="{FF2B5EF4-FFF2-40B4-BE49-F238E27FC236}">
                  <a16:creationId xmlns:a16="http://schemas.microsoft.com/office/drawing/2014/main" id="{CFD166E9-0BB3-1AE5-360F-F73C2F65C233}"/>
                </a:ext>
              </a:extLst>
            </p:cNvPr>
            <p:cNvSpPr/>
            <p:nvPr/>
          </p:nvSpPr>
          <p:spPr>
            <a:xfrm>
              <a:off x="3829555" y="3057778"/>
              <a:ext cx="2251" cy="1194"/>
            </a:xfrm>
            <a:custGeom>
              <a:avLst/>
              <a:gdLst/>
              <a:ahLst/>
              <a:cxnLst/>
              <a:rect l="l" t="t" r="r" b="b"/>
              <a:pathLst>
                <a:path w="189" h="105" extrusionOk="0">
                  <a:moveTo>
                    <a:pt x="189" y="0"/>
                  </a:moveTo>
                  <a:lnTo>
                    <a:pt x="1" y="42"/>
                  </a:lnTo>
                  <a:lnTo>
                    <a:pt x="63" y="105"/>
                  </a:lnTo>
                  <a:lnTo>
                    <a:pt x="168" y="84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Google Shape;12258;p43">
              <a:extLst>
                <a:ext uri="{FF2B5EF4-FFF2-40B4-BE49-F238E27FC236}">
                  <a16:creationId xmlns:a16="http://schemas.microsoft.com/office/drawing/2014/main" id="{4C4AC45C-2C17-089F-F8D1-674FEB01B8B7}"/>
                </a:ext>
              </a:extLst>
            </p:cNvPr>
            <p:cNvSpPr/>
            <p:nvPr/>
          </p:nvSpPr>
          <p:spPr>
            <a:xfrm>
              <a:off x="3749584" y="2988770"/>
              <a:ext cx="104905" cy="77822"/>
            </a:xfrm>
            <a:custGeom>
              <a:avLst/>
              <a:gdLst/>
              <a:ahLst/>
              <a:cxnLst/>
              <a:rect l="l" t="t" r="r" b="b"/>
              <a:pathLst>
                <a:path w="8810" h="6843" extrusionOk="0">
                  <a:moveTo>
                    <a:pt x="6507" y="0"/>
                  </a:moveTo>
                  <a:lnTo>
                    <a:pt x="3913" y="1590"/>
                  </a:lnTo>
                  <a:lnTo>
                    <a:pt x="3181" y="2239"/>
                  </a:lnTo>
                  <a:lnTo>
                    <a:pt x="2323" y="2448"/>
                  </a:lnTo>
                  <a:lnTo>
                    <a:pt x="2302" y="3578"/>
                  </a:lnTo>
                  <a:lnTo>
                    <a:pt x="2239" y="4080"/>
                  </a:lnTo>
                  <a:lnTo>
                    <a:pt x="2176" y="4164"/>
                  </a:lnTo>
                  <a:lnTo>
                    <a:pt x="2134" y="4331"/>
                  </a:lnTo>
                  <a:lnTo>
                    <a:pt x="2093" y="4478"/>
                  </a:lnTo>
                  <a:lnTo>
                    <a:pt x="1800" y="4624"/>
                  </a:lnTo>
                  <a:lnTo>
                    <a:pt x="1653" y="4729"/>
                  </a:lnTo>
                  <a:lnTo>
                    <a:pt x="1465" y="4729"/>
                  </a:lnTo>
                  <a:lnTo>
                    <a:pt x="1297" y="4834"/>
                  </a:lnTo>
                  <a:lnTo>
                    <a:pt x="942" y="4834"/>
                  </a:lnTo>
                  <a:lnTo>
                    <a:pt x="774" y="4917"/>
                  </a:lnTo>
                  <a:lnTo>
                    <a:pt x="649" y="4917"/>
                  </a:lnTo>
                  <a:lnTo>
                    <a:pt x="251" y="4938"/>
                  </a:lnTo>
                  <a:lnTo>
                    <a:pt x="126" y="4917"/>
                  </a:lnTo>
                  <a:lnTo>
                    <a:pt x="84" y="5001"/>
                  </a:lnTo>
                  <a:lnTo>
                    <a:pt x="84" y="5147"/>
                  </a:lnTo>
                  <a:lnTo>
                    <a:pt x="0" y="5252"/>
                  </a:lnTo>
                  <a:lnTo>
                    <a:pt x="0" y="5440"/>
                  </a:lnTo>
                  <a:lnTo>
                    <a:pt x="544" y="5796"/>
                  </a:lnTo>
                  <a:lnTo>
                    <a:pt x="544" y="6047"/>
                  </a:lnTo>
                  <a:lnTo>
                    <a:pt x="753" y="6173"/>
                  </a:lnTo>
                  <a:lnTo>
                    <a:pt x="984" y="6047"/>
                  </a:lnTo>
                  <a:lnTo>
                    <a:pt x="1067" y="6089"/>
                  </a:lnTo>
                  <a:lnTo>
                    <a:pt x="1067" y="6152"/>
                  </a:lnTo>
                  <a:lnTo>
                    <a:pt x="1130" y="6194"/>
                  </a:lnTo>
                  <a:lnTo>
                    <a:pt x="1130" y="6298"/>
                  </a:lnTo>
                  <a:lnTo>
                    <a:pt x="1067" y="6403"/>
                  </a:lnTo>
                  <a:lnTo>
                    <a:pt x="1193" y="6570"/>
                  </a:lnTo>
                  <a:lnTo>
                    <a:pt x="1297" y="6570"/>
                  </a:lnTo>
                  <a:lnTo>
                    <a:pt x="1402" y="6508"/>
                  </a:lnTo>
                  <a:lnTo>
                    <a:pt x="1381" y="6466"/>
                  </a:lnTo>
                  <a:lnTo>
                    <a:pt x="1444" y="6361"/>
                  </a:lnTo>
                  <a:lnTo>
                    <a:pt x="1611" y="6508"/>
                  </a:lnTo>
                  <a:lnTo>
                    <a:pt x="1716" y="6633"/>
                  </a:lnTo>
                  <a:lnTo>
                    <a:pt x="1862" y="6675"/>
                  </a:lnTo>
                  <a:lnTo>
                    <a:pt x="1988" y="6842"/>
                  </a:lnTo>
                  <a:lnTo>
                    <a:pt x="2072" y="6780"/>
                  </a:lnTo>
                  <a:lnTo>
                    <a:pt x="2072" y="6717"/>
                  </a:lnTo>
                  <a:lnTo>
                    <a:pt x="2009" y="6696"/>
                  </a:lnTo>
                  <a:lnTo>
                    <a:pt x="1925" y="6528"/>
                  </a:lnTo>
                  <a:lnTo>
                    <a:pt x="1967" y="6487"/>
                  </a:lnTo>
                  <a:lnTo>
                    <a:pt x="1967" y="6403"/>
                  </a:lnTo>
                  <a:lnTo>
                    <a:pt x="2072" y="6298"/>
                  </a:lnTo>
                  <a:lnTo>
                    <a:pt x="2176" y="6298"/>
                  </a:lnTo>
                  <a:lnTo>
                    <a:pt x="2176" y="6215"/>
                  </a:lnTo>
                  <a:lnTo>
                    <a:pt x="2113" y="6173"/>
                  </a:lnTo>
                  <a:lnTo>
                    <a:pt x="2093" y="6068"/>
                  </a:lnTo>
                  <a:lnTo>
                    <a:pt x="2113" y="6005"/>
                  </a:lnTo>
                  <a:lnTo>
                    <a:pt x="2134" y="5984"/>
                  </a:lnTo>
                  <a:lnTo>
                    <a:pt x="2113" y="5943"/>
                  </a:lnTo>
                  <a:lnTo>
                    <a:pt x="2113" y="5880"/>
                  </a:lnTo>
                  <a:lnTo>
                    <a:pt x="2239" y="5775"/>
                  </a:lnTo>
                  <a:lnTo>
                    <a:pt x="2323" y="5754"/>
                  </a:lnTo>
                  <a:lnTo>
                    <a:pt x="2385" y="5733"/>
                  </a:lnTo>
                  <a:lnTo>
                    <a:pt x="2490" y="5692"/>
                  </a:lnTo>
                  <a:lnTo>
                    <a:pt x="2804" y="5692"/>
                  </a:lnTo>
                  <a:lnTo>
                    <a:pt x="2846" y="5650"/>
                  </a:lnTo>
                  <a:lnTo>
                    <a:pt x="2930" y="5650"/>
                  </a:lnTo>
                  <a:lnTo>
                    <a:pt x="3013" y="5671"/>
                  </a:lnTo>
                  <a:lnTo>
                    <a:pt x="3160" y="5692"/>
                  </a:lnTo>
                  <a:lnTo>
                    <a:pt x="3243" y="5733"/>
                  </a:lnTo>
                  <a:lnTo>
                    <a:pt x="3327" y="5754"/>
                  </a:lnTo>
                  <a:lnTo>
                    <a:pt x="3494" y="5796"/>
                  </a:lnTo>
                  <a:lnTo>
                    <a:pt x="3557" y="5880"/>
                  </a:lnTo>
                  <a:lnTo>
                    <a:pt x="3683" y="6068"/>
                  </a:lnTo>
                  <a:lnTo>
                    <a:pt x="3787" y="6152"/>
                  </a:lnTo>
                  <a:lnTo>
                    <a:pt x="3850" y="6110"/>
                  </a:lnTo>
                  <a:lnTo>
                    <a:pt x="3913" y="6047"/>
                  </a:lnTo>
                  <a:lnTo>
                    <a:pt x="3997" y="6005"/>
                  </a:lnTo>
                  <a:lnTo>
                    <a:pt x="4080" y="5984"/>
                  </a:lnTo>
                  <a:lnTo>
                    <a:pt x="4227" y="5964"/>
                  </a:lnTo>
                  <a:lnTo>
                    <a:pt x="4269" y="5943"/>
                  </a:lnTo>
                  <a:lnTo>
                    <a:pt x="4373" y="5943"/>
                  </a:lnTo>
                  <a:lnTo>
                    <a:pt x="4478" y="6005"/>
                  </a:lnTo>
                  <a:lnTo>
                    <a:pt x="4478" y="6068"/>
                  </a:lnTo>
                  <a:lnTo>
                    <a:pt x="4582" y="6089"/>
                  </a:lnTo>
                  <a:lnTo>
                    <a:pt x="4750" y="6194"/>
                  </a:lnTo>
                  <a:lnTo>
                    <a:pt x="4896" y="6215"/>
                  </a:lnTo>
                  <a:lnTo>
                    <a:pt x="5126" y="6298"/>
                  </a:lnTo>
                  <a:lnTo>
                    <a:pt x="5231" y="6319"/>
                  </a:lnTo>
                  <a:lnTo>
                    <a:pt x="5357" y="6256"/>
                  </a:lnTo>
                  <a:lnTo>
                    <a:pt x="5524" y="6047"/>
                  </a:lnTo>
                  <a:lnTo>
                    <a:pt x="5629" y="5984"/>
                  </a:lnTo>
                  <a:lnTo>
                    <a:pt x="5943" y="6005"/>
                  </a:lnTo>
                  <a:lnTo>
                    <a:pt x="6068" y="5964"/>
                  </a:lnTo>
                  <a:lnTo>
                    <a:pt x="6319" y="5984"/>
                  </a:lnTo>
                  <a:lnTo>
                    <a:pt x="6507" y="6068"/>
                  </a:lnTo>
                  <a:lnTo>
                    <a:pt x="6675" y="6089"/>
                  </a:lnTo>
                  <a:lnTo>
                    <a:pt x="6717" y="6110"/>
                  </a:lnTo>
                  <a:lnTo>
                    <a:pt x="6905" y="6068"/>
                  </a:lnTo>
                  <a:lnTo>
                    <a:pt x="6926" y="6047"/>
                  </a:lnTo>
                  <a:lnTo>
                    <a:pt x="7031" y="5984"/>
                  </a:lnTo>
                  <a:lnTo>
                    <a:pt x="7093" y="5943"/>
                  </a:lnTo>
                  <a:lnTo>
                    <a:pt x="7156" y="5901"/>
                  </a:lnTo>
                  <a:lnTo>
                    <a:pt x="7240" y="5943"/>
                  </a:lnTo>
                  <a:lnTo>
                    <a:pt x="7303" y="5901"/>
                  </a:lnTo>
                  <a:lnTo>
                    <a:pt x="7323" y="5838"/>
                  </a:lnTo>
                  <a:lnTo>
                    <a:pt x="7365" y="5733"/>
                  </a:lnTo>
                  <a:lnTo>
                    <a:pt x="7470" y="5775"/>
                  </a:lnTo>
                  <a:lnTo>
                    <a:pt x="7470" y="5775"/>
                  </a:lnTo>
                  <a:lnTo>
                    <a:pt x="7449" y="5043"/>
                  </a:lnTo>
                  <a:lnTo>
                    <a:pt x="7449" y="4959"/>
                  </a:lnTo>
                  <a:lnTo>
                    <a:pt x="7575" y="4959"/>
                  </a:lnTo>
                  <a:lnTo>
                    <a:pt x="7616" y="4896"/>
                  </a:lnTo>
                  <a:lnTo>
                    <a:pt x="8579" y="3913"/>
                  </a:lnTo>
                  <a:lnTo>
                    <a:pt x="8558" y="3076"/>
                  </a:lnTo>
                  <a:lnTo>
                    <a:pt x="8704" y="1988"/>
                  </a:lnTo>
                  <a:lnTo>
                    <a:pt x="8788" y="1904"/>
                  </a:lnTo>
                  <a:lnTo>
                    <a:pt x="8809" y="1695"/>
                  </a:lnTo>
                  <a:lnTo>
                    <a:pt x="8411" y="1235"/>
                  </a:lnTo>
                  <a:lnTo>
                    <a:pt x="8453" y="1151"/>
                  </a:lnTo>
                  <a:lnTo>
                    <a:pt x="8474" y="984"/>
                  </a:lnTo>
                  <a:lnTo>
                    <a:pt x="8181" y="210"/>
                  </a:lnTo>
                  <a:lnTo>
                    <a:pt x="8139" y="126"/>
                  </a:lnTo>
                  <a:lnTo>
                    <a:pt x="7616" y="335"/>
                  </a:lnTo>
                  <a:lnTo>
                    <a:pt x="7512" y="230"/>
                  </a:lnTo>
                  <a:lnTo>
                    <a:pt x="6507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A6CBC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Google Shape;12259;p43">
              <a:extLst>
                <a:ext uri="{FF2B5EF4-FFF2-40B4-BE49-F238E27FC236}">
                  <a16:creationId xmlns:a16="http://schemas.microsoft.com/office/drawing/2014/main" id="{0D309435-7EC9-949A-2027-E5F511B93B4E}"/>
                </a:ext>
              </a:extLst>
            </p:cNvPr>
            <p:cNvSpPr/>
            <p:nvPr/>
          </p:nvSpPr>
          <p:spPr>
            <a:xfrm>
              <a:off x="3767267" y="3053013"/>
              <a:ext cx="78744" cy="64493"/>
            </a:xfrm>
            <a:custGeom>
              <a:avLst/>
              <a:gdLst/>
              <a:ahLst/>
              <a:cxnLst/>
              <a:rect l="l" t="t" r="r" b="b"/>
              <a:pathLst>
                <a:path w="6613" h="5671" extrusionOk="0">
                  <a:moveTo>
                    <a:pt x="1361" y="1"/>
                  </a:moveTo>
                  <a:lnTo>
                    <a:pt x="1319" y="43"/>
                  </a:lnTo>
                  <a:lnTo>
                    <a:pt x="1005" y="43"/>
                  </a:lnTo>
                  <a:lnTo>
                    <a:pt x="900" y="84"/>
                  </a:lnTo>
                  <a:lnTo>
                    <a:pt x="838" y="105"/>
                  </a:lnTo>
                  <a:lnTo>
                    <a:pt x="754" y="126"/>
                  </a:lnTo>
                  <a:lnTo>
                    <a:pt x="628" y="231"/>
                  </a:lnTo>
                  <a:lnTo>
                    <a:pt x="628" y="294"/>
                  </a:lnTo>
                  <a:lnTo>
                    <a:pt x="649" y="335"/>
                  </a:lnTo>
                  <a:lnTo>
                    <a:pt x="628" y="356"/>
                  </a:lnTo>
                  <a:lnTo>
                    <a:pt x="608" y="419"/>
                  </a:lnTo>
                  <a:lnTo>
                    <a:pt x="628" y="524"/>
                  </a:lnTo>
                  <a:lnTo>
                    <a:pt x="691" y="566"/>
                  </a:lnTo>
                  <a:lnTo>
                    <a:pt x="691" y="649"/>
                  </a:lnTo>
                  <a:lnTo>
                    <a:pt x="587" y="649"/>
                  </a:lnTo>
                  <a:lnTo>
                    <a:pt x="482" y="754"/>
                  </a:lnTo>
                  <a:lnTo>
                    <a:pt x="482" y="838"/>
                  </a:lnTo>
                  <a:lnTo>
                    <a:pt x="440" y="879"/>
                  </a:lnTo>
                  <a:lnTo>
                    <a:pt x="524" y="1047"/>
                  </a:lnTo>
                  <a:lnTo>
                    <a:pt x="587" y="1068"/>
                  </a:lnTo>
                  <a:lnTo>
                    <a:pt x="587" y="1131"/>
                  </a:lnTo>
                  <a:lnTo>
                    <a:pt x="503" y="1193"/>
                  </a:lnTo>
                  <a:lnTo>
                    <a:pt x="482" y="1193"/>
                  </a:lnTo>
                  <a:lnTo>
                    <a:pt x="440" y="1340"/>
                  </a:lnTo>
                  <a:lnTo>
                    <a:pt x="482" y="1403"/>
                  </a:lnTo>
                  <a:lnTo>
                    <a:pt x="628" y="1549"/>
                  </a:lnTo>
                  <a:lnTo>
                    <a:pt x="649" y="1675"/>
                  </a:lnTo>
                  <a:lnTo>
                    <a:pt x="712" y="1884"/>
                  </a:lnTo>
                  <a:lnTo>
                    <a:pt x="691" y="1967"/>
                  </a:lnTo>
                  <a:lnTo>
                    <a:pt x="545" y="1967"/>
                  </a:lnTo>
                  <a:lnTo>
                    <a:pt x="503" y="2030"/>
                  </a:lnTo>
                  <a:lnTo>
                    <a:pt x="503" y="2093"/>
                  </a:lnTo>
                  <a:lnTo>
                    <a:pt x="628" y="2219"/>
                  </a:lnTo>
                  <a:lnTo>
                    <a:pt x="608" y="2281"/>
                  </a:lnTo>
                  <a:lnTo>
                    <a:pt x="524" y="2281"/>
                  </a:lnTo>
                  <a:lnTo>
                    <a:pt x="440" y="2323"/>
                  </a:lnTo>
                  <a:lnTo>
                    <a:pt x="398" y="2428"/>
                  </a:lnTo>
                  <a:lnTo>
                    <a:pt x="315" y="2553"/>
                  </a:lnTo>
                  <a:lnTo>
                    <a:pt x="273" y="2658"/>
                  </a:lnTo>
                  <a:lnTo>
                    <a:pt x="210" y="2721"/>
                  </a:lnTo>
                  <a:lnTo>
                    <a:pt x="168" y="2721"/>
                  </a:lnTo>
                  <a:lnTo>
                    <a:pt x="64" y="2763"/>
                  </a:lnTo>
                  <a:lnTo>
                    <a:pt x="22" y="2825"/>
                  </a:lnTo>
                  <a:lnTo>
                    <a:pt x="22" y="2930"/>
                  </a:lnTo>
                  <a:lnTo>
                    <a:pt x="1" y="3014"/>
                  </a:lnTo>
                  <a:lnTo>
                    <a:pt x="1" y="3139"/>
                  </a:lnTo>
                  <a:lnTo>
                    <a:pt x="1" y="3181"/>
                  </a:lnTo>
                  <a:lnTo>
                    <a:pt x="22" y="3265"/>
                  </a:lnTo>
                  <a:lnTo>
                    <a:pt x="1" y="3328"/>
                  </a:lnTo>
                  <a:lnTo>
                    <a:pt x="22" y="3369"/>
                  </a:lnTo>
                  <a:lnTo>
                    <a:pt x="22" y="3432"/>
                  </a:lnTo>
                  <a:lnTo>
                    <a:pt x="22" y="3537"/>
                  </a:lnTo>
                  <a:lnTo>
                    <a:pt x="64" y="3767"/>
                  </a:lnTo>
                  <a:lnTo>
                    <a:pt x="22" y="3851"/>
                  </a:lnTo>
                  <a:lnTo>
                    <a:pt x="64" y="3955"/>
                  </a:lnTo>
                  <a:lnTo>
                    <a:pt x="22" y="4227"/>
                  </a:lnTo>
                  <a:lnTo>
                    <a:pt x="64" y="4332"/>
                  </a:lnTo>
                  <a:lnTo>
                    <a:pt x="294" y="4395"/>
                  </a:lnTo>
                  <a:lnTo>
                    <a:pt x="482" y="4311"/>
                  </a:lnTo>
                  <a:lnTo>
                    <a:pt x="900" y="4541"/>
                  </a:lnTo>
                  <a:lnTo>
                    <a:pt x="1131" y="4750"/>
                  </a:lnTo>
                  <a:lnTo>
                    <a:pt x="1256" y="5043"/>
                  </a:lnTo>
                  <a:lnTo>
                    <a:pt x="1256" y="5232"/>
                  </a:lnTo>
                  <a:lnTo>
                    <a:pt x="1340" y="5273"/>
                  </a:lnTo>
                  <a:lnTo>
                    <a:pt x="1424" y="5462"/>
                  </a:lnTo>
                  <a:lnTo>
                    <a:pt x="1549" y="5587"/>
                  </a:lnTo>
                  <a:lnTo>
                    <a:pt x="1758" y="5671"/>
                  </a:lnTo>
                  <a:lnTo>
                    <a:pt x="2323" y="5629"/>
                  </a:lnTo>
                  <a:lnTo>
                    <a:pt x="2428" y="5566"/>
                  </a:lnTo>
                  <a:lnTo>
                    <a:pt x="2512" y="5587"/>
                  </a:lnTo>
                  <a:lnTo>
                    <a:pt x="2784" y="5483"/>
                  </a:lnTo>
                  <a:lnTo>
                    <a:pt x="2888" y="5545"/>
                  </a:lnTo>
                  <a:lnTo>
                    <a:pt x="3014" y="5524"/>
                  </a:lnTo>
                  <a:lnTo>
                    <a:pt x="3056" y="5357"/>
                  </a:lnTo>
                  <a:lnTo>
                    <a:pt x="3160" y="5462"/>
                  </a:lnTo>
                  <a:lnTo>
                    <a:pt x="3223" y="5441"/>
                  </a:lnTo>
                  <a:lnTo>
                    <a:pt x="3223" y="5357"/>
                  </a:lnTo>
                  <a:lnTo>
                    <a:pt x="3369" y="5211"/>
                  </a:lnTo>
                  <a:lnTo>
                    <a:pt x="3432" y="5043"/>
                  </a:lnTo>
                  <a:lnTo>
                    <a:pt x="3432" y="4918"/>
                  </a:lnTo>
                  <a:lnTo>
                    <a:pt x="3411" y="4792"/>
                  </a:lnTo>
                  <a:lnTo>
                    <a:pt x="3474" y="4729"/>
                  </a:lnTo>
                  <a:lnTo>
                    <a:pt x="3474" y="4646"/>
                  </a:lnTo>
                  <a:lnTo>
                    <a:pt x="3558" y="4583"/>
                  </a:lnTo>
                  <a:lnTo>
                    <a:pt x="3662" y="4499"/>
                  </a:lnTo>
                  <a:lnTo>
                    <a:pt x="3725" y="4436"/>
                  </a:lnTo>
                  <a:lnTo>
                    <a:pt x="3893" y="4311"/>
                  </a:lnTo>
                  <a:lnTo>
                    <a:pt x="3872" y="4206"/>
                  </a:lnTo>
                  <a:lnTo>
                    <a:pt x="3893" y="4123"/>
                  </a:lnTo>
                  <a:lnTo>
                    <a:pt x="4039" y="4123"/>
                  </a:lnTo>
                  <a:lnTo>
                    <a:pt x="4081" y="4060"/>
                  </a:lnTo>
                  <a:lnTo>
                    <a:pt x="4102" y="4081"/>
                  </a:lnTo>
                  <a:lnTo>
                    <a:pt x="4269" y="4123"/>
                  </a:lnTo>
                  <a:lnTo>
                    <a:pt x="4353" y="4123"/>
                  </a:lnTo>
                  <a:lnTo>
                    <a:pt x="4458" y="4185"/>
                  </a:lnTo>
                  <a:lnTo>
                    <a:pt x="4499" y="4311"/>
                  </a:lnTo>
                  <a:lnTo>
                    <a:pt x="4604" y="4374"/>
                  </a:lnTo>
                  <a:lnTo>
                    <a:pt x="4688" y="4395"/>
                  </a:lnTo>
                  <a:lnTo>
                    <a:pt x="4792" y="4332"/>
                  </a:lnTo>
                  <a:lnTo>
                    <a:pt x="4876" y="4206"/>
                  </a:lnTo>
                  <a:lnTo>
                    <a:pt x="4876" y="4164"/>
                  </a:lnTo>
                  <a:lnTo>
                    <a:pt x="4918" y="4081"/>
                  </a:lnTo>
                  <a:lnTo>
                    <a:pt x="5002" y="4060"/>
                  </a:lnTo>
                  <a:lnTo>
                    <a:pt x="5085" y="3955"/>
                  </a:lnTo>
                  <a:lnTo>
                    <a:pt x="5085" y="3872"/>
                  </a:lnTo>
                  <a:lnTo>
                    <a:pt x="5106" y="3746"/>
                  </a:lnTo>
                  <a:lnTo>
                    <a:pt x="5294" y="3558"/>
                  </a:lnTo>
                  <a:lnTo>
                    <a:pt x="5315" y="3453"/>
                  </a:lnTo>
                  <a:lnTo>
                    <a:pt x="5294" y="3369"/>
                  </a:lnTo>
                  <a:lnTo>
                    <a:pt x="5336" y="3286"/>
                  </a:lnTo>
                  <a:lnTo>
                    <a:pt x="5504" y="3139"/>
                  </a:lnTo>
                  <a:lnTo>
                    <a:pt x="5608" y="3056"/>
                  </a:lnTo>
                  <a:lnTo>
                    <a:pt x="5629" y="2930"/>
                  </a:lnTo>
                  <a:lnTo>
                    <a:pt x="5650" y="2846"/>
                  </a:lnTo>
                  <a:lnTo>
                    <a:pt x="5629" y="2658"/>
                  </a:lnTo>
                  <a:lnTo>
                    <a:pt x="5734" y="2595"/>
                  </a:lnTo>
                  <a:lnTo>
                    <a:pt x="5880" y="2553"/>
                  </a:lnTo>
                  <a:lnTo>
                    <a:pt x="5964" y="2428"/>
                  </a:lnTo>
                  <a:lnTo>
                    <a:pt x="5985" y="2302"/>
                  </a:lnTo>
                  <a:lnTo>
                    <a:pt x="5985" y="2135"/>
                  </a:lnTo>
                  <a:lnTo>
                    <a:pt x="5985" y="2030"/>
                  </a:lnTo>
                  <a:lnTo>
                    <a:pt x="6048" y="1926"/>
                  </a:lnTo>
                  <a:lnTo>
                    <a:pt x="6152" y="1758"/>
                  </a:lnTo>
                  <a:lnTo>
                    <a:pt x="6194" y="1695"/>
                  </a:lnTo>
                  <a:lnTo>
                    <a:pt x="6236" y="1654"/>
                  </a:lnTo>
                  <a:lnTo>
                    <a:pt x="6341" y="1570"/>
                  </a:lnTo>
                  <a:lnTo>
                    <a:pt x="6382" y="1570"/>
                  </a:lnTo>
                  <a:lnTo>
                    <a:pt x="6466" y="1465"/>
                  </a:lnTo>
                  <a:lnTo>
                    <a:pt x="6592" y="1403"/>
                  </a:lnTo>
                  <a:lnTo>
                    <a:pt x="6613" y="1340"/>
                  </a:lnTo>
                  <a:lnTo>
                    <a:pt x="6571" y="1193"/>
                  </a:lnTo>
                  <a:lnTo>
                    <a:pt x="6571" y="1131"/>
                  </a:lnTo>
                  <a:lnTo>
                    <a:pt x="6550" y="1047"/>
                  </a:lnTo>
                  <a:lnTo>
                    <a:pt x="6445" y="984"/>
                  </a:lnTo>
                  <a:lnTo>
                    <a:pt x="6382" y="921"/>
                  </a:lnTo>
                  <a:lnTo>
                    <a:pt x="6382" y="733"/>
                  </a:lnTo>
                  <a:lnTo>
                    <a:pt x="6362" y="628"/>
                  </a:lnTo>
                  <a:lnTo>
                    <a:pt x="6299" y="503"/>
                  </a:lnTo>
                  <a:lnTo>
                    <a:pt x="6236" y="356"/>
                  </a:lnTo>
                  <a:lnTo>
                    <a:pt x="6069" y="147"/>
                  </a:lnTo>
                  <a:lnTo>
                    <a:pt x="5985" y="126"/>
                  </a:lnTo>
                  <a:lnTo>
                    <a:pt x="5880" y="84"/>
                  </a:lnTo>
                  <a:lnTo>
                    <a:pt x="5838" y="189"/>
                  </a:lnTo>
                  <a:lnTo>
                    <a:pt x="5818" y="252"/>
                  </a:lnTo>
                  <a:lnTo>
                    <a:pt x="5755" y="294"/>
                  </a:lnTo>
                  <a:lnTo>
                    <a:pt x="5671" y="252"/>
                  </a:lnTo>
                  <a:lnTo>
                    <a:pt x="5608" y="294"/>
                  </a:lnTo>
                  <a:lnTo>
                    <a:pt x="5546" y="335"/>
                  </a:lnTo>
                  <a:lnTo>
                    <a:pt x="5441" y="398"/>
                  </a:lnTo>
                  <a:lnTo>
                    <a:pt x="5399" y="503"/>
                  </a:lnTo>
                  <a:lnTo>
                    <a:pt x="5294" y="524"/>
                  </a:lnTo>
                  <a:lnTo>
                    <a:pt x="5232" y="461"/>
                  </a:lnTo>
                  <a:lnTo>
                    <a:pt x="5190" y="440"/>
                  </a:lnTo>
                  <a:lnTo>
                    <a:pt x="5022" y="419"/>
                  </a:lnTo>
                  <a:lnTo>
                    <a:pt x="4834" y="335"/>
                  </a:lnTo>
                  <a:lnTo>
                    <a:pt x="4583" y="315"/>
                  </a:lnTo>
                  <a:lnTo>
                    <a:pt x="4458" y="356"/>
                  </a:lnTo>
                  <a:lnTo>
                    <a:pt x="4144" y="335"/>
                  </a:lnTo>
                  <a:lnTo>
                    <a:pt x="4039" y="398"/>
                  </a:lnTo>
                  <a:lnTo>
                    <a:pt x="3872" y="607"/>
                  </a:lnTo>
                  <a:lnTo>
                    <a:pt x="3746" y="670"/>
                  </a:lnTo>
                  <a:lnTo>
                    <a:pt x="3641" y="649"/>
                  </a:lnTo>
                  <a:lnTo>
                    <a:pt x="3411" y="566"/>
                  </a:lnTo>
                  <a:lnTo>
                    <a:pt x="3265" y="545"/>
                  </a:lnTo>
                  <a:lnTo>
                    <a:pt x="3097" y="440"/>
                  </a:lnTo>
                  <a:lnTo>
                    <a:pt x="2993" y="419"/>
                  </a:lnTo>
                  <a:lnTo>
                    <a:pt x="2993" y="356"/>
                  </a:lnTo>
                  <a:lnTo>
                    <a:pt x="2888" y="294"/>
                  </a:lnTo>
                  <a:lnTo>
                    <a:pt x="2784" y="294"/>
                  </a:lnTo>
                  <a:lnTo>
                    <a:pt x="2742" y="315"/>
                  </a:lnTo>
                  <a:lnTo>
                    <a:pt x="2595" y="335"/>
                  </a:lnTo>
                  <a:lnTo>
                    <a:pt x="2512" y="356"/>
                  </a:lnTo>
                  <a:lnTo>
                    <a:pt x="2428" y="398"/>
                  </a:lnTo>
                  <a:lnTo>
                    <a:pt x="2365" y="461"/>
                  </a:lnTo>
                  <a:lnTo>
                    <a:pt x="2302" y="503"/>
                  </a:lnTo>
                  <a:lnTo>
                    <a:pt x="2198" y="419"/>
                  </a:lnTo>
                  <a:lnTo>
                    <a:pt x="2072" y="231"/>
                  </a:lnTo>
                  <a:lnTo>
                    <a:pt x="2009" y="147"/>
                  </a:lnTo>
                  <a:lnTo>
                    <a:pt x="1842" y="105"/>
                  </a:lnTo>
                  <a:lnTo>
                    <a:pt x="1758" y="84"/>
                  </a:lnTo>
                  <a:lnTo>
                    <a:pt x="1675" y="43"/>
                  </a:lnTo>
                  <a:lnTo>
                    <a:pt x="1528" y="22"/>
                  </a:lnTo>
                  <a:lnTo>
                    <a:pt x="144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Google Shape;12260;p43">
              <a:extLst>
                <a:ext uri="{FF2B5EF4-FFF2-40B4-BE49-F238E27FC236}">
                  <a16:creationId xmlns:a16="http://schemas.microsoft.com/office/drawing/2014/main" id="{12846486-A4DE-7762-05D0-BB4E08E1AD66}"/>
                </a:ext>
              </a:extLst>
            </p:cNvPr>
            <p:cNvSpPr/>
            <p:nvPr/>
          </p:nvSpPr>
          <p:spPr>
            <a:xfrm>
              <a:off x="3805645" y="3058722"/>
              <a:ext cx="52322" cy="74968"/>
            </a:xfrm>
            <a:custGeom>
              <a:avLst/>
              <a:gdLst/>
              <a:ahLst/>
              <a:cxnLst/>
              <a:rect l="l" t="t" r="r" b="b"/>
              <a:pathLst>
                <a:path w="4394" h="6592" extrusionOk="0">
                  <a:moveTo>
                    <a:pt x="3076" y="1"/>
                  </a:moveTo>
                  <a:lnTo>
                    <a:pt x="3139" y="126"/>
                  </a:lnTo>
                  <a:lnTo>
                    <a:pt x="3159" y="231"/>
                  </a:lnTo>
                  <a:lnTo>
                    <a:pt x="3159" y="419"/>
                  </a:lnTo>
                  <a:lnTo>
                    <a:pt x="3222" y="482"/>
                  </a:lnTo>
                  <a:lnTo>
                    <a:pt x="3327" y="545"/>
                  </a:lnTo>
                  <a:lnTo>
                    <a:pt x="3348" y="629"/>
                  </a:lnTo>
                  <a:lnTo>
                    <a:pt x="3348" y="691"/>
                  </a:lnTo>
                  <a:lnTo>
                    <a:pt x="3390" y="838"/>
                  </a:lnTo>
                  <a:lnTo>
                    <a:pt x="3369" y="901"/>
                  </a:lnTo>
                  <a:lnTo>
                    <a:pt x="3243" y="963"/>
                  </a:lnTo>
                  <a:lnTo>
                    <a:pt x="3159" y="1068"/>
                  </a:lnTo>
                  <a:lnTo>
                    <a:pt x="3118" y="1068"/>
                  </a:lnTo>
                  <a:lnTo>
                    <a:pt x="3013" y="1152"/>
                  </a:lnTo>
                  <a:lnTo>
                    <a:pt x="2971" y="1193"/>
                  </a:lnTo>
                  <a:lnTo>
                    <a:pt x="2929" y="1256"/>
                  </a:lnTo>
                  <a:lnTo>
                    <a:pt x="2825" y="1424"/>
                  </a:lnTo>
                  <a:lnTo>
                    <a:pt x="2762" y="1528"/>
                  </a:lnTo>
                  <a:lnTo>
                    <a:pt x="2762" y="1633"/>
                  </a:lnTo>
                  <a:lnTo>
                    <a:pt x="2762" y="1800"/>
                  </a:lnTo>
                  <a:lnTo>
                    <a:pt x="2741" y="1926"/>
                  </a:lnTo>
                  <a:lnTo>
                    <a:pt x="2657" y="2051"/>
                  </a:lnTo>
                  <a:lnTo>
                    <a:pt x="2511" y="2093"/>
                  </a:lnTo>
                  <a:lnTo>
                    <a:pt x="2406" y="2156"/>
                  </a:lnTo>
                  <a:lnTo>
                    <a:pt x="2427" y="2344"/>
                  </a:lnTo>
                  <a:lnTo>
                    <a:pt x="2406" y="2428"/>
                  </a:lnTo>
                  <a:lnTo>
                    <a:pt x="2385" y="2554"/>
                  </a:lnTo>
                  <a:lnTo>
                    <a:pt x="2281" y="2637"/>
                  </a:lnTo>
                  <a:lnTo>
                    <a:pt x="2113" y="2784"/>
                  </a:lnTo>
                  <a:lnTo>
                    <a:pt x="2071" y="2867"/>
                  </a:lnTo>
                  <a:lnTo>
                    <a:pt x="2092" y="2951"/>
                  </a:lnTo>
                  <a:lnTo>
                    <a:pt x="2071" y="3056"/>
                  </a:lnTo>
                  <a:lnTo>
                    <a:pt x="1883" y="3244"/>
                  </a:lnTo>
                  <a:lnTo>
                    <a:pt x="1862" y="3370"/>
                  </a:lnTo>
                  <a:lnTo>
                    <a:pt x="1862" y="3453"/>
                  </a:lnTo>
                  <a:lnTo>
                    <a:pt x="1779" y="3558"/>
                  </a:lnTo>
                  <a:lnTo>
                    <a:pt x="1695" y="3579"/>
                  </a:lnTo>
                  <a:lnTo>
                    <a:pt x="1653" y="3662"/>
                  </a:lnTo>
                  <a:lnTo>
                    <a:pt x="1653" y="3704"/>
                  </a:lnTo>
                  <a:lnTo>
                    <a:pt x="1569" y="3830"/>
                  </a:lnTo>
                  <a:lnTo>
                    <a:pt x="1465" y="3893"/>
                  </a:lnTo>
                  <a:lnTo>
                    <a:pt x="1381" y="3872"/>
                  </a:lnTo>
                  <a:lnTo>
                    <a:pt x="1276" y="3809"/>
                  </a:lnTo>
                  <a:lnTo>
                    <a:pt x="1235" y="3683"/>
                  </a:lnTo>
                  <a:lnTo>
                    <a:pt x="1130" y="3621"/>
                  </a:lnTo>
                  <a:lnTo>
                    <a:pt x="1046" y="3621"/>
                  </a:lnTo>
                  <a:lnTo>
                    <a:pt x="879" y="3579"/>
                  </a:lnTo>
                  <a:lnTo>
                    <a:pt x="858" y="3558"/>
                  </a:lnTo>
                  <a:lnTo>
                    <a:pt x="816" y="3621"/>
                  </a:lnTo>
                  <a:lnTo>
                    <a:pt x="670" y="3621"/>
                  </a:lnTo>
                  <a:lnTo>
                    <a:pt x="649" y="3704"/>
                  </a:lnTo>
                  <a:lnTo>
                    <a:pt x="670" y="3809"/>
                  </a:lnTo>
                  <a:lnTo>
                    <a:pt x="502" y="3934"/>
                  </a:lnTo>
                  <a:lnTo>
                    <a:pt x="439" y="3997"/>
                  </a:lnTo>
                  <a:lnTo>
                    <a:pt x="335" y="4081"/>
                  </a:lnTo>
                  <a:lnTo>
                    <a:pt x="251" y="4144"/>
                  </a:lnTo>
                  <a:lnTo>
                    <a:pt x="251" y="4227"/>
                  </a:lnTo>
                  <a:lnTo>
                    <a:pt x="188" y="4290"/>
                  </a:lnTo>
                  <a:lnTo>
                    <a:pt x="209" y="4416"/>
                  </a:lnTo>
                  <a:lnTo>
                    <a:pt x="209" y="4541"/>
                  </a:lnTo>
                  <a:lnTo>
                    <a:pt x="146" y="4709"/>
                  </a:lnTo>
                  <a:lnTo>
                    <a:pt x="0" y="4855"/>
                  </a:lnTo>
                  <a:lnTo>
                    <a:pt x="0" y="4939"/>
                  </a:lnTo>
                  <a:lnTo>
                    <a:pt x="84" y="4960"/>
                  </a:lnTo>
                  <a:lnTo>
                    <a:pt x="188" y="4918"/>
                  </a:lnTo>
                  <a:lnTo>
                    <a:pt x="230" y="5274"/>
                  </a:lnTo>
                  <a:lnTo>
                    <a:pt x="335" y="5274"/>
                  </a:lnTo>
                  <a:lnTo>
                    <a:pt x="398" y="5357"/>
                  </a:lnTo>
                  <a:lnTo>
                    <a:pt x="565" y="5274"/>
                  </a:lnTo>
                  <a:lnTo>
                    <a:pt x="649" y="5399"/>
                  </a:lnTo>
                  <a:lnTo>
                    <a:pt x="628" y="5483"/>
                  </a:lnTo>
                  <a:lnTo>
                    <a:pt x="628" y="5650"/>
                  </a:lnTo>
                  <a:lnTo>
                    <a:pt x="732" y="5797"/>
                  </a:lnTo>
                  <a:lnTo>
                    <a:pt x="732" y="6006"/>
                  </a:lnTo>
                  <a:lnTo>
                    <a:pt x="649" y="6215"/>
                  </a:lnTo>
                  <a:lnTo>
                    <a:pt x="753" y="6299"/>
                  </a:lnTo>
                  <a:lnTo>
                    <a:pt x="649" y="6403"/>
                  </a:lnTo>
                  <a:lnTo>
                    <a:pt x="649" y="6403"/>
                  </a:lnTo>
                  <a:lnTo>
                    <a:pt x="732" y="6383"/>
                  </a:lnTo>
                  <a:lnTo>
                    <a:pt x="816" y="6383"/>
                  </a:lnTo>
                  <a:lnTo>
                    <a:pt x="837" y="6403"/>
                  </a:lnTo>
                  <a:lnTo>
                    <a:pt x="1507" y="6403"/>
                  </a:lnTo>
                  <a:lnTo>
                    <a:pt x="1548" y="6383"/>
                  </a:lnTo>
                  <a:lnTo>
                    <a:pt x="1590" y="6341"/>
                  </a:lnTo>
                  <a:lnTo>
                    <a:pt x="1653" y="6383"/>
                  </a:lnTo>
                  <a:lnTo>
                    <a:pt x="1695" y="6320"/>
                  </a:lnTo>
                  <a:lnTo>
                    <a:pt x="1862" y="6341"/>
                  </a:lnTo>
                  <a:lnTo>
                    <a:pt x="1904" y="6320"/>
                  </a:lnTo>
                  <a:lnTo>
                    <a:pt x="2092" y="6320"/>
                  </a:lnTo>
                  <a:lnTo>
                    <a:pt x="2134" y="6341"/>
                  </a:lnTo>
                  <a:lnTo>
                    <a:pt x="2239" y="6320"/>
                  </a:lnTo>
                  <a:lnTo>
                    <a:pt x="2323" y="6320"/>
                  </a:lnTo>
                  <a:lnTo>
                    <a:pt x="2323" y="6341"/>
                  </a:lnTo>
                  <a:lnTo>
                    <a:pt x="2490" y="6383"/>
                  </a:lnTo>
                  <a:lnTo>
                    <a:pt x="2511" y="6341"/>
                  </a:lnTo>
                  <a:lnTo>
                    <a:pt x="2553" y="6341"/>
                  </a:lnTo>
                  <a:lnTo>
                    <a:pt x="2595" y="6403"/>
                  </a:lnTo>
                  <a:lnTo>
                    <a:pt x="3327" y="6403"/>
                  </a:lnTo>
                  <a:lnTo>
                    <a:pt x="3390" y="6424"/>
                  </a:lnTo>
                  <a:lnTo>
                    <a:pt x="3431" y="6403"/>
                  </a:lnTo>
                  <a:lnTo>
                    <a:pt x="3452" y="6403"/>
                  </a:lnTo>
                  <a:lnTo>
                    <a:pt x="3536" y="6487"/>
                  </a:lnTo>
                  <a:lnTo>
                    <a:pt x="3578" y="6445"/>
                  </a:lnTo>
                  <a:lnTo>
                    <a:pt x="3662" y="6487"/>
                  </a:lnTo>
                  <a:lnTo>
                    <a:pt x="3683" y="6529"/>
                  </a:lnTo>
                  <a:lnTo>
                    <a:pt x="3745" y="6508"/>
                  </a:lnTo>
                  <a:lnTo>
                    <a:pt x="3766" y="6487"/>
                  </a:lnTo>
                  <a:lnTo>
                    <a:pt x="3808" y="6487"/>
                  </a:lnTo>
                  <a:lnTo>
                    <a:pt x="3892" y="6550"/>
                  </a:lnTo>
                  <a:lnTo>
                    <a:pt x="3955" y="6529"/>
                  </a:lnTo>
                  <a:lnTo>
                    <a:pt x="4059" y="6529"/>
                  </a:lnTo>
                  <a:lnTo>
                    <a:pt x="4101" y="6550"/>
                  </a:lnTo>
                  <a:lnTo>
                    <a:pt x="4206" y="6550"/>
                  </a:lnTo>
                  <a:lnTo>
                    <a:pt x="4206" y="6592"/>
                  </a:lnTo>
                  <a:lnTo>
                    <a:pt x="4289" y="6592"/>
                  </a:lnTo>
                  <a:lnTo>
                    <a:pt x="4310" y="6529"/>
                  </a:lnTo>
                  <a:lnTo>
                    <a:pt x="4268" y="6424"/>
                  </a:lnTo>
                  <a:lnTo>
                    <a:pt x="4268" y="6403"/>
                  </a:lnTo>
                  <a:lnTo>
                    <a:pt x="4331" y="6299"/>
                  </a:lnTo>
                  <a:lnTo>
                    <a:pt x="4373" y="6215"/>
                  </a:lnTo>
                  <a:lnTo>
                    <a:pt x="4394" y="6194"/>
                  </a:lnTo>
                  <a:lnTo>
                    <a:pt x="4373" y="6194"/>
                  </a:lnTo>
                  <a:lnTo>
                    <a:pt x="4331" y="6131"/>
                  </a:lnTo>
                  <a:lnTo>
                    <a:pt x="4331" y="6069"/>
                  </a:lnTo>
                  <a:lnTo>
                    <a:pt x="4331" y="5922"/>
                  </a:lnTo>
                  <a:lnTo>
                    <a:pt x="4164" y="5797"/>
                  </a:lnTo>
                  <a:lnTo>
                    <a:pt x="4080" y="5713"/>
                  </a:lnTo>
                  <a:lnTo>
                    <a:pt x="3996" y="5567"/>
                  </a:lnTo>
                  <a:lnTo>
                    <a:pt x="3850" y="5357"/>
                  </a:lnTo>
                  <a:lnTo>
                    <a:pt x="3808" y="5232"/>
                  </a:lnTo>
                  <a:lnTo>
                    <a:pt x="3703" y="5127"/>
                  </a:lnTo>
                  <a:lnTo>
                    <a:pt x="3557" y="5043"/>
                  </a:lnTo>
                  <a:lnTo>
                    <a:pt x="3494" y="4981"/>
                  </a:lnTo>
                  <a:lnTo>
                    <a:pt x="3494" y="4750"/>
                  </a:lnTo>
                  <a:lnTo>
                    <a:pt x="3473" y="4625"/>
                  </a:lnTo>
                  <a:lnTo>
                    <a:pt x="3452" y="4458"/>
                  </a:lnTo>
                  <a:lnTo>
                    <a:pt x="3473" y="4332"/>
                  </a:lnTo>
                  <a:lnTo>
                    <a:pt x="3431" y="4186"/>
                  </a:lnTo>
                  <a:lnTo>
                    <a:pt x="3390" y="4039"/>
                  </a:lnTo>
                  <a:lnTo>
                    <a:pt x="3452" y="3976"/>
                  </a:lnTo>
                  <a:lnTo>
                    <a:pt x="3536" y="3976"/>
                  </a:lnTo>
                  <a:lnTo>
                    <a:pt x="3641" y="3788"/>
                  </a:lnTo>
                  <a:lnTo>
                    <a:pt x="3683" y="3662"/>
                  </a:lnTo>
                  <a:lnTo>
                    <a:pt x="3787" y="3474"/>
                  </a:lnTo>
                  <a:lnTo>
                    <a:pt x="3850" y="3349"/>
                  </a:lnTo>
                  <a:lnTo>
                    <a:pt x="3955" y="3307"/>
                  </a:lnTo>
                  <a:lnTo>
                    <a:pt x="4059" y="3160"/>
                  </a:lnTo>
                  <a:lnTo>
                    <a:pt x="4059" y="3139"/>
                  </a:lnTo>
                  <a:lnTo>
                    <a:pt x="4017" y="3035"/>
                  </a:lnTo>
                  <a:lnTo>
                    <a:pt x="3955" y="2867"/>
                  </a:lnTo>
                  <a:lnTo>
                    <a:pt x="3850" y="2721"/>
                  </a:lnTo>
                  <a:lnTo>
                    <a:pt x="3766" y="2637"/>
                  </a:lnTo>
                  <a:lnTo>
                    <a:pt x="3557" y="2428"/>
                  </a:lnTo>
                  <a:lnTo>
                    <a:pt x="3348" y="2240"/>
                  </a:lnTo>
                  <a:lnTo>
                    <a:pt x="3243" y="2219"/>
                  </a:lnTo>
                  <a:lnTo>
                    <a:pt x="3243" y="2135"/>
                  </a:lnTo>
                  <a:lnTo>
                    <a:pt x="3159" y="2093"/>
                  </a:lnTo>
                  <a:lnTo>
                    <a:pt x="3159" y="2030"/>
                  </a:lnTo>
                  <a:lnTo>
                    <a:pt x="3159" y="1926"/>
                  </a:lnTo>
                  <a:lnTo>
                    <a:pt x="3180" y="1884"/>
                  </a:lnTo>
                  <a:lnTo>
                    <a:pt x="3180" y="1779"/>
                  </a:lnTo>
                  <a:lnTo>
                    <a:pt x="3369" y="1779"/>
                  </a:lnTo>
                  <a:lnTo>
                    <a:pt x="3431" y="1800"/>
                  </a:lnTo>
                  <a:lnTo>
                    <a:pt x="3536" y="1779"/>
                  </a:lnTo>
                  <a:lnTo>
                    <a:pt x="3641" y="1800"/>
                  </a:lnTo>
                  <a:lnTo>
                    <a:pt x="3683" y="1779"/>
                  </a:lnTo>
                  <a:lnTo>
                    <a:pt x="3808" y="1800"/>
                  </a:lnTo>
                  <a:lnTo>
                    <a:pt x="3892" y="1821"/>
                  </a:lnTo>
                  <a:lnTo>
                    <a:pt x="3975" y="1842"/>
                  </a:lnTo>
                  <a:lnTo>
                    <a:pt x="4017" y="1800"/>
                  </a:lnTo>
                  <a:lnTo>
                    <a:pt x="3975" y="1779"/>
                  </a:lnTo>
                  <a:lnTo>
                    <a:pt x="3808" y="1633"/>
                  </a:lnTo>
                  <a:lnTo>
                    <a:pt x="3787" y="1528"/>
                  </a:lnTo>
                  <a:lnTo>
                    <a:pt x="3703" y="1486"/>
                  </a:lnTo>
                  <a:lnTo>
                    <a:pt x="3599" y="1319"/>
                  </a:lnTo>
                  <a:lnTo>
                    <a:pt x="3578" y="1214"/>
                  </a:lnTo>
                  <a:lnTo>
                    <a:pt x="3662" y="1152"/>
                  </a:lnTo>
                  <a:lnTo>
                    <a:pt x="3703" y="1005"/>
                  </a:lnTo>
                  <a:lnTo>
                    <a:pt x="3641" y="942"/>
                  </a:lnTo>
                  <a:lnTo>
                    <a:pt x="3662" y="880"/>
                  </a:lnTo>
                  <a:lnTo>
                    <a:pt x="3683" y="838"/>
                  </a:lnTo>
                  <a:lnTo>
                    <a:pt x="3683" y="754"/>
                  </a:lnTo>
                  <a:lnTo>
                    <a:pt x="3599" y="587"/>
                  </a:lnTo>
                  <a:lnTo>
                    <a:pt x="3578" y="482"/>
                  </a:lnTo>
                  <a:lnTo>
                    <a:pt x="3536" y="440"/>
                  </a:lnTo>
                  <a:lnTo>
                    <a:pt x="3494" y="252"/>
                  </a:lnTo>
                  <a:lnTo>
                    <a:pt x="3369" y="147"/>
                  </a:lnTo>
                  <a:lnTo>
                    <a:pt x="307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Google Shape;12261;p43">
              <a:extLst>
                <a:ext uri="{FF2B5EF4-FFF2-40B4-BE49-F238E27FC236}">
                  <a16:creationId xmlns:a16="http://schemas.microsoft.com/office/drawing/2014/main" id="{69410BBC-1B92-DCC8-196B-88D8DA5A9EED}"/>
                </a:ext>
              </a:extLst>
            </p:cNvPr>
            <p:cNvSpPr/>
            <p:nvPr/>
          </p:nvSpPr>
          <p:spPr>
            <a:xfrm>
              <a:off x="3805883" y="3130585"/>
              <a:ext cx="39378" cy="40702"/>
            </a:xfrm>
            <a:custGeom>
              <a:avLst/>
              <a:gdLst/>
              <a:ahLst/>
              <a:cxnLst/>
              <a:rect l="l" t="t" r="r" b="b"/>
              <a:pathLst>
                <a:path w="3307" h="3579" extrusionOk="0">
                  <a:moveTo>
                    <a:pt x="1675" y="1"/>
                  </a:moveTo>
                  <a:lnTo>
                    <a:pt x="1633" y="64"/>
                  </a:lnTo>
                  <a:lnTo>
                    <a:pt x="1570" y="22"/>
                  </a:lnTo>
                  <a:lnTo>
                    <a:pt x="1528" y="64"/>
                  </a:lnTo>
                  <a:lnTo>
                    <a:pt x="1487" y="84"/>
                  </a:lnTo>
                  <a:lnTo>
                    <a:pt x="1487" y="754"/>
                  </a:lnTo>
                  <a:lnTo>
                    <a:pt x="712" y="754"/>
                  </a:lnTo>
                  <a:lnTo>
                    <a:pt x="691" y="733"/>
                  </a:lnTo>
                  <a:lnTo>
                    <a:pt x="608" y="754"/>
                  </a:lnTo>
                  <a:lnTo>
                    <a:pt x="524" y="817"/>
                  </a:lnTo>
                  <a:lnTo>
                    <a:pt x="482" y="796"/>
                  </a:lnTo>
                  <a:lnTo>
                    <a:pt x="482" y="921"/>
                  </a:lnTo>
                  <a:lnTo>
                    <a:pt x="336" y="942"/>
                  </a:lnTo>
                  <a:lnTo>
                    <a:pt x="440" y="1131"/>
                  </a:lnTo>
                  <a:lnTo>
                    <a:pt x="629" y="1172"/>
                  </a:lnTo>
                  <a:lnTo>
                    <a:pt x="378" y="1235"/>
                  </a:lnTo>
                  <a:lnTo>
                    <a:pt x="315" y="1152"/>
                  </a:lnTo>
                  <a:lnTo>
                    <a:pt x="294" y="1340"/>
                  </a:lnTo>
                  <a:lnTo>
                    <a:pt x="273" y="1654"/>
                  </a:lnTo>
                  <a:lnTo>
                    <a:pt x="168" y="1737"/>
                  </a:lnTo>
                  <a:lnTo>
                    <a:pt x="22" y="1675"/>
                  </a:lnTo>
                  <a:lnTo>
                    <a:pt x="1" y="1758"/>
                  </a:lnTo>
                  <a:lnTo>
                    <a:pt x="126" y="1988"/>
                  </a:lnTo>
                  <a:lnTo>
                    <a:pt x="210" y="2051"/>
                  </a:lnTo>
                  <a:lnTo>
                    <a:pt x="210" y="2156"/>
                  </a:lnTo>
                  <a:lnTo>
                    <a:pt x="315" y="2281"/>
                  </a:lnTo>
                  <a:lnTo>
                    <a:pt x="315" y="2470"/>
                  </a:lnTo>
                  <a:lnTo>
                    <a:pt x="398" y="2533"/>
                  </a:lnTo>
                  <a:lnTo>
                    <a:pt x="440" y="2679"/>
                  </a:lnTo>
                  <a:lnTo>
                    <a:pt x="608" y="2805"/>
                  </a:lnTo>
                  <a:lnTo>
                    <a:pt x="545" y="2825"/>
                  </a:lnTo>
                  <a:lnTo>
                    <a:pt x="712" y="2993"/>
                  </a:lnTo>
                  <a:lnTo>
                    <a:pt x="963" y="3202"/>
                  </a:lnTo>
                  <a:lnTo>
                    <a:pt x="1026" y="3328"/>
                  </a:lnTo>
                  <a:lnTo>
                    <a:pt x="1235" y="3432"/>
                  </a:lnTo>
                  <a:lnTo>
                    <a:pt x="1256" y="3537"/>
                  </a:lnTo>
                  <a:lnTo>
                    <a:pt x="1361" y="3558"/>
                  </a:lnTo>
                  <a:lnTo>
                    <a:pt x="1382" y="3579"/>
                  </a:lnTo>
                  <a:lnTo>
                    <a:pt x="1466" y="3474"/>
                  </a:lnTo>
                  <a:lnTo>
                    <a:pt x="1466" y="3411"/>
                  </a:lnTo>
                  <a:lnTo>
                    <a:pt x="1528" y="3369"/>
                  </a:lnTo>
                  <a:lnTo>
                    <a:pt x="1633" y="3369"/>
                  </a:lnTo>
                  <a:lnTo>
                    <a:pt x="1675" y="3307"/>
                  </a:lnTo>
                  <a:lnTo>
                    <a:pt x="1696" y="3307"/>
                  </a:lnTo>
                  <a:lnTo>
                    <a:pt x="1884" y="3432"/>
                  </a:lnTo>
                  <a:lnTo>
                    <a:pt x="1884" y="3328"/>
                  </a:lnTo>
                  <a:lnTo>
                    <a:pt x="1863" y="3035"/>
                  </a:lnTo>
                  <a:lnTo>
                    <a:pt x="1779" y="2951"/>
                  </a:lnTo>
                  <a:lnTo>
                    <a:pt x="1696" y="2930"/>
                  </a:lnTo>
                  <a:lnTo>
                    <a:pt x="1633" y="2951"/>
                  </a:lnTo>
                  <a:lnTo>
                    <a:pt x="1549" y="2993"/>
                  </a:lnTo>
                  <a:lnTo>
                    <a:pt x="1549" y="2846"/>
                  </a:lnTo>
                  <a:lnTo>
                    <a:pt x="1528" y="2784"/>
                  </a:lnTo>
                  <a:lnTo>
                    <a:pt x="1570" y="2721"/>
                  </a:lnTo>
                  <a:lnTo>
                    <a:pt x="1675" y="2721"/>
                  </a:lnTo>
                  <a:lnTo>
                    <a:pt x="1800" y="2784"/>
                  </a:lnTo>
                  <a:lnTo>
                    <a:pt x="1863" y="2721"/>
                  </a:lnTo>
                  <a:lnTo>
                    <a:pt x="1884" y="2679"/>
                  </a:lnTo>
                  <a:lnTo>
                    <a:pt x="1968" y="2679"/>
                  </a:lnTo>
                  <a:lnTo>
                    <a:pt x="2177" y="2637"/>
                  </a:lnTo>
                  <a:lnTo>
                    <a:pt x="2198" y="2574"/>
                  </a:lnTo>
                  <a:lnTo>
                    <a:pt x="2177" y="2407"/>
                  </a:lnTo>
                  <a:lnTo>
                    <a:pt x="2219" y="2365"/>
                  </a:lnTo>
                  <a:lnTo>
                    <a:pt x="2365" y="2365"/>
                  </a:lnTo>
                  <a:lnTo>
                    <a:pt x="2428" y="2595"/>
                  </a:lnTo>
                  <a:lnTo>
                    <a:pt x="2512" y="2700"/>
                  </a:lnTo>
                  <a:lnTo>
                    <a:pt x="2637" y="2637"/>
                  </a:lnTo>
                  <a:lnTo>
                    <a:pt x="2721" y="2679"/>
                  </a:lnTo>
                  <a:lnTo>
                    <a:pt x="2805" y="2616"/>
                  </a:lnTo>
                  <a:lnTo>
                    <a:pt x="2909" y="2616"/>
                  </a:lnTo>
                  <a:lnTo>
                    <a:pt x="3035" y="2679"/>
                  </a:lnTo>
                  <a:lnTo>
                    <a:pt x="3056" y="2742"/>
                  </a:lnTo>
                  <a:lnTo>
                    <a:pt x="3119" y="2742"/>
                  </a:lnTo>
                  <a:lnTo>
                    <a:pt x="3119" y="2637"/>
                  </a:lnTo>
                  <a:lnTo>
                    <a:pt x="3098" y="2533"/>
                  </a:lnTo>
                  <a:lnTo>
                    <a:pt x="3244" y="2114"/>
                  </a:lnTo>
                  <a:lnTo>
                    <a:pt x="3307" y="1884"/>
                  </a:lnTo>
                  <a:lnTo>
                    <a:pt x="3307" y="1779"/>
                  </a:lnTo>
                  <a:lnTo>
                    <a:pt x="3244" y="1696"/>
                  </a:lnTo>
                  <a:lnTo>
                    <a:pt x="3223" y="1654"/>
                  </a:lnTo>
                  <a:lnTo>
                    <a:pt x="3139" y="1570"/>
                  </a:lnTo>
                  <a:lnTo>
                    <a:pt x="3119" y="1528"/>
                  </a:lnTo>
                  <a:lnTo>
                    <a:pt x="3035" y="1486"/>
                  </a:lnTo>
                  <a:lnTo>
                    <a:pt x="3014" y="1444"/>
                  </a:lnTo>
                  <a:lnTo>
                    <a:pt x="2993" y="1382"/>
                  </a:lnTo>
                  <a:lnTo>
                    <a:pt x="2993" y="1340"/>
                  </a:lnTo>
                  <a:lnTo>
                    <a:pt x="3035" y="1319"/>
                  </a:lnTo>
                  <a:lnTo>
                    <a:pt x="3056" y="1277"/>
                  </a:lnTo>
                  <a:lnTo>
                    <a:pt x="3119" y="1277"/>
                  </a:lnTo>
                  <a:lnTo>
                    <a:pt x="3098" y="1214"/>
                  </a:lnTo>
                  <a:lnTo>
                    <a:pt x="3056" y="1172"/>
                  </a:lnTo>
                  <a:lnTo>
                    <a:pt x="3056" y="1110"/>
                  </a:lnTo>
                  <a:lnTo>
                    <a:pt x="3202" y="1026"/>
                  </a:lnTo>
                  <a:lnTo>
                    <a:pt x="3307" y="1005"/>
                  </a:lnTo>
                  <a:lnTo>
                    <a:pt x="3307" y="900"/>
                  </a:lnTo>
                  <a:lnTo>
                    <a:pt x="3265" y="838"/>
                  </a:lnTo>
                  <a:lnTo>
                    <a:pt x="3307" y="754"/>
                  </a:lnTo>
                  <a:lnTo>
                    <a:pt x="3307" y="587"/>
                  </a:lnTo>
                  <a:lnTo>
                    <a:pt x="3244" y="545"/>
                  </a:lnTo>
                  <a:lnTo>
                    <a:pt x="3056" y="524"/>
                  </a:lnTo>
                  <a:lnTo>
                    <a:pt x="2930" y="587"/>
                  </a:lnTo>
                  <a:lnTo>
                    <a:pt x="2805" y="628"/>
                  </a:lnTo>
                  <a:lnTo>
                    <a:pt x="2721" y="608"/>
                  </a:lnTo>
                  <a:lnTo>
                    <a:pt x="2616" y="649"/>
                  </a:lnTo>
                  <a:lnTo>
                    <a:pt x="2575" y="608"/>
                  </a:lnTo>
                  <a:lnTo>
                    <a:pt x="2595" y="545"/>
                  </a:lnTo>
                  <a:lnTo>
                    <a:pt x="2575" y="440"/>
                  </a:lnTo>
                  <a:lnTo>
                    <a:pt x="2575" y="315"/>
                  </a:lnTo>
                  <a:lnTo>
                    <a:pt x="2533" y="189"/>
                  </a:lnTo>
                  <a:lnTo>
                    <a:pt x="2575" y="84"/>
                  </a:lnTo>
                  <a:lnTo>
                    <a:pt x="2533" y="22"/>
                  </a:lnTo>
                  <a:lnTo>
                    <a:pt x="2491" y="22"/>
                  </a:lnTo>
                  <a:lnTo>
                    <a:pt x="2470" y="64"/>
                  </a:lnTo>
                  <a:lnTo>
                    <a:pt x="2303" y="22"/>
                  </a:lnTo>
                  <a:lnTo>
                    <a:pt x="2303" y="1"/>
                  </a:lnTo>
                  <a:lnTo>
                    <a:pt x="2219" y="1"/>
                  </a:lnTo>
                  <a:lnTo>
                    <a:pt x="2114" y="22"/>
                  </a:lnTo>
                  <a:lnTo>
                    <a:pt x="2072" y="1"/>
                  </a:lnTo>
                  <a:lnTo>
                    <a:pt x="1884" y="1"/>
                  </a:lnTo>
                  <a:lnTo>
                    <a:pt x="1842" y="22"/>
                  </a:lnTo>
                  <a:lnTo>
                    <a:pt x="16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Google Shape;12262;p43">
              <a:extLst>
                <a:ext uri="{FF2B5EF4-FFF2-40B4-BE49-F238E27FC236}">
                  <a16:creationId xmlns:a16="http://schemas.microsoft.com/office/drawing/2014/main" id="{1ED8783F-41DF-4F81-388D-E24229756B56}"/>
                </a:ext>
              </a:extLst>
            </p:cNvPr>
            <p:cNvSpPr/>
            <p:nvPr/>
          </p:nvSpPr>
          <p:spPr>
            <a:xfrm>
              <a:off x="3809622" y="3131301"/>
              <a:ext cx="13967" cy="8575"/>
            </a:xfrm>
            <a:custGeom>
              <a:avLst/>
              <a:gdLst/>
              <a:ahLst/>
              <a:cxnLst/>
              <a:rect l="l" t="t" r="r" b="b"/>
              <a:pathLst>
                <a:path w="1173" h="754" extrusionOk="0">
                  <a:moveTo>
                    <a:pt x="398" y="1"/>
                  </a:moveTo>
                  <a:lnTo>
                    <a:pt x="315" y="21"/>
                  </a:lnTo>
                  <a:lnTo>
                    <a:pt x="294" y="42"/>
                  </a:lnTo>
                  <a:lnTo>
                    <a:pt x="336" y="147"/>
                  </a:lnTo>
                  <a:lnTo>
                    <a:pt x="168" y="335"/>
                  </a:lnTo>
                  <a:lnTo>
                    <a:pt x="1" y="628"/>
                  </a:lnTo>
                  <a:lnTo>
                    <a:pt x="168" y="691"/>
                  </a:lnTo>
                  <a:lnTo>
                    <a:pt x="168" y="733"/>
                  </a:lnTo>
                  <a:lnTo>
                    <a:pt x="210" y="754"/>
                  </a:lnTo>
                  <a:lnTo>
                    <a:pt x="294" y="691"/>
                  </a:lnTo>
                  <a:lnTo>
                    <a:pt x="377" y="670"/>
                  </a:lnTo>
                  <a:lnTo>
                    <a:pt x="398" y="691"/>
                  </a:lnTo>
                  <a:lnTo>
                    <a:pt x="1173" y="691"/>
                  </a:lnTo>
                  <a:lnTo>
                    <a:pt x="1173" y="21"/>
                  </a:lnTo>
                  <a:lnTo>
                    <a:pt x="503" y="21"/>
                  </a:lnTo>
                  <a:lnTo>
                    <a:pt x="48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Google Shape;12263;p43">
              <a:extLst>
                <a:ext uri="{FF2B5EF4-FFF2-40B4-BE49-F238E27FC236}">
                  <a16:creationId xmlns:a16="http://schemas.microsoft.com/office/drawing/2014/main" id="{E9250FF2-EF56-3F3A-ACC7-421140538E37}"/>
                </a:ext>
              </a:extLst>
            </p:cNvPr>
            <p:cNvSpPr/>
            <p:nvPr/>
          </p:nvSpPr>
          <p:spPr>
            <a:xfrm>
              <a:off x="3822327" y="3120122"/>
              <a:ext cx="52834" cy="59023"/>
            </a:xfrm>
            <a:custGeom>
              <a:avLst/>
              <a:gdLst/>
              <a:ahLst/>
              <a:cxnLst/>
              <a:rect l="l" t="t" r="r" b="b"/>
              <a:pathLst>
                <a:path w="4437" h="5190" extrusionOk="0">
                  <a:moveTo>
                    <a:pt x="3935" y="0"/>
                  </a:moveTo>
                  <a:lnTo>
                    <a:pt x="3872" y="63"/>
                  </a:lnTo>
                  <a:lnTo>
                    <a:pt x="3767" y="42"/>
                  </a:lnTo>
                  <a:lnTo>
                    <a:pt x="3537" y="147"/>
                  </a:lnTo>
                  <a:lnTo>
                    <a:pt x="3495" y="188"/>
                  </a:lnTo>
                  <a:lnTo>
                    <a:pt x="3391" y="209"/>
                  </a:lnTo>
                  <a:lnTo>
                    <a:pt x="3244" y="377"/>
                  </a:lnTo>
                  <a:lnTo>
                    <a:pt x="2972" y="816"/>
                  </a:lnTo>
                  <a:lnTo>
                    <a:pt x="2930" y="900"/>
                  </a:lnTo>
                  <a:lnTo>
                    <a:pt x="2867" y="1004"/>
                  </a:lnTo>
                  <a:lnTo>
                    <a:pt x="2867" y="1025"/>
                  </a:lnTo>
                  <a:lnTo>
                    <a:pt x="2909" y="1130"/>
                  </a:lnTo>
                  <a:lnTo>
                    <a:pt x="2888" y="1193"/>
                  </a:lnTo>
                  <a:lnTo>
                    <a:pt x="2805" y="1193"/>
                  </a:lnTo>
                  <a:lnTo>
                    <a:pt x="2805" y="1151"/>
                  </a:lnTo>
                  <a:lnTo>
                    <a:pt x="2700" y="1151"/>
                  </a:lnTo>
                  <a:lnTo>
                    <a:pt x="2658" y="1130"/>
                  </a:lnTo>
                  <a:lnTo>
                    <a:pt x="2554" y="1130"/>
                  </a:lnTo>
                  <a:lnTo>
                    <a:pt x="2491" y="1151"/>
                  </a:lnTo>
                  <a:lnTo>
                    <a:pt x="2407" y="1088"/>
                  </a:lnTo>
                  <a:lnTo>
                    <a:pt x="2365" y="1088"/>
                  </a:lnTo>
                  <a:lnTo>
                    <a:pt x="2344" y="1109"/>
                  </a:lnTo>
                  <a:lnTo>
                    <a:pt x="2282" y="1130"/>
                  </a:lnTo>
                  <a:lnTo>
                    <a:pt x="2261" y="1088"/>
                  </a:lnTo>
                  <a:lnTo>
                    <a:pt x="2177" y="1046"/>
                  </a:lnTo>
                  <a:lnTo>
                    <a:pt x="2135" y="1088"/>
                  </a:lnTo>
                  <a:lnTo>
                    <a:pt x="2051" y="1004"/>
                  </a:lnTo>
                  <a:lnTo>
                    <a:pt x="2030" y="1004"/>
                  </a:lnTo>
                  <a:lnTo>
                    <a:pt x="1989" y="1025"/>
                  </a:lnTo>
                  <a:lnTo>
                    <a:pt x="1926" y="1004"/>
                  </a:lnTo>
                  <a:lnTo>
                    <a:pt x="1194" y="1004"/>
                  </a:lnTo>
                  <a:lnTo>
                    <a:pt x="1152" y="1109"/>
                  </a:lnTo>
                  <a:lnTo>
                    <a:pt x="1194" y="1235"/>
                  </a:lnTo>
                  <a:lnTo>
                    <a:pt x="1194" y="1360"/>
                  </a:lnTo>
                  <a:lnTo>
                    <a:pt x="1214" y="1465"/>
                  </a:lnTo>
                  <a:lnTo>
                    <a:pt x="1194" y="1528"/>
                  </a:lnTo>
                  <a:lnTo>
                    <a:pt x="1235" y="1569"/>
                  </a:lnTo>
                  <a:lnTo>
                    <a:pt x="1340" y="1528"/>
                  </a:lnTo>
                  <a:lnTo>
                    <a:pt x="1424" y="1548"/>
                  </a:lnTo>
                  <a:lnTo>
                    <a:pt x="1549" y="1507"/>
                  </a:lnTo>
                  <a:lnTo>
                    <a:pt x="1675" y="1444"/>
                  </a:lnTo>
                  <a:lnTo>
                    <a:pt x="1863" y="1465"/>
                  </a:lnTo>
                  <a:lnTo>
                    <a:pt x="1926" y="1507"/>
                  </a:lnTo>
                  <a:lnTo>
                    <a:pt x="1926" y="1674"/>
                  </a:lnTo>
                  <a:lnTo>
                    <a:pt x="1884" y="1758"/>
                  </a:lnTo>
                  <a:lnTo>
                    <a:pt x="1926" y="1820"/>
                  </a:lnTo>
                  <a:lnTo>
                    <a:pt x="1926" y="1925"/>
                  </a:lnTo>
                  <a:lnTo>
                    <a:pt x="1821" y="1946"/>
                  </a:lnTo>
                  <a:lnTo>
                    <a:pt x="1675" y="2030"/>
                  </a:lnTo>
                  <a:lnTo>
                    <a:pt x="1675" y="2092"/>
                  </a:lnTo>
                  <a:lnTo>
                    <a:pt x="1717" y="2134"/>
                  </a:lnTo>
                  <a:lnTo>
                    <a:pt x="1738" y="2197"/>
                  </a:lnTo>
                  <a:lnTo>
                    <a:pt x="1675" y="2197"/>
                  </a:lnTo>
                  <a:lnTo>
                    <a:pt x="1654" y="2239"/>
                  </a:lnTo>
                  <a:lnTo>
                    <a:pt x="1612" y="2260"/>
                  </a:lnTo>
                  <a:lnTo>
                    <a:pt x="1612" y="2302"/>
                  </a:lnTo>
                  <a:lnTo>
                    <a:pt x="1633" y="2364"/>
                  </a:lnTo>
                  <a:lnTo>
                    <a:pt x="1654" y="2406"/>
                  </a:lnTo>
                  <a:lnTo>
                    <a:pt x="1738" y="2448"/>
                  </a:lnTo>
                  <a:lnTo>
                    <a:pt x="1758" y="2490"/>
                  </a:lnTo>
                  <a:lnTo>
                    <a:pt x="1842" y="2574"/>
                  </a:lnTo>
                  <a:lnTo>
                    <a:pt x="1863" y="2616"/>
                  </a:lnTo>
                  <a:lnTo>
                    <a:pt x="1926" y="2699"/>
                  </a:lnTo>
                  <a:lnTo>
                    <a:pt x="1926" y="2804"/>
                  </a:lnTo>
                  <a:lnTo>
                    <a:pt x="1863" y="3034"/>
                  </a:lnTo>
                  <a:lnTo>
                    <a:pt x="1717" y="3453"/>
                  </a:lnTo>
                  <a:lnTo>
                    <a:pt x="1738" y="3557"/>
                  </a:lnTo>
                  <a:lnTo>
                    <a:pt x="1738" y="3662"/>
                  </a:lnTo>
                  <a:lnTo>
                    <a:pt x="1675" y="3662"/>
                  </a:lnTo>
                  <a:lnTo>
                    <a:pt x="1654" y="3599"/>
                  </a:lnTo>
                  <a:lnTo>
                    <a:pt x="1528" y="3536"/>
                  </a:lnTo>
                  <a:lnTo>
                    <a:pt x="1424" y="3536"/>
                  </a:lnTo>
                  <a:lnTo>
                    <a:pt x="1340" y="3599"/>
                  </a:lnTo>
                  <a:lnTo>
                    <a:pt x="1256" y="3557"/>
                  </a:lnTo>
                  <a:lnTo>
                    <a:pt x="1131" y="3620"/>
                  </a:lnTo>
                  <a:lnTo>
                    <a:pt x="1047" y="3515"/>
                  </a:lnTo>
                  <a:lnTo>
                    <a:pt x="984" y="3285"/>
                  </a:lnTo>
                  <a:lnTo>
                    <a:pt x="838" y="3285"/>
                  </a:lnTo>
                  <a:lnTo>
                    <a:pt x="796" y="3327"/>
                  </a:lnTo>
                  <a:lnTo>
                    <a:pt x="817" y="3494"/>
                  </a:lnTo>
                  <a:lnTo>
                    <a:pt x="796" y="3557"/>
                  </a:lnTo>
                  <a:lnTo>
                    <a:pt x="587" y="3599"/>
                  </a:lnTo>
                  <a:lnTo>
                    <a:pt x="503" y="3599"/>
                  </a:lnTo>
                  <a:lnTo>
                    <a:pt x="482" y="3641"/>
                  </a:lnTo>
                  <a:lnTo>
                    <a:pt x="419" y="3704"/>
                  </a:lnTo>
                  <a:lnTo>
                    <a:pt x="294" y="3641"/>
                  </a:lnTo>
                  <a:lnTo>
                    <a:pt x="189" y="3641"/>
                  </a:lnTo>
                  <a:lnTo>
                    <a:pt x="147" y="3704"/>
                  </a:lnTo>
                  <a:lnTo>
                    <a:pt x="168" y="3766"/>
                  </a:lnTo>
                  <a:lnTo>
                    <a:pt x="168" y="3913"/>
                  </a:lnTo>
                  <a:lnTo>
                    <a:pt x="252" y="3871"/>
                  </a:lnTo>
                  <a:lnTo>
                    <a:pt x="315" y="3850"/>
                  </a:lnTo>
                  <a:lnTo>
                    <a:pt x="398" y="3871"/>
                  </a:lnTo>
                  <a:lnTo>
                    <a:pt x="482" y="3955"/>
                  </a:lnTo>
                  <a:lnTo>
                    <a:pt x="503" y="4248"/>
                  </a:lnTo>
                  <a:lnTo>
                    <a:pt x="503" y="4352"/>
                  </a:lnTo>
                  <a:lnTo>
                    <a:pt x="315" y="4227"/>
                  </a:lnTo>
                  <a:lnTo>
                    <a:pt x="294" y="4227"/>
                  </a:lnTo>
                  <a:lnTo>
                    <a:pt x="252" y="4289"/>
                  </a:lnTo>
                  <a:lnTo>
                    <a:pt x="147" y="4289"/>
                  </a:lnTo>
                  <a:lnTo>
                    <a:pt x="85" y="4331"/>
                  </a:lnTo>
                  <a:lnTo>
                    <a:pt x="85" y="4394"/>
                  </a:lnTo>
                  <a:lnTo>
                    <a:pt x="1" y="4499"/>
                  </a:lnTo>
                  <a:lnTo>
                    <a:pt x="106" y="4603"/>
                  </a:lnTo>
                  <a:lnTo>
                    <a:pt x="168" y="4687"/>
                  </a:lnTo>
                  <a:lnTo>
                    <a:pt x="315" y="4792"/>
                  </a:lnTo>
                  <a:lnTo>
                    <a:pt x="315" y="4896"/>
                  </a:lnTo>
                  <a:lnTo>
                    <a:pt x="419" y="5001"/>
                  </a:lnTo>
                  <a:lnTo>
                    <a:pt x="419" y="5126"/>
                  </a:lnTo>
                  <a:lnTo>
                    <a:pt x="482" y="5189"/>
                  </a:lnTo>
                  <a:lnTo>
                    <a:pt x="524" y="5168"/>
                  </a:lnTo>
                  <a:lnTo>
                    <a:pt x="608" y="5022"/>
                  </a:lnTo>
                  <a:lnTo>
                    <a:pt x="629" y="5022"/>
                  </a:lnTo>
                  <a:lnTo>
                    <a:pt x="712" y="4980"/>
                  </a:lnTo>
                  <a:lnTo>
                    <a:pt x="775" y="4875"/>
                  </a:lnTo>
                  <a:lnTo>
                    <a:pt x="838" y="4854"/>
                  </a:lnTo>
                  <a:lnTo>
                    <a:pt x="942" y="4771"/>
                  </a:lnTo>
                  <a:lnTo>
                    <a:pt x="1005" y="4771"/>
                  </a:lnTo>
                  <a:lnTo>
                    <a:pt x="1047" y="4813"/>
                  </a:lnTo>
                  <a:lnTo>
                    <a:pt x="1110" y="4896"/>
                  </a:lnTo>
                  <a:lnTo>
                    <a:pt x="1110" y="5001"/>
                  </a:lnTo>
                  <a:lnTo>
                    <a:pt x="1131" y="4980"/>
                  </a:lnTo>
                  <a:lnTo>
                    <a:pt x="1194" y="5001"/>
                  </a:lnTo>
                  <a:lnTo>
                    <a:pt x="1298" y="4959"/>
                  </a:lnTo>
                  <a:lnTo>
                    <a:pt x="1319" y="5001"/>
                  </a:lnTo>
                  <a:lnTo>
                    <a:pt x="1319" y="5064"/>
                  </a:lnTo>
                  <a:lnTo>
                    <a:pt x="1424" y="5064"/>
                  </a:lnTo>
                  <a:lnTo>
                    <a:pt x="1507" y="4980"/>
                  </a:lnTo>
                  <a:lnTo>
                    <a:pt x="1507" y="4875"/>
                  </a:lnTo>
                  <a:lnTo>
                    <a:pt x="1570" y="4854"/>
                  </a:lnTo>
                  <a:lnTo>
                    <a:pt x="1654" y="4875"/>
                  </a:lnTo>
                  <a:lnTo>
                    <a:pt x="1758" y="4771"/>
                  </a:lnTo>
                  <a:lnTo>
                    <a:pt x="1947" y="4708"/>
                  </a:lnTo>
                  <a:lnTo>
                    <a:pt x="1947" y="4771"/>
                  </a:lnTo>
                  <a:lnTo>
                    <a:pt x="1863" y="4896"/>
                  </a:lnTo>
                  <a:lnTo>
                    <a:pt x="1884" y="4917"/>
                  </a:lnTo>
                  <a:lnTo>
                    <a:pt x="1947" y="5022"/>
                  </a:lnTo>
                  <a:lnTo>
                    <a:pt x="2072" y="5105"/>
                  </a:lnTo>
                  <a:lnTo>
                    <a:pt x="2198" y="5022"/>
                  </a:lnTo>
                  <a:lnTo>
                    <a:pt x="2282" y="4917"/>
                  </a:lnTo>
                  <a:lnTo>
                    <a:pt x="2512" y="4687"/>
                  </a:lnTo>
                  <a:lnTo>
                    <a:pt x="2574" y="4603"/>
                  </a:lnTo>
                  <a:lnTo>
                    <a:pt x="2658" y="4541"/>
                  </a:lnTo>
                  <a:lnTo>
                    <a:pt x="2763" y="4499"/>
                  </a:lnTo>
                  <a:lnTo>
                    <a:pt x="2867" y="4352"/>
                  </a:lnTo>
                  <a:lnTo>
                    <a:pt x="2867" y="4248"/>
                  </a:lnTo>
                  <a:lnTo>
                    <a:pt x="2888" y="4080"/>
                  </a:lnTo>
                  <a:lnTo>
                    <a:pt x="2909" y="3766"/>
                  </a:lnTo>
                  <a:lnTo>
                    <a:pt x="2888" y="3745"/>
                  </a:lnTo>
                  <a:lnTo>
                    <a:pt x="2867" y="3557"/>
                  </a:lnTo>
                  <a:lnTo>
                    <a:pt x="2909" y="3453"/>
                  </a:lnTo>
                  <a:lnTo>
                    <a:pt x="3098" y="3285"/>
                  </a:lnTo>
                  <a:lnTo>
                    <a:pt x="3098" y="3139"/>
                  </a:lnTo>
                  <a:lnTo>
                    <a:pt x="3202" y="3013"/>
                  </a:lnTo>
                  <a:lnTo>
                    <a:pt x="3328" y="2908"/>
                  </a:lnTo>
                  <a:lnTo>
                    <a:pt x="3411" y="2929"/>
                  </a:lnTo>
                  <a:lnTo>
                    <a:pt x="3516" y="2867"/>
                  </a:lnTo>
                  <a:lnTo>
                    <a:pt x="3621" y="2825"/>
                  </a:lnTo>
                  <a:lnTo>
                    <a:pt x="3809" y="2511"/>
                  </a:lnTo>
                  <a:lnTo>
                    <a:pt x="3809" y="2344"/>
                  </a:lnTo>
                  <a:lnTo>
                    <a:pt x="3851" y="2155"/>
                  </a:lnTo>
                  <a:lnTo>
                    <a:pt x="3935" y="2092"/>
                  </a:lnTo>
                  <a:lnTo>
                    <a:pt x="3955" y="1946"/>
                  </a:lnTo>
                  <a:lnTo>
                    <a:pt x="3935" y="1925"/>
                  </a:lnTo>
                  <a:lnTo>
                    <a:pt x="3955" y="1737"/>
                  </a:lnTo>
                  <a:lnTo>
                    <a:pt x="3955" y="1653"/>
                  </a:lnTo>
                  <a:lnTo>
                    <a:pt x="3955" y="1507"/>
                  </a:lnTo>
                  <a:lnTo>
                    <a:pt x="4060" y="1402"/>
                  </a:lnTo>
                  <a:lnTo>
                    <a:pt x="4060" y="1256"/>
                  </a:lnTo>
                  <a:lnTo>
                    <a:pt x="4081" y="1130"/>
                  </a:lnTo>
                  <a:lnTo>
                    <a:pt x="4039" y="921"/>
                  </a:lnTo>
                  <a:lnTo>
                    <a:pt x="4290" y="607"/>
                  </a:lnTo>
                  <a:lnTo>
                    <a:pt x="4332" y="502"/>
                  </a:lnTo>
                  <a:lnTo>
                    <a:pt x="4437" y="460"/>
                  </a:lnTo>
                  <a:lnTo>
                    <a:pt x="4437" y="209"/>
                  </a:lnTo>
                  <a:lnTo>
                    <a:pt x="4374" y="105"/>
                  </a:lnTo>
                  <a:lnTo>
                    <a:pt x="4374" y="63"/>
                  </a:lnTo>
                  <a:lnTo>
                    <a:pt x="4290" y="84"/>
                  </a:lnTo>
                  <a:lnTo>
                    <a:pt x="4248" y="105"/>
                  </a:lnTo>
                  <a:lnTo>
                    <a:pt x="4144" y="63"/>
                  </a:lnTo>
                  <a:lnTo>
                    <a:pt x="412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Google Shape;12264;p43">
              <a:extLst>
                <a:ext uri="{FF2B5EF4-FFF2-40B4-BE49-F238E27FC236}">
                  <a16:creationId xmlns:a16="http://schemas.microsoft.com/office/drawing/2014/main" id="{A6F5F446-CBCE-7146-3D19-F83725389A15}"/>
                </a:ext>
              </a:extLst>
            </p:cNvPr>
            <p:cNvSpPr/>
            <p:nvPr/>
          </p:nvSpPr>
          <p:spPr>
            <a:xfrm>
              <a:off x="3828067" y="3174369"/>
              <a:ext cx="7478" cy="9769"/>
            </a:xfrm>
            <a:custGeom>
              <a:avLst/>
              <a:gdLst/>
              <a:ahLst/>
              <a:cxnLst/>
              <a:rect l="l" t="t" r="r" b="b"/>
              <a:pathLst>
                <a:path w="628" h="859" extrusionOk="0">
                  <a:moveTo>
                    <a:pt x="460" y="1"/>
                  </a:moveTo>
                  <a:lnTo>
                    <a:pt x="356" y="84"/>
                  </a:lnTo>
                  <a:lnTo>
                    <a:pt x="293" y="105"/>
                  </a:lnTo>
                  <a:lnTo>
                    <a:pt x="230" y="210"/>
                  </a:lnTo>
                  <a:lnTo>
                    <a:pt x="147" y="252"/>
                  </a:lnTo>
                  <a:lnTo>
                    <a:pt x="126" y="252"/>
                  </a:lnTo>
                  <a:lnTo>
                    <a:pt x="42" y="398"/>
                  </a:lnTo>
                  <a:lnTo>
                    <a:pt x="0" y="419"/>
                  </a:lnTo>
                  <a:lnTo>
                    <a:pt x="84" y="503"/>
                  </a:lnTo>
                  <a:lnTo>
                    <a:pt x="105" y="670"/>
                  </a:lnTo>
                  <a:lnTo>
                    <a:pt x="42" y="775"/>
                  </a:lnTo>
                  <a:lnTo>
                    <a:pt x="84" y="859"/>
                  </a:lnTo>
                  <a:lnTo>
                    <a:pt x="188" y="775"/>
                  </a:lnTo>
                  <a:lnTo>
                    <a:pt x="293" y="775"/>
                  </a:lnTo>
                  <a:lnTo>
                    <a:pt x="356" y="712"/>
                  </a:lnTo>
                  <a:lnTo>
                    <a:pt x="335" y="503"/>
                  </a:lnTo>
                  <a:lnTo>
                    <a:pt x="398" y="440"/>
                  </a:lnTo>
                  <a:lnTo>
                    <a:pt x="523" y="335"/>
                  </a:lnTo>
                  <a:lnTo>
                    <a:pt x="628" y="231"/>
                  </a:lnTo>
                  <a:lnTo>
                    <a:pt x="628" y="126"/>
                  </a:lnTo>
                  <a:lnTo>
                    <a:pt x="565" y="43"/>
                  </a:lnTo>
                  <a:lnTo>
                    <a:pt x="52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Google Shape;12265;p43">
              <a:extLst>
                <a:ext uri="{FF2B5EF4-FFF2-40B4-BE49-F238E27FC236}">
                  <a16:creationId xmlns:a16="http://schemas.microsoft.com/office/drawing/2014/main" id="{5421F74C-9328-D1BD-420A-D5D750BC8D46}"/>
                </a:ext>
              </a:extLst>
            </p:cNvPr>
            <p:cNvSpPr/>
            <p:nvPr/>
          </p:nvSpPr>
          <p:spPr>
            <a:xfrm>
              <a:off x="3947654" y="3151533"/>
              <a:ext cx="76994" cy="74956"/>
            </a:xfrm>
            <a:custGeom>
              <a:avLst/>
              <a:gdLst/>
              <a:ahLst/>
              <a:cxnLst/>
              <a:rect l="l" t="t" r="r" b="b"/>
              <a:pathLst>
                <a:path w="6466" h="6591" extrusionOk="0">
                  <a:moveTo>
                    <a:pt x="2553" y="0"/>
                  </a:moveTo>
                  <a:lnTo>
                    <a:pt x="1779" y="42"/>
                  </a:lnTo>
                  <a:lnTo>
                    <a:pt x="858" y="42"/>
                  </a:lnTo>
                  <a:lnTo>
                    <a:pt x="816" y="105"/>
                  </a:lnTo>
                  <a:lnTo>
                    <a:pt x="754" y="105"/>
                  </a:lnTo>
                  <a:lnTo>
                    <a:pt x="712" y="146"/>
                  </a:lnTo>
                  <a:lnTo>
                    <a:pt x="775" y="230"/>
                  </a:lnTo>
                  <a:lnTo>
                    <a:pt x="858" y="314"/>
                  </a:lnTo>
                  <a:lnTo>
                    <a:pt x="858" y="356"/>
                  </a:lnTo>
                  <a:lnTo>
                    <a:pt x="921" y="439"/>
                  </a:lnTo>
                  <a:lnTo>
                    <a:pt x="963" y="628"/>
                  </a:lnTo>
                  <a:lnTo>
                    <a:pt x="984" y="732"/>
                  </a:lnTo>
                  <a:lnTo>
                    <a:pt x="942" y="795"/>
                  </a:lnTo>
                  <a:lnTo>
                    <a:pt x="942" y="879"/>
                  </a:lnTo>
                  <a:lnTo>
                    <a:pt x="879" y="942"/>
                  </a:lnTo>
                  <a:lnTo>
                    <a:pt x="816" y="963"/>
                  </a:lnTo>
                  <a:lnTo>
                    <a:pt x="754" y="963"/>
                  </a:lnTo>
                  <a:lnTo>
                    <a:pt x="733" y="942"/>
                  </a:lnTo>
                  <a:lnTo>
                    <a:pt x="733" y="983"/>
                  </a:lnTo>
                  <a:lnTo>
                    <a:pt x="754" y="1046"/>
                  </a:lnTo>
                  <a:lnTo>
                    <a:pt x="754" y="1109"/>
                  </a:lnTo>
                  <a:lnTo>
                    <a:pt x="858" y="1151"/>
                  </a:lnTo>
                  <a:lnTo>
                    <a:pt x="858" y="1214"/>
                  </a:lnTo>
                  <a:lnTo>
                    <a:pt x="942" y="1214"/>
                  </a:lnTo>
                  <a:lnTo>
                    <a:pt x="963" y="1402"/>
                  </a:lnTo>
                  <a:lnTo>
                    <a:pt x="963" y="1486"/>
                  </a:lnTo>
                  <a:lnTo>
                    <a:pt x="858" y="1590"/>
                  </a:lnTo>
                  <a:lnTo>
                    <a:pt x="775" y="1674"/>
                  </a:lnTo>
                  <a:lnTo>
                    <a:pt x="733" y="1716"/>
                  </a:lnTo>
                  <a:lnTo>
                    <a:pt x="565" y="1883"/>
                  </a:lnTo>
                  <a:lnTo>
                    <a:pt x="461" y="2030"/>
                  </a:lnTo>
                  <a:lnTo>
                    <a:pt x="293" y="2092"/>
                  </a:lnTo>
                  <a:lnTo>
                    <a:pt x="0" y="2092"/>
                  </a:lnTo>
                  <a:lnTo>
                    <a:pt x="84" y="2553"/>
                  </a:lnTo>
                  <a:lnTo>
                    <a:pt x="210" y="3243"/>
                  </a:lnTo>
                  <a:lnTo>
                    <a:pt x="628" y="3808"/>
                  </a:lnTo>
                  <a:lnTo>
                    <a:pt x="754" y="4248"/>
                  </a:lnTo>
                  <a:lnTo>
                    <a:pt x="942" y="4352"/>
                  </a:lnTo>
                  <a:lnTo>
                    <a:pt x="1026" y="4352"/>
                  </a:lnTo>
                  <a:lnTo>
                    <a:pt x="1130" y="4394"/>
                  </a:lnTo>
                  <a:lnTo>
                    <a:pt x="1172" y="4394"/>
                  </a:lnTo>
                  <a:lnTo>
                    <a:pt x="1256" y="4436"/>
                  </a:lnTo>
                  <a:lnTo>
                    <a:pt x="1256" y="4499"/>
                  </a:lnTo>
                  <a:lnTo>
                    <a:pt x="1340" y="4561"/>
                  </a:lnTo>
                  <a:lnTo>
                    <a:pt x="1444" y="4561"/>
                  </a:lnTo>
                  <a:lnTo>
                    <a:pt x="1695" y="4645"/>
                  </a:lnTo>
                  <a:lnTo>
                    <a:pt x="1779" y="4645"/>
                  </a:lnTo>
                  <a:lnTo>
                    <a:pt x="1821" y="4708"/>
                  </a:lnTo>
                  <a:lnTo>
                    <a:pt x="1884" y="4729"/>
                  </a:lnTo>
                  <a:lnTo>
                    <a:pt x="1925" y="4812"/>
                  </a:lnTo>
                  <a:lnTo>
                    <a:pt x="2030" y="4917"/>
                  </a:lnTo>
                  <a:lnTo>
                    <a:pt x="2093" y="4917"/>
                  </a:lnTo>
                  <a:lnTo>
                    <a:pt x="2093" y="4938"/>
                  </a:lnTo>
                  <a:lnTo>
                    <a:pt x="2114" y="4917"/>
                  </a:lnTo>
                  <a:lnTo>
                    <a:pt x="2177" y="4917"/>
                  </a:lnTo>
                  <a:lnTo>
                    <a:pt x="2197" y="4980"/>
                  </a:lnTo>
                  <a:lnTo>
                    <a:pt x="2281" y="4980"/>
                  </a:lnTo>
                  <a:lnTo>
                    <a:pt x="2302" y="5022"/>
                  </a:lnTo>
                  <a:lnTo>
                    <a:pt x="2323" y="4980"/>
                  </a:lnTo>
                  <a:lnTo>
                    <a:pt x="2407" y="5022"/>
                  </a:lnTo>
                  <a:lnTo>
                    <a:pt x="2428" y="5043"/>
                  </a:lnTo>
                  <a:lnTo>
                    <a:pt x="2490" y="5043"/>
                  </a:lnTo>
                  <a:lnTo>
                    <a:pt x="2511" y="5084"/>
                  </a:lnTo>
                  <a:lnTo>
                    <a:pt x="2553" y="5126"/>
                  </a:lnTo>
                  <a:lnTo>
                    <a:pt x="2637" y="5189"/>
                  </a:lnTo>
                  <a:lnTo>
                    <a:pt x="2825" y="5398"/>
                  </a:lnTo>
                  <a:lnTo>
                    <a:pt x="2846" y="5608"/>
                  </a:lnTo>
                  <a:lnTo>
                    <a:pt x="2846" y="6591"/>
                  </a:lnTo>
                  <a:lnTo>
                    <a:pt x="2951" y="6193"/>
                  </a:lnTo>
                  <a:lnTo>
                    <a:pt x="3495" y="6173"/>
                  </a:lnTo>
                  <a:lnTo>
                    <a:pt x="3599" y="6131"/>
                  </a:lnTo>
                  <a:lnTo>
                    <a:pt x="3641" y="6110"/>
                  </a:lnTo>
                  <a:lnTo>
                    <a:pt x="3704" y="6089"/>
                  </a:lnTo>
                  <a:lnTo>
                    <a:pt x="3704" y="6131"/>
                  </a:lnTo>
                  <a:lnTo>
                    <a:pt x="3788" y="6173"/>
                  </a:lnTo>
                  <a:lnTo>
                    <a:pt x="3871" y="6214"/>
                  </a:lnTo>
                  <a:lnTo>
                    <a:pt x="3955" y="6214"/>
                  </a:lnTo>
                  <a:lnTo>
                    <a:pt x="3997" y="6298"/>
                  </a:lnTo>
                  <a:lnTo>
                    <a:pt x="3976" y="6319"/>
                  </a:lnTo>
                  <a:lnTo>
                    <a:pt x="4164" y="6298"/>
                  </a:lnTo>
                  <a:lnTo>
                    <a:pt x="4269" y="6193"/>
                  </a:lnTo>
                  <a:lnTo>
                    <a:pt x="4332" y="6193"/>
                  </a:lnTo>
                  <a:lnTo>
                    <a:pt x="4394" y="6131"/>
                  </a:lnTo>
                  <a:lnTo>
                    <a:pt x="4436" y="6173"/>
                  </a:lnTo>
                  <a:lnTo>
                    <a:pt x="4436" y="6214"/>
                  </a:lnTo>
                  <a:lnTo>
                    <a:pt x="4520" y="6214"/>
                  </a:lnTo>
                  <a:lnTo>
                    <a:pt x="4604" y="6277"/>
                  </a:lnTo>
                  <a:lnTo>
                    <a:pt x="4729" y="6214"/>
                  </a:lnTo>
                  <a:lnTo>
                    <a:pt x="4897" y="6193"/>
                  </a:lnTo>
                  <a:lnTo>
                    <a:pt x="4918" y="6110"/>
                  </a:lnTo>
                  <a:lnTo>
                    <a:pt x="4897" y="6068"/>
                  </a:lnTo>
                  <a:lnTo>
                    <a:pt x="4938" y="6005"/>
                  </a:lnTo>
                  <a:lnTo>
                    <a:pt x="5043" y="6026"/>
                  </a:lnTo>
                  <a:lnTo>
                    <a:pt x="5127" y="6026"/>
                  </a:lnTo>
                  <a:lnTo>
                    <a:pt x="5210" y="6089"/>
                  </a:lnTo>
                  <a:lnTo>
                    <a:pt x="5315" y="6068"/>
                  </a:lnTo>
                  <a:lnTo>
                    <a:pt x="5357" y="6026"/>
                  </a:lnTo>
                  <a:lnTo>
                    <a:pt x="5566" y="5963"/>
                  </a:lnTo>
                  <a:lnTo>
                    <a:pt x="5650" y="5984"/>
                  </a:lnTo>
                  <a:lnTo>
                    <a:pt x="5754" y="5963"/>
                  </a:lnTo>
                  <a:lnTo>
                    <a:pt x="5775" y="5900"/>
                  </a:lnTo>
                  <a:lnTo>
                    <a:pt x="5901" y="5900"/>
                  </a:lnTo>
                  <a:lnTo>
                    <a:pt x="5985" y="5817"/>
                  </a:lnTo>
                  <a:lnTo>
                    <a:pt x="6110" y="5796"/>
                  </a:lnTo>
                  <a:lnTo>
                    <a:pt x="6194" y="5712"/>
                  </a:lnTo>
                  <a:lnTo>
                    <a:pt x="6278" y="5649"/>
                  </a:lnTo>
                  <a:lnTo>
                    <a:pt x="6382" y="5670"/>
                  </a:lnTo>
                  <a:lnTo>
                    <a:pt x="6424" y="5608"/>
                  </a:lnTo>
                  <a:lnTo>
                    <a:pt x="6466" y="5587"/>
                  </a:lnTo>
                  <a:lnTo>
                    <a:pt x="6424" y="5587"/>
                  </a:lnTo>
                  <a:lnTo>
                    <a:pt x="6424" y="5545"/>
                  </a:lnTo>
                  <a:lnTo>
                    <a:pt x="6298" y="5440"/>
                  </a:lnTo>
                  <a:lnTo>
                    <a:pt x="6173" y="5398"/>
                  </a:lnTo>
                  <a:lnTo>
                    <a:pt x="5964" y="5189"/>
                  </a:lnTo>
                  <a:lnTo>
                    <a:pt x="5985" y="5126"/>
                  </a:lnTo>
                  <a:lnTo>
                    <a:pt x="5901" y="4938"/>
                  </a:lnTo>
                  <a:lnTo>
                    <a:pt x="5859" y="4875"/>
                  </a:lnTo>
                  <a:lnTo>
                    <a:pt x="5901" y="4771"/>
                  </a:lnTo>
                  <a:lnTo>
                    <a:pt x="5859" y="4729"/>
                  </a:lnTo>
                  <a:lnTo>
                    <a:pt x="5838" y="4624"/>
                  </a:lnTo>
                  <a:lnTo>
                    <a:pt x="5796" y="4540"/>
                  </a:lnTo>
                  <a:lnTo>
                    <a:pt x="5838" y="4540"/>
                  </a:lnTo>
                  <a:lnTo>
                    <a:pt x="5775" y="4394"/>
                  </a:lnTo>
                  <a:lnTo>
                    <a:pt x="5754" y="4248"/>
                  </a:lnTo>
                  <a:lnTo>
                    <a:pt x="5838" y="4206"/>
                  </a:lnTo>
                  <a:lnTo>
                    <a:pt x="5838" y="4038"/>
                  </a:lnTo>
                  <a:lnTo>
                    <a:pt x="5754" y="3976"/>
                  </a:lnTo>
                  <a:lnTo>
                    <a:pt x="5754" y="3766"/>
                  </a:lnTo>
                  <a:lnTo>
                    <a:pt x="5775" y="3620"/>
                  </a:lnTo>
                  <a:lnTo>
                    <a:pt x="5859" y="3578"/>
                  </a:lnTo>
                  <a:lnTo>
                    <a:pt x="5880" y="3599"/>
                  </a:lnTo>
                  <a:lnTo>
                    <a:pt x="5943" y="3515"/>
                  </a:lnTo>
                  <a:lnTo>
                    <a:pt x="5859" y="3306"/>
                  </a:lnTo>
                  <a:lnTo>
                    <a:pt x="5775" y="3306"/>
                  </a:lnTo>
                  <a:lnTo>
                    <a:pt x="5650" y="3180"/>
                  </a:lnTo>
                  <a:lnTo>
                    <a:pt x="5482" y="3055"/>
                  </a:lnTo>
                  <a:lnTo>
                    <a:pt x="5482" y="2929"/>
                  </a:lnTo>
                  <a:lnTo>
                    <a:pt x="5566" y="2657"/>
                  </a:lnTo>
                  <a:lnTo>
                    <a:pt x="5692" y="2302"/>
                  </a:lnTo>
                  <a:lnTo>
                    <a:pt x="5754" y="2239"/>
                  </a:lnTo>
                  <a:lnTo>
                    <a:pt x="5734" y="2134"/>
                  </a:lnTo>
                  <a:lnTo>
                    <a:pt x="5692" y="2113"/>
                  </a:lnTo>
                  <a:lnTo>
                    <a:pt x="5734" y="2113"/>
                  </a:lnTo>
                  <a:lnTo>
                    <a:pt x="5022" y="1611"/>
                  </a:lnTo>
                  <a:lnTo>
                    <a:pt x="4959" y="1527"/>
                  </a:lnTo>
                  <a:lnTo>
                    <a:pt x="4938" y="1486"/>
                  </a:lnTo>
                  <a:lnTo>
                    <a:pt x="4959" y="1402"/>
                  </a:lnTo>
                  <a:lnTo>
                    <a:pt x="4834" y="1214"/>
                  </a:lnTo>
                  <a:lnTo>
                    <a:pt x="274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Google Shape;12266;p43">
              <a:extLst>
                <a:ext uri="{FF2B5EF4-FFF2-40B4-BE49-F238E27FC236}">
                  <a16:creationId xmlns:a16="http://schemas.microsoft.com/office/drawing/2014/main" id="{24222438-8115-C9A8-79EE-BF17472A763D}"/>
                </a:ext>
              </a:extLst>
            </p:cNvPr>
            <p:cNvSpPr/>
            <p:nvPr/>
          </p:nvSpPr>
          <p:spPr>
            <a:xfrm>
              <a:off x="3945415" y="3152954"/>
              <a:ext cx="13956" cy="10963"/>
            </a:xfrm>
            <a:custGeom>
              <a:avLst/>
              <a:gdLst/>
              <a:ahLst/>
              <a:cxnLst/>
              <a:rect l="l" t="t" r="r" b="b"/>
              <a:pathLst>
                <a:path w="1172" h="964" extrusionOk="0">
                  <a:moveTo>
                    <a:pt x="795" y="1"/>
                  </a:moveTo>
                  <a:lnTo>
                    <a:pt x="795" y="84"/>
                  </a:lnTo>
                  <a:lnTo>
                    <a:pt x="732" y="126"/>
                  </a:lnTo>
                  <a:lnTo>
                    <a:pt x="649" y="126"/>
                  </a:lnTo>
                  <a:lnTo>
                    <a:pt x="607" y="84"/>
                  </a:lnTo>
                  <a:lnTo>
                    <a:pt x="544" y="42"/>
                  </a:lnTo>
                  <a:lnTo>
                    <a:pt x="440" y="126"/>
                  </a:lnTo>
                  <a:lnTo>
                    <a:pt x="377" y="147"/>
                  </a:lnTo>
                  <a:lnTo>
                    <a:pt x="335" y="126"/>
                  </a:lnTo>
                  <a:lnTo>
                    <a:pt x="209" y="231"/>
                  </a:lnTo>
                  <a:lnTo>
                    <a:pt x="105" y="356"/>
                  </a:lnTo>
                  <a:lnTo>
                    <a:pt x="0" y="733"/>
                  </a:lnTo>
                  <a:lnTo>
                    <a:pt x="0" y="817"/>
                  </a:lnTo>
                  <a:lnTo>
                    <a:pt x="209" y="817"/>
                  </a:lnTo>
                  <a:lnTo>
                    <a:pt x="272" y="921"/>
                  </a:lnTo>
                  <a:lnTo>
                    <a:pt x="335" y="963"/>
                  </a:lnTo>
                  <a:lnTo>
                    <a:pt x="398" y="921"/>
                  </a:lnTo>
                  <a:lnTo>
                    <a:pt x="419" y="921"/>
                  </a:lnTo>
                  <a:lnTo>
                    <a:pt x="481" y="963"/>
                  </a:lnTo>
                  <a:lnTo>
                    <a:pt x="607" y="921"/>
                  </a:lnTo>
                  <a:lnTo>
                    <a:pt x="607" y="858"/>
                  </a:lnTo>
                  <a:lnTo>
                    <a:pt x="691" y="670"/>
                  </a:lnTo>
                  <a:lnTo>
                    <a:pt x="649" y="566"/>
                  </a:lnTo>
                  <a:lnTo>
                    <a:pt x="712" y="566"/>
                  </a:lnTo>
                  <a:lnTo>
                    <a:pt x="753" y="628"/>
                  </a:lnTo>
                  <a:lnTo>
                    <a:pt x="816" y="628"/>
                  </a:lnTo>
                  <a:lnTo>
                    <a:pt x="858" y="733"/>
                  </a:lnTo>
                  <a:lnTo>
                    <a:pt x="921" y="754"/>
                  </a:lnTo>
                  <a:lnTo>
                    <a:pt x="921" y="817"/>
                  </a:lnTo>
                  <a:lnTo>
                    <a:pt x="942" y="838"/>
                  </a:lnTo>
                  <a:lnTo>
                    <a:pt x="1004" y="838"/>
                  </a:lnTo>
                  <a:lnTo>
                    <a:pt x="1067" y="817"/>
                  </a:lnTo>
                  <a:lnTo>
                    <a:pt x="1130" y="754"/>
                  </a:lnTo>
                  <a:lnTo>
                    <a:pt x="1130" y="670"/>
                  </a:lnTo>
                  <a:lnTo>
                    <a:pt x="1172" y="607"/>
                  </a:lnTo>
                  <a:lnTo>
                    <a:pt x="1151" y="503"/>
                  </a:lnTo>
                  <a:lnTo>
                    <a:pt x="1109" y="314"/>
                  </a:lnTo>
                  <a:lnTo>
                    <a:pt x="1046" y="231"/>
                  </a:lnTo>
                  <a:lnTo>
                    <a:pt x="1046" y="189"/>
                  </a:lnTo>
                  <a:lnTo>
                    <a:pt x="963" y="105"/>
                  </a:lnTo>
                  <a:lnTo>
                    <a:pt x="900" y="21"/>
                  </a:lnTo>
                  <a:lnTo>
                    <a:pt x="900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Google Shape;12267;p43">
              <a:extLst>
                <a:ext uri="{FF2B5EF4-FFF2-40B4-BE49-F238E27FC236}">
                  <a16:creationId xmlns:a16="http://schemas.microsoft.com/office/drawing/2014/main" id="{B8E68418-CA2A-9409-FC57-67808ED6B7A8}"/>
                </a:ext>
              </a:extLst>
            </p:cNvPr>
            <p:cNvSpPr/>
            <p:nvPr/>
          </p:nvSpPr>
          <p:spPr>
            <a:xfrm>
              <a:off x="3945415" y="3159380"/>
              <a:ext cx="13706" cy="15956"/>
            </a:xfrm>
            <a:custGeom>
              <a:avLst/>
              <a:gdLst/>
              <a:ahLst/>
              <a:cxnLst/>
              <a:rect l="l" t="t" r="r" b="b"/>
              <a:pathLst>
                <a:path w="1151" h="1403" extrusionOk="0">
                  <a:moveTo>
                    <a:pt x="649" y="1"/>
                  </a:moveTo>
                  <a:lnTo>
                    <a:pt x="691" y="105"/>
                  </a:lnTo>
                  <a:lnTo>
                    <a:pt x="607" y="293"/>
                  </a:lnTo>
                  <a:lnTo>
                    <a:pt x="607" y="356"/>
                  </a:lnTo>
                  <a:lnTo>
                    <a:pt x="481" y="398"/>
                  </a:lnTo>
                  <a:lnTo>
                    <a:pt x="419" y="356"/>
                  </a:lnTo>
                  <a:lnTo>
                    <a:pt x="398" y="356"/>
                  </a:lnTo>
                  <a:lnTo>
                    <a:pt x="335" y="398"/>
                  </a:lnTo>
                  <a:lnTo>
                    <a:pt x="272" y="356"/>
                  </a:lnTo>
                  <a:lnTo>
                    <a:pt x="209" y="252"/>
                  </a:lnTo>
                  <a:lnTo>
                    <a:pt x="0" y="252"/>
                  </a:lnTo>
                  <a:lnTo>
                    <a:pt x="0" y="314"/>
                  </a:lnTo>
                  <a:lnTo>
                    <a:pt x="63" y="419"/>
                  </a:lnTo>
                  <a:lnTo>
                    <a:pt x="84" y="565"/>
                  </a:lnTo>
                  <a:lnTo>
                    <a:pt x="84" y="712"/>
                  </a:lnTo>
                  <a:lnTo>
                    <a:pt x="188" y="1402"/>
                  </a:lnTo>
                  <a:lnTo>
                    <a:pt x="481" y="1402"/>
                  </a:lnTo>
                  <a:lnTo>
                    <a:pt x="649" y="1340"/>
                  </a:lnTo>
                  <a:lnTo>
                    <a:pt x="753" y="1193"/>
                  </a:lnTo>
                  <a:lnTo>
                    <a:pt x="921" y="1026"/>
                  </a:lnTo>
                  <a:lnTo>
                    <a:pt x="963" y="984"/>
                  </a:lnTo>
                  <a:lnTo>
                    <a:pt x="1046" y="900"/>
                  </a:lnTo>
                  <a:lnTo>
                    <a:pt x="1151" y="796"/>
                  </a:lnTo>
                  <a:lnTo>
                    <a:pt x="1151" y="712"/>
                  </a:lnTo>
                  <a:lnTo>
                    <a:pt x="1130" y="524"/>
                  </a:lnTo>
                  <a:lnTo>
                    <a:pt x="1046" y="524"/>
                  </a:lnTo>
                  <a:lnTo>
                    <a:pt x="1046" y="461"/>
                  </a:lnTo>
                  <a:lnTo>
                    <a:pt x="942" y="419"/>
                  </a:lnTo>
                  <a:lnTo>
                    <a:pt x="942" y="356"/>
                  </a:lnTo>
                  <a:lnTo>
                    <a:pt x="921" y="293"/>
                  </a:lnTo>
                  <a:lnTo>
                    <a:pt x="921" y="252"/>
                  </a:lnTo>
                  <a:lnTo>
                    <a:pt x="921" y="189"/>
                  </a:lnTo>
                  <a:lnTo>
                    <a:pt x="858" y="168"/>
                  </a:lnTo>
                  <a:lnTo>
                    <a:pt x="816" y="63"/>
                  </a:lnTo>
                  <a:lnTo>
                    <a:pt x="753" y="63"/>
                  </a:lnTo>
                  <a:lnTo>
                    <a:pt x="712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Google Shape;12268;p43">
              <a:extLst>
                <a:ext uri="{FF2B5EF4-FFF2-40B4-BE49-F238E27FC236}">
                  <a16:creationId xmlns:a16="http://schemas.microsoft.com/office/drawing/2014/main" id="{BE5B0FAB-789B-4297-7E9E-AC5329A2983E}"/>
                </a:ext>
              </a:extLst>
            </p:cNvPr>
            <p:cNvSpPr/>
            <p:nvPr/>
          </p:nvSpPr>
          <p:spPr>
            <a:xfrm>
              <a:off x="3829055" y="3110126"/>
              <a:ext cx="131316" cy="124222"/>
            </a:xfrm>
            <a:custGeom>
              <a:avLst/>
              <a:gdLst/>
              <a:ahLst/>
              <a:cxnLst/>
              <a:rect l="l" t="t" r="r" b="b"/>
              <a:pathLst>
                <a:path w="11028" h="10923" extrusionOk="0">
                  <a:moveTo>
                    <a:pt x="7701" y="0"/>
                  </a:moveTo>
                  <a:lnTo>
                    <a:pt x="7701" y="42"/>
                  </a:lnTo>
                  <a:lnTo>
                    <a:pt x="7743" y="84"/>
                  </a:lnTo>
                  <a:lnTo>
                    <a:pt x="7659" y="189"/>
                  </a:lnTo>
                  <a:lnTo>
                    <a:pt x="7575" y="189"/>
                  </a:lnTo>
                  <a:lnTo>
                    <a:pt x="7491" y="210"/>
                  </a:lnTo>
                  <a:lnTo>
                    <a:pt x="7366" y="210"/>
                  </a:lnTo>
                  <a:lnTo>
                    <a:pt x="7282" y="251"/>
                  </a:lnTo>
                  <a:lnTo>
                    <a:pt x="7240" y="251"/>
                  </a:lnTo>
                  <a:lnTo>
                    <a:pt x="7219" y="189"/>
                  </a:lnTo>
                  <a:lnTo>
                    <a:pt x="7178" y="189"/>
                  </a:lnTo>
                  <a:lnTo>
                    <a:pt x="7157" y="147"/>
                  </a:lnTo>
                  <a:lnTo>
                    <a:pt x="7073" y="126"/>
                  </a:lnTo>
                  <a:lnTo>
                    <a:pt x="6843" y="230"/>
                  </a:lnTo>
                  <a:lnTo>
                    <a:pt x="6759" y="293"/>
                  </a:lnTo>
                  <a:lnTo>
                    <a:pt x="6717" y="335"/>
                  </a:lnTo>
                  <a:lnTo>
                    <a:pt x="6487" y="356"/>
                  </a:lnTo>
                  <a:lnTo>
                    <a:pt x="6403" y="398"/>
                  </a:lnTo>
                  <a:lnTo>
                    <a:pt x="6320" y="314"/>
                  </a:lnTo>
                  <a:lnTo>
                    <a:pt x="6215" y="293"/>
                  </a:lnTo>
                  <a:lnTo>
                    <a:pt x="6111" y="293"/>
                  </a:lnTo>
                  <a:lnTo>
                    <a:pt x="6027" y="398"/>
                  </a:lnTo>
                  <a:lnTo>
                    <a:pt x="5922" y="502"/>
                  </a:lnTo>
                  <a:lnTo>
                    <a:pt x="5964" y="544"/>
                  </a:lnTo>
                  <a:lnTo>
                    <a:pt x="6006" y="607"/>
                  </a:lnTo>
                  <a:lnTo>
                    <a:pt x="5985" y="649"/>
                  </a:lnTo>
                  <a:lnTo>
                    <a:pt x="5859" y="670"/>
                  </a:lnTo>
                  <a:lnTo>
                    <a:pt x="5797" y="649"/>
                  </a:lnTo>
                  <a:lnTo>
                    <a:pt x="5671" y="628"/>
                  </a:lnTo>
                  <a:lnTo>
                    <a:pt x="5567" y="565"/>
                  </a:lnTo>
                  <a:lnTo>
                    <a:pt x="5483" y="565"/>
                  </a:lnTo>
                  <a:lnTo>
                    <a:pt x="5399" y="628"/>
                  </a:lnTo>
                  <a:lnTo>
                    <a:pt x="5336" y="607"/>
                  </a:lnTo>
                  <a:lnTo>
                    <a:pt x="5190" y="607"/>
                  </a:lnTo>
                  <a:lnTo>
                    <a:pt x="5064" y="523"/>
                  </a:lnTo>
                  <a:lnTo>
                    <a:pt x="4939" y="544"/>
                  </a:lnTo>
                  <a:lnTo>
                    <a:pt x="4918" y="502"/>
                  </a:lnTo>
                  <a:lnTo>
                    <a:pt x="4750" y="356"/>
                  </a:lnTo>
                  <a:lnTo>
                    <a:pt x="4667" y="335"/>
                  </a:lnTo>
                  <a:lnTo>
                    <a:pt x="4499" y="210"/>
                  </a:lnTo>
                  <a:lnTo>
                    <a:pt x="4437" y="189"/>
                  </a:lnTo>
                  <a:lnTo>
                    <a:pt x="4353" y="126"/>
                  </a:lnTo>
                  <a:lnTo>
                    <a:pt x="4290" y="126"/>
                  </a:lnTo>
                  <a:lnTo>
                    <a:pt x="4290" y="189"/>
                  </a:lnTo>
                  <a:lnTo>
                    <a:pt x="4186" y="147"/>
                  </a:lnTo>
                  <a:lnTo>
                    <a:pt x="4102" y="251"/>
                  </a:lnTo>
                  <a:lnTo>
                    <a:pt x="4018" y="251"/>
                  </a:lnTo>
                  <a:lnTo>
                    <a:pt x="3976" y="293"/>
                  </a:lnTo>
                  <a:lnTo>
                    <a:pt x="3976" y="356"/>
                  </a:lnTo>
                  <a:lnTo>
                    <a:pt x="3914" y="440"/>
                  </a:lnTo>
                  <a:lnTo>
                    <a:pt x="3914" y="502"/>
                  </a:lnTo>
                  <a:lnTo>
                    <a:pt x="3872" y="544"/>
                  </a:lnTo>
                  <a:lnTo>
                    <a:pt x="3788" y="544"/>
                  </a:lnTo>
                  <a:lnTo>
                    <a:pt x="3788" y="607"/>
                  </a:lnTo>
                  <a:lnTo>
                    <a:pt x="3893" y="733"/>
                  </a:lnTo>
                  <a:lnTo>
                    <a:pt x="3830" y="774"/>
                  </a:lnTo>
                  <a:lnTo>
                    <a:pt x="3809" y="858"/>
                  </a:lnTo>
                  <a:lnTo>
                    <a:pt x="3809" y="984"/>
                  </a:lnTo>
                  <a:lnTo>
                    <a:pt x="3872" y="1088"/>
                  </a:lnTo>
                  <a:lnTo>
                    <a:pt x="3872" y="1339"/>
                  </a:lnTo>
                  <a:lnTo>
                    <a:pt x="3767" y="1381"/>
                  </a:lnTo>
                  <a:lnTo>
                    <a:pt x="3725" y="1486"/>
                  </a:lnTo>
                  <a:lnTo>
                    <a:pt x="3474" y="1800"/>
                  </a:lnTo>
                  <a:lnTo>
                    <a:pt x="3516" y="2009"/>
                  </a:lnTo>
                  <a:lnTo>
                    <a:pt x="3495" y="2135"/>
                  </a:lnTo>
                  <a:lnTo>
                    <a:pt x="3495" y="2281"/>
                  </a:lnTo>
                  <a:lnTo>
                    <a:pt x="3390" y="2386"/>
                  </a:lnTo>
                  <a:lnTo>
                    <a:pt x="3390" y="2532"/>
                  </a:lnTo>
                  <a:lnTo>
                    <a:pt x="3390" y="2616"/>
                  </a:lnTo>
                  <a:lnTo>
                    <a:pt x="3370" y="2804"/>
                  </a:lnTo>
                  <a:lnTo>
                    <a:pt x="3390" y="2825"/>
                  </a:lnTo>
                  <a:lnTo>
                    <a:pt x="3370" y="2971"/>
                  </a:lnTo>
                  <a:lnTo>
                    <a:pt x="3286" y="3034"/>
                  </a:lnTo>
                  <a:lnTo>
                    <a:pt x="3244" y="3223"/>
                  </a:lnTo>
                  <a:lnTo>
                    <a:pt x="3244" y="3390"/>
                  </a:lnTo>
                  <a:lnTo>
                    <a:pt x="3056" y="3704"/>
                  </a:lnTo>
                  <a:lnTo>
                    <a:pt x="2951" y="3746"/>
                  </a:lnTo>
                  <a:lnTo>
                    <a:pt x="2846" y="3808"/>
                  </a:lnTo>
                  <a:lnTo>
                    <a:pt x="2763" y="3787"/>
                  </a:lnTo>
                  <a:lnTo>
                    <a:pt x="2637" y="3892"/>
                  </a:lnTo>
                  <a:lnTo>
                    <a:pt x="2533" y="4018"/>
                  </a:lnTo>
                  <a:lnTo>
                    <a:pt x="2533" y="4164"/>
                  </a:lnTo>
                  <a:lnTo>
                    <a:pt x="2344" y="4332"/>
                  </a:lnTo>
                  <a:lnTo>
                    <a:pt x="2302" y="4436"/>
                  </a:lnTo>
                  <a:lnTo>
                    <a:pt x="2323" y="4624"/>
                  </a:lnTo>
                  <a:lnTo>
                    <a:pt x="2344" y="4645"/>
                  </a:lnTo>
                  <a:lnTo>
                    <a:pt x="2323" y="4959"/>
                  </a:lnTo>
                  <a:lnTo>
                    <a:pt x="2302" y="5127"/>
                  </a:lnTo>
                  <a:lnTo>
                    <a:pt x="2302" y="5231"/>
                  </a:lnTo>
                  <a:lnTo>
                    <a:pt x="2198" y="5378"/>
                  </a:lnTo>
                  <a:lnTo>
                    <a:pt x="2093" y="5420"/>
                  </a:lnTo>
                  <a:lnTo>
                    <a:pt x="2009" y="5482"/>
                  </a:lnTo>
                  <a:lnTo>
                    <a:pt x="1947" y="5566"/>
                  </a:lnTo>
                  <a:lnTo>
                    <a:pt x="1717" y="5796"/>
                  </a:lnTo>
                  <a:lnTo>
                    <a:pt x="1633" y="5901"/>
                  </a:lnTo>
                  <a:lnTo>
                    <a:pt x="1507" y="5984"/>
                  </a:lnTo>
                  <a:lnTo>
                    <a:pt x="1382" y="5901"/>
                  </a:lnTo>
                  <a:lnTo>
                    <a:pt x="1319" y="5796"/>
                  </a:lnTo>
                  <a:lnTo>
                    <a:pt x="1298" y="5775"/>
                  </a:lnTo>
                  <a:lnTo>
                    <a:pt x="1382" y="5650"/>
                  </a:lnTo>
                  <a:lnTo>
                    <a:pt x="1382" y="5587"/>
                  </a:lnTo>
                  <a:lnTo>
                    <a:pt x="1193" y="5650"/>
                  </a:lnTo>
                  <a:lnTo>
                    <a:pt x="1089" y="5754"/>
                  </a:lnTo>
                  <a:lnTo>
                    <a:pt x="1005" y="5733"/>
                  </a:lnTo>
                  <a:lnTo>
                    <a:pt x="942" y="5754"/>
                  </a:lnTo>
                  <a:lnTo>
                    <a:pt x="942" y="5859"/>
                  </a:lnTo>
                  <a:lnTo>
                    <a:pt x="859" y="5943"/>
                  </a:lnTo>
                  <a:lnTo>
                    <a:pt x="754" y="5943"/>
                  </a:lnTo>
                  <a:lnTo>
                    <a:pt x="754" y="5880"/>
                  </a:lnTo>
                  <a:lnTo>
                    <a:pt x="733" y="5838"/>
                  </a:lnTo>
                  <a:lnTo>
                    <a:pt x="629" y="5880"/>
                  </a:lnTo>
                  <a:lnTo>
                    <a:pt x="566" y="5859"/>
                  </a:lnTo>
                  <a:lnTo>
                    <a:pt x="440" y="5984"/>
                  </a:lnTo>
                  <a:lnTo>
                    <a:pt x="315" y="6089"/>
                  </a:lnTo>
                  <a:lnTo>
                    <a:pt x="252" y="6152"/>
                  </a:lnTo>
                  <a:lnTo>
                    <a:pt x="273" y="6361"/>
                  </a:lnTo>
                  <a:lnTo>
                    <a:pt x="210" y="6424"/>
                  </a:lnTo>
                  <a:lnTo>
                    <a:pt x="105" y="6424"/>
                  </a:lnTo>
                  <a:lnTo>
                    <a:pt x="1" y="6508"/>
                  </a:lnTo>
                  <a:lnTo>
                    <a:pt x="22" y="6570"/>
                  </a:lnTo>
                  <a:lnTo>
                    <a:pt x="210" y="6591"/>
                  </a:lnTo>
                  <a:lnTo>
                    <a:pt x="252" y="6633"/>
                  </a:lnTo>
                  <a:lnTo>
                    <a:pt x="273" y="6633"/>
                  </a:lnTo>
                  <a:lnTo>
                    <a:pt x="273" y="6612"/>
                  </a:lnTo>
                  <a:lnTo>
                    <a:pt x="315" y="6591"/>
                  </a:lnTo>
                  <a:lnTo>
                    <a:pt x="377" y="6591"/>
                  </a:lnTo>
                  <a:lnTo>
                    <a:pt x="482" y="6570"/>
                  </a:lnTo>
                  <a:lnTo>
                    <a:pt x="566" y="6528"/>
                  </a:lnTo>
                  <a:lnTo>
                    <a:pt x="1256" y="6528"/>
                  </a:lnTo>
                  <a:lnTo>
                    <a:pt x="1424" y="6570"/>
                  </a:lnTo>
                  <a:lnTo>
                    <a:pt x="1633" y="6528"/>
                  </a:lnTo>
                  <a:lnTo>
                    <a:pt x="2637" y="6528"/>
                  </a:lnTo>
                  <a:lnTo>
                    <a:pt x="2637" y="6612"/>
                  </a:lnTo>
                  <a:lnTo>
                    <a:pt x="2637" y="6633"/>
                  </a:lnTo>
                  <a:lnTo>
                    <a:pt x="2637" y="6717"/>
                  </a:lnTo>
                  <a:lnTo>
                    <a:pt x="2679" y="6780"/>
                  </a:lnTo>
                  <a:lnTo>
                    <a:pt x="2721" y="6842"/>
                  </a:lnTo>
                  <a:lnTo>
                    <a:pt x="2679" y="6905"/>
                  </a:lnTo>
                  <a:lnTo>
                    <a:pt x="2679" y="6989"/>
                  </a:lnTo>
                  <a:lnTo>
                    <a:pt x="2742" y="7093"/>
                  </a:lnTo>
                  <a:lnTo>
                    <a:pt x="2763" y="7219"/>
                  </a:lnTo>
                  <a:lnTo>
                    <a:pt x="2784" y="7261"/>
                  </a:lnTo>
                  <a:lnTo>
                    <a:pt x="2784" y="7345"/>
                  </a:lnTo>
                  <a:lnTo>
                    <a:pt x="2846" y="7365"/>
                  </a:lnTo>
                  <a:lnTo>
                    <a:pt x="2888" y="7449"/>
                  </a:lnTo>
                  <a:lnTo>
                    <a:pt x="2972" y="7554"/>
                  </a:lnTo>
                  <a:lnTo>
                    <a:pt x="2993" y="7763"/>
                  </a:lnTo>
                  <a:lnTo>
                    <a:pt x="3056" y="7784"/>
                  </a:lnTo>
                  <a:lnTo>
                    <a:pt x="3202" y="7784"/>
                  </a:lnTo>
                  <a:lnTo>
                    <a:pt x="3307" y="7763"/>
                  </a:lnTo>
                  <a:lnTo>
                    <a:pt x="3390" y="7784"/>
                  </a:lnTo>
                  <a:lnTo>
                    <a:pt x="3579" y="7826"/>
                  </a:lnTo>
                  <a:lnTo>
                    <a:pt x="3662" y="7763"/>
                  </a:lnTo>
                  <a:lnTo>
                    <a:pt x="4102" y="7742"/>
                  </a:lnTo>
                  <a:lnTo>
                    <a:pt x="4102" y="7575"/>
                  </a:lnTo>
                  <a:lnTo>
                    <a:pt x="4081" y="7470"/>
                  </a:lnTo>
                  <a:lnTo>
                    <a:pt x="4123" y="7449"/>
                  </a:lnTo>
                  <a:lnTo>
                    <a:pt x="4186" y="7345"/>
                  </a:lnTo>
                  <a:lnTo>
                    <a:pt x="4186" y="7198"/>
                  </a:lnTo>
                  <a:lnTo>
                    <a:pt x="4750" y="7156"/>
                  </a:lnTo>
                  <a:lnTo>
                    <a:pt x="4750" y="7114"/>
                  </a:lnTo>
                  <a:lnTo>
                    <a:pt x="4939" y="7135"/>
                  </a:lnTo>
                  <a:lnTo>
                    <a:pt x="4918" y="7219"/>
                  </a:lnTo>
                  <a:lnTo>
                    <a:pt x="4876" y="7261"/>
                  </a:lnTo>
                  <a:lnTo>
                    <a:pt x="4918" y="7324"/>
                  </a:lnTo>
                  <a:lnTo>
                    <a:pt x="5567" y="7365"/>
                  </a:lnTo>
                  <a:lnTo>
                    <a:pt x="5587" y="7449"/>
                  </a:lnTo>
                  <a:lnTo>
                    <a:pt x="5587" y="7533"/>
                  </a:lnTo>
                  <a:lnTo>
                    <a:pt x="5587" y="7617"/>
                  </a:lnTo>
                  <a:lnTo>
                    <a:pt x="5546" y="7721"/>
                  </a:lnTo>
                  <a:lnTo>
                    <a:pt x="5504" y="7826"/>
                  </a:lnTo>
                  <a:lnTo>
                    <a:pt x="5567" y="7889"/>
                  </a:lnTo>
                  <a:lnTo>
                    <a:pt x="5567" y="7972"/>
                  </a:lnTo>
                  <a:lnTo>
                    <a:pt x="5546" y="8035"/>
                  </a:lnTo>
                  <a:lnTo>
                    <a:pt x="5546" y="8056"/>
                  </a:lnTo>
                  <a:lnTo>
                    <a:pt x="5567" y="8140"/>
                  </a:lnTo>
                  <a:lnTo>
                    <a:pt x="5567" y="8349"/>
                  </a:lnTo>
                  <a:lnTo>
                    <a:pt x="5504" y="8453"/>
                  </a:lnTo>
                  <a:lnTo>
                    <a:pt x="5567" y="8495"/>
                  </a:lnTo>
                  <a:lnTo>
                    <a:pt x="5567" y="8579"/>
                  </a:lnTo>
                  <a:lnTo>
                    <a:pt x="5608" y="8621"/>
                  </a:lnTo>
                  <a:lnTo>
                    <a:pt x="5608" y="8705"/>
                  </a:lnTo>
                  <a:lnTo>
                    <a:pt x="5650" y="8725"/>
                  </a:lnTo>
                  <a:lnTo>
                    <a:pt x="5671" y="8788"/>
                  </a:lnTo>
                  <a:lnTo>
                    <a:pt x="5713" y="8809"/>
                  </a:lnTo>
                  <a:lnTo>
                    <a:pt x="5755" y="8872"/>
                  </a:lnTo>
                  <a:lnTo>
                    <a:pt x="5713" y="8935"/>
                  </a:lnTo>
                  <a:lnTo>
                    <a:pt x="5713" y="9018"/>
                  </a:lnTo>
                  <a:lnTo>
                    <a:pt x="5797" y="9081"/>
                  </a:lnTo>
                  <a:lnTo>
                    <a:pt x="5797" y="9144"/>
                  </a:lnTo>
                  <a:lnTo>
                    <a:pt x="5776" y="9186"/>
                  </a:lnTo>
                  <a:lnTo>
                    <a:pt x="5776" y="9311"/>
                  </a:lnTo>
                  <a:lnTo>
                    <a:pt x="5859" y="9353"/>
                  </a:lnTo>
                  <a:lnTo>
                    <a:pt x="5818" y="9437"/>
                  </a:lnTo>
                  <a:lnTo>
                    <a:pt x="5818" y="9458"/>
                  </a:lnTo>
                  <a:lnTo>
                    <a:pt x="5776" y="9500"/>
                  </a:lnTo>
                  <a:lnTo>
                    <a:pt x="5776" y="9625"/>
                  </a:lnTo>
                  <a:lnTo>
                    <a:pt x="5797" y="9646"/>
                  </a:lnTo>
                  <a:lnTo>
                    <a:pt x="5859" y="9646"/>
                  </a:lnTo>
                  <a:lnTo>
                    <a:pt x="5901" y="9625"/>
                  </a:lnTo>
                  <a:lnTo>
                    <a:pt x="5964" y="9604"/>
                  </a:lnTo>
                  <a:lnTo>
                    <a:pt x="5985" y="9562"/>
                  </a:lnTo>
                  <a:lnTo>
                    <a:pt x="6027" y="9562"/>
                  </a:lnTo>
                  <a:lnTo>
                    <a:pt x="6111" y="9625"/>
                  </a:lnTo>
                  <a:lnTo>
                    <a:pt x="6173" y="9646"/>
                  </a:lnTo>
                  <a:lnTo>
                    <a:pt x="6320" y="9646"/>
                  </a:lnTo>
                  <a:lnTo>
                    <a:pt x="6383" y="9667"/>
                  </a:lnTo>
                  <a:lnTo>
                    <a:pt x="6424" y="9646"/>
                  </a:lnTo>
                  <a:lnTo>
                    <a:pt x="6508" y="9625"/>
                  </a:lnTo>
                  <a:lnTo>
                    <a:pt x="6592" y="9562"/>
                  </a:lnTo>
                  <a:lnTo>
                    <a:pt x="6696" y="9541"/>
                  </a:lnTo>
                  <a:lnTo>
                    <a:pt x="6801" y="9541"/>
                  </a:lnTo>
                  <a:lnTo>
                    <a:pt x="6843" y="9604"/>
                  </a:lnTo>
                  <a:lnTo>
                    <a:pt x="6906" y="9562"/>
                  </a:lnTo>
                  <a:lnTo>
                    <a:pt x="7010" y="9625"/>
                  </a:lnTo>
                  <a:lnTo>
                    <a:pt x="7031" y="9646"/>
                  </a:lnTo>
                  <a:lnTo>
                    <a:pt x="7031" y="9751"/>
                  </a:lnTo>
                  <a:lnTo>
                    <a:pt x="7052" y="9772"/>
                  </a:lnTo>
                  <a:lnTo>
                    <a:pt x="7073" y="9814"/>
                  </a:lnTo>
                  <a:lnTo>
                    <a:pt x="7157" y="9751"/>
                  </a:lnTo>
                  <a:lnTo>
                    <a:pt x="7240" y="9709"/>
                  </a:lnTo>
                  <a:lnTo>
                    <a:pt x="7324" y="9709"/>
                  </a:lnTo>
                  <a:lnTo>
                    <a:pt x="7345" y="9667"/>
                  </a:lnTo>
                  <a:lnTo>
                    <a:pt x="7491" y="9625"/>
                  </a:lnTo>
                  <a:lnTo>
                    <a:pt x="7554" y="9625"/>
                  </a:lnTo>
                  <a:lnTo>
                    <a:pt x="7554" y="9751"/>
                  </a:lnTo>
                  <a:lnTo>
                    <a:pt x="7575" y="9814"/>
                  </a:lnTo>
                  <a:lnTo>
                    <a:pt x="7575" y="9876"/>
                  </a:lnTo>
                  <a:lnTo>
                    <a:pt x="7575" y="9939"/>
                  </a:lnTo>
                  <a:lnTo>
                    <a:pt x="7638" y="9939"/>
                  </a:lnTo>
                  <a:lnTo>
                    <a:pt x="7743" y="9981"/>
                  </a:lnTo>
                  <a:lnTo>
                    <a:pt x="7784" y="9981"/>
                  </a:lnTo>
                  <a:lnTo>
                    <a:pt x="7910" y="10065"/>
                  </a:lnTo>
                  <a:lnTo>
                    <a:pt x="8056" y="10086"/>
                  </a:lnTo>
                  <a:lnTo>
                    <a:pt x="8182" y="10127"/>
                  </a:lnTo>
                  <a:lnTo>
                    <a:pt x="8182" y="10148"/>
                  </a:lnTo>
                  <a:lnTo>
                    <a:pt x="8287" y="10148"/>
                  </a:lnTo>
                  <a:lnTo>
                    <a:pt x="8433" y="10086"/>
                  </a:lnTo>
                  <a:lnTo>
                    <a:pt x="8475" y="10044"/>
                  </a:lnTo>
                  <a:lnTo>
                    <a:pt x="8517" y="9876"/>
                  </a:lnTo>
                  <a:lnTo>
                    <a:pt x="8600" y="9876"/>
                  </a:lnTo>
                  <a:lnTo>
                    <a:pt x="8642" y="9855"/>
                  </a:lnTo>
                  <a:lnTo>
                    <a:pt x="8684" y="9855"/>
                  </a:lnTo>
                  <a:lnTo>
                    <a:pt x="8684" y="10023"/>
                  </a:lnTo>
                  <a:lnTo>
                    <a:pt x="8789" y="10127"/>
                  </a:lnTo>
                  <a:lnTo>
                    <a:pt x="8789" y="10190"/>
                  </a:lnTo>
                  <a:lnTo>
                    <a:pt x="8935" y="10274"/>
                  </a:lnTo>
                  <a:lnTo>
                    <a:pt x="9144" y="10337"/>
                  </a:lnTo>
                  <a:lnTo>
                    <a:pt x="9270" y="10441"/>
                  </a:lnTo>
                  <a:lnTo>
                    <a:pt x="9375" y="10588"/>
                  </a:lnTo>
                  <a:lnTo>
                    <a:pt x="9479" y="10671"/>
                  </a:lnTo>
                  <a:lnTo>
                    <a:pt x="9584" y="10797"/>
                  </a:lnTo>
                  <a:lnTo>
                    <a:pt x="9730" y="10922"/>
                  </a:lnTo>
                  <a:lnTo>
                    <a:pt x="9793" y="10922"/>
                  </a:lnTo>
                  <a:lnTo>
                    <a:pt x="9898" y="10902"/>
                  </a:lnTo>
                  <a:lnTo>
                    <a:pt x="9981" y="10860"/>
                  </a:lnTo>
                  <a:lnTo>
                    <a:pt x="10002" y="10881"/>
                  </a:lnTo>
                  <a:lnTo>
                    <a:pt x="10044" y="10902"/>
                  </a:lnTo>
                  <a:lnTo>
                    <a:pt x="10107" y="10922"/>
                  </a:lnTo>
                  <a:lnTo>
                    <a:pt x="10170" y="10881"/>
                  </a:lnTo>
                  <a:lnTo>
                    <a:pt x="10107" y="10253"/>
                  </a:lnTo>
                  <a:lnTo>
                    <a:pt x="10065" y="10232"/>
                  </a:lnTo>
                  <a:lnTo>
                    <a:pt x="9940" y="10253"/>
                  </a:lnTo>
                  <a:lnTo>
                    <a:pt x="9940" y="10337"/>
                  </a:lnTo>
                  <a:lnTo>
                    <a:pt x="9981" y="10378"/>
                  </a:lnTo>
                  <a:lnTo>
                    <a:pt x="9688" y="10378"/>
                  </a:lnTo>
                  <a:lnTo>
                    <a:pt x="9647" y="10295"/>
                  </a:lnTo>
                  <a:lnTo>
                    <a:pt x="9626" y="10232"/>
                  </a:lnTo>
                  <a:lnTo>
                    <a:pt x="9458" y="10065"/>
                  </a:lnTo>
                  <a:lnTo>
                    <a:pt x="9375" y="9981"/>
                  </a:lnTo>
                  <a:lnTo>
                    <a:pt x="9375" y="9855"/>
                  </a:lnTo>
                  <a:lnTo>
                    <a:pt x="9375" y="9521"/>
                  </a:lnTo>
                  <a:lnTo>
                    <a:pt x="9375" y="9437"/>
                  </a:lnTo>
                  <a:lnTo>
                    <a:pt x="9479" y="9332"/>
                  </a:lnTo>
                  <a:lnTo>
                    <a:pt x="9542" y="9290"/>
                  </a:lnTo>
                  <a:lnTo>
                    <a:pt x="9521" y="9249"/>
                  </a:lnTo>
                  <a:lnTo>
                    <a:pt x="9563" y="9228"/>
                  </a:lnTo>
                  <a:lnTo>
                    <a:pt x="9563" y="9102"/>
                  </a:lnTo>
                  <a:lnTo>
                    <a:pt x="9563" y="9018"/>
                  </a:lnTo>
                  <a:lnTo>
                    <a:pt x="9563" y="8935"/>
                  </a:lnTo>
                  <a:lnTo>
                    <a:pt x="9563" y="8872"/>
                  </a:lnTo>
                  <a:lnTo>
                    <a:pt x="9584" y="8809"/>
                  </a:lnTo>
                  <a:lnTo>
                    <a:pt x="9626" y="8767"/>
                  </a:lnTo>
                  <a:lnTo>
                    <a:pt x="9542" y="8725"/>
                  </a:lnTo>
                  <a:lnTo>
                    <a:pt x="9479" y="8663"/>
                  </a:lnTo>
                  <a:lnTo>
                    <a:pt x="9458" y="8558"/>
                  </a:lnTo>
                  <a:lnTo>
                    <a:pt x="9688" y="8077"/>
                  </a:lnTo>
                  <a:lnTo>
                    <a:pt x="10630" y="7868"/>
                  </a:lnTo>
                  <a:lnTo>
                    <a:pt x="10714" y="7889"/>
                  </a:lnTo>
                  <a:lnTo>
                    <a:pt x="10588" y="7449"/>
                  </a:lnTo>
                  <a:lnTo>
                    <a:pt x="10170" y="6884"/>
                  </a:lnTo>
                  <a:lnTo>
                    <a:pt x="10044" y="6194"/>
                  </a:lnTo>
                  <a:lnTo>
                    <a:pt x="9960" y="5733"/>
                  </a:lnTo>
                  <a:lnTo>
                    <a:pt x="9856" y="5043"/>
                  </a:lnTo>
                  <a:lnTo>
                    <a:pt x="9856" y="4896"/>
                  </a:lnTo>
                  <a:lnTo>
                    <a:pt x="9835" y="4750"/>
                  </a:lnTo>
                  <a:lnTo>
                    <a:pt x="9772" y="4645"/>
                  </a:lnTo>
                  <a:lnTo>
                    <a:pt x="9772" y="4583"/>
                  </a:lnTo>
                  <a:lnTo>
                    <a:pt x="9772" y="4499"/>
                  </a:lnTo>
                  <a:lnTo>
                    <a:pt x="9877" y="4122"/>
                  </a:lnTo>
                  <a:lnTo>
                    <a:pt x="9981" y="3997"/>
                  </a:lnTo>
                  <a:lnTo>
                    <a:pt x="10107" y="3892"/>
                  </a:lnTo>
                  <a:lnTo>
                    <a:pt x="10149" y="3871"/>
                  </a:lnTo>
                  <a:lnTo>
                    <a:pt x="10107" y="3746"/>
                  </a:lnTo>
                  <a:lnTo>
                    <a:pt x="10191" y="3536"/>
                  </a:lnTo>
                  <a:lnTo>
                    <a:pt x="10212" y="3327"/>
                  </a:lnTo>
                  <a:lnTo>
                    <a:pt x="10212" y="3160"/>
                  </a:lnTo>
                  <a:lnTo>
                    <a:pt x="10253" y="3118"/>
                  </a:lnTo>
                  <a:lnTo>
                    <a:pt x="10484" y="2699"/>
                  </a:lnTo>
                  <a:lnTo>
                    <a:pt x="10525" y="2616"/>
                  </a:lnTo>
                  <a:lnTo>
                    <a:pt x="10714" y="2407"/>
                  </a:lnTo>
                  <a:lnTo>
                    <a:pt x="11007" y="2009"/>
                  </a:lnTo>
                  <a:lnTo>
                    <a:pt x="11028" y="1925"/>
                  </a:lnTo>
                  <a:lnTo>
                    <a:pt x="10986" y="1863"/>
                  </a:lnTo>
                  <a:lnTo>
                    <a:pt x="10923" y="1779"/>
                  </a:lnTo>
                  <a:lnTo>
                    <a:pt x="10839" y="1716"/>
                  </a:lnTo>
                  <a:lnTo>
                    <a:pt x="10881" y="1591"/>
                  </a:lnTo>
                  <a:lnTo>
                    <a:pt x="10902" y="1381"/>
                  </a:lnTo>
                  <a:lnTo>
                    <a:pt x="10902" y="1235"/>
                  </a:lnTo>
                  <a:lnTo>
                    <a:pt x="10944" y="1151"/>
                  </a:lnTo>
                  <a:lnTo>
                    <a:pt x="10986" y="1047"/>
                  </a:lnTo>
                  <a:lnTo>
                    <a:pt x="10944" y="1026"/>
                  </a:lnTo>
                  <a:lnTo>
                    <a:pt x="10776" y="1026"/>
                  </a:lnTo>
                  <a:lnTo>
                    <a:pt x="10776" y="942"/>
                  </a:lnTo>
                  <a:lnTo>
                    <a:pt x="10735" y="858"/>
                  </a:lnTo>
                  <a:lnTo>
                    <a:pt x="10693" y="837"/>
                  </a:lnTo>
                  <a:lnTo>
                    <a:pt x="10672" y="733"/>
                  </a:lnTo>
                  <a:lnTo>
                    <a:pt x="10588" y="670"/>
                  </a:lnTo>
                  <a:lnTo>
                    <a:pt x="10463" y="628"/>
                  </a:lnTo>
                  <a:lnTo>
                    <a:pt x="10400" y="565"/>
                  </a:lnTo>
                  <a:lnTo>
                    <a:pt x="10358" y="502"/>
                  </a:lnTo>
                  <a:lnTo>
                    <a:pt x="10274" y="335"/>
                  </a:lnTo>
                  <a:lnTo>
                    <a:pt x="10212" y="314"/>
                  </a:lnTo>
                  <a:lnTo>
                    <a:pt x="10086" y="314"/>
                  </a:lnTo>
                  <a:lnTo>
                    <a:pt x="10044" y="398"/>
                  </a:lnTo>
                  <a:lnTo>
                    <a:pt x="9981" y="440"/>
                  </a:lnTo>
                  <a:lnTo>
                    <a:pt x="9877" y="502"/>
                  </a:lnTo>
                  <a:lnTo>
                    <a:pt x="9835" y="502"/>
                  </a:lnTo>
                  <a:lnTo>
                    <a:pt x="9793" y="440"/>
                  </a:lnTo>
                  <a:lnTo>
                    <a:pt x="9584" y="440"/>
                  </a:lnTo>
                  <a:lnTo>
                    <a:pt x="9521" y="502"/>
                  </a:lnTo>
                  <a:lnTo>
                    <a:pt x="9479" y="544"/>
                  </a:lnTo>
                  <a:lnTo>
                    <a:pt x="9416" y="565"/>
                  </a:lnTo>
                  <a:lnTo>
                    <a:pt x="9312" y="523"/>
                  </a:lnTo>
                  <a:lnTo>
                    <a:pt x="9165" y="440"/>
                  </a:lnTo>
                  <a:lnTo>
                    <a:pt x="9124" y="356"/>
                  </a:lnTo>
                  <a:lnTo>
                    <a:pt x="9040" y="335"/>
                  </a:lnTo>
                  <a:lnTo>
                    <a:pt x="8998" y="293"/>
                  </a:lnTo>
                  <a:lnTo>
                    <a:pt x="8956" y="189"/>
                  </a:lnTo>
                  <a:lnTo>
                    <a:pt x="8935" y="147"/>
                  </a:lnTo>
                  <a:lnTo>
                    <a:pt x="8831" y="105"/>
                  </a:lnTo>
                  <a:lnTo>
                    <a:pt x="8705" y="105"/>
                  </a:lnTo>
                  <a:lnTo>
                    <a:pt x="8517" y="189"/>
                  </a:lnTo>
                  <a:lnTo>
                    <a:pt x="8496" y="147"/>
                  </a:lnTo>
                  <a:lnTo>
                    <a:pt x="8266" y="147"/>
                  </a:lnTo>
                  <a:lnTo>
                    <a:pt x="8182" y="105"/>
                  </a:lnTo>
                  <a:lnTo>
                    <a:pt x="8098" y="84"/>
                  </a:lnTo>
                  <a:lnTo>
                    <a:pt x="8056" y="42"/>
                  </a:lnTo>
                  <a:lnTo>
                    <a:pt x="7868" y="42"/>
                  </a:lnTo>
                  <a:lnTo>
                    <a:pt x="7784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A6CBC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Google Shape;12269;p43">
              <a:extLst>
                <a:ext uri="{FF2B5EF4-FFF2-40B4-BE49-F238E27FC236}">
                  <a16:creationId xmlns:a16="http://schemas.microsoft.com/office/drawing/2014/main" id="{F56E6AF3-34AC-5671-C1AA-628A56C1D613}"/>
                </a:ext>
              </a:extLst>
            </p:cNvPr>
            <p:cNvSpPr/>
            <p:nvPr/>
          </p:nvSpPr>
          <p:spPr>
            <a:xfrm>
              <a:off x="3970326" y="3207451"/>
              <a:ext cx="21934" cy="52837"/>
            </a:xfrm>
            <a:custGeom>
              <a:avLst/>
              <a:gdLst/>
              <a:ahLst/>
              <a:cxnLst/>
              <a:rect l="l" t="t" r="r" b="b"/>
              <a:pathLst>
                <a:path w="1842" h="4646" extrusionOk="0">
                  <a:moveTo>
                    <a:pt x="210" y="0"/>
                  </a:moveTo>
                  <a:lnTo>
                    <a:pt x="189" y="21"/>
                  </a:lnTo>
                  <a:lnTo>
                    <a:pt x="210" y="105"/>
                  </a:lnTo>
                  <a:lnTo>
                    <a:pt x="231" y="126"/>
                  </a:lnTo>
                  <a:lnTo>
                    <a:pt x="273" y="209"/>
                  </a:lnTo>
                  <a:lnTo>
                    <a:pt x="377" y="251"/>
                  </a:lnTo>
                  <a:lnTo>
                    <a:pt x="419" y="272"/>
                  </a:lnTo>
                  <a:lnTo>
                    <a:pt x="419" y="314"/>
                  </a:lnTo>
                  <a:lnTo>
                    <a:pt x="377" y="460"/>
                  </a:lnTo>
                  <a:lnTo>
                    <a:pt x="377" y="523"/>
                  </a:lnTo>
                  <a:lnTo>
                    <a:pt x="482" y="586"/>
                  </a:lnTo>
                  <a:lnTo>
                    <a:pt x="503" y="670"/>
                  </a:lnTo>
                  <a:lnTo>
                    <a:pt x="503" y="795"/>
                  </a:lnTo>
                  <a:lnTo>
                    <a:pt x="482" y="837"/>
                  </a:lnTo>
                  <a:lnTo>
                    <a:pt x="482" y="879"/>
                  </a:lnTo>
                  <a:lnTo>
                    <a:pt x="335" y="1004"/>
                  </a:lnTo>
                  <a:lnTo>
                    <a:pt x="335" y="1088"/>
                  </a:lnTo>
                  <a:lnTo>
                    <a:pt x="377" y="1193"/>
                  </a:lnTo>
                  <a:lnTo>
                    <a:pt x="377" y="1276"/>
                  </a:lnTo>
                  <a:lnTo>
                    <a:pt x="398" y="1360"/>
                  </a:lnTo>
                  <a:lnTo>
                    <a:pt x="335" y="1423"/>
                  </a:lnTo>
                  <a:lnTo>
                    <a:pt x="398" y="1507"/>
                  </a:lnTo>
                  <a:lnTo>
                    <a:pt x="398" y="1590"/>
                  </a:lnTo>
                  <a:lnTo>
                    <a:pt x="335" y="1611"/>
                  </a:lnTo>
                  <a:lnTo>
                    <a:pt x="377" y="1695"/>
                  </a:lnTo>
                  <a:lnTo>
                    <a:pt x="398" y="1737"/>
                  </a:lnTo>
                  <a:lnTo>
                    <a:pt x="440" y="1779"/>
                  </a:lnTo>
                  <a:lnTo>
                    <a:pt x="440" y="1820"/>
                  </a:lnTo>
                  <a:lnTo>
                    <a:pt x="398" y="1820"/>
                  </a:lnTo>
                  <a:lnTo>
                    <a:pt x="377" y="1904"/>
                  </a:lnTo>
                  <a:lnTo>
                    <a:pt x="293" y="1925"/>
                  </a:lnTo>
                  <a:lnTo>
                    <a:pt x="168" y="2030"/>
                  </a:lnTo>
                  <a:lnTo>
                    <a:pt x="126" y="2051"/>
                  </a:lnTo>
                  <a:lnTo>
                    <a:pt x="126" y="2134"/>
                  </a:lnTo>
                  <a:lnTo>
                    <a:pt x="168" y="2197"/>
                  </a:lnTo>
                  <a:lnTo>
                    <a:pt x="126" y="2260"/>
                  </a:lnTo>
                  <a:lnTo>
                    <a:pt x="126" y="2344"/>
                  </a:lnTo>
                  <a:lnTo>
                    <a:pt x="63" y="2448"/>
                  </a:lnTo>
                  <a:lnTo>
                    <a:pt x="1" y="2469"/>
                  </a:lnTo>
                  <a:lnTo>
                    <a:pt x="1" y="2532"/>
                  </a:lnTo>
                  <a:lnTo>
                    <a:pt x="84" y="2636"/>
                  </a:lnTo>
                  <a:lnTo>
                    <a:pt x="126" y="2741"/>
                  </a:lnTo>
                  <a:lnTo>
                    <a:pt x="168" y="2783"/>
                  </a:lnTo>
                  <a:lnTo>
                    <a:pt x="314" y="2762"/>
                  </a:lnTo>
                  <a:lnTo>
                    <a:pt x="335" y="2825"/>
                  </a:lnTo>
                  <a:lnTo>
                    <a:pt x="377" y="2867"/>
                  </a:lnTo>
                  <a:lnTo>
                    <a:pt x="419" y="2929"/>
                  </a:lnTo>
                  <a:lnTo>
                    <a:pt x="419" y="2992"/>
                  </a:lnTo>
                  <a:lnTo>
                    <a:pt x="524" y="3055"/>
                  </a:lnTo>
                  <a:lnTo>
                    <a:pt x="586" y="3034"/>
                  </a:lnTo>
                  <a:lnTo>
                    <a:pt x="628" y="3034"/>
                  </a:lnTo>
                  <a:lnTo>
                    <a:pt x="691" y="2971"/>
                  </a:lnTo>
                  <a:lnTo>
                    <a:pt x="817" y="2971"/>
                  </a:lnTo>
                  <a:lnTo>
                    <a:pt x="963" y="2992"/>
                  </a:lnTo>
                  <a:lnTo>
                    <a:pt x="1026" y="3097"/>
                  </a:lnTo>
                  <a:lnTo>
                    <a:pt x="1026" y="3264"/>
                  </a:lnTo>
                  <a:lnTo>
                    <a:pt x="1005" y="3390"/>
                  </a:lnTo>
                  <a:lnTo>
                    <a:pt x="900" y="3515"/>
                  </a:lnTo>
                  <a:lnTo>
                    <a:pt x="837" y="3662"/>
                  </a:lnTo>
                  <a:lnTo>
                    <a:pt x="796" y="3766"/>
                  </a:lnTo>
                  <a:lnTo>
                    <a:pt x="796" y="3871"/>
                  </a:lnTo>
                  <a:lnTo>
                    <a:pt x="837" y="3996"/>
                  </a:lnTo>
                  <a:lnTo>
                    <a:pt x="837" y="4080"/>
                  </a:lnTo>
                  <a:lnTo>
                    <a:pt x="942" y="4206"/>
                  </a:lnTo>
                  <a:lnTo>
                    <a:pt x="1047" y="4289"/>
                  </a:lnTo>
                  <a:lnTo>
                    <a:pt x="1130" y="4331"/>
                  </a:lnTo>
                  <a:lnTo>
                    <a:pt x="1172" y="4394"/>
                  </a:lnTo>
                  <a:lnTo>
                    <a:pt x="1256" y="4499"/>
                  </a:lnTo>
                  <a:lnTo>
                    <a:pt x="1235" y="4541"/>
                  </a:lnTo>
                  <a:lnTo>
                    <a:pt x="1256" y="4645"/>
                  </a:lnTo>
                  <a:lnTo>
                    <a:pt x="1361" y="4624"/>
                  </a:lnTo>
                  <a:lnTo>
                    <a:pt x="1381" y="4499"/>
                  </a:lnTo>
                  <a:lnTo>
                    <a:pt x="1361" y="4352"/>
                  </a:lnTo>
                  <a:lnTo>
                    <a:pt x="1423" y="4248"/>
                  </a:lnTo>
                  <a:lnTo>
                    <a:pt x="1423" y="4143"/>
                  </a:lnTo>
                  <a:lnTo>
                    <a:pt x="1486" y="3996"/>
                  </a:lnTo>
                  <a:lnTo>
                    <a:pt x="1591" y="3976"/>
                  </a:lnTo>
                  <a:lnTo>
                    <a:pt x="1674" y="3913"/>
                  </a:lnTo>
                  <a:lnTo>
                    <a:pt x="1695" y="3808"/>
                  </a:lnTo>
                  <a:lnTo>
                    <a:pt x="1737" y="3599"/>
                  </a:lnTo>
                  <a:lnTo>
                    <a:pt x="1653" y="3515"/>
                  </a:lnTo>
                  <a:lnTo>
                    <a:pt x="1674" y="3473"/>
                  </a:lnTo>
                  <a:lnTo>
                    <a:pt x="1653" y="3452"/>
                  </a:lnTo>
                  <a:lnTo>
                    <a:pt x="1674" y="3390"/>
                  </a:lnTo>
                  <a:lnTo>
                    <a:pt x="1737" y="3390"/>
                  </a:lnTo>
                  <a:lnTo>
                    <a:pt x="1758" y="3306"/>
                  </a:lnTo>
                  <a:lnTo>
                    <a:pt x="1842" y="3306"/>
                  </a:lnTo>
                  <a:lnTo>
                    <a:pt x="1842" y="3243"/>
                  </a:lnTo>
                  <a:lnTo>
                    <a:pt x="1779" y="3160"/>
                  </a:lnTo>
                  <a:lnTo>
                    <a:pt x="1737" y="3034"/>
                  </a:lnTo>
                  <a:lnTo>
                    <a:pt x="1591" y="2846"/>
                  </a:lnTo>
                  <a:lnTo>
                    <a:pt x="1570" y="2741"/>
                  </a:lnTo>
                  <a:lnTo>
                    <a:pt x="1361" y="2553"/>
                  </a:lnTo>
                  <a:lnTo>
                    <a:pt x="1319" y="2532"/>
                  </a:lnTo>
                  <a:lnTo>
                    <a:pt x="1277" y="2469"/>
                  </a:lnTo>
                  <a:lnTo>
                    <a:pt x="1172" y="2406"/>
                  </a:lnTo>
                  <a:lnTo>
                    <a:pt x="1005" y="2323"/>
                  </a:lnTo>
                  <a:lnTo>
                    <a:pt x="921" y="1779"/>
                  </a:lnTo>
                  <a:lnTo>
                    <a:pt x="942" y="1674"/>
                  </a:lnTo>
                  <a:lnTo>
                    <a:pt x="942" y="691"/>
                  </a:lnTo>
                  <a:lnTo>
                    <a:pt x="921" y="481"/>
                  </a:lnTo>
                  <a:lnTo>
                    <a:pt x="733" y="272"/>
                  </a:lnTo>
                  <a:lnTo>
                    <a:pt x="649" y="209"/>
                  </a:lnTo>
                  <a:lnTo>
                    <a:pt x="607" y="167"/>
                  </a:lnTo>
                  <a:lnTo>
                    <a:pt x="586" y="126"/>
                  </a:lnTo>
                  <a:lnTo>
                    <a:pt x="524" y="126"/>
                  </a:lnTo>
                  <a:lnTo>
                    <a:pt x="503" y="105"/>
                  </a:lnTo>
                  <a:lnTo>
                    <a:pt x="419" y="63"/>
                  </a:lnTo>
                  <a:lnTo>
                    <a:pt x="398" y="105"/>
                  </a:lnTo>
                  <a:lnTo>
                    <a:pt x="377" y="63"/>
                  </a:lnTo>
                  <a:lnTo>
                    <a:pt x="293" y="63"/>
                  </a:lnTo>
                  <a:lnTo>
                    <a:pt x="27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Google Shape;12270;p43">
              <a:extLst>
                <a:ext uri="{FF2B5EF4-FFF2-40B4-BE49-F238E27FC236}">
                  <a16:creationId xmlns:a16="http://schemas.microsoft.com/office/drawing/2014/main" id="{7CBAB7DE-57E2-EB5F-C274-E2120FD3E994}"/>
                </a:ext>
              </a:extLst>
            </p:cNvPr>
            <p:cNvSpPr/>
            <p:nvPr/>
          </p:nvSpPr>
          <p:spPr>
            <a:xfrm>
              <a:off x="3895082" y="3199593"/>
              <a:ext cx="81233" cy="66165"/>
            </a:xfrm>
            <a:custGeom>
              <a:avLst/>
              <a:gdLst/>
              <a:ahLst/>
              <a:cxnLst/>
              <a:rect l="l" t="t" r="r" b="b"/>
              <a:pathLst>
                <a:path w="6822" h="5818" extrusionOk="0">
                  <a:moveTo>
                    <a:pt x="5085" y="1"/>
                  </a:moveTo>
                  <a:lnTo>
                    <a:pt x="4143" y="210"/>
                  </a:lnTo>
                  <a:lnTo>
                    <a:pt x="3913" y="691"/>
                  </a:lnTo>
                  <a:lnTo>
                    <a:pt x="3934" y="796"/>
                  </a:lnTo>
                  <a:lnTo>
                    <a:pt x="3997" y="858"/>
                  </a:lnTo>
                  <a:lnTo>
                    <a:pt x="4081" y="900"/>
                  </a:lnTo>
                  <a:lnTo>
                    <a:pt x="4039" y="942"/>
                  </a:lnTo>
                  <a:lnTo>
                    <a:pt x="4018" y="1005"/>
                  </a:lnTo>
                  <a:lnTo>
                    <a:pt x="4018" y="1068"/>
                  </a:lnTo>
                  <a:lnTo>
                    <a:pt x="4018" y="1151"/>
                  </a:lnTo>
                  <a:lnTo>
                    <a:pt x="4018" y="1235"/>
                  </a:lnTo>
                  <a:lnTo>
                    <a:pt x="4018" y="1361"/>
                  </a:lnTo>
                  <a:lnTo>
                    <a:pt x="3976" y="1382"/>
                  </a:lnTo>
                  <a:lnTo>
                    <a:pt x="3997" y="1423"/>
                  </a:lnTo>
                  <a:lnTo>
                    <a:pt x="3934" y="1465"/>
                  </a:lnTo>
                  <a:lnTo>
                    <a:pt x="3830" y="1570"/>
                  </a:lnTo>
                  <a:lnTo>
                    <a:pt x="3830" y="1654"/>
                  </a:lnTo>
                  <a:lnTo>
                    <a:pt x="3830" y="1988"/>
                  </a:lnTo>
                  <a:lnTo>
                    <a:pt x="3830" y="2114"/>
                  </a:lnTo>
                  <a:lnTo>
                    <a:pt x="3913" y="2198"/>
                  </a:lnTo>
                  <a:lnTo>
                    <a:pt x="4081" y="2365"/>
                  </a:lnTo>
                  <a:lnTo>
                    <a:pt x="4102" y="2428"/>
                  </a:lnTo>
                  <a:lnTo>
                    <a:pt x="4143" y="2511"/>
                  </a:lnTo>
                  <a:lnTo>
                    <a:pt x="4436" y="2511"/>
                  </a:lnTo>
                  <a:lnTo>
                    <a:pt x="4395" y="2470"/>
                  </a:lnTo>
                  <a:lnTo>
                    <a:pt x="4395" y="2386"/>
                  </a:lnTo>
                  <a:lnTo>
                    <a:pt x="4520" y="2365"/>
                  </a:lnTo>
                  <a:lnTo>
                    <a:pt x="4562" y="2386"/>
                  </a:lnTo>
                  <a:lnTo>
                    <a:pt x="4625" y="3014"/>
                  </a:lnTo>
                  <a:lnTo>
                    <a:pt x="4562" y="3055"/>
                  </a:lnTo>
                  <a:lnTo>
                    <a:pt x="4499" y="3035"/>
                  </a:lnTo>
                  <a:lnTo>
                    <a:pt x="4457" y="3014"/>
                  </a:lnTo>
                  <a:lnTo>
                    <a:pt x="4436" y="2993"/>
                  </a:lnTo>
                  <a:lnTo>
                    <a:pt x="4353" y="3035"/>
                  </a:lnTo>
                  <a:lnTo>
                    <a:pt x="4248" y="3055"/>
                  </a:lnTo>
                  <a:lnTo>
                    <a:pt x="4185" y="3055"/>
                  </a:lnTo>
                  <a:lnTo>
                    <a:pt x="4039" y="2930"/>
                  </a:lnTo>
                  <a:lnTo>
                    <a:pt x="3934" y="2804"/>
                  </a:lnTo>
                  <a:lnTo>
                    <a:pt x="3830" y="2721"/>
                  </a:lnTo>
                  <a:lnTo>
                    <a:pt x="3725" y="2574"/>
                  </a:lnTo>
                  <a:lnTo>
                    <a:pt x="3599" y="2470"/>
                  </a:lnTo>
                  <a:lnTo>
                    <a:pt x="3390" y="2407"/>
                  </a:lnTo>
                  <a:lnTo>
                    <a:pt x="3244" y="2323"/>
                  </a:lnTo>
                  <a:lnTo>
                    <a:pt x="3244" y="2260"/>
                  </a:lnTo>
                  <a:lnTo>
                    <a:pt x="3139" y="2156"/>
                  </a:lnTo>
                  <a:lnTo>
                    <a:pt x="3139" y="1988"/>
                  </a:lnTo>
                  <a:lnTo>
                    <a:pt x="3097" y="1988"/>
                  </a:lnTo>
                  <a:lnTo>
                    <a:pt x="3055" y="2009"/>
                  </a:lnTo>
                  <a:lnTo>
                    <a:pt x="2972" y="2009"/>
                  </a:lnTo>
                  <a:lnTo>
                    <a:pt x="2930" y="2177"/>
                  </a:lnTo>
                  <a:lnTo>
                    <a:pt x="2888" y="2219"/>
                  </a:lnTo>
                  <a:lnTo>
                    <a:pt x="2742" y="2281"/>
                  </a:lnTo>
                  <a:lnTo>
                    <a:pt x="2637" y="2281"/>
                  </a:lnTo>
                  <a:lnTo>
                    <a:pt x="2637" y="2260"/>
                  </a:lnTo>
                  <a:lnTo>
                    <a:pt x="2511" y="2219"/>
                  </a:lnTo>
                  <a:lnTo>
                    <a:pt x="2365" y="2198"/>
                  </a:lnTo>
                  <a:lnTo>
                    <a:pt x="2239" y="2114"/>
                  </a:lnTo>
                  <a:lnTo>
                    <a:pt x="2198" y="2114"/>
                  </a:lnTo>
                  <a:lnTo>
                    <a:pt x="2093" y="2072"/>
                  </a:lnTo>
                  <a:lnTo>
                    <a:pt x="2030" y="2072"/>
                  </a:lnTo>
                  <a:lnTo>
                    <a:pt x="2030" y="2009"/>
                  </a:lnTo>
                  <a:lnTo>
                    <a:pt x="2030" y="1947"/>
                  </a:lnTo>
                  <a:lnTo>
                    <a:pt x="2009" y="1884"/>
                  </a:lnTo>
                  <a:lnTo>
                    <a:pt x="2009" y="1758"/>
                  </a:lnTo>
                  <a:lnTo>
                    <a:pt x="1946" y="1758"/>
                  </a:lnTo>
                  <a:lnTo>
                    <a:pt x="1800" y="1800"/>
                  </a:lnTo>
                  <a:lnTo>
                    <a:pt x="1779" y="1842"/>
                  </a:lnTo>
                  <a:lnTo>
                    <a:pt x="1695" y="1842"/>
                  </a:lnTo>
                  <a:lnTo>
                    <a:pt x="1612" y="1884"/>
                  </a:lnTo>
                  <a:lnTo>
                    <a:pt x="1528" y="1947"/>
                  </a:lnTo>
                  <a:lnTo>
                    <a:pt x="1507" y="1905"/>
                  </a:lnTo>
                  <a:lnTo>
                    <a:pt x="1486" y="1884"/>
                  </a:lnTo>
                  <a:lnTo>
                    <a:pt x="1486" y="1779"/>
                  </a:lnTo>
                  <a:lnTo>
                    <a:pt x="1465" y="1758"/>
                  </a:lnTo>
                  <a:lnTo>
                    <a:pt x="1361" y="1695"/>
                  </a:lnTo>
                  <a:lnTo>
                    <a:pt x="1298" y="1737"/>
                  </a:lnTo>
                  <a:lnTo>
                    <a:pt x="1256" y="1674"/>
                  </a:lnTo>
                  <a:lnTo>
                    <a:pt x="1256" y="1695"/>
                  </a:lnTo>
                  <a:lnTo>
                    <a:pt x="1256" y="1758"/>
                  </a:lnTo>
                  <a:lnTo>
                    <a:pt x="1214" y="1779"/>
                  </a:lnTo>
                  <a:lnTo>
                    <a:pt x="1256" y="2009"/>
                  </a:lnTo>
                  <a:lnTo>
                    <a:pt x="1256" y="2219"/>
                  </a:lnTo>
                  <a:lnTo>
                    <a:pt x="1256" y="2365"/>
                  </a:lnTo>
                  <a:lnTo>
                    <a:pt x="1298" y="2470"/>
                  </a:lnTo>
                  <a:lnTo>
                    <a:pt x="1298" y="2574"/>
                  </a:lnTo>
                  <a:lnTo>
                    <a:pt x="1277" y="2616"/>
                  </a:lnTo>
                  <a:lnTo>
                    <a:pt x="1256" y="2783"/>
                  </a:lnTo>
                  <a:lnTo>
                    <a:pt x="1277" y="2825"/>
                  </a:lnTo>
                  <a:lnTo>
                    <a:pt x="42" y="2825"/>
                  </a:lnTo>
                  <a:lnTo>
                    <a:pt x="1" y="4771"/>
                  </a:lnTo>
                  <a:lnTo>
                    <a:pt x="22" y="4813"/>
                  </a:lnTo>
                  <a:lnTo>
                    <a:pt x="105" y="4918"/>
                  </a:lnTo>
                  <a:lnTo>
                    <a:pt x="168" y="4980"/>
                  </a:lnTo>
                  <a:lnTo>
                    <a:pt x="231" y="5043"/>
                  </a:lnTo>
                  <a:lnTo>
                    <a:pt x="314" y="5085"/>
                  </a:lnTo>
                  <a:lnTo>
                    <a:pt x="419" y="5232"/>
                  </a:lnTo>
                  <a:lnTo>
                    <a:pt x="482" y="5294"/>
                  </a:lnTo>
                  <a:lnTo>
                    <a:pt x="566" y="5336"/>
                  </a:lnTo>
                  <a:lnTo>
                    <a:pt x="628" y="5399"/>
                  </a:lnTo>
                  <a:lnTo>
                    <a:pt x="670" y="5462"/>
                  </a:lnTo>
                  <a:lnTo>
                    <a:pt x="754" y="5504"/>
                  </a:lnTo>
                  <a:lnTo>
                    <a:pt x="775" y="5608"/>
                  </a:lnTo>
                  <a:lnTo>
                    <a:pt x="1319" y="5462"/>
                  </a:lnTo>
                  <a:lnTo>
                    <a:pt x="1402" y="5504"/>
                  </a:lnTo>
                  <a:lnTo>
                    <a:pt x="1528" y="5441"/>
                  </a:lnTo>
                  <a:lnTo>
                    <a:pt x="1570" y="5462"/>
                  </a:lnTo>
                  <a:lnTo>
                    <a:pt x="1591" y="5462"/>
                  </a:lnTo>
                  <a:lnTo>
                    <a:pt x="1612" y="5504"/>
                  </a:lnTo>
                  <a:lnTo>
                    <a:pt x="1695" y="5504"/>
                  </a:lnTo>
                  <a:lnTo>
                    <a:pt x="1716" y="5524"/>
                  </a:lnTo>
                  <a:lnTo>
                    <a:pt x="1737" y="5524"/>
                  </a:lnTo>
                  <a:lnTo>
                    <a:pt x="1821" y="5629"/>
                  </a:lnTo>
                  <a:lnTo>
                    <a:pt x="1884" y="5629"/>
                  </a:lnTo>
                  <a:lnTo>
                    <a:pt x="2030" y="5650"/>
                  </a:lnTo>
                  <a:lnTo>
                    <a:pt x="2135" y="5713"/>
                  </a:lnTo>
                  <a:lnTo>
                    <a:pt x="2198" y="5755"/>
                  </a:lnTo>
                  <a:lnTo>
                    <a:pt x="2239" y="5755"/>
                  </a:lnTo>
                  <a:lnTo>
                    <a:pt x="2344" y="5671"/>
                  </a:lnTo>
                  <a:lnTo>
                    <a:pt x="2470" y="5650"/>
                  </a:lnTo>
                  <a:lnTo>
                    <a:pt x="2532" y="5713"/>
                  </a:lnTo>
                  <a:lnTo>
                    <a:pt x="2553" y="5671"/>
                  </a:lnTo>
                  <a:lnTo>
                    <a:pt x="2574" y="5713"/>
                  </a:lnTo>
                  <a:lnTo>
                    <a:pt x="2616" y="5713"/>
                  </a:lnTo>
                  <a:lnTo>
                    <a:pt x="2679" y="5776"/>
                  </a:lnTo>
                  <a:lnTo>
                    <a:pt x="2783" y="5817"/>
                  </a:lnTo>
                  <a:lnTo>
                    <a:pt x="2951" y="5755"/>
                  </a:lnTo>
                  <a:lnTo>
                    <a:pt x="3139" y="5504"/>
                  </a:lnTo>
                  <a:lnTo>
                    <a:pt x="3390" y="5190"/>
                  </a:lnTo>
                  <a:lnTo>
                    <a:pt x="3725" y="4939"/>
                  </a:lnTo>
                  <a:lnTo>
                    <a:pt x="3934" y="4876"/>
                  </a:lnTo>
                  <a:lnTo>
                    <a:pt x="3976" y="4834"/>
                  </a:lnTo>
                  <a:lnTo>
                    <a:pt x="3997" y="4792"/>
                  </a:lnTo>
                  <a:lnTo>
                    <a:pt x="3976" y="4729"/>
                  </a:lnTo>
                  <a:lnTo>
                    <a:pt x="3997" y="4687"/>
                  </a:lnTo>
                  <a:lnTo>
                    <a:pt x="3997" y="4625"/>
                  </a:lnTo>
                  <a:lnTo>
                    <a:pt x="4039" y="4562"/>
                  </a:lnTo>
                  <a:lnTo>
                    <a:pt x="4206" y="4457"/>
                  </a:lnTo>
                  <a:lnTo>
                    <a:pt x="4290" y="4415"/>
                  </a:lnTo>
                  <a:lnTo>
                    <a:pt x="4353" y="4395"/>
                  </a:lnTo>
                  <a:lnTo>
                    <a:pt x="4499" y="4353"/>
                  </a:lnTo>
                  <a:lnTo>
                    <a:pt x="4646" y="4353"/>
                  </a:lnTo>
                  <a:lnTo>
                    <a:pt x="4667" y="4395"/>
                  </a:lnTo>
                  <a:lnTo>
                    <a:pt x="4729" y="4374"/>
                  </a:lnTo>
                  <a:lnTo>
                    <a:pt x="4855" y="4395"/>
                  </a:lnTo>
                  <a:lnTo>
                    <a:pt x="4918" y="4395"/>
                  </a:lnTo>
                  <a:lnTo>
                    <a:pt x="4918" y="4311"/>
                  </a:lnTo>
                  <a:lnTo>
                    <a:pt x="4876" y="4143"/>
                  </a:lnTo>
                  <a:lnTo>
                    <a:pt x="4918" y="4060"/>
                  </a:lnTo>
                  <a:lnTo>
                    <a:pt x="5148" y="3955"/>
                  </a:lnTo>
                  <a:lnTo>
                    <a:pt x="5273" y="3955"/>
                  </a:lnTo>
                  <a:lnTo>
                    <a:pt x="5859" y="3683"/>
                  </a:lnTo>
                  <a:lnTo>
                    <a:pt x="5964" y="3662"/>
                  </a:lnTo>
                  <a:lnTo>
                    <a:pt x="6299" y="3537"/>
                  </a:lnTo>
                  <a:lnTo>
                    <a:pt x="6487" y="3474"/>
                  </a:lnTo>
                  <a:lnTo>
                    <a:pt x="6445" y="3432"/>
                  </a:lnTo>
                  <a:lnTo>
                    <a:pt x="6403" y="3327"/>
                  </a:lnTo>
                  <a:lnTo>
                    <a:pt x="6320" y="3223"/>
                  </a:lnTo>
                  <a:lnTo>
                    <a:pt x="6320" y="3160"/>
                  </a:lnTo>
                  <a:lnTo>
                    <a:pt x="6382" y="3139"/>
                  </a:lnTo>
                  <a:lnTo>
                    <a:pt x="6445" y="3035"/>
                  </a:lnTo>
                  <a:lnTo>
                    <a:pt x="6445" y="2951"/>
                  </a:lnTo>
                  <a:lnTo>
                    <a:pt x="6487" y="2888"/>
                  </a:lnTo>
                  <a:lnTo>
                    <a:pt x="6445" y="2825"/>
                  </a:lnTo>
                  <a:lnTo>
                    <a:pt x="6445" y="2742"/>
                  </a:lnTo>
                  <a:lnTo>
                    <a:pt x="6487" y="2721"/>
                  </a:lnTo>
                  <a:lnTo>
                    <a:pt x="6612" y="2616"/>
                  </a:lnTo>
                  <a:lnTo>
                    <a:pt x="6696" y="2595"/>
                  </a:lnTo>
                  <a:lnTo>
                    <a:pt x="6717" y="2511"/>
                  </a:lnTo>
                  <a:lnTo>
                    <a:pt x="6759" y="2511"/>
                  </a:lnTo>
                  <a:lnTo>
                    <a:pt x="6759" y="2470"/>
                  </a:lnTo>
                  <a:lnTo>
                    <a:pt x="6717" y="2428"/>
                  </a:lnTo>
                  <a:lnTo>
                    <a:pt x="6696" y="2386"/>
                  </a:lnTo>
                  <a:lnTo>
                    <a:pt x="6654" y="2302"/>
                  </a:lnTo>
                  <a:lnTo>
                    <a:pt x="6717" y="2281"/>
                  </a:lnTo>
                  <a:lnTo>
                    <a:pt x="6717" y="2198"/>
                  </a:lnTo>
                  <a:lnTo>
                    <a:pt x="6654" y="2114"/>
                  </a:lnTo>
                  <a:lnTo>
                    <a:pt x="6717" y="2051"/>
                  </a:lnTo>
                  <a:lnTo>
                    <a:pt x="6696" y="1967"/>
                  </a:lnTo>
                  <a:lnTo>
                    <a:pt x="6696" y="1884"/>
                  </a:lnTo>
                  <a:lnTo>
                    <a:pt x="6654" y="1779"/>
                  </a:lnTo>
                  <a:lnTo>
                    <a:pt x="6654" y="1695"/>
                  </a:lnTo>
                  <a:lnTo>
                    <a:pt x="6801" y="1570"/>
                  </a:lnTo>
                  <a:lnTo>
                    <a:pt x="6801" y="1528"/>
                  </a:lnTo>
                  <a:lnTo>
                    <a:pt x="6822" y="1486"/>
                  </a:lnTo>
                  <a:lnTo>
                    <a:pt x="6822" y="1361"/>
                  </a:lnTo>
                  <a:lnTo>
                    <a:pt x="6801" y="1277"/>
                  </a:lnTo>
                  <a:lnTo>
                    <a:pt x="6696" y="1214"/>
                  </a:lnTo>
                  <a:lnTo>
                    <a:pt x="6696" y="1151"/>
                  </a:lnTo>
                  <a:lnTo>
                    <a:pt x="6738" y="1005"/>
                  </a:lnTo>
                  <a:lnTo>
                    <a:pt x="6738" y="963"/>
                  </a:lnTo>
                  <a:lnTo>
                    <a:pt x="6696" y="942"/>
                  </a:lnTo>
                  <a:lnTo>
                    <a:pt x="6592" y="900"/>
                  </a:lnTo>
                  <a:lnTo>
                    <a:pt x="6550" y="817"/>
                  </a:lnTo>
                  <a:lnTo>
                    <a:pt x="6529" y="796"/>
                  </a:lnTo>
                  <a:lnTo>
                    <a:pt x="6508" y="712"/>
                  </a:lnTo>
                  <a:lnTo>
                    <a:pt x="6508" y="691"/>
                  </a:lnTo>
                  <a:lnTo>
                    <a:pt x="6445" y="691"/>
                  </a:lnTo>
                  <a:lnTo>
                    <a:pt x="6340" y="586"/>
                  </a:lnTo>
                  <a:lnTo>
                    <a:pt x="6299" y="503"/>
                  </a:lnTo>
                  <a:lnTo>
                    <a:pt x="6236" y="482"/>
                  </a:lnTo>
                  <a:lnTo>
                    <a:pt x="6194" y="419"/>
                  </a:lnTo>
                  <a:lnTo>
                    <a:pt x="6110" y="419"/>
                  </a:lnTo>
                  <a:lnTo>
                    <a:pt x="5859" y="335"/>
                  </a:lnTo>
                  <a:lnTo>
                    <a:pt x="5755" y="335"/>
                  </a:lnTo>
                  <a:lnTo>
                    <a:pt x="5671" y="273"/>
                  </a:lnTo>
                  <a:lnTo>
                    <a:pt x="5671" y="210"/>
                  </a:lnTo>
                  <a:lnTo>
                    <a:pt x="5587" y="168"/>
                  </a:lnTo>
                  <a:lnTo>
                    <a:pt x="5545" y="168"/>
                  </a:lnTo>
                  <a:lnTo>
                    <a:pt x="5441" y="126"/>
                  </a:lnTo>
                  <a:lnTo>
                    <a:pt x="5357" y="126"/>
                  </a:lnTo>
                  <a:lnTo>
                    <a:pt x="5169" y="22"/>
                  </a:lnTo>
                  <a:lnTo>
                    <a:pt x="508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Google Shape;12271;p43">
              <a:extLst>
                <a:ext uri="{FF2B5EF4-FFF2-40B4-BE49-F238E27FC236}">
                  <a16:creationId xmlns:a16="http://schemas.microsoft.com/office/drawing/2014/main" id="{A54AD592-0F7C-D514-BEF7-E9D0DAFC5A48}"/>
                </a:ext>
              </a:extLst>
            </p:cNvPr>
            <p:cNvSpPr/>
            <p:nvPr/>
          </p:nvSpPr>
          <p:spPr>
            <a:xfrm>
              <a:off x="3824328" y="3184365"/>
              <a:ext cx="86210" cy="81393"/>
            </a:xfrm>
            <a:custGeom>
              <a:avLst/>
              <a:gdLst/>
              <a:ahLst/>
              <a:cxnLst/>
              <a:rect l="l" t="t" r="r" b="b"/>
              <a:pathLst>
                <a:path w="7240" h="7157" extrusionOk="0">
                  <a:moveTo>
                    <a:pt x="963" y="0"/>
                  </a:moveTo>
                  <a:lnTo>
                    <a:pt x="879" y="42"/>
                  </a:lnTo>
                  <a:lnTo>
                    <a:pt x="774" y="63"/>
                  </a:lnTo>
                  <a:lnTo>
                    <a:pt x="712" y="63"/>
                  </a:lnTo>
                  <a:lnTo>
                    <a:pt x="670" y="84"/>
                  </a:lnTo>
                  <a:lnTo>
                    <a:pt x="670" y="105"/>
                  </a:lnTo>
                  <a:lnTo>
                    <a:pt x="649" y="105"/>
                  </a:lnTo>
                  <a:lnTo>
                    <a:pt x="502" y="189"/>
                  </a:lnTo>
                  <a:lnTo>
                    <a:pt x="544" y="273"/>
                  </a:lnTo>
                  <a:lnTo>
                    <a:pt x="544" y="356"/>
                  </a:lnTo>
                  <a:lnTo>
                    <a:pt x="858" y="712"/>
                  </a:lnTo>
                  <a:lnTo>
                    <a:pt x="879" y="1151"/>
                  </a:lnTo>
                  <a:lnTo>
                    <a:pt x="1046" y="1402"/>
                  </a:lnTo>
                  <a:lnTo>
                    <a:pt x="1026" y="1633"/>
                  </a:lnTo>
                  <a:lnTo>
                    <a:pt x="837" y="1863"/>
                  </a:lnTo>
                  <a:lnTo>
                    <a:pt x="942" y="1925"/>
                  </a:lnTo>
                  <a:lnTo>
                    <a:pt x="942" y="2135"/>
                  </a:lnTo>
                  <a:lnTo>
                    <a:pt x="1046" y="2260"/>
                  </a:lnTo>
                  <a:lnTo>
                    <a:pt x="1046" y="2407"/>
                  </a:lnTo>
                  <a:lnTo>
                    <a:pt x="1256" y="2783"/>
                  </a:lnTo>
                  <a:lnTo>
                    <a:pt x="1256" y="2867"/>
                  </a:lnTo>
                  <a:lnTo>
                    <a:pt x="1339" y="2972"/>
                  </a:lnTo>
                  <a:lnTo>
                    <a:pt x="1339" y="3453"/>
                  </a:lnTo>
                  <a:lnTo>
                    <a:pt x="1088" y="3871"/>
                  </a:lnTo>
                  <a:lnTo>
                    <a:pt x="1026" y="3871"/>
                  </a:lnTo>
                  <a:lnTo>
                    <a:pt x="754" y="4081"/>
                  </a:lnTo>
                  <a:lnTo>
                    <a:pt x="754" y="4227"/>
                  </a:lnTo>
                  <a:lnTo>
                    <a:pt x="440" y="4499"/>
                  </a:lnTo>
                  <a:lnTo>
                    <a:pt x="440" y="4687"/>
                  </a:lnTo>
                  <a:lnTo>
                    <a:pt x="398" y="4750"/>
                  </a:lnTo>
                  <a:lnTo>
                    <a:pt x="398" y="5210"/>
                  </a:lnTo>
                  <a:lnTo>
                    <a:pt x="230" y="5399"/>
                  </a:lnTo>
                  <a:lnTo>
                    <a:pt x="210" y="5608"/>
                  </a:lnTo>
                  <a:lnTo>
                    <a:pt x="42" y="5796"/>
                  </a:lnTo>
                  <a:lnTo>
                    <a:pt x="42" y="6006"/>
                  </a:lnTo>
                  <a:lnTo>
                    <a:pt x="21" y="6173"/>
                  </a:lnTo>
                  <a:lnTo>
                    <a:pt x="21" y="6466"/>
                  </a:lnTo>
                  <a:lnTo>
                    <a:pt x="0" y="6654"/>
                  </a:lnTo>
                  <a:lnTo>
                    <a:pt x="21" y="6696"/>
                  </a:lnTo>
                  <a:lnTo>
                    <a:pt x="105" y="6738"/>
                  </a:lnTo>
                  <a:lnTo>
                    <a:pt x="126" y="6759"/>
                  </a:lnTo>
                  <a:lnTo>
                    <a:pt x="189" y="6738"/>
                  </a:lnTo>
                  <a:lnTo>
                    <a:pt x="210" y="6654"/>
                  </a:lnTo>
                  <a:lnTo>
                    <a:pt x="398" y="6654"/>
                  </a:lnTo>
                  <a:lnTo>
                    <a:pt x="461" y="6696"/>
                  </a:lnTo>
                  <a:lnTo>
                    <a:pt x="523" y="6675"/>
                  </a:lnTo>
                  <a:lnTo>
                    <a:pt x="523" y="6591"/>
                  </a:lnTo>
                  <a:lnTo>
                    <a:pt x="712" y="6466"/>
                  </a:lnTo>
                  <a:lnTo>
                    <a:pt x="754" y="6466"/>
                  </a:lnTo>
                  <a:lnTo>
                    <a:pt x="858" y="6529"/>
                  </a:lnTo>
                  <a:lnTo>
                    <a:pt x="879" y="6529"/>
                  </a:lnTo>
                  <a:lnTo>
                    <a:pt x="921" y="6487"/>
                  </a:lnTo>
                  <a:lnTo>
                    <a:pt x="963" y="6466"/>
                  </a:lnTo>
                  <a:lnTo>
                    <a:pt x="1046" y="6529"/>
                  </a:lnTo>
                  <a:lnTo>
                    <a:pt x="1046" y="6550"/>
                  </a:lnTo>
                  <a:lnTo>
                    <a:pt x="1130" y="6571"/>
                  </a:lnTo>
                  <a:lnTo>
                    <a:pt x="1088" y="6633"/>
                  </a:lnTo>
                  <a:lnTo>
                    <a:pt x="1151" y="6654"/>
                  </a:lnTo>
                  <a:lnTo>
                    <a:pt x="1256" y="6759"/>
                  </a:lnTo>
                  <a:lnTo>
                    <a:pt x="1381" y="6801"/>
                  </a:lnTo>
                  <a:lnTo>
                    <a:pt x="1486" y="6759"/>
                  </a:lnTo>
                  <a:lnTo>
                    <a:pt x="1507" y="6759"/>
                  </a:lnTo>
                  <a:lnTo>
                    <a:pt x="1590" y="6696"/>
                  </a:lnTo>
                  <a:lnTo>
                    <a:pt x="1653" y="6696"/>
                  </a:lnTo>
                  <a:lnTo>
                    <a:pt x="1674" y="6738"/>
                  </a:lnTo>
                  <a:lnTo>
                    <a:pt x="3850" y="6738"/>
                  </a:lnTo>
                  <a:lnTo>
                    <a:pt x="3871" y="6759"/>
                  </a:lnTo>
                  <a:lnTo>
                    <a:pt x="3913" y="6863"/>
                  </a:lnTo>
                  <a:lnTo>
                    <a:pt x="3976" y="6905"/>
                  </a:lnTo>
                  <a:lnTo>
                    <a:pt x="4101" y="6968"/>
                  </a:lnTo>
                  <a:lnTo>
                    <a:pt x="4206" y="6989"/>
                  </a:lnTo>
                  <a:lnTo>
                    <a:pt x="4311" y="6968"/>
                  </a:lnTo>
                  <a:lnTo>
                    <a:pt x="4373" y="6989"/>
                  </a:lnTo>
                  <a:lnTo>
                    <a:pt x="4394" y="7052"/>
                  </a:lnTo>
                  <a:lnTo>
                    <a:pt x="4478" y="7073"/>
                  </a:lnTo>
                  <a:lnTo>
                    <a:pt x="4541" y="7010"/>
                  </a:lnTo>
                  <a:lnTo>
                    <a:pt x="4645" y="6989"/>
                  </a:lnTo>
                  <a:lnTo>
                    <a:pt x="4792" y="7010"/>
                  </a:lnTo>
                  <a:lnTo>
                    <a:pt x="4855" y="7010"/>
                  </a:lnTo>
                  <a:lnTo>
                    <a:pt x="4896" y="6947"/>
                  </a:lnTo>
                  <a:lnTo>
                    <a:pt x="4917" y="6968"/>
                  </a:lnTo>
                  <a:lnTo>
                    <a:pt x="4959" y="6968"/>
                  </a:lnTo>
                  <a:lnTo>
                    <a:pt x="5106" y="7094"/>
                  </a:lnTo>
                  <a:lnTo>
                    <a:pt x="5210" y="7115"/>
                  </a:lnTo>
                  <a:lnTo>
                    <a:pt x="5357" y="7115"/>
                  </a:lnTo>
                  <a:lnTo>
                    <a:pt x="5357" y="7073"/>
                  </a:lnTo>
                  <a:lnTo>
                    <a:pt x="5440" y="7052"/>
                  </a:lnTo>
                  <a:lnTo>
                    <a:pt x="5482" y="7073"/>
                  </a:lnTo>
                  <a:lnTo>
                    <a:pt x="5545" y="7094"/>
                  </a:lnTo>
                  <a:lnTo>
                    <a:pt x="5587" y="7073"/>
                  </a:lnTo>
                  <a:lnTo>
                    <a:pt x="5629" y="7115"/>
                  </a:lnTo>
                  <a:lnTo>
                    <a:pt x="5671" y="7115"/>
                  </a:lnTo>
                  <a:lnTo>
                    <a:pt x="5692" y="7156"/>
                  </a:lnTo>
                  <a:lnTo>
                    <a:pt x="5838" y="7156"/>
                  </a:lnTo>
                  <a:lnTo>
                    <a:pt x="6717" y="6947"/>
                  </a:lnTo>
                  <a:lnTo>
                    <a:pt x="6696" y="6843"/>
                  </a:lnTo>
                  <a:lnTo>
                    <a:pt x="6612" y="6801"/>
                  </a:lnTo>
                  <a:lnTo>
                    <a:pt x="6570" y="6738"/>
                  </a:lnTo>
                  <a:lnTo>
                    <a:pt x="6508" y="6675"/>
                  </a:lnTo>
                  <a:lnTo>
                    <a:pt x="6424" y="6633"/>
                  </a:lnTo>
                  <a:lnTo>
                    <a:pt x="6361" y="6571"/>
                  </a:lnTo>
                  <a:lnTo>
                    <a:pt x="6256" y="6424"/>
                  </a:lnTo>
                  <a:lnTo>
                    <a:pt x="6173" y="6382"/>
                  </a:lnTo>
                  <a:lnTo>
                    <a:pt x="6110" y="6319"/>
                  </a:lnTo>
                  <a:lnTo>
                    <a:pt x="6047" y="6257"/>
                  </a:lnTo>
                  <a:lnTo>
                    <a:pt x="5964" y="6152"/>
                  </a:lnTo>
                  <a:lnTo>
                    <a:pt x="5943" y="6110"/>
                  </a:lnTo>
                  <a:lnTo>
                    <a:pt x="5984" y="4164"/>
                  </a:lnTo>
                  <a:lnTo>
                    <a:pt x="7219" y="4164"/>
                  </a:lnTo>
                  <a:lnTo>
                    <a:pt x="7198" y="4122"/>
                  </a:lnTo>
                  <a:lnTo>
                    <a:pt x="7219" y="3955"/>
                  </a:lnTo>
                  <a:lnTo>
                    <a:pt x="7240" y="3913"/>
                  </a:lnTo>
                  <a:lnTo>
                    <a:pt x="7240" y="3809"/>
                  </a:lnTo>
                  <a:lnTo>
                    <a:pt x="7198" y="3704"/>
                  </a:lnTo>
                  <a:lnTo>
                    <a:pt x="7198" y="3558"/>
                  </a:lnTo>
                  <a:lnTo>
                    <a:pt x="7198" y="3348"/>
                  </a:lnTo>
                  <a:lnTo>
                    <a:pt x="7156" y="3118"/>
                  </a:lnTo>
                  <a:lnTo>
                    <a:pt x="7198" y="3097"/>
                  </a:lnTo>
                  <a:lnTo>
                    <a:pt x="7198" y="3034"/>
                  </a:lnTo>
                  <a:lnTo>
                    <a:pt x="7198" y="3013"/>
                  </a:lnTo>
                  <a:lnTo>
                    <a:pt x="7093" y="3013"/>
                  </a:lnTo>
                  <a:lnTo>
                    <a:pt x="6989" y="3034"/>
                  </a:lnTo>
                  <a:lnTo>
                    <a:pt x="6905" y="3097"/>
                  </a:lnTo>
                  <a:lnTo>
                    <a:pt x="6821" y="3118"/>
                  </a:lnTo>
                  <a:lnTo>
                    <a:pt x="6780" y="3139"/>
                  </a:lnTo>
                  <a:lnTo>
                    <a:pt x="6717" y="3118"/>
                  </a:lnTo>
                  <a:lnTo>
                    <a:pt x="6570" y="3118"/>
                  </a:lnTo>
                  <a:lnTo>
                    <a:pt x="6508" y="3097"/>
                  </a:lnTo>
                  <a:lnTo>
                    <a:pt x="6424" y="3034"/>
                  </a:lnTo>
                  <a:lnTo>
                    <a:pt x="6382" y="3034"/>
                  </a:lnTo>
                  <a:lnTo>
                    <a:pt x="6361" y="3076"/>
                  </a:lnTo>
                  <a:lnTo>
                    <a:pt x="6298" y="3097"/>
                  </a:lnTo>
                  <a:lnTo>
                    <a:pt x="6256" y="3118"/>
                  </a:lnTo>
                  <a:lnTo>
                    <a:pt x="6194" y="3118"/>
                  </a:lnTo>
                  <a:lnTo>
                    <a:pt x="6173" y="3097"/>
                  </a:lnTo>
                  <a:lnTo>
                    <a:pt x="6173" y="2972"/>
                  </a:lnTo>
                  <a:lnTo>
                    <a:pt x="6215" y="2930"/>
                  </a:lnTo>
                  <a:lnTo>
                    <a:pt x="6215" y="2909"/>
                  </a:lnTo>
                  <a:lnTo>
                    <a:pt x="6256" y="2825"/>
                  </a:lnTo>
                  <a:lnTo>
                    <a:pt x="6173" y="2783"/>
                  </a:lnTo>
                  <a:lnTo>
                    <a:pt x="6173" y="2658"/>
                  </a:lnTo>
                  <a:lnTo>
                    <a:pt x="6194" y="2616"/>
                  </a:lnTo>
                  <a:lnTo>
                    <a:pt x="6194" y="2553"/>
                  </a:lnTo>
                  <a:lnTo>
                    <a:pt x="6110" y="2490"/>
                  </a:lnTo>
                  <a:lnTo>
                    <a:pt x="6110" y="2407"/>
                  </a:lnTo>
                  <a:lnTo>
                    <a:pt x="6152" y="2344"/>
                  </a:lnTo>
                  <a:lnTo>
                    <a:pt x="6110" y="2281"/>
                  </a:lnTo>
                  <a:lnTo>
                    <a:pt x="6068" y="2260"/>
                  </a:lnTo>
                  <a:lnTo>
                    <a:pt x="6047" y="2197"/>
                  </a:lnTo>
                  <a:lnTo>
                    <a:pt x="6005" y="2177"/>
                  </a:lnTo>
                  <a:lnTo>
                    <a:pt x="6005" y="2093"/>
                  </a:lnTo>
                  <a:lnTo>
                    <a:pt x="5964" y="2051"/>
                  </a:lnTo>
                  <a:lnTo>
                    <a:pt x="5964" y="1967"/>
                  </a:lnTo>
                  <a:lnTo>
                    <a:pt x="5901" y="1925"/>
                  </a:lnTo>
                  <a:lnTo>
                    <a:pt x="5964" y="1821"/>
                  </a:lnTo>
                  <a:lnTo>
                    <a:pt x="5964" y="1612"/>
                  </a:lnTo>
                  <a:lnTo>
                    <a:pt x="5943" y="1528"/>
                  </a:lnTo>
                  <a:lnTo>
                    <a:pt x="5943" y="1507"/>
                  </a:lnTo>
                  <a:lnTo>
                    <a:pt x="5964" y="1444"/>
                  </a:lnTo>
                  <a:lnTo>
                    <a:pt x="5964" y="1361"/>
                  </a:lnTo>
                  <a:lnTo>
                    <a:pt x="5901" y="1298"/>
                  </a:lnTo>
                  <a:lnTo>
                    <a:pt x="5943" y="1193"/>
                  </a:lnTo>
                  <a:lnTo>
                    <a:pt x="5984" y="1089"/>
                  </a:lnTo>
                  <a:lnTo>
                    <a:pt x="5984" y="1005"/>
                  </a:lnTo>
                  <a:lnTo>
                    <a:pt x="5984" y="921"/>
                  </a:lnTo>
                  <a:lnTo>
                    <a:pt x="5964" y="837"/>
                  </a:lnTo>
                  <a:lnTo>
                    <a:pt x="5315" y="796"/>
                  </a:lnTo>
                  <a:lnTo>
                    <a:pt x="5273" y="733"/>
                  </a:lnTo>
                  <a:lnTo>
                    <a:pt x="5315" y="691"/>
                  </a:lnTo>
                  <a:lnTo>
                    <a:pt x="5336" y="607"/>
                  </a:lnTo>
                  <a:lnTo>
                    <a:pt x="5147" y="586"/>
                  </a:lnTo>
                  <a:lnTo>
                    <a:pt x="5147" y="628"/>
                  </a:lnTo>
                  <a:lnTo>
                    <a:pt x="4583" y="670"/>
                  </a:lnTo>
                  <a:lnTo>
                    <a:pt x="4583" y="817"/>
                  </a:lnTo>
                  <a:lnTo>
                    <a:pt x="4520" y="921"/>
                  </a:lnTo>
                  <a:lnTo>
                    <a:pt x="4478" y="942"/>
                  </a:lnTo>
                  <a:lnTo>
                    <a:pt x="4499" y="1047"/>
                  </a:lnTo>
                  <a:lnTo>
                    <a:pt x="4499" y="1214"/>
                  </a:lnTo>
                  <a:lnTo>
                    <a:pt x="4059" y="1235"/>
                  </a:lnTo>
                  <a:lnTo>
                    <a:pt x="3976" y="1298"/>
                  </a:lnTo>
                  <a:lnTo>
                    <a:pt x="3787" y="1256"/>
                  </a:lnTo>
                  <a:lnTo>
                    <a:pt x="3704" y="1235"/>
                  </a:lnTo>
                  <a:lnTo>
                    <a:pt x="3599" y="1256"/>
                  </a:lnTo>
                  <a:lnTo>
                    <a:pt x="3453" y="1256"/>
                  </a:lnTo>
                  <a:lnTo>
                    <a:pt x="3390" y="1235"/>
                  </a:lnTo>
                  <a:lnTo>
                    <a:pt x="3369" y="1026"/>
                  </a:lnTo>
                  <a:lnTo>
                    <a:pt x="3285" y="921"/>
                  </a:lnTo>
                  <a:lnTo>
                    <a:pt x="3243" y="837"/>
                  </a:lnTo>
                  <a:lnTo>
                    <a:pt x="3181" y="817"/>
                  </a:lnTo>
                  <a:lnTo>
                    <a:pt x="3181" y="733"/>
                  </a:lnTo>
                  <a:lnTo>
                    <a:pt x="3160" y="691"/>
                  </a:lnTo>
                  <a:lnTo>
                    <a:pt x="3139" y="565"/>
                  </a:lnTo>
                  <a:lnTo>
                    <a:pt x="3076" y="461"/>
                  </a:lnTo>
                  <a:lnTo>
                    <a:pt x="3076" y="377"/>
                  </a:lnTo>
                  <a:lnTo>
                    <a:pt x="3118" y="314"/>
                  </a:lnTo>
                  <a:lnTo>
                    <a:pt x="3076" y="252"/>
                  </a:lnTo>
                  <a:lnTo>
                    <a:pt x="3034" y="189"/>
                  </a:lnTo>
                  <a:lnTo>
                    <a:pt x="3034" y="105"/>
                  </a:lnTo>
                  <a:lnTo>
                    <a:pt x="3034" y="84"/>
                  </a:lnTo>
                  <a:lnTo>
                    <a:pt x="3034" y="0"/>
                  </a:lnTo>
                  <a:lnTo>
                    <a:pt x="2030" y="0"/>
                  </a:lnTo>
                  <a:lnTo>
                    <a:pt x="1821" y="42"/>
                  </a:lnTo>
                  <a:lnTo>
                    <a:pt x="16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Google Shape;12272;p43">
              <a:extLst>
                <a:ext uri="{FF2B5EF4-FFF2-40B4-BE49-F238E27FC236}">
                  <a16:creationId xmlns:a16="http://schemas.microsoft.com/office/drawing/2014/main" id="{F3CE4AF2-72AA-1A04-692D-C36204BC32F3}"/>
                </a:ext>
              </a:extLst>
            </p:cNvPr>
            <p:cNvSpPr/>
            <p:nvPr/>
          </p:nvSpPr>
          <p:spPr>
            <a:xfrm>
              <a:off x="3916754" y="3249086"/>
              <a:ext cx="53834" cy="46889"/>
            </a:xfrm>
            <a:custGeom>
              <a:avLst/>
              <a:gdLst/>
              <a:ahLst/>
              <a:cxnLst/>
              <a:rect l="l" t="t" r="r" b="b"/>
              <a:pathLst>
                <a:path w="4521" h="4123" extrusionOk="0">
                  <a:moveTo>
                    <a:pt x="2679" y="1"/>
                  </a:moveTo>
                  <a:lnTo>
                    <a:pt x="2533" y="43"/>
                  </a:lnTo>
                  <a:lnTo>
                    <a:pt x="2470" y="63"/>
                  </a:lnTo>
                  <a:lnTo>
                    <a:pt x="2386" y="105"/>
                  </a:lnTo>
                  <a:lnTo>
                    <a:pt x="2219" y="210"/>
                  </a:lnTo>
                  <a:lnTo>
                    <a:pt x="2177" y="273"/>
                  </a:lnTo>
                  <a:lnTo>
                    <a:pt x="2177" y="335"/>
                  </a:lnTo>
                  <a:lnTo>
                    <a:pt x="2156" y="377"/>
                  </a:lnTo>
                  <a:lnTo>
                    <a:pt x="2177" y="440"/>
                  </a:lnTo>
                  <a:lnTo>
                    <a:pt x="2156" y="482"/>
                  </a:lnTo>
                  <a:lnTo>
                    <a:pt x="2114" y="524"/>
                  </a:lnTo>
                  <a:lnTo>
                    <a:pt x="1905" y="587"/>
                  </a:lnTo>
                  <a:lnTo>
                    <a:pt x="1570" y="838"/>
                  </a:lnTo>
                  <a:lnTo>
                    <a:pt x="1319" y="1152"/>
                  </a:lnTo>
                  <a:lnTo>
                    <a:pt x="1131" y="1403"/>
                  </a:lnTo>
                  <a:lnTo>
                    <a:pt x="963" y="1465"/>
                  </a:lnTo>
                  <a:lnTo>
                    <a:pt x="859" y="1424"/>
                  </a:lnTo>
                  <a:lnTo>
                    <a:pt x="796" y="1361"/>
                  </a:lnTo>
                  <a:lnTo>
                    <a:pt x="754" y="1361"/>
                  </a:lnTo>
                  <a:lnTo>
                    <a:pt x="733" y="1319"/>
                  </a:lnTo>
                  <a:lnTo>
                    <a:pt x="712" y="1361"/>
                  </a:lnTo>
                  <a:lnTo>
                    <a:pt x="650" y="1298"/>
                  </a:lnTo>
                  <a:lnTo>
                    <a:pt x="524" y="1319"/>
                  </a:lnTo>
                  <a:lnTo>
                    <a:pt x="419" y="1403"/>
                  </a:lnTo>
                  <a:lnTo>
                    <a:pt x="378" y="1403"/>
                  </a:lnTo>
                  <a:lnTo>
                    <a:pt x="315" y="1361"/>
                  </a:lnTo>
                  <a:lnTo>
                    <a:pt x="210" y="1298"/>
                  </a:lnTo>
                  <a:lnTo>
                    <a:pt x="64" y="1277"/>
                  </a:lnTo>
                  <a:lnTo>
                    <a:pt x="1" y="1277"/>
                  </a:lnTo>
                  <a:lnTo>
                    <a:pt x="22" y="1319"/>
                  </a:lnTo>
                  <a:lnTo>
                    <a:pt x="22" y="1382"/>
                  </a:lnTo>
                  <a:lnTo>
                    <a:pt x="22" y="1424"/>
                  </a:lnTo>
                  <a:lnTo>
                    <a:pt x="22" y="1486"/>
                  </a:lnTo>
                  <a:lnTo>
                    <a:pt x="106" y="1570"/>
                  </a:lnTo>
                  <a:lnTo>
                    <a:pt x="168" y="1591"/>
                  </a:lnTo>
                  <a:lnTo>
                    <a:pt x="231" y="1633"/>
                  </a:lnTo>
                  <a:lnTo>
                    <a:pt x="294" y="1716"/>
                  </a:lnTo>
                  <a:lnTo>
                    <a:pt x="294" y="1779"/>
                  </a:lnTo>
                  <a:lnTo>
                    <a:pt x="315" y="1800"/>
                  </a:lnTo>
                  <a:lnTo>
                    <a:pt x="378" y="1884"/>
                  </a:lnTo>
                  <a:lnTo>
                    <a:pt x="398" y="1988"/>
                  </a:lnTo>
                  <a:lnTo>
                    <a:pt x="440" y="2030"/>
                  </a:lnTo>
                  <a:lnTo>
                    <a:pt x="503" y="2114"/>
                  </a:lnTo>
                  <a:lnTo>
                    <a:pt x="545" y="2156"/>
                  </a:lnTo>
                  <a:lnTo>
                    <a:pt x="587" y="2156"/>
                  </a:lnTo>
                  <a:lnTo>
                    <a:pt x="629" y="2240"/>
                  </a:lnTo>
                  <a:lnTo>
                    <a:pt x="796" y="2512"/>
                  </a:lnTo>
                  <a:lnTo>
                    <a:pt x="901" y="2574"/>
                  </a:lnTo>
                  <a:lnTo>
                    <a:pt x="1005" y="2637"/>
                  </a:lnTo>
                  <a:lnTo>
                    <a:pt x="1047" y="2679"/>
                  </a:lnTo>
                  <a:lnTo>
                    <a:pt x="1131" y="2742"/>
                  </a:lnTo>
                  <a:lnTo>
                    <a:pt x="1131" y="2763"/>
                  </a:lnTo>
                  <a:lnTo>
                    <a:pt x="1131" y="2825"/>
                  </a:lnTo>
                  <a:lnTo>
                    <a:pt x="1152" y="2867"/>
                  </a:lnTo>
                  <a:lnTo>
                    <a:pt x="1256" y="2888"/>
                  </a:lnTo>
                  <a:lnTo>
                    <a:pt x="1340" y="2972"/>
                  </a:lnTo>
                  <a:lnTo>
                    <a:pt x="1319" y="3056"/>
                  </a:lnTo>
                  <a:lnTo>
                    <a:pt x="1340" y="3181"/>
                  </a:lnTo>
                  <a:lnTo>
                    <a:pt x="1340" y="3265"/>
                  </a:lnTo>
                  <a:lnTo>
                    <a:pt x="1382" y="3369"/>
                  </a:lnTo>
                  <a:lnTo>
                    <a:pt x="1487" y="3453"/>
                  </a:lnTo>
                  <a:lnTo>
                    <a:pt x="1549" y="3558"/>
                  </a:lnTo>
                  <a:lnTo>
                    <a:pt x="1675" y="3579"/>
                  </a:lnTo>
                  <a:lnTo>
                    <a:pt x="1759" y="3558"/>
                  </a:lnTo>
                  <a:lnTo>
                    <a:pt x="1884" y="3600"/>
                  </a:lnTo>
                  <a:lnTo>
                    <a:pt x="1968" y="3600"/>
                  </a:lnTo>
                  <a:lnTo>
                    <a:pt x="2093" y="3683"/>
                  </a:lnTo>
                  <a:lnTo>
                    <a:pt x="2156" y="3683"/>
                  </a:lnTo>
                  <a:lnTo>
                    <a:pt x="2198" y="3725"/>
                  </a:lnTo>
                  <a:lnTo>
                    <a:pt x="2198" y="3788"/>
                  </a:lnTo>
                  <a:lnTo>
                    <a:pt x="2261" y="3830"/>
                  </a:lnTo>
                  <a:lnTo>
                    <a:pt x="2303" y="3893"/>
                  </a:lnTo>
                  <a:lnTo>
                    <a:pt x="2491" y="3872"/>
                  </a:lnTo>
                  <a:lnTo>
                    <a:pt x="2616" y="3893"/>
                  </a:lnTo>
                  <a:lnTo>
                    <a:pt x="2679" y="3976"/>
                  </a:lnTo>
                  <a:lnTo>
                    <a:pt x="2742" y="3976"/>
                  </a:lnTo>
                  <a:lnTo>
                    <a:pt x="2888" y="4018"/>
                  </a:lnTo>
                  <a:lnTo>
                    <a:pt x="2909" y="4039"/>
                  </a:lnTo>
                  <a:lnTo>
                    <a:pt x="3014" y="4018"/>
                  </a:lnTo>
                  <a:lnTo>
                    <a:pt x="3160" y="3997"/>
                  </a:lnTo>
                  <a:lnTo>
                    <a:pt x="3349" y="4039"/>
                  </a:lnTo>
                  <a:lnTo>
                    <a:pt x="3453" y="4123"/>
                  </a:lnTo>
                  <a:lnTo>
                    <a:pt x="4081" y="3474"/>
                  </a:lnTo>
                  <a:lnTo>
                    <a:pt x="4081" y="3286"/>
                  </a:lnTo>
                  <a:lnTo>
                    <a:pt x="4102" y="3202"/>
                  </a:lnTo>
                  <a:lnTo>
                    <a:pt x="4144" y="3056"/>
                  </a:lnTo>
                  <a:lnTo>
                    <a:pt x="4165" y="2972"/>
                  </a:lnTo>
                  <a:lnTo>
                    <a:pt x="4144" y="2867"/>
                  </a:lnTo>
                  <a:lnTo>
                    <a:pt x="4165" y="2784"/>
                  </a:lnTo>
                  <a:lnTo>
                    <a:pt x="4248" y="2784"/>
                  </a:lnTo>
                  <a:lnTo>
                    <a:pt x="4269" y="2742"/>
                  </a:lnTo>
                  <a:lnTo>
                    <a:pt x="4374" y="2637"/>
                  </a:lnTo>
                  <a:lnTo>
                    <a:pt x="4458" y="2532"/>
                  </a:lnTo>
                  <a:lnTo>
                    <a:pt x="4416" y="2449"/>
                  </a:lnTo>
                  <a:lnTo>
                    <a:pt x="4374" y="2407"/>
                  </a:lnTo>
                  <a:lnTo>
                    <a:pt x="4374" y="2302"/>
                  </a:lnTo>
                  <a:lnTo>
                    <a:pt x="4416" y="2240"/>
                  </a:lnTo>
                  <a:lnTo>
                    <a:pt x="4395" y="2135"/>
                  </a:lnTo>
                  <a:lnTo>
                    <a:pt x="4290" y="2051"/>
                  </a:lnTo>
                  <a:lnTo>
                    <a:pt x="4290" y="2009"/>
                  </a:lnTo>
                  <a:lnTo>
                    <a:pt x="4374" y="1988"/>
                  </a:lnTo>
                  <a:lnTo>
                    <a:pt x="4374" y="1842"/>
                  </a:lnTo>
                  <a:lnTo>
                    <a:pt x="4374" y="1737"/>
                  </a:lnTo>
                  <a:lnTo>
                    <a:pt x="4479" y="1696"/>
                  </a:lnTo>
                  <a:lnTo>
                    <a:pt x="4500" y="1612"/>
                  </a:lnTo>
                  <a:lnTo>
                    <a:pt x="4416" y="1612"/>
                  </a:lnTo>
                  <a:lnTo>
                    <a:pt x="4374" y="1570"/>
                  </a:lnTo>
                  <a:lnTo>
                    <a:pt x="4416" y="1465"/>
                  </a:lnTo>
                  <a:lnTo>
                    <a:pt x="4458" y="1298"/>
                  </a:lnTo>
                  <a:lnTo>
                    <a:pt x="4500" y="1214"/>
                  </a:lnTo>
                  <a:lnTo>
                    <a:pt x="4500" y="1152"/>
                  </a:lnTo>
                  <a:lnTo>
                    <a:pt x="4479" y="1068"/>
                  </a:lnTo>
                  <a:lnTo>
                    <a:pt x="4500" y="984"/>
                  </a:lnTo>
                  <a:lnTo>
                    <a:pt x="4479" y="900"/>
                  </a:lnTo>
                  <a:lnTo>
                    <a:pt x="4520" y="796"/>
                  </a:lnTo>
                  <a:lnTo>
                    <a:pt x="4520" y="733"/>
                  </a:lnTo>
                  <a:lnTo>
                    <a:pt x="4395" y="691"/>
                  </a:lnTo>
                  <a:lnTo>
                    <a:pt x="4353" y="628"/>
                  </a:lnTo>
                  <a:lnTo>
                    <a:pt x="4248" y="545"/>
                  </a:lnTo>
                  <a:lnTo>
                    <a:pt x="4060" y="545"/>
                  </a:lnTo>
                  <a:lnTo>
                    <a:pt x="3956" y="524"/>
                  </a:lnTo>
                  <a:lnTo>
                    <a:pt x="3851" y="377"/>
                  </a:lnTo>
                  <a:lnTo>
                    <a:pt x="3683" y="273"/>
                  </a:lnTo>
                  <a:lnTo>
                    <a:pt x="3537" y="252"/>
                  </a:lnTo>
                  <a:lnTo>
                    <a:pt x="3474" y="315"/>
                  </a:lnTo>
                  <a:lnTo>
                    <a:pt x="3432" y="335"/>
                  </a:lnTo>
                  <a:lnTo>
                    <a:pt x="3411" y="252"/>
                  </a:lnTo>
                  <a:lnTo>
                    <a:pt x="3328" y="252"/>
                  </a:lnTo>
                  <a:lnTo>
                    <a:pt x="3119" y="231"/>
                  </a:lnTo>
                  <a:lnTo>
                    <a:pt x="3098" y="43"/>
                  </a:lnTo>
                  <a:lnTo>
                    <a:pt x="3035" y="43"/>
                  </a:lnTo>
                  <a:lnTo>
                    <a:pt x="2909" y="22"/>
                  </a:lnTo>
                  <a:lnTo>
                    <a:pt x="2847" y="43"/>
                  </a:lnTo>
                  <a:lnTo>
                    <a:pt x="282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Google Shape;12273;p43">
              <a:extLst>
                <a:ext uri="{FF2B5EF4-FFF2-40B4-BE49-F238E27FC236}">
                  <a16:creationId xmlns:a16="http://schemas.microsoft.com/office/drawing/2014/main" id="{C33082AE-99D8-798B-9669-68295D4EDB34}"/>
                </a:ext>
              </a:extLst>
            </p:cNvPr>
            <p:cNvSpPr/>
            <p:nvPr/>
          </p:nvSpPr>
          <p:spPr>
            <a:xfrm>
              <a:off x="3879638" y="3263609"/>
              <a:ext cx="64539" cy="61639"/>
            </a:xfrm>
            <a:custGeom>
              <a:avLst/>
              <a:gdLst/>
              <a:ahLst/>
              <a:cxnLst/>
              <a:rect l="l" t="t" r="r" b="b"/>
              <a:pathLst>
                <a:path w="5420" h="5420" extrusionOk="0">
                  <a:moveTo>
                    <a:pt x="3118" y="0"/>
                  </a:moveTo>
                  <a:lnTo>
                    <a:pt x="3013" y="21"/>
                  </a:lnTo>
                  <a:lnTo>
                    <a:pt x="2825" y="105"/>
                  </a:lnTo>
                  <a:lnTo>
                    <a:pt x="2762" y="147"/>
                  </a:lnTo>
                  <a:lnTo>
                    <a:pt x="2679" y="126"/>
                  </a:lnTo>
                  <a:lnTo>
                    <a:pt x="2658" y="105"/>
                  </a:lnTo>
                  <a:lnTo>
                    <a:pt x="2511" y="105"/>
                  </a:lnTo>
                  <a:lnTo>
                    <a:pt x="2407" y="230"/>
                  </a:lnTo>
                  <a:lnTo>
                    <a:pt x="2281" y="356"/>
                  </a:lnTo>
                  <a:lnTo>
                    <a:pt x="2093" y="502"/>
                  </a:lnTo>
                  <a:lnTo>
                    <a:pt x="2051" y="502"/>
                  </a:lnTo>
                  <a:lnTo>
                    <a:pt x="2072" y="419"/>
                  </a:lnTo>
                  <a:lnTo>
                    <a:pt x="2093" y="356"/>
                  </a:lnTo>
                  <a:lnTo>
                    <a:pt x="2051" y="335"/>
                  </a:lnTo>
                  <a:lnTo>
                    <a:pt x="2030" y="251"/>
                  </a:lnTo>
                  <a:lnTo>
                    <a:pt x="1988" y="230"/>
                  </a:lnTo>
                  <a:lnTo>
                    <a:pt x="1883" y="230"/>
                  </a:lnTo>
                  <a:lnTo>
                    <a:pt x="1716" y="293"/>
                  </a:lnTo>
                  <a:lnTo>
                    <a:pt x="1151" y="419"/>
                  </a:lnTo>
                  <a:lnTo>
                    <a:pt x="733" y="419"/>
                  </a:lnTo>
                  <a:lnTo>
                    <a:pt x="628" y="2490"/>
                  </a:lnTo>
                  <a:lnTo>
                    <a:pt x="105" y="2490"/>
                  </a:lnTo>
                  <a:lnTo>
                    <a:pt x="0" y="4310"/>
                  </a:lnTo>
                  <a:lnTo>
                    <a:pt x="210" y="4436"/>
                  </a:lnTo>
                  <a:lnTo>
                    <a:pt x="272" y="4624"/>
                  </a:lnTo>
                  <a:lnTo>
                    <a:pt x="419" y="4938"/>
                  </a:lnTo>
                  <a:lnTo>
                    <a:pt x="398" y="5105"/>
                  </a:lnTo>
                  <a:lnTo>
                    <a:pt x="314" y="5273"/>
                  </a:lnTo>
                  <a:lnTo>
                    <a:pt x="314" y="5377"/>
                  </a:lnTo>
                  <a:lnTo>
                    <a:pt x="482" y="5357"/>
                  </a:lnTo>
                  <a:lnTo>
                    <a:pt x="628" y="5419"/>
                  </a:lnTo>
                  <a:lnTo>
                    <a:pt x="712" y="5357"/>
                  </a:lnTo>
                  <a:lnTo>
                    <a:pt x="879" y="5377"/>
                  </a:lnTo>
                  <a:lnTo>
                    <a:pt x="942" y="5294"/>
                  </a:lnTo>
                  <a:lnTo>
                    <a:pt x="1088" y="5273"/>
                  </a:lnTo>
                  <a:lnTo>
                    <a:pt x="1193" y="5210"/>
                  </a:lnTo>
                  <a:lnTo>
                    <a:pt x="1235" y="5126"/>
                  </a:lnTo>
                  <a:lnTo>
                    <a:pt x="1423" y="5043"/>
                  </a:lnTo>
                  <a:lnTo>
                    <a:pt x="1528" y="4938"/>
                  </a:lnTo>
                  <a:lnTo>
                    <a:pt x="1611" y="4708"/>
                  </a:lnTo>
                  <a:lnTo>
                    <a:pt x="1758" y="4582"/>
                  </a:lnTo>
                  <a:lnTo>
                    <a:pt x="1925" y="4540"/>
                  </a:lnTo>
                  <a:lnTo>
                    <a:pt x="2093" y="4603"/>
                  </a:lnTo>
                  <a:lnTo>
                    <a:pt x="2155" y="4645"/>
                  </a:lnTo>
                  <a:lnTo>
                    <a:pt x="2239" y="4687"/>
                  </a:lnTo>
                  <a:lnTo>
                    <a:pt x="2448" y="4771"/>
                  </a:lnTo>
                  <a:lnTo>
                    <a:pt x="2511" y="4771"/>
                  </a:lnTo>
                  <a:lnTo>
                    <a:pt x="2616" y="4812"/>
                  </a:lnTo>
                  <a:lnTo>
                    <a:pt x="2762" y="4771"/>
                  </a:lnTo>
                  <a:lnTo>
                    <a:pt x="2888" y="4771"/>
                  </a:lnTo>
                  <a:lnTo>
                    <a:pt x="2992" y="4750"/>
                  </a:lnTo>
                  <a:lnTo>
                    <a:pt x="3013" y="4812"/>
                  </a:lnTo>
                  <a:lnTo>
                    <a:pt x="3097" y="4854"/>
                  </a:lnTo>
                  <a:lnTo>
                    <a:pt x="3223" y="4750"/>
                  </a:lnTo>
                  <a:lnTo>
                    <a:pt x="3202" y="4729"/>
                  </a:lnTo>
                  <a:lnTo>
                    <a:pt x="3223" y="4624"/>
                  </a:lnTo>
                  <a:lnTo>
                    <a:pt x="3223" y="4540"/>
                  </a:lnTo>
                  <a:lnTo>
                    <a:pt x="3285" y="4499"/>
                  </a:lnTo>
                  <a:lnTo>
                    <a:pt x="3285" y="4331"/>
                  </a:lnTo>
                  <a:lnTo>
                    <a:pt x="3327" y="4227"/>
                  </a:lnTo>
                  <a:lnTo>
                    <a:pt x="3432" y="4206"/>
                  </a:lnTo>
                  <a:lnTo>
                    <a:pt x="3515" y="4164"/>
                  </a:lnTo>
                  <a:lnTo>
                    <a:pt x="3599" y="4164"/>
                  </a:lnTo>
                  <a:lnTo>
                    <a:pt x="3641" y="4101"/>
                  </a:lnTo>
                  <a:lnTo>
                    <a:pt x="3662" y="4080"/>
                  </a:lnTo>
                  <a:lnTo>
                    <a:pt x="3704" y="3996"/>
                  </a:lnTo>
                  <a:lnTo>
                    <a:pt x="3767" y="3955"/>
                  </a:lnTo>
                  <a:lnTo>
                    <a:pt x="3850" y="3913"/>
                  </a:lnTo>
                  <a:lnTo>
                    <a:pt x="3871" y="3871"/>
                  </a:lnTo>
                  <a:lnTo>
                    <a:pt x="3955" y="3850"/>
                  </a:lnTo>
                  <a:lnTo>
                    <a:pt x="3955" y="3766"/>
                  </a:lnTo>
                  <a:lnTo>
                    <a:pt x="3934" y="3704"/>
                  </a:lnTo>
                  <a:lnTo>
                    <a:pt x="3955" y="3578"/>
                  </a:lnTo>
                  <a:lnTo>
                    <a:pt x="4080" y="3369"/>
                  </a:lnTo>
                  <a:lnTo>
                    <a:pt x="4185" y="3327"/>
                  </a:lnTo>
                  <a:lnTo>
                    <a:pt x="4248" y="3327"/>
                  </a:lnTo>
                  <a:lnTo>
                    <a:pt x="4290" y="3264"/>
                  </a:lnTo>
                  <a:lnTo>
                    <a:pt x="4373" y="3243"/>
                  </a:lnTo>
                  <a:lnTo>
                    <a:pt x="4394" y="3180"/>
                  </a:lnTo>
                  <a:lnTo>
                    <a:pt x="4457" y="3139"/>
                  </a:lnTo>
                  <a:lnTo>
                    <a:pt x="4541" y="3076"/>
                  </a:lnTo>
                  <a:lnTo>
                    <a:pt x="4645" y="2971"/>
                  </a:lnTo>
                  <a:lnTo>
                    <a:pt x="4771" y="2950"/>
                  </a:lnTo>
                  <a:lnTo>
                    <a:pt x="4792" y="2971"/>
                  </a:lnTo>
                  <a:lnTo>
                    <a:pt x="4855" y="2950"/>
                  </a:lnTo>
                  <a:lnTo>
                    <a:pt x="4959" y="2950"/>
                  </a:lnTo>
                  <a:lnTo>
                    <a:pt x="5022" y="2867"/>
                  </a:lnTo>
                  <a:lnTo>
                    <a:pt x="5106" y="2867"/>
                  </a:lnTo>
                  <a:lnTo>
                    <a:pt x="5127" y="2762"/>
                  </a:lnTo>
                  <a:lnTo>
                    <a:pt x="5127" y="2720"/>
                  </a:lnTo>
                  <a:lnTo>
                    <a:pt x="5189" y="2657"/>
                  </a:lnTo>
                  <a:lnTo>
                    <a:pt x="5294" y="2657"/>
                  </a:lnTo>
                  <a:lnTo>
                    <a:pt x="5336" y="2616"/>
                  </a:lnTo>
                  <a:lnTo>
                    <a:pt x="5420" y="2616"/>
                  </a:lnTo>
                  <a:lnTo>
                    <a:pt x="5378" y="2553"/>
                  </a:lnTo>
                  <a:lnTo>
                    <a:pt x="5315" y="2511"/>
                  </a:lnTo>
                  <a:lnTo>
                    <a:pt x="5315" y="2448"/>
                  </a:lnTo>
                  <a:lnTo>
                    <a:pt x="5273" y="2406"/>
                  </a:lnTo>
                  <a:lnTo>
                    <a:pt x="5210" y="2406"/>
                  </a:lnTo>
                  <a:lnTo>
                    <a:pt x="5085" y="2323"/>
                  </a:lnTo>
                  <a:lnTo>
                    <a:pt x="5001" y="2323"/>
                  </a:lnTo>
                  <a:lnTo>
                    <a:pt x="4876" y="2281"/>
                  </a:lnTo>
                  <a:lnTo>
                    <a:pt x="4792" y="2302"/>
                  </a:lnTo>
                  <a:lnTo>
                    <a:pt x="4666" y="2281"/>
                  </a:lnTo>
                  <a:lnTo>
                    <a:pt x="4604" y="2176"/>
                  </a:lnTo>
                  <a:lnTo>
                    <a:pt x="4499" y="2092"/>
                  </a:lnTo>
                  <a:lnTo>
                    <a:pt x="4457" y="1988"/>
                  </a:lnTo>
                  <a:lnTo>
                    <a:pt x="4457" y="1904"/>
                  </a:lnTo>
                  <a:lnTo>
                    <a:pt x="4436" y="1779"/>
                  </a:lnTo>
                  <a:lnTo>
                    <a:pt x="4457" y="1695"/>
                  </a:lnTo>
                  <a:lnTo>
                    <a:pt x="4373" y="1611"/>
                  </a:lnTo>
                  <a:lnTo>
                    <a:pt x="4269" y="1590"/>
                  </a:lnTo>
                  <a:lnTo>
                    <a:pt x="4248" y="1548"/>
                  </a:lnTo>
                  <a:lnTo>
                    <a:pt x="4248" y="1486"/>
                  </a:lnTo>
                  <a:lnTo>
                    <a:pt x="4248" y="1465"/>
                  </a:lnTo>
                  <a:lnTo>
                    <a:pt x="4164" y="1402"/>
                  </a:lnTo>
                  <a:lnTo>
                    <a:pt x="4122" y="1360"/>
                  </a:lnTo>
                  <a:lnTo>
                    <a:pt x="4018" y="1297"/>
                  </a:lnTo>
                  <a:lnTo>
                    <a:pt x="3913" y="1235"/>
                  </a:lnTo>
                  <a:lnTo>
                    <a:pt x="3746" y="963"/>
                  </a:lnTo>
                  <a:lnTo>
                    <a:pt x="3704" y="879"/>
                  </a:lnTo>
                  <a:lnTo>
                    <a:pt x="3662" y="879"/>
                  </a:lnTo>
                  <a:lnTo>
                    <a:pt x="3620" y="837"/>
                  </a:lnTo>
                  <a:lnTo>
                    <a:pt x="3557" y="753"/>
                  </a:lnTo>
                  <a:lnTo>
                    <a:pt x="3515" y="711"/>
                  </a:lnTo>
                  <a:lnTo>
                    <a:pt x="3495" y="607"/>
                  </a:lnTo>
                  <a:lnTo>
                    <a:pt x="3432" y="523"/>
                  </a:lnTo>
                  <a:lnTo>
                    <a:pt x="3411" y="502"/>
                  </a:lnTo>
                  <a:lnTo>
                    <a:pt x="3411" y="439"/>
                  </a:lnTo>
                  <a:lnTo>
                    <a:pt x="3348" y="356"/>
                  </a:lnTo>
                  <a:lnTo>
                    <a:pt x="3285" y="314"/>
                  </a:lnTo>
                  <a:lnTo>
                    <a:pt x="3223" y="293"/>
                  </a:lnTo>
                  <a:lnTo>
                    <a:pt x="3139" y="209"/>
                  </a:lnTo>
                  <a:lnTo>
                    <a:pt x="3139" y="147"/>
                  </a:lnTo>
                  <a:lnTo>
                    <a:pt x="3139" y="105"/>
                  </a:lnTo>
                  <a:lnTo>
                    <a:pt x="3139" y="42"/>
                  </a:lnTo>
                  <a:lnTo>
                    <a:pt x="3118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Google Shape;12274;p43">
              <a:extLst>
                <a:ext uri="{FF2B5EF4-FFF2-40B4-BE49-F238E27FC236}">
                  <a16:creationId xmlns:a16="http://schemas.microsoft.com/office/drawing/2014/main" id="{540D661D-AE46-C239-E05F-4B816077B8E0}"/>
                </a:ext>
              </a:extLst>
            </p:cNvPr>
            <p:cNvSpPr/>
            <p:nvPr/>
          </p:nvSpPr>
          <p:spPr>
            <a:xfrm>
              <a:off x="3824578" y="3257889"/>
              <a:ext cx="92188" cy="82826"/>
            </a:xfrm>
            <a:custGeom>
              <a:avLst/>
              <a:gdLst/>
              <a:ahLst/>
              <a:cxnLst/>
              <a:rect l="l" t="t" r="r" b="b"/>
              <a:pathLst>
                <a:path w="7742" h="7283" extrusionOk="0">
                  <a:moveTo>
                    <a:pt x="691" y="1"/>
                  </a:moveTo>
                  <a:lnTo>
                    <a:pt x="502" y="126"/>
                  </a:lnTo>
                  <a:lnTo>
                    <a:pt x="502" y="210"/>
                  </a:lnTo>
                  <a:lnTo>
                    <a:pt x="440" y="231"/>
                  </a:lnTo>
                  <a:lnTo>
                    <a:pt x="377" y="189"/>
                  </a:lnTo>
                  <a:lnTo>
                    <a:pt x="189" y="189"/>
                  </a:lnTo>
                  <a:lnTo>
                    <a:pt x="168" y="273"/>
                  </a:lnTo>
                  <a:lnTo>
                    <a:pt x="105" y="294"/>
                  </a:lnTo>
                  <a:lnTo>
                    <a:pt x="84" y="273"/>
                  </a:lnTo>
                  <a:lnTo>
                    <a:pt x="0" y="231"/>
                  </a:lnTo>
                  <a:lnTo>
                    <a:pt x="21" y="733"/>
                  </a:lnTo>
                  <a:lnTo>
                    <a:pt x="377" y="1068"/>
                  </a:lnTo>
                  <a:lnTo>
                    <a:pt x="544" y="1382"/>
                  </a:lnTo>
                  <a:lnTo>
                    <a:pt x="837" y="2051"/>
                  </a:lnTo>
                  <a:lnTo>
                    <a:pt x="858" y="2302"/>
                  </a:lnTo>
                  <a:lnTo>
                    <a:pt x="1151" y="2700"/>
                  </a:lnTo>
                  <a:lnTo>
                    <a:pt x="1151" y="2847"/>
                  </a:lnTo>
                  <a:lnTo>
                    <a:pt x="1465" y="3307"/>
                  </a:lnTo>
                  <a:lnTo>
                    <a:pt x="1465" y="3537"/>
                  </a:lnTo>
                  <a:lnTo>
                    <a:pt x="1381" y="3579"/>
                  </a:lnTo>
                  <a:lnTo>
                    <a:pt x="1465" y="3872"/>
                  </a:lnTo>
                  <a:lnTo>
                    <a:pt x="1486" y="4311"/>
                  </a:lnTo>
                  <a:lnTo>
                    <a:pt x="1674" y="4751"/>
                  </a:lnTo>
                  <a:lnTo>
                    <a:pt x="1653" y="5023"/>
                  </a:lnTo>
                  <a:lnTo>
                    <a:pt x="1695" y="5190"/>
                  </a:lnTo>
                  <a:lnTo>
                    <a:pt x="1632" y="5232"/>
                  </a:lnTo>
                  <a:lnTo>
                    <a:pt x="1674" y="5315"/>
                  </a:lnTo>
                  <a:lnTo>
                    <a:pt x="1737" y="5629"/>
                  </a:lnTo>
                  <a:lnTo>
                    <a:pt x="1800" y="5650"/>
                  </a:lnTo>
                  <a:lnTo>
                    <a:pt x="1862" y="5755"/>
                  </a:lnTo>
                  <a:lnTo>
                    <a:pt x="1800" y="5797"/>
                  </a:lnTo>
                  <a:lnTo>
                    <a:pt x="1800" y="5943"/>
                  </a:lnTo>
                  <a:lnTo>
                    <a:pt x="1883" y="6027"/>
                  </a:lnTo>
                  <a:lnTo>
                    <a:pt x="1904" y="6257"/>
                  </a:lnTo>
                  <a:lnTo>
                    <a:pt x="2009" y="6383"/>
                  </a:lnTo>
                  <a:lnTo>
                    <a:pt x="2155" y="6676"/>
                  </a:lnTo>
                  <a:lnTo>
                    <a:pt x="2281" y="6801"/>
                  </a:lnTo>
                  <a:lnTo>
                    <a:pt x="2302" y="6885"/>
                  </a:lnTo>
                  <a:lnTo>
                    <a:pt x="2511" y="7031"/>
                  </a:lnTo>
                  <a:lnTo>
                    <a:pt x="2595" y="6989"/>
                  </a:lnTo>
                  <a:lnTo>
                    <a:pt x="2720" y="6968"/>
                  </a:lnTo>
                  <a:lnTo>
                    <a:pt x="2720" y="6885"/>
                  </a:lnTo>
                  <a:lnTo>
                    <a:pt x="2678" y="6843"/>
                  </a:lnTo>
                  <a:lnTo>
                    <a:pt x="2720" y="6759"/>
                  </a:lnTo>
                  <a:lnTo>
                    <a:pt x="2888" y="6696"/>
                  </a:lnTo>
                  <a:lnTo>
                    <a:pt x="2930" y="6801"/>
                  </a:lnTo>
                  <a:lnTo>
                    <a:pt x="3055" y="6822"/>
                  </a:lnTo>
                  <a:lnTo>
                    <a:pt x="3013" y="6927"/>
                  </a:lnTo>
                  <a:lnTo>
                    <a:pt x="3097" y="7115"/>
                  </a:lnTo>
                  <a:lnTo>
                    <a:pt x="3264" y="7136"/>
                  </a:lnTo>
                  <a:lnTo>
                    <a:pt x="3411" y="7220"/>
                  </a:lnTo>
                  <a:lnTo>
                    <a:pt x="3515" y="7199"/>
                  </a:lnTo>
                  <a:lnTo>
                    <a:pt x="3557" y="7220"/>
                  </a:lnTo>
                  <a:lnTo>
                    <a:pt x="3662" y="7240"/>
                  </a:lnTo>
                  <a:lnTo>
                    <a:pt x="3725" y="7199"/>
                  </a:lnTo>
                  <a:lnTo>
                    <a:pt x="3787" y="7199"/>
                  </a:lnTo>
                  <a:lnTo>
                    <a:pt x="3850" y="7282"/>
                  </a:lnTo>
                  <a:lnTo>
                    <a:pt x="3976" y="7282"/>
                  </a:lnTo>
                  <a:lnTo>
                    <a:pt x="3997" y="7178"/>
                  </a:lnTo>
                  <a:lnTo>
                    <a:pt x="4038" y="7115"/>
                  </a:lnTo>
                  <a:lnTo>
                    <a:pt x="4101" y="7094"/>
                  </a:lnTo>
                  <a:lnTo>
                    <a:pt x="4164" y="6968"/>
                  </a:lnTo>
                  <a:lnTo>
                    <a:pt x="4310" y="6885"/>
                  </a:lnTo>
                  <a:lnTo>
                    <a:pt x="4499" y="6906"/>
                  </a:lnTo>
                  <a:lnTo>
                    <a:pt x="4562" y="6906"/>
                  </a:lnTo>
                  <a:lnTo>
                    <a:pt x="4624" y="4813"/>
                  </a:lnTo>
                  <a:lnTo>
                    <a:pt x="4729" y="2993"/>
                  </a:lnTo>
                  <a:lnTo>
                    <a:pt x="5252" y="2993"/>
                  </a:lnTo>
                  <a:lnTo>
                    <a:pt x="5357" y="922"/>
                  </a:lnTo>
                  <a:lnTo>
                    <a:pt x="5775" y="922"/>
                  </a:lnTo>
                  <a:lnTo>
                    <a:pt x="6340" y="796"/>
                  </a:lnTo>
                  <a:lnTo>
                    <a:pt x="6507" y="733"/>
                  </a:lnTo>
                  <a:lnTo>
                    <a:pt x="6612" y="733"/>
                  </a:lnTo>
                  <a:lnTo>
                    <a:pt x="6654" y="754"/>
                  </a:lnTo>
                  <a:lnTo>
                    <a:pt x="6675" y="838"/>
                  </a:lnTo>
                  <a:lnTo>
                    <a:pt x="6717" y="859"/>
                  </a:lnTo>
                  <a:lnTo>
                    <a:pt x="6696" y="922"/>
                  </a:lnTo>
                  <a:lnTo>
                    <a:pt x="6675" y="1005"/>
                  </a:lnTo>
                  <a:lnTo>
                    <a:pt x="6717" y="1005"/>
                  </a:lnTo>
                  <a:lnTo>
                    <a:pt x="6905" y="859"/>
                  </a:lnTo>
                  <a:lnTo>
                    <a:pt x="7031" y="733"/>
                  </a:lnTo>
                  <a:lnTo>
                    <a:pt x="7135" y="608"/>
                  </a:lnTo>
                  <a:lnTo>
                    <a:pt x="7282" y="608"/>
                  </a:lnTo>
                  <a:lnTo>
                    <a:pt x="7303" y="629"/>
                  </a:lnTo>
                  <a:lnTo>
                    <a:pt x="7386" y="650"/>
                  </a:lnTo>
                  <a:lnTo>
                    <a:pt x="7449" y="608"/>
                  </a:lnTo>
                  <a:lnTo>
                    <a:pt x="7637" y="524"/>
                  </a:lnTo>
                  <a:lnTo>
                    <a:pt x="7742" y="503"/>
                  </a:lnTo>
                  <a:lnTo>
                    <a:pt x="7658" y="398"/>
                  </a:lnTo>
                  <a:lnTo>
                    <a:pt x="7637" y="398"/>
                  </a:lnTo>
                  <a:lnTo>
                    <a:pt x="7616" y="378"/>
                  </a:lnTo>
                  <a:lnTo>
                    <a:pt x="7533" y="378"/>
                  </a:lnTo>
                  <a:lnTo>
                    <a:pt x="7512" y="336"/>
                  </a:lnTo>
                  <a:lnTo>
                    <a:pt x="7491" y="336"/>
                  </a:lnTo>
                  <a:lnTo>
                    <a:pt x="7449" y="315"/>
                  </a:lnTo>
                  <a:lnTo>
                    <a:pt x="7323" y="378"/>
                  </a:lnTo>
                  <a:lnTo>
                    <a:pt x="7240" y="336"/>
                  </a:lnTo>
                  <a:lnTo>
                    <a:pt x="6696" y="482"/>
                  </a:lnTo>
                  <a:lnTo>
                    <a:pt x="5817" y="691"/>
                  </a:lnTo>
                  <a:lnTo>
                    <a:pt x="5671" y="691"/>
                  </a:lnTo>
                  <a:lnTo>
                    <a:pt x="5650" y="650"/>
                  </a:lnTo>
                  <a:lnTo>
                    <a:pt x="5608" y="650"/>
                  </a:lnTo>
                  <a:lnTo>
                    <a:pt x="5566" y="608"/>
                  </a:lnTo>
                  <a:lnTo>
                    <a:pt x="5524" y="629"/>
                  </a:lnTo>
                  <a:lnTo>
                    <a:pt x="5461" y="608"/>
                  </a:lnTo>
                  <a:lnTo>
                    <a:pt x="5419" y="587"/>
                  </a:lnTo>
                  <a:lnTo>
                    <a:pt x="5336" y="608"/>
                  </a:lnTo>
                  <a:lnTo>
                    <a:pt x="5336" y="650"/>
                  </a:lnTo>
                  <a:lnTo>
                    <a:pt x="5189" y="650"/>
                  </a:lnTo>
                  <a:lnTo>
                    <a:pt x="5085" y="629"/>
                  </a:lnTo>
                  <a:lnTo>
                    <a:pt x="4938" y="503"/>
                  </a:lnTo>
                  <a:lnTo>
                    <a:pt x="4896" y="503"/>
                  </a:lnTo>
                  <a:lnTo>
                    <a:pt x="4875" y="482"/>
                  </a:lnTo>
                  <a:lnTo>
                    <a:pt x="4834" y="545"/>
                  </a:lnTo>
                  <a:lnTo>
                    <a:pt x="4771" y="545"/>
                  </a:lnTo>
                  <a:lnTo>
                    <a:pt x="4624" y="524"/>
                  </a:lnTo>
                  <a:lnTo>
                    <a:pt x="4520" y="545"/>
                  </a:lnTo>
                  <a:lnTo>
                    <a:pt x="4457" y="608"/>
                  </a:lnTo>
                  <a:lnTo>
                    <a:pt x="4373" y="587"/>
                  </a:lnTo>
                  <a:lnTo>
                    <a:pt x="4352" y="524"/>
                  </a:lnTo>
                  <a:lnTo>
                    <a:pt x="4290" y="503"/>
                  </a:lnTo>
                  <a:lnTo>
                    <a:pt x="4185" y="524"/>
                  </a:lnTo>
                  <a:lnTo>
                    <a:pt x="4080" y="503"/>
                  </a:lnTo>
                  <a:lnTo>
                    <a:pt x="3955" y="440"/>
                  </a:lnTo>
                  <a:lnTo>
                    <a:pt x="3892" y="398"/>
                  </a:lnTo>
                  <a:lnTo>
                    <a:pt x="3850" y="294"/>
                  </a:lnTo>
                  <a:lnTo>
                    <a:pt x="3829" y="273"/>
                  </a:lnTo>
                  <a:lnTo>
                    <a:pt x="1653" y="273"/>
                  </a:lnTo>
                  <a:lnTo>
                    <a:pt x="1632" y="231"/>
                  </a:lnTo>
                  <a:lnTo>
                    <a:pt x="1569" y="231"/>
                  </a:lnTo>
                  <a:lnTo>
                    <a:pt x="1486" y="294"/>
                  </a:lnTo>
                  <a:lnTo>
                    <a:pt x="1465" y="294"/>
                  </a:lnTo>
                  <a:lnTo>
                    <a:pt x="1360" y="336"/>
                  </a:lnTo>
                  <a:lnTo>
                    <a:pt x="1235" y="294"/>
                  </a:lnTo>
                  <a:lnTo>
                    <a:pt x="1130" y="189"/>
                  </a:lnTo>
                  <a:lnTo>
                    <a:pt x="1067" y="168"/>
                  </a:lnTo>
                  <a:lnTo>
                    <a:pt x="1109" y="106"/>
                  </a:lnTo>
                  <a:lnTo>
                    <a:pt x="1025" y="85"/>
                  </a:lnTo>
                  <a:lnTo>
                    <a:pt x="1025" y="64"/>
                  </a:lnTo>
                  <a:lnTo>
                    <a:pt x="942" y="1"/>
                  </a:lnTo>
                  <a:lnTo>
                    <a:pt x="900" y="22"/>
                  </a:lnTo>
                  <a:lnTo>
                    <a:pt x="858" y="64"/>
                  </a:lnTo>
                  <a:lnTo>
                    <a:pt x="837" y="64"/>
                  </a:lnTo>
                  <a:lnTo>
                    <a:pt x="733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srgbClr val="FF6B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Google Shape;12275;p43">
              <a:extLst>
                <a:ext uri="{FF2B5EF4-FFF2-40B4-BE49-F238E27FC236}">
                  <a16:creationId xmlns:a16="http://schemas.microsoft.com/office/drawing/2014/main" id="{3BF47CA8-7488-16B3-A112-AE29E1CF45F6}"/>
                </a:ext>
              </a:extLst>
            </p:cNvPr>
            <p:cNvSpPr/>
            <p:nvPr/>
          </p:nvSpPr>
          <p:spPr>
            <a:xfrm>
              <a:off x="3953131" y="3215060"/>
              <a:ext cx="71767" cy="110427"/>
            </a:xfrm>
            <a:custGeom>
              <a:avLst/>
              <a:gdLst/>
              <a:ahLst/>
              <a:cxnLst/>
              <a:rect l="l" t="t" r="r" b="b"/>
              <a:pathLst>
                <a:path w="6027" h="9710" extrusionOk="0">
                  <a:moveTo>
                    <a:pt x="6006" y="1"/>
                  </a:moveTo>
                  <a:lnTo>
                    <a:pt x="5964" y="22"/>
                  </a:lnTo>
                  <a:lnTo>
                    <a:pt x="5922" y="84"/>
                  </a:lnTo>
                  <a:lnTo>
                    <a:pt x="5818" y="63"/>
                  </a:lnTo>
                  <a:lnTo>
                    <a:pt x="5734" y="126"/>
                  </a:lnTo>
                  <a:lnTo>
                    <a:pt x="5650" y="210"/>
                  </a:lnTo>
                  <a:lnTo>
                    <a:pt x="5525" y="231"/>
                  </a:lnTo>
                  <a:lnTo>
                    <a:pt x="5441" y="314"/>
                  </a:lnTo>
                  <a:lnTo>
                    <a:pt x="5315" y="314"/>
                  </a:lnTo>
                  <a:lnTo>
                    <a:pt x="5294" y="377"/>
                  </a:lnTo>
                  <a:lnTo>
                    <a:pt x="5190" y="398"/>
                  </a:lnTo>
                  <a:lnTo>
                    <a:pt x="5106" y="377"/>
                  </a:lnTo>
                  <a:lnTo>
                    <a:pt x="4897" y="440"/>
                  </a:lnTo>
                  <a:lnTo>
                    <a:pt x="4855" y="482"/>
                  </a:lnTo>
                  <a:lnTo>
                    <a:pt x="4750" y="503"/>
                  </a:lnTo>
                  <a:lnTo>
                    <a:pt x="4667" y="440"/>
                  </a:lnTo>
                  <a:lnTo>
                    <a:pt x="4583" y="440"/>
                  </a:lnTo>
                  <a:lnTo>
                    <a:pt x="4478" y="419"/>
                  </a:lnTo>
                  <a:lnTo>
                    <a:pt x="4437" y="482"/>
                  </a:lnTo>
                  <a:lnTo>
                    <a:pt x="4458" y="524"/>
                  </a:lnTo>
                  <a:lnTo>
                    <a:pt x="4437" y="607"/>
                  </a:lnTo>
                  <a:lnTo>
                    <a:pt x="4269" y="628"/>
                  </a:lnTo>
                  <a:lnTo>
                    <a:pt x="4144" y="691"/>
                  </a:lnTo>
                  <a:lnTo>
                    <a:pt x="4060" y="628"/>
                  </a:lnTo>
                  <a:lnTo>
                    <a:pt x="3976" y="628"/>
                  </a:lnTo>
                  <a:lnTo>
                    <a:pt x="3976" y="587"/>
                  </a:lnTo>
                  <a:lnTo>
                    <a:pt x="3934" y="545"/>
                  </a:lnTo>
                  <a:lnTo>
                    <a:pt x="3872" y="607"/>
                  </a:lnTo>
                  <a:lnTo>
                    <a:pt x="3809" y="607"/>
                  </a:lnTo>
                  <a:lnTo>
                    <a:pt x="3704" y="712"/>
                  </a:lnTo>
                  <a:lnTo>
                    <a:pt x="3516" y="733"/>
                  </a:lnTo>
                  <a:lnTo>
                    <a:pt x="3537" y="712"/>
                  </a:lnTo>
                  <a:lnTo>
                    <a:pt x="3495" y="628"/>
                  </a:lnTo>
                  <a:lnTo>
                    <a:pt x="3411" y="628"/>
                  </a:lnTo>
                  <a:lnTo>
                    <a:pt x="3328" y="587"/>
                  </a:lnTo>
                  <a:lnTo>
                    <a:pt x="3244" y="545"/>
                  </a:lnTo>
                  <a:lnTo>
                    <a:pt x="3244" y="503"/>
                  </a:lnTo>
                  <a:lnTo>
                    <a:pt x="3181" y="524"/>
                  </a:lnTo>
                  <a:lnTo>
                    <a:pt x="3139" y="545"/>
                  </a:lnTo>
                  <a:lnTo>
                    <a:pt x="3035" y="587"/>
                  </a:lnTo>
                  <a:lnTo>
                    <a:pt x="2491" y="607"/>
                  </a:lnTo>
                  <a:lnTo>
                    <a:pt x="2365" y="1110"/>
                  </a:lnTo>
                  <a:lnTo>
                    <a:pt x="2449" y="1654"/>
                  </a:lnTo>
                  <a:lnTo>
                    <a:pt x="2616" y="1737"/>
                  </a:lnTo>
                  <a:lnTo>
                    <a:pt x="2721" y="1800"/>
                  </a:lnTo>
                  <a:lnTo>
                    <a:pt x="2763" y="1863"/>
                  </a:lnTo>
                  <a:lnTo>
                    <a:pt x="2805" y="1884"/>
                  </a:lnTo>
                  <a:lnTo>
                    <a:pt x="3014" y="2072"/>
                  </a:lnTo>
                  <a:lnTo>
                    <a:pt x="3035" y="2177"/>
                  </a:lnTo>
                  <a:lnTo>
                    <a:pt x="3181" y="2365"/>
                  </a:lnTo>
                  <a:lnTo>
                    <a:pt x="3223" y="2491"/>
                  </a:lnTo>
                  <a:lnTo>
                    <a:pt x="3286" y="2574"/>
                  </a:lnTo>
                  <a:lnTo>
                    <a:pt x="3286" y="2637"/>
                  </a:lnTo>
                  <a:lnTo>
                    <a:pt x="3202" y="2637"/>
                  </a:lnTo>
                  <a:lnTo>
                    <a:pt x="3181" y="2721"/>
                  </a:lnTo>
                  <a:lnTo>
                    <a:pt x="3118" y="2721"/>
                  </a:lnTo>
                  <a:lnTo>
                    <a:pt x="3097" y="2783"/>
                  </a:lnTo>
                  <a:lnTo>
                    <a:pt x="3118" y="2804"/>
                  </a:lnTo>
                  <a:lnTo>
                    <a:pt x="3097" y="2846"/>
                  </a:lnTo>
                  <a:lnTo>
                    <a:pt x="3181" y="2930"/>
                  </a:lnTo>
                  <a:lnTo>
                    <a:pt x="3139" y="3139"/>
                  </a:lnTo>
                  <a:lnTo>
                    <a:pt x="3118" y="3244"/>
                  </a:lnTo>
                  <a:lnTo>
                    <a:pt x="3035" y="3307"/>
                  </a:lnTo>
                  <a:lnTo>
                    <a:pt x="2930" y="3327"/>
                  </a:lnTo>
                  <a:lnTo>
                    <a:pt x="2867" y="3474"/>
                  </a:lnTo>
                  <a:lnTo>
                    <a:pt x="2867" y="3579"/>
                  </a:lnTo>
                  <a:lnTo>
                    <a:pt x="2805" y="3683"/>
                  </a:lnTo>
                  <a:lnTo>
                    <a:pt x="2825" y="3830"/>
                  </a:lnTo>
                  <a:lnTo>
                    <a:pt x="2805" y="3955"/>
                  </a:lnTo>
                  <a:lnTo>
                    <a:pt x="2700" y="3976"/>
                  </a:lnTo>
                  <a:lnTo>
                    <a:pt x="2679" y="3872"/>
                  </a:lnTo>
                  <a:lnTo>
                    <a:pt x="2700" y="3830"/>
                  </a:lnTo>
                  <a:lnTo>
                    <a:pt x="2616" y="3725"/>
                  </a:lnTo>
                  <a:lnTo>
                    <a:pt x="2574" y="3662"/>
                  </a:lnTo>
                  <a:lnTo>
                    <a:pt x="2491" y="3620"/>
                  </a:lnTo>
                  <a:lnTo>
                    <a:pt x="2386" y="3537"/>
                  </a:lnTo>
                  <a:lnTo>
                    <a:pt x="2281" y="3411"/>
                  </a:lnTo>
                  <a:lnTo>
                    <a:pt x="2281" y="3327"/>
                  </a:lnTo>
                  <a:lnTo>
                    <a:pt x="2240" y="3202"/>
                  </a:lnTo>
                  <a:lnTo>
                    <a:pt x="2240" y="3097"/>
                  </a:lnTo>
                  <a:lnTo>
                    <a:pt x="2281" y="2993"/>
                  </a:lnTo>
                  <a:lnTo>
                    <a:pt x="2344" y="2846"/>
                  </a:lnTo>
                  <a:lnTo>
                    <a:pt x="2449" y="2721"/>
                  </a:lnTo>
                  <a:lnTo>
                    <a:pt x="2470" y="2595"/>
                  </a:lnTo>
                  <a:lnTo>
                    <a:pt x="2470" y="2428"/>
                  </a:lnTo>
                  <a:lnTo>
                    <a:pt x="2407" y="2323"/>
                  </a:lnTo>
                  <a:lnTo>
                    <a:pt x="2261" y="2302"/>
                  </a:lnTo>
                  <a:lnTo>
                    <a:pt x="2135" y="2302"/>
                  </a:lnTo>
                  <a:lnTo>
                    <a:pt x="2072" y="2365"/>
                  </a:lnTo>
                  <a:lnTo>
                    <a:pt x="2030" y="2365"/>
                  </a:lnTo>
                  <a:lnTo>
                    <a:pt x="1968" y="2386"/>
                  </a:lnTo>
                  <a:lnTo>
                    <a:pt x="1863" y="2323"/>
                  </a:lnTo>
                  <a:lnTo>
                    <a:pt x="1863" y="2260"/>
                  </a:lnTo>
                  <a:lnTo>
                    <a:pt x="1821" y="2198"/>
                  </a:lnTo>
                  <a:lnTo>
                    <a:pt x="1779" y="2156"/>
                  </a:lnTo>
                  <a:lnTo>
                    <a:pt x="1758" y="2093"/>
                  </a:lnTo>
                  <a:lnTo>
                    <a:pt x="1612" y="2114"/>
                  </a:lnTo>
                  <a:lnTo>
                    <a:pt x="1424" y="2177"/>
                  </a:lnTo>
                  <a:lnTo>
                    <a:pt x="1089" y="2302"/>
                  </a:lnTo>
                  <a:lnTo>
                    <a:pt x="984" y="2323"/>
                  </a:lnTo>
                  <a:lnTo>
                    <a:pt x="398" y="2595"/>
                  </a:lnTo>
                  <a:lnTo>
                    <a:pt x="273" y="2595"/>
                  </a:lnTo>
                  <a:lnTo>
                    <a:pt x="43" y="2700"/>
                  </a:lnTo>
                  <a:lnTo>
                    <a:pt x="1" y="2783"/>
                  </a:lnTo>
                  <a:lnTo>
                    <a:pt x="43" y="2951"/>
                  </a:lnTo>
                  <a:lnTo>
                    <a:pt x="43" y="3035"/>
                  </a:lnTo>
                  <a:lnTo>
                    <a:pt x="64" y="3223"/>
                  </a:lnTo>
                  <a:lnTo>
                    <a:pt x="273" y="3244"/>
                  </a:lnTo>
                  <a:lnTo>
                    <a:pt x="356" y="3244"/>
                  </a:lnTo>
                  <a:lnTo>
                    <a:pt x="377" y="3327"/>
                  </a:lnTo>
                  <a:lnTo>
                    <a:pt x="419" y="3307"/>
                  </a:lnTo>
                  <a:lnTo>
                    <a:pt x="482" y="3244"/>
                  </a:lnTo>
                  <a:lnTo>
                    <a:pt x="628" y="3265"/>
                  </a:lnTo>
                  <a:lnTo>
                    <a:pt x="796" y="3369"/>
                  </a:lnTo>
                  <a:lnTo>
                    <a:pt x="901" y="3516"/>
                  </a:lnTo>
                  <a:lnTo>
                    <a:pt x="1005" y="3537"/>
                  </a:lnTo>
                  <a:lnTo>
                    <a:pt x="1193" y="3537"/>
                  </a:lnTo>
                  <a:lnTo>
                    <a:pt x="1298" y="3620"/>
                  </a:lnTo>
                  <a:lnTo>
                    <a:pt x="1340" y="3683"/>
                  </a:lnTo>
                  <a:lnTo>
                    <a:pt x="1465" y="3725"/>
                  </a:lnTo>
                  <a:lnTo>
                    <a:pt x="1465" y="3788"/>
                  </a:lnTo>
                  <a:lnTo>
                    <a:pt x="1424" y="3892"/>
                  </a:lnTo>
                  <a:lnTo>
                    <a:pt x="1445" y="3976"/>
                  </a:lnTo>
                  <a:lnTo>
                    <a:pt x="1424" y="4060"/>
                  </a:lnTo>
                  <a:lnTo>
                    <a:pt x="1445" y="4144"/>
                  </a:lnTo>
                  <a:lnTo>
                    <a:pt x="1445" y="4206"/>
                  </a:lnTo>
                  <a:lnTo>
                    <a:pt x="1403" y="4290"/>
                  </a:lnTo>
                  <a:lnTo>
                    <a:pt x="1361" y="4457"/>
                  </a:lnTo>
                  <a:lnTo>
                    <a:pt x="1319" y="4562"/>
                  </a:lnTo>
                  <a:lnTo>
                    <a:pt x="1361" y="4604"/>
                  </a:lnTo>
                  <a:lnTo>
                    <a:pt x="1445" y="4604"/>
                  </a:lnTo>
                  <a:lnTo>
                    <a:pt x="1424" y="4688"/>
                  </a:lnTo>
                  <a:lnTo>
                    <a:pt x="1319" y="4729"/>
                  </a:lnTo>
                  <a:lnTo>
                    <a:pt x="1319" y="4834"/>
                  </a:lnTo>
                  <a:lnTo>
                    <a:pt x="1319" y="4980"/>
                  </a:lnTo>
                  <a:lnTo>
                    <a:pt x="1235" y="5001"/>
                  </a:lnTo>
                  <a:lnTo>
                    <a:pt x="1235" y="5043"/>
                  </a:lnTo>
                  <a:lnTo>
                    <a:pt x="1340" y="5127"/>
                  </a:lnTo>
                  <a:lnTo>
                    <a:pt x="1361" y="5232"/>
                  </a:lnTo>
                  <a:lnTo>
                    <a:pt x="1319" y="5294"/>
                  </a:lnTo>
                  <a:lnTo>
                    <a:pt x="1319" y="5399"/>
                  </a:lnTo>
                  <a:lnTo>
                    <a:pt x="1361" y="5441"/>
                  </a:lnTo>
                  <a:lnTo>
                    <a:pt x="1403" y="5524"/>
                  </a:lnTo>
                  <a:lnTo>
                    <a:pt x="1319" y="5629"/>
                  </a:lnTo>
                  <a:lnTo>
                    <a:pt x="1214" y="5734"/>
                  </a:lnTo>
                  <a:lnTo>
                    <a:pt x="1193" y="5776"/>
                  </a:lnTo>
                  <a:lnTo>
                    <a:pt x="1110" y="5776"/>
                  </a:lnTo>
                  <a:lnTo>
                    <a:pt x="1089" y="5859"/>
                  </a:lnTo>
                  <a:lnTo>
                    <a:pt x="1110" y="5964"/>
                  </a:lnTo>
                  <a:lnTo>
                    <a:pt x="1089" y="6048"/>
                  </a:lnTo>
                  <a:lnTo>
                    <a:pt x="1047" y="6194"/>
                  </a:lnTo>
                  <a:lnTo>
                    <a:pt x="1026" y="6278"/>
                  </a:lnTo>
                  <a:lnTo>
                    <a:pt x="1026" y="6466"/>
                  </a:lnTo>
                  <a:lnTo>
                    <a:pt x="398" y="7115"/>
                  </a:lnTo>
                  <a:lnTo>
                    <a:pt x="461" y="7282"/>
                  </a:lnTo>
                  <a:lnTo>
                    <a:pt x="482" y="7429"/>
                  </a:lnTo>
                  <a:lnTo>
                    <a:pt x="566" y="7554"/>
                  </a:lnTo>
                  <a:lnTo>
                    <a:pt x="566" y="7847"/>
                  </a:lnTo>
                  <a:lnTo>
                    <a:pt x="524" y="7868"/>
                  </a:lnTo>
                  <a:lnTo>
                    <a:pt x="524" y="7973"/>
                  </a:lnTo>
                  <a:lnTo>
                    <a:pt x="587" y="8077"/>
                  </a:lnTo>
                  <a:lnTo>
                    <a:pt x="608" y="8224"/>
                  </a:lnTo>
                  <a:lnTo>
                    <a:pt x="608" y="8684"/>
                  </a:lnTo>
                  <a:lnTo>
                    <a:pt x="566" y="8851"/>
                  </a:lnTo>
                  <a:lnTo>
                    <a:pt x="566" y="9019"/>
                  </a:lnTo>
                  <a:lnTo>
                    <a:pt x="566" y="9207"/>
                  </a:lnTo>
                  <a:lnTo>
                    <a:pt x="566" y="9228"/>
                  </a:lnTo>
                  <a:lnTo>
                    <a:pt x="628" y="9270"/>
                  </a:lnTo>
                  <a:lnTo>
                    <a:pt x="691" y="9333"/>
                  </a:lnTo>
                  <a:lnTo>
                    <a:pt x="733" y="9395"/>
                  </a:lnTo>
                  <a:lnTo>
                    <a:pt x="712" y="9437"/>
                  </a:lnTo>
                  <a:lnTo>
                    <a:pt x="712" y="9521"/>
                  </a:lnTo>
                  <a:lnTo>
                    <a:pt x="691" y="9626"/>
                  </a:lnTo>
                  <a:lnTo>
                    <a:pt x="691" y="9646"/>
                  </a:lnTo>
                  <a:lnTo>
                    <a:pt x="733" y="9646"/>
                  </a:lnTo>
                  <a:lnTo>
                    <a:pt x="942" y="9709"/>
                  </a:lnTo>
                  <a:lnTo>
                    <a:pt x="1047" y="9709"/>
                  </a:lnTo>
                  <a:lnTo>
                    <a:pt x="1089" y="9605"/>
                  </a:lnTo>
                  <a:lnTo>
                    <a:pt x="1131" y="9500"/>
                  </a:lnTo>
                  <a:lnTo>
                    <a:pt x="1152" y="9333"/>
                  </a:lnTo>
                  <a:lnTo>
                    <a:pt x="1131" y="9291"/>
                  </a:lnTo>
                  <a:lnTo>
                    <a:pt x="1110" y="9291"/>
                  </a:lnTo>
                  <a:lnTo>
                    <a:pt x="1089" y="9395"/>
                  </a:lnTo>
                  <a:lnTo>
                    <a:pt x="1005" y="9374"/>
                  </a:lnTo>
                  <a:lnTo>
                    <a:pt x="942" y="9437"/>
                  </a:lnTo>
                  <a:lnTo>
                    <a:pt x="942" y="9333"/>
                  </a:lnTo>
                  <a:lnTo>
                    <a:pt x="901" y="9228"/>
                  </a:lnTo>
                  <a:lnTo>
                    <a:pt x="880" y="9207"/>
                  </a:lnTo>
                  <a:lnTo>
                    <a:pt x="921" y="9165"/>
                  </a:lnTo>
                  <a:lnTo>
                    <a:pt x="984" y="9165"/>
                  </a:lnTo>
                  <a:lnTo>
                    <a:pt x="1026" y="9019"/>
                  </a:lnTo>
                  <a:lnTo>
                    <a:pt x="1110" y="8977"/>
                  </a:lnTo>
                  <a:lnTo>
                    <a:pt x="1131" y="8893"/>
                  </a:lnTo>
                  <a:lnTo>
                    <a:pt x="1298" y="8872"/>
                  </a:lnTo>
                  <a:lnTo>
                    <a:pt x="1465" y="8663"/>
                  </a:lnTo>
                  <a:lnTo>
                    <a:pt x="1989" y="8579"/>
                  </a:lnTo>
                  <a:lnTo>
                    <a:pt x="2365" y="8391"/>
                  </a:lnTo>
                  <a:lnTo>
                    <a:pt x="2574" y="8182"/>
                  </a:lnTo>
                  <a:lnTo>
                    <a:pt x="2616" y="8035"/>
                  </a:lnTo>
                  <a:lnTo>
                    <a:pt x="2679" y="7931"/>
                  </a:lnTo>
                  <a:lnTo>
                    <a:pt x="2679" y="7847"/>
                  </a:lnTo>
                  <a:lnTo>
                    <a:pt x="2574" y="7910"/>
                  </a:lnTo>
                  <a:lnTo>
                    <a:pt x="2553" y="7805"/>
                  </a:lnTo>
                  <a:lnTo>
                    <a:pt x="2595" y="7805"/>
                  </a:lnTo>
                  <a:lnTo>
                    <a:pt x="2595" y="7701"/>
                  </a:lnTo>
                  <a:lnTo>
                    <a:pt x="2658" y="7617"/>
                  </a:lnTo>
                  <a:lnTo>
                    <a:pt x="2658" y="7533"/>
                  </a:lnTo>
                  <a:lnTo>
                    <a:pt x="2721" y="7345"/>
                  </a:lnTo>
                  <a:lnTo>
                    <a:pt x="2700" y="7324"/>
                  </a:lnTo>
                  <a:lnTo>
                    <a:pt x="2700" y="7177"/>
                  </a:lnTo>
                  <a:lnTo>
                    <a:pt x="2763" y="7115"/>
                  </a:lnTo>
                  <a:lnTo>
                    <a:pt x="2763" y="6968"/>
                  </a:lnTo>
                  <a:lnTo>
                    <a:pt x="2721" y="6968"/>
                  </a:lnTo>
                  <a:lnTo>
                    <a:pt x="2721" y="6822"/>
                  </a:lnTo>
                  <a:lnTo>
                    <a:pt x="2658" y="6968"/>
                  </a:lnTo>
                  <a:lnTo>
                    <a:pt x="2658" y="7073"/>
                  </a:lnTo>
                  <a:lnTo>
                    <a:pt x="2595" y="7094"/>
                  </a:lnTo>
                  <a:lnTo>
                    <a:pt x="2574" y="6968"/>
                  </a:lnTo>
                  <a:lnTo>
                    <a:pt x="2595" y="6592"/>
                  </a:lnTo>
                  <a:lnTo>
                    <a:pt x="2553" y="6466"/>
                  </a:lnTo>
                  <a:lnTo>
                    <a:pt x="2553" y="6340"/>
                  </a:lnTo>
                  <a:lnTo>
                    <a:pt x="2470" y="6236"/>
                  </a:lnTo>
                  <a:lnTo>
                    <a:pt x="2407" y="6194"/>
                  </a:lnTo>
                  <a:lnTo>
                    <a:pt x="2491" y="6152"/>
                  </a:lnTo>
                  <a:lnTo>
                    <a:pt x="2491" y="6068"/>
                  </a:lnTo>
                  <a:lnTo>
                    <a:pt x="2302" y="5838"/>
                  </a:lnTo>
                  <a:lnTo>
                    <a:pt x="2386" y="5755"/>
                  </a:lnTo>
                  <a:lnTo>
                    <a:pt x="2365" y="5650"/>
                  </a:lnTo>
                  <a:lnTo>
                    <a:pt x="2407" y="5608"/>
                  </a:lnTo>
                  <a:lnTo>
                    <a:pt x="2407" y="5524"/>
                  </a:lnTo>
                  <a:lnTo>
                    <a:pt x="2365" y="5441"/>
                  </a:lnTo>
                  <a:lnTo>
                    <a:pt x="2365" y="5399"/>
                  </a:lnTo>
                  <a:lnTo>
                    <a:pt x="2407" y="5399"/>
                  </a:lnTo>
                  <a:lnTo>
                    <a:pt x="2512" y="5462"/>
                  </a:lnTo>
                  <a:lnTo>
                    <a:pt x="2574" y="5399"/>
                  </a:lnTo>
                  <a:lnTo>
                    <a:pt x="2721" y="5399"/>
                  </a:lnTo>
                  <a:lnTo>
                    <a:pt x="2825" y="5315"/>
                  </a:lnTo>
                  <a:lnTo>
                    <a:pt x="2805" y="5190"/>
                  </a:lnTo>
                  <a:lnTo>
                    <a:pt x="3118" y="4980"/>
                  </a:lnTo>
                  <a:lnTo>
                    <a:pt x="3244" y="4980"/>
                  </a:lnTo>
                  <a:lnTo>
                    <a:pt x="3244" y="4897"/>
                  </a:lnTo>
                  <a:lnTo>
                    <a:pt x="3307" y="4876"/>
                  </a:lnTo>
                  <a:lnTo>
                    <a:pt x="3349" y="4813"/>
                  </a:lnTo>
                  <a:lnTo>
                    <a:pt x="3349" y="4771"/>
                  </a:lnTo>
                  <a:lnTo>
                    <a:pt x="3600" y="4625"/>
                  </a:lnTo>
                  <a:lnTo>
                    <a:pt x="3621" y="4562"/>
                  </a:lnTo>
                  <a:lnTo>
                    <a:pt x="3662" y="4520"/>
                  </a:lnTo>
                  <a:lnTo>
                    <a:pt x="3704" y="4374"/>
                  </a:lnTo>
                  <a:lnTo>
                    <a:pt x="3746" y="4478"/>
                  </a:lnTo>
                  <a:lnTo>
                    <a:pt x="3830" y="4416"/>
                  </a:lnTo>
                  <a:lnTo>
                    <a:pt x="3955" y="4269"/>
                  </a:lnTo>
                  <a:lnTo>
                    <a:pt x="3955" y="4185"/>
                  </a:lnTo>
                  <a:lnTo>
                    <a:pt x="4018" y="4248"/>
                  </a:lnTo>
                  <a:lnTo>
                    <a:pt x="4248" y="4081"/>
                  </a:lnTo>
                  <a:lnTo>
                    <a:pt x="4437" y="3997"/>
                  </a:lnTo>
                  <a:lnTo>
                    <a:pt x="4437" y="3976"/>
                  </a:lnTo>
                  <a:lnTo>
                    <a:pt x="4562" y="3976"/>
                  </a:lnTo>
                  <a:lnTo>
                    <a:pt x="4918" y="3788"/>
                  </a:lnTo>
                  <a:lnTo>
                    <a:pt x="4960" y="3725"/>
                  </a:lnTo>
                  <a:lnTo>
                    <a:pt x="5022" y="3683"/>
                  </a:lnTo>
                  <a:lnTo>
                    <a:pt x="5399" y="3474"/>
                  </a:lnTo>
                  <a:lnTo>
                    <a:pt x="5399" y="3369"/>
                  </a:lnTo>
                  <a:lnTo>
                    <a:pt x="5504" y="3369"/>
                  </a:lnTo>
                  <a:lnTo>
                    <a:pt x="5608" y="3223"/>
                  </a:lnTo>
                  <a:lnTo>
                    <a:pt x="5608" y="3139"/>
                  </a:lnTo>
                  <a:lnTo>
                    <a:pt x="5734" y="2993"/>
                  </a:lnTo>
                  <a:lnTo>
                    <a:pt x="5818" y="2951"/>
                  </a:lnTo>
                  <a:lnTo>
                    <a:pt x="5818" y="2846"/>
                  </a:lnTo>
                  <a:lnTo>
                    <a:pt x="5859" y="2783"/>
                  </a:lnTo>
                  <a:lnTo>
                    <a:pt x="5797" y="2783"/>
                  </a:lnTo>
                  <a:lnTo>
                    <a:pt x="5755" y="2804"/>
                  </a:lnTo>
                  <a:lnTo>
                    <a:pt x="5734" y="2742"/>
                  </a:lnTo>
                  <a:lnTo>
                    <a:pt x="5838" y="2679"/>
                  </a:lnTo>
                  <a:lnTo>
                    <a:pt x="5901" y="2679"/>
                  </a:lnTo>
                  <a:lnTo>
                    <a:pt x="5922" y="2616"/>
                  </a:lnTo>
                  <a:lnTo>
                    <a:pt x="5901" y="2574"/>
                  </a:lnTo>
                  <a:lnTo>
                    <a:pt x="5943" y="2532"/>
                  </a:lnTo>
                  <a:lnTo>
                    <a:pt x="6006" y="2470"/>
                  </a:lnTo>
                  <a:lnTo>
                    <a:pt x="5964" y="2219"/>
                  </a:lnTo>
                  <a:lnTo>
                    <a:pt x="5943" y="2198"/>
                  </a:lnTo>
                  <a:lnTo>
                    <a:pt x="5838" y="2198"/>
                  </a:lnTo>
                  <a:lnTo>
                    <a:pt x="5797" y="2177"/>
                  </a:lnTo>
                  <a:lnTo>
                    <a:pt x="5818" y="2114"/>
                  </a:lnTo>
                  <a:lnTo>
                    <a:pt x="5901" y="2114"/>
                  </a:lnTo>
                  <a:lnTo>
                    <a:pt x="5901" y="1863"/>
                  </a:lnTo>
                  <a:lnTo>
                    <a:pt x="5859" y="1800"/>
                  </a:lnTo>
                  <a:lnTo>
                    <a:pt x="5901" y="1800"/>
                  </a:lnTo>
                  <a:lnTo>
                    <a:pt x="5922" y="1528"/>
                  </a:lnTo>
                  <a:lnTo>
                    <a:pt x="5901" y="1361"/>
                  </a:lnTo>
                  <a:lnTo>
                    <a:pt x="5964" y="1319"/>
                  </a:lnTo>
                  <a:lnTo>
                    <a:pt x="5943" y="1151"/>
                  </a:lnTo>
                  <a:lnTo>
                    <a:pt x="5922" y="1131"/>
                  </a:lnTo>
                  <a:lnTo>
                    <a:pt x="5922" y="963"/>
                  </a:lnTo>
                  <a:lnTo>
                    <a:pt x="5964" y="942"/>
                  </a:lnTo>
                  <a:lnTo>
                    <a:pt x="5901" y="817"/>
                  </a:lnTo>
                  <a:lnTo>
                    <a:pt x="5859" y="628"/>
                  </a:lnTo>
                  <a:lnTo>
                    <a:pt x="5922" y="587"/>
                  </a:lnTo>
                  <a:lnTo>
                    <a:pt x="5901" y="545"/>
                  </a:lnTo>
                  <a:lnTo>
                    <a:pt x="5901" y="503"/>
                  </a:lnTo>
                  <a:lnTo>
                    <a:pt x="5901" y="440"/>
                  </a:lnTo>
                  <a:lnTo>
                    <a:pt x="6027" y="273"/>
                  </a:lnTo>
                  <a:lnTo>
                    <a:pt x="5964" y="231"/>
                  </a:lnTo>
                  <a:lnTo>
                    <a:pt x="6027" y="168"/>
                  </a:lnTo>
                  <a:lnTo>
                    <a:pt x="6027" y="22"/>
                  </a:lnTo>
                  <a:lnTo>
                    <a:pt x="6006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Google Shape;12276;p43">
              <a:extLst>
                <a:ext uri="{FF2B5EF4-FFF2-40B4-BE49-F238E27FC236}">
                  <a16:creationId xmlns:a16="http://schemas.microsoft.com/office/drawing/2014/main" id="{03884466-B5D0-1C4D-EECB-28BBEA01FD33}"/>
                </a:ext>
              </a:extLst>
            </p:cNvPr>
            <p:cNvSpPr/>
            <p:nvPr/>
          </p:nvSpPr>
          <p:spPr>
            <a:xfrm>
              <a:off x="3951893" y="3317378"/>
              <a:ext cx="9978" cy="10724"/>
            </a:xfrm>
            <a:custGeom>
              <a:avLst/>
              <a:gdLst/>
              <a:ahLst/>
              <a:cxnLst/>
              <a:rect l="l" t="t" r="r" b="b"/>
              <a:pathLst>
                <a:path w="838" h="943" extrusionOk="0">
                  <a:moveTo>
                    <a:pt x="314" y="1"/>
                  </a:moveTo>
                  <a:lnTo>
                    <a:pt x="209" y="43"/>
                  </a:lnTo>
                  <a:lnTo>
                    <a:pt x="188" y="189"/>
                  </a:lnTo>
                  <a:lnTo>
                    <a:pt x="63" y="440"/>
                  </a:lnTo>
                  <a:lnTo>
                    <a:pt x="0" y="566"/>
                  </a:lnTo>
                  <a:lnTo>
                    <a:pt x="42" y="649"/>
                  </a:lnTo>
                  <a:lnTo>
                    <a:pt x="105" y="712"/>
                  </a:lnTo>
                  <a:lnTo>
                    <a:pt x="168" y="817"/>
                  </a:lnTo>
                  <a:lnTo>
                    <a:pt x="377" y="921"/>
                  </a:lnTo>
                  <a:lnTo>
                    <a:pt x="586" y="942"/>
                  </a:lnTo>
                  <a:lnTo>
                    <a:pt x="670" y="921"/>
                  </a:lnTo>
                  <a:lnTo>
                    <a:pt x="712" y="817"/>
                  </a:lnTo>
                  <a:lnTo>
                    <a:pt x="691" y="712"/>
                  </a:lnTo>
                  <a:lnTo>
                    <a:pt x="774" y="691"/>
                  </a:lnTo>
                  <a:lnTo>
                    <a:pt x="795" y="649"/>
                  </a:lnTo>
                  <a:lnTo>
                    <a:pt x="795" y="629"/>
                  </a:lnTo>
                  <a:lnTo>
                    <a:pt x="816" y="524"/>
                  </a:lnTo>
                  <a:lnTo>
                    <a:pt x="816" y="440"/>
                  </a:lnTo>
                  <a:lnTo>
                    <a:pt x="837" y="398"/>
                  </a:lnTo>
                  <a:lnTo>
                    <a:pt x="795" y="336"/>
                  </a:lnTo>
                  <a:lnTo>
                    <a:pt x="732" y="273"/>
                  </a:lnTo>
                  <a:lnTo>
                    <a:pt x="670" y="231"/>
                  </a:lnTo>
                  <a:lnTo>
                    <a:pt x="670" y="210"/>
                  </a:lnTo>
                  <a:lnTo>
                    <a:pt x="565" y="189"/>
                  </a:lnTo>
                  <a:lnTo>
                    <a:pt x="481" y="105"/>
                  </a:lnTo>
                  <a:lnTo>
                    <a:pt x="31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Google Shape;12277;p43">
              <a:extLst>
                <a:ext uri="{FF2B5EF4-FFF2-40B4-BE49-F238E27FC236}">
                  <a16:creationId xmlns:a16="http://schemas.microsoft.com/office/drawing/2014/main" id="{10F705AD-10F0-3B0A-4B73-3E1C5E063C95}"/>
                </a:ext>
              </a:extLst>
            </p:cNvPr>
            <p:cNvSpPr/>
            <p:nvPr/>
          </p:nvSpPr>
          <p:spPr>
            <a:xfrm>
              <a:off x="3925232" y="3338554"/>
              <a:ext cx="15956" cy="14295"/>
            </a:xfrm>
            <a:custGeom>
              <a:avLst/>
              <a:gdLst/>
              <a:ahLst/>
              <a:cxnLst/>
              <a:rect l="l" t="t" r="r" b="b"/>
              <a:pathLst>
                <a:path w="1340" h="1257" extrusionOk="0">
                  <a:moveTo>
                    <a:pt x="775" y="1"/>
                  </a:moveTo>
                  <a:lnTo>
                    <a:pt x="754" y="43"/>
                  </a:lnTo>
                  <a:lnTo>
                    <a:pt x="670" y="106"/>
                  </a:lnTo>
                  <a:lnTo>
                    <a:pt x="628" y="147"/>
                  </a:lnTo>
                  <a:lnTo>
                    <a:pt x="419" y="189"/>
                  </a:lnTo>
                  <a:lnTo>
                    <a:pt x="293" y="315"/>
                  </a:lnTo>
                  <a:lnTo>
                    <a:pt x="231" y="440"/>
                  </a:lnTo>
                  <a:lnTo>
                    <a:pt x="84" y="566"/>
                  </a:lnTo>
                  <a:lnTo>
                    <a:pt x="0" y="629"/>
                  </a:lnTo>
                  <a:lnTo>
                    <a:pt x="42" y="733"/>
                  </a:lnTo>
                  <a:lnTo>
                    <a:pt x="126" y="796"/>
                  </a:lnTo>
                  <a:lnTo>
                    <a:pt x="126" y="859"/>
                  </a:lnTo>
                  <a:lnTo>
                    <a:pt x="210" y="943"/>
                  </a:lnTo>
                  <a:lnTo>
                    <a:pt x="210" y="1047"/>
                  </a:lnTo>
                  <a:lnTo>
                    <a:pt x="293" y="1131"/>
                  </a:lnTo>
                  <a:lnTo>
                    <a:pt x="356" y="1194"/>
                  </a:lnTo>
                  <a:lnTo>
                    <a:pt x="503" y="1256"/>
                  </a:lnTo>
                  <a:lnTo>
                    <a:pt x="607" y="1256"/>
                  </a:lnTo>
                  <a:lnTo>
                    <a:pt x="628" y="1194"/>
                  </a:lnTo>
                  <a:lnTo>
                    <a:pt x="670" y="1152"/>
                  </a:lnTo>
                  <a:lnTo>
                    <a:pt x="712" y="1026"/>
                  </a:lnTo>
                  <a:lnTo>
                    <a:pt x="816" y="984"/>
                  </a:lnTo>
                  <a:lnTo>
                    <a:pt x="879" y="943"/>
                  </a:lnTo>
                  <a:lnTo>
                    <a:pt x="984" y="922"/>
                  </a:lnTo>
                  <a:lnTo>
                    <a:pt x="1067" y="943"/>
                  </a:lnTo>
                  <a:lnTo>
                    <a:pt x="1172" y="859"/>
                  </a:lnTo>
                  <a:lnTo>
                    <a:pt x="1193" y="775"/>
                  </a:lnTo>
                  <a:lnTo>
                    <a:pt x="1151" y="733"/>
                  </a:lnTo>
                  <a:lnTo>
                    <a:pt x="1130" y="650"/>
                  </a:lnTo>
                  <a:lnTo>
                    <a:pt x="1235" y="608"/>
                  </a:lnTo>
                  <a:lnTo>
                    <a:pt x="1339" y="524"/>
                  </a:lnTo>
                  <a:lnTo>
                    <a:pt x="1339" y="399"/>
                  </a:lnTo>
                  <a:lnTo>
                    <a:pt x="1256" y="147"/>
                  </a:lnTo>
                  <a:lnTo>
                    <a:pt x="1130" y="43"/>
                  </a:lnTo>
                  <a:lnTo>
                    <a:pt x="1026" y="85"/>
                  </a:lnTo>
                  <a:lnTo>
                    <a:pt x="942" y="22"/>
                  </a:lnTo>
                  <a:lnTo>
                    <a:pt x="921" y="43"/>
                  </a:lnTo>
                  <a:lnTo>
                    <a:pt x="858" y="22"/>
                  </a:lnTo>
                  <a:lnTo>
                    <a:pt x="775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Google Shape;12278;p43">
              <a:extLst>
                <a:ext uri="{FF2B5EF4-FFF2-40B4-BE49-F238E27FC236}">
                  <a16:creationId xmlns:a16="http://schemas.microsoft.com/office/drawing/2014/main" id="{92F2E429-35C5-EEAD-0F59-A05B71DE7C4B}"/>
                </a:ext>
              </a:extLst>
            </p:cNvPr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Google Shape;12279;p43">
              <a:extLst>
                <a:ext uri="{FF2B5EF4-FFF2-40B4-BE49-F238E27FC236}">
                  <a16:creationId xmlns:a16="http://schemas.microsoft.com/office/drawing/2014/main" id="{08C1FCD4-4EBF-9625-5A06-EFFD15D82945}"/>
                </a:ext>
              </a:extLst>
            </p:cNvPr>
            <p:cNvSpPr/>
            <p:nvPr/>
          </p:nvSpPr>
          <p:spPr>
            <a:xfrm>
              <a:off x="4226694" y="2879548"/>
              <a:ext cx="50095" cy="39508"/>
            </a:xfrm>
            <a:custGeom>
              <a:avLst/>
              <a:gdLst/>
              <a:ahLst/>
              <a:cxnLst/>
              <a:rect l="l" t="t" r="r" b="b"/>
              <a:pathLst>
                <a:path w="4207" h="3474" extrusionOk="0">
                  <a:moveTo>
                    <a:pt x="1507" y="0"/>
                  </a:moveTo>
                  <a:lnTo>
                    <a:pt x="1466" y="63"/>
                  </a:lnTo>
                  <a:lnTo>
                    <a:pt x="1403" y="105"/>
                  </a:lnTo>
                  <a:lnTo>
                    <a:pt x="1298" y="105"/>
                  </a:lnTo>
                  <a:lnTo>
                    <a:pt x="1256" y="126"/>
                  </a:lnTo>
                  <a:lnTo>
                    <a:pt x="1152" y="63"/>
                  </a:lnTo>
                  <a:lnTo>
                    <a:pt x="1068" y="63"/>
                  </a:lnTo>
                  <a:lnTo>
                    <a:pt x="1026" y="105"/>
                  </a:lnTo>
                  <a:lnTo>
                    <a:pt x="880" y="293"/>
                  </a:lnTo>
                  <a:lnTo>
                    <a:pt x="629" y="398"/>
                  </a:lnTo>
                  <a:lnTo>
                    <a:pt x="231" y="503"/>
                  </a:lnTo>
                  <a:lnTo>
                    <a:pt x="252" y="586"/>
                  </a:lnTo>
                  <a:lnTo>
                    <a:pt x="1" y="754"/>
                  </a:lnTo>
                  <a:lnTo>
                    <a:pt x="22" y="1005"/>
                  </a:lnTo>
                  <a:lnTo>
                    <a:pt x="106" y="1067"/>
                  </a:lnTo>
                  <a:lnTo>
                    <a:pt x="189" y="1047"/>
                  </a:lnTo>
                  <a:lnTo>
                    <a:pt x="294" y="1005"/>
                  </a:lnTo>
                  <a:lnTo>
                    <a:pt x="419" y="1151"/>
                  </a:lnTo>
                  <a:lnTo>
                    <a:pt x="566" y="1277"/>
                  </a:lnTo>
                  <a:lnTo>
                    <a:pt x="733" y="1360"/>
                  </a:lnTo>
                  <a:lnTo>
                    <a:pt x="754" y="1486"/>
                  </a:lnTo>
                  <a:lnTo>
                    <a:pt x="901" y="1549"/>
                  </a:lnTo>
                  <a:lnTo>
                    <a:pt x="901" y="1674"/>
                  </a:lnTo>
                  <a:lnTo>
                    <a:pt x="754" y="1779"/>
                  </a:lnTo>
                  <a:lnTo>
                    <a:pt x="754" y="1904"/>
                  </a:lnTo>
                  <a:lnTo>
                    <a:pt x="650" y="1946"/>
                  </a:lnTo>
                  <a:lnTo>
                    <a:pt x="650" y="2114"/>
                  </a:lnTo>
                  <a:lnTo>
                    <a:pt x="754" y="2302"/>
                  </a:lnTo>
                  <a:lnTo>
                    <a:pt x="859" y="2679"/>
                  </a:lnTo>
                  <a:lnTo>
                    <a:pt x="880" y="2846"/>
                  </a:lnTo>
                  <a:lnTo>
                    <a:pt x="1089" y="3034"/>
                  </a:lnTo>
                  <a:lnTo>
                    <a:pt x="1298" y="3097"/>
                  </a:lnTo>
                  <a:lnTo>
                    <a:pt x="1507" y="3160"/>
                  </a:lnTo>
                  <a:lnTo>
                    <a:pt x="1570" y="3327"/>
                  </a:lnTo>
                  <a:lnTo>
                    <a:pt x="1759" y="3348"/>
                  </a:lnTo>
                  <a:lnTo>
                    <a:pt x="1884" y="3306"/>
                  </a:lnTo>
                  <a:lnTo>
                    <a:pt x="2031" y="3348"/>
                  </a:lnTo>
                  <a:lnTo>
                    <a:pt x="2031" y="3474"/>
                  </a:lnTo>
                  <a:lnTo>
                    <a:pt x="2093" y="3432"/>
                  </a:lnTo>
                  <a:lnTo>
                    <a:pt x="2240" y="3139"/>
                  </a:lnTo>
                  <a:lnTo>
                    <a:pt x="2428" y="2992"/>
                  </a:lnTo>
                  <a:lnTo>
                    <a:pt x="2554" y="2992"/>
                  </a:lnTo>
                  <a:lnTo>
                    <a:pt x="2637" y="2846"/>
                  </a:lnTo>
                  <a:lnTo>
                    <a:pt x="2763" y="2846"/>
                  </a:lnTo>
                  <a:lnTo>
                    <a:pt x="3077" y="3055"/>
                  </a:lnTo>
                  <a:lnTo>
                    <a:pt x="3244" y="2951"/>
                  </a:lnTo>
                  <a:lnTo>
                    <a:pt x="3391" y="3034"/>
                  </a:lnTo>
                  <a:lnTo>
                    <a:pt x="3453" y="3202"/>
                  </a:lnTo>
                  <a:lnTo>
                    <a:pt x="3600" y="3202"/>
                  </a:lnTo>
                  <a:lnTo>
                    <a:pt x="3851" y="3327"/>
                  </a:lnTo>
                  <a:lnTo>
                    <a:pt x="3997" y="3139"/>
                  </a:lnTo>
                  <a:lnTo>
                    <a:pt x="4102" y="3202"/>
                  </a:lnTo>
                  <a:lnTo>
                    <a:pt x="4123" y="3264"/>
                  </a:lnTo>
                  <a:lnTo>
                    <a:pt x="4207" y="3139"/>
                  </a:lnTo>
                  <a:lnTo>
                    <a:pt x="4165" y="2930"/>
                  </a:lnTo>
                  <a:lnTo>
                    <a:pt x="4102" y="2679"/>
                  </a:lnTo>
                  <a:lnTo>
                    <a:pt x="3955" y="2637"/>
                  </a:lnTo>
                  <a:lnTo>
                    <a:pt x="3851" y="2386"/>
                  </a:lnTo>
                  <a:lnTo>
                    <a:pt x="3851" y="2114"/>
                  </a:lnTo>
                  <a:lnTo>
                    <a:pt x="3767" y="1967"/>
                  </a:lnTo>
                  <a:lnTo>
                    <a:pt x="3579" y="1863"/>
                  </a:lnTo>
                  <a:lnTo>
                    <a:pt x="3432" y="1695"/>
                  </a:lnTo>
                  <a:lnTo>
                    <a:pt x="3328" y="1423"/>
                  </a:lnTo>
                  <a:lnTo>
                    <a:pt x="3139" y="1319"/>
                  </a:lnTo>
                  <a:lnTo>
                    <a:pt x="2909" y="1235"/>
                  </a:lnTo>
                  <a:lnTo>
                    <a:pt x="2867" y="1109"/>
                  </a:lnTo>
                  <a:lnTo>
                    <a:pt x="2763" y="1067"/>
                  </a:lnTo>
                  <a:lnTo>
                    <a:pt x="2554" y="1067"/>
                  </a:lnTo>
                  <a:lnTo>
                    <a:pt x="2323" y="1047"/>
                  </a:lnTo>
                  <a:lnTo>
                    <a:pt x="2240" y="963"/>
                  </a:lnTo>
                  <a:lnTo>
                    <a:pt x="2177" y="900"/>
                  </a:lnTo>
                  <a:lnTo>
                    <a:pt x="2135" y="733"/>
                  </a:lnTo>
                  <a:lnTo>
                    <a:pt x="2010" y="649"/>
                  </a:lnTo>
                  <a:lnTo>
                    <a:pt x="1759" y="272"/>
                  </a:lnTo>
                  <a:lnTo>
                    <a:pt x="1675" y="84"/>
                  </a:lnTo>
                  <a:lnTo>
                    <a:pt x="159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Google Shape;12280;p43">
              <a:extLst>
                <a:ext uri="{FF2B5EF4-FFF2-40B4-BE49-F238E27FC236}">
                  <a16:creationId xmlns:a16="http://schemas.microsoft.com/office/drawing/2014/main" id="{4AC9EE0D-0F0A-0490-FF7A-463CE512290C}"/>
                </a:ext>
              </a:extLst>
            </p:cNvPr>
            <p:cNvSpPr/>
            <p:nvPr/>
          </p:nvSpPr>
          <p:spPr>
            <a:xfrm>
              <a:off x="4014919" y="2846238"/>
              <a:ext cx="33651" cy="9053"/>
            </a:xfrm>
            <a:custGeom>
              <a:avLst/>
              <a:gdLst/>
              <a:ahLst/>
              <a:cxnLst/>
              <a:rect l="l" t="t" r="r" b="b"/>
              <a:pathLst>
                <a:path w="2826" h="796" extrusionOk="0">
                  <a:moveTo>
                    <a:pt x="2240" y="0"/>
                  </a:moveTo>
                  <a:cubicBezTo>
                    <a:pt x="2240" y="0"/>
                    <a:pt x="1717" y="230"/>
                    <a:pt x="1612" y="230"/>
                  </a:cubicBezTo>
                  <a:cubicBezTo>
                    <a:pt x="1507" y="230"/>
                    <a:pt x="1382" y="105"/>
                    <a:pt x="1382" y="105"/>
                  </a:cubicBezTo>
                  <a:lnTo>
                    <a:pt x="733" y="126"/>
                  </a:lnTo>
                  <a:lnTo>
                    <a:pt x="754" y="293"/>
                  </a:lnTo>
                  <a:cubicBezTo>
                    <a:pt x="775" y="419"/>
                    <a:pt x="231" y="419"/>
                    <a:pt x="22" y="419"/>
                  </a:cubicBezTo>
                  <a:lnTo>
                    <a:pt x="22" y="439"/>
                  </a:lnTo>
                  <a:lnTo>
                    <a:pt x="1" y="481"/>
                  </a:lnTo>
                  <a:lnTo>
                    <a:pt x="85" y="481"/>
                  </a:lnTo>
                  <a:lnTo>
                    <a:pt x="105" y="586"/>
                  </a:lnTo>
                  <a:lnTo>
                    <a:pt x="189" y="586"/>
                  </a:lnTo>
                  <a:lnTo>
                    <a:pt x="231" y="502"/>
                  </a:lnTo>
                  <a:lnTo>
                    <a:pt x="398" y="544"/>
                  </a:lnTo>
                  <a:lnTo>
                    <a:pt x="461" y="544"/>
                  </a:lnTo>
                  <a:lnTo>
                    <a:pt x="545" y="460"/>
                  </a:lnTo>
                  <a:lnTo>
                    <a:pt x="649" y="502"/>
                  </a:lnTo>
                  <a:lnTo>
                    <a:pt x="880" y="711"/>
                  </a:lnTo>
                  <a:lnTo>
                    <a:pt x="984" y="732"/>
                  </a:lnTo>
                  <a:lnTo>
                    <a:pt x="1173" y="691"/>
                  </a:lnTo>
                  <a:lnTo>
                    <a:pt x="1424" y="628"/>
                  </a:lnTo>
                  <a:lnTo>
                    <a:pt x="1507" y="649"/>
                  </a:lnTo>
                  <a:lnTo>
                    <a:pt x="1821" y="649"/>
                  </a:lnTo>
                  <a:lnTo>
                    <a:pt x="1863" y="691"/>
                  </a:lnTo>
                  <a:lnTo>
                    <a:pt x="1863" y="586"/>
                  </a:lnTo>
                  <a:lnTo>
                    <a:pt x="2072" y="502"/>
                  </a:lnTo>
                  <a:lnTo>
                    <a:pt x="2386" y="691"/>
                  </a:lnTo>
                  <a:lnTo>
                    <a:pt x="2595" y="691"/>
                  </a:lnTo>
                  <a:lnTo>
                    <a:pt x="2805" y="795"/>
                  </a:lnTo>
                  <a:lnTo>
                    <a:pt x="2826" y="586"/>
                  </a:lnTo>
                  <a:lnTo>
                    <a:pt x="2742" y="481"/>
                  </a:lnTo>
                  <a:lnTo>
                    <a:pt x="2595" y="377"/>
                  </a:lnTo>
                  <a:lnTo>
                    <a:pt x="2637" y="188"/>
                  </a:lnTo>
                  <a:cubicBezTo>
                    <a:pt x="2628" y="188"/>
                    <a:pt x="2594" y="197"/>
                    <a:pt x="2555" y="197"/>
                  </a:cubicBezTo>
                  <a:cubicBezTo>
                    <a:pt x="2507" y="197"/>
                    <a:pt x="2451" y="184"/>
                    <a:pt x="2428" y="126"/>
                  </a:cubicBezTo>
                  <a:cubicBezTo>
                    <a:pt x="2386" y="21"/>
                    <a:pt x="2240" y="0"/>
                    <a:pt x="224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Google Shape;12281;p43">
              <a:extLst>
                <a:ext uri="{FF2B5EF4-FFF2-40B4-BE49-F238E27FC236}">
                  <a16:creationId xmlns:a16="http://schemas.microsoft.com/office/drawing/2014/main" id="{AC336B91-474D-4956-7FD4-680069B84A93}"/>
                </a:ext>
              </a:extLst>
            </p:cNvPr>
            <p:cNvSpPr/>
            <p:nvPr/>
          </p:nvSpPr>
          <p:spPr>
            <a:xfrm>
              <a:off x="4036853" y="2853608"/>
              <a:ext cx="1250" cy="1205"/>
            </a:xfrm>
            <a:custGeom>
              <a:avLst/>
              <a:gdLst/>
              <a:ahLst/>
              <a:cxnLst/>
              <a:rect l="l" t="t" r="r" b="b"/>
              <a:pathLst>
                <a:path w="105" h="106" fill="none" extrusionOk="0">
                  <a:moveTo>
                    <a:pt x="105" y="105"/>
                  </a:moveTo>
                  <a:lnTo>
                    <a:pt x="0" y="1"/>
                  </a:lnTo>
                </a:path>
              </a:pathLst>
            </a:custGeom>
            <a:solidFill>
              <a:schemeClr val="lt2"/>
            </a:solidFill>
            <a:ln w="25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Google Shape;12282;p43">
              <a:extLst>
                <a:ext uri="{FF2B5EF4-FFF2-40B4-BE49-F238E27FC236}">
                  <a16:creationId xmlns:a16="http://schemas.microsoft.com/office/drawing/2014/main" id="{30E4A02B-BAEA-53F5-EA8C-AD641412E4E2}"/>
                </a:ext>
              </a:extLst>
            </p:cNvPr>
            <p:cNvSpPr/>
            <p:nvPr/>
          </p:nvSpPr>
          <p:spPr>
            <a:xfrm>
              <a:off x="4346543" y="2948318"/>
              <a:ext cx="21183" cy="11907"/>
            </a:xfrm>
            <a:custGeom>
              <a:avLst/>
              <a:gdLst/>
              <a:ahLst/>
              <a:cxnLst/>
              <a:rect l="l" t="t" r="r" b="b"/>
              <a:pathLst>
                <a:path w="1779" h="1047" extrusionOk="0">
                  <a:moveTo>
                    <a:pt x="753" y="0"/>
                  </a:moveTo>
                  <a:lnTo>
                    <a:pt x="586" y="21"/>
                  </a:lnTo>
                  <a:lnTo>
                    <a:pt x="314" y="189"/>
                  </a:lnTo>
                  <a:lnTo>
                    <a:pt x="188" y="440"/>
                  </a:lnTo>
                  <a:lnTo>
                    <a:pt x="63" y="502"/>
                  </a:lnTo>
                  <a:lnTo>
                    <a:pt x="63" y="628"/>
                  </a:lnTo>
                  <a:lnTo>
                    <a:pt x="0" y="733"/>
                  </a:lnTo>
                  <a:lnTo>
                    <a:pt x="105" y="921"/>
                  </a:lnTo>
                  <a:lnTo>
                    <a:pt x="314" y="942"/>
                  </a:lnTo>
                  <a:lnTo>
                    <a:pt x="398" y="879"/>
                  </a:lnTo>
                  <a:lnTo>
                    <a:pt x="691" y="1046"/>
                  </a:lnTo>
                  <a:lnTo>
                    <a:pt x="837" y="1046"/>
                  </a:lnTo>
                  <a:lnTo>
                    <a:pt x="942" y="921"/>
                  </a:lnTo>
                  <a:lnTo>
                    <a:pt x="1067" y="879"/>
                  </a:lnTo>
                  <a:lnTo>
                    <a:pt x="1172" y="942"/>
                  </a:lnTo>
                  <a:lnTo>
                    <a:pt x="1381" y="879"/>
                  </a:lnTo>
                  <a:lnTo>
                    <a:pt x="1549" y="921"/>
                  </a:lnTo>
                  <a:lnTo>
                    <a:pt x="1779" y="837"/>
                  </a:lnTo>
                  <a:lnTo>
                    <a:pt x="1779" y="733"/>
                  </a:lnTo>
                  <a:lnTo>
                    <a:pt x="1779" y="565"/>
                  </a:lnTo>
                  <a:lnTo>
                    <a:pt x="1590" y="502"/>
                  </a:lnTo>
                  <a:lnTo>
                    <a:pt x="1590" y="398"/>
                  </a:lnTo>
                  <a:lnTo>
                    <a:pt x="1632" y="230"/>
                  </a:lnTo>
                  <a:lnTo>
                    <a:pt x="1590" y="230"/>
                  </a:lnTo>
                  <a:lnTo>
                    <a:pt x="1528" y="126"/>
                  </a:lnTo>
                  <a:lnTo>
                    <a:pt x="1360" y="105"/>
                  </a:lnTo>
                  <a:lnTo>
                    <a:pt x="1214" y="189"/>
                  </a:lnTo>
                  <a:lnTo>
                    <a:pt x="1109" y="126"/>
                  </a:lnTo>
                  <a:lnTo>
                    <a:pt x="837" y="105"/>
                  </a:lnTo>
                  <a:lnTo>
                    <a:pt x="753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Google Shape;12283;p43">
              <a:extLst>
                <a:ext uri="{FF2B5EF4-FFF2-40B4-BE49-F238E27FC236}">
                  <a16:creationId xmlns:a16="http://schemas.microsoft.com/office/drawing/2014/main" id="{B981D922-639E-34B5-50F3-31202074FAB6}"/>
                </a:ext>
              </a:extLst>
            </p:cNvPr>
            <p:cNvSpPr/>
            <p:nvPr/>
          </p:nvSpPr>
          <p:spPr>
            <a:xfrm>
              <a:off x="3878888" y="2847660"/>
              <a:ext cx="16706" cy="13579"/>
            </a:xfrm>
            <a:custGeom>
              <a:avLst/>
              <a:gdLst/>
              <a:ahLst/>
              <a:cxnLst/>
              <a:rect l="l" t="t" r="r" b="b"/>
              <a:pathLst>
                <a:path w="1403" h="1194" extrusionOk="0">
                  <a:moveTo>
                    <a:pt x="900" y="1"/>
                  </a:moveTo>
                  <a:lnTo>
                    <a:pt x="754" y="42"/>
                  </a:lnTo>
                  <a:lnTo>
                    <a:pt x="628" y="42"/>
                  </a:lnTo>
                  <a:lnTo>
                    <a:pt x="419" y="84"/>
                  </a:lnTo>
                  <a:lnTo>
                    <a:pt x="314" y="168"/>
                  </a:lnTo>
                  <a:lnTo>
                    <a:pt x="210" y="189"/>
                  </a:lnTo>
                  <a:lnTo>
                    <a:pt x="42" y="273"/>
                  </a:lnTo>
                  <a:lnTo>
                    <a:pt x="63" y="356"/>
                  </a:lnTo>
                  <a:lnTo>
                    <a:pt x="21" y="398"/>
                  </a:lnTo>
                  <a:lnTo>
                    <a:pt x="21" y="377"/>
                  </a:lnTo>
                  <a:lnTo>
                    <a:pt x="1" y="586"/>
                  </a:lnTo>
                  <a:lnTo>
                    <a:pt x="21" y="796"/>
                  </a:lnTo>
                  <a:lnTo>
                    <a:pt x="126" y="942"/>
                  </a:lnTo>
                  <a:lnTo>
                    <a:pt x="168" y="1089"/>
                  </a:lnTo>
                  <a:lnTo>
                    <a:pt x="314" y="1193"/>
                  </a:lnTo>
                  <a:lnTo>
                    <a:pt x="314" y="1151"/>
                  </a:lnTo>
                  <a:lnTo>
                    <a:pt x="524" y="1026"/>
                  </a:lnTo>
                  <a:lnTo>
                    <a:pt x="691" y="984"/>
                  </a:lnTo>
                  <a:lnTo>
                    <a:pt x="691" y="921"/>
                  </a:lnTo>
                  <a:lnTo>
                    <a:pt x="837" y="838"/>
                  </a:lnTo>
                  <a:lnTo>
                    <a:pt x="1110" y="879"/>
                  </a:lnTo>
                  <a:lnTo>
                    <a:pt x="1256" y="796"/>
                  </a:lnTo>
                  <a:lnTo>
                    <a:pt x="1361" y="775"/>
                  </a:lnTo>
                  <a:lnTo>
                    <a:pt x="1402" y="712"/>
                  </a:lnTo>
                  <a:lnTo>
                    <a:pt x="1402" y="607"/>
                  </a:lnTo>
                  <a:lnTo>
                    <a:pt x="1382" y="461"/>
                  </a:lnTo>
                  <a:lnTo>
                    <a:pt x="1214" y="189"/>
                  </a:lnTo>
                  <a:lnTo>
                    <a:pt x="984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Google Shape;12284;p43">
              <a:extLst>
                <a:ext uri="{FF2B5EF4-FFF2-40B4-BE49-F238E27FC236}">
                  <a16:creationId xmlns:a16="http://schemas.microsoft.com/office/drawing/2014/main" id="{CAE35463-C94D-0E73-42A9-A2A0AC1B9A88}"/>
                </a:ext>
              </a:extLst>
            </p:cNvPr>
            <p:cNvSpPr/>
            <p:nvPr/>
          </p:nvSpPr>
          <p:spPr>
            <a:xfrm>
              <a:off x="3865182" y="2817204"/>
              <a:ext cx="27923" cy="34993"/>
            </a:xfrm>
            <a:custGeom>
              <a:avLst/>
              <a:gdLst/>
              <a:ahLst/>
              <a:cxnLst/>
              <a:rect l="l" t="t" r="r" b="b"/>
              <a:pathLst>
                <a:path w="2345" h="3077" extrusionOk="0">
                  <a:moveTo>
                    <a:pt x="461" y="0"/>
                  </a:moveTo>
                  <a:lnTo>
                    <a:pt x="336" y="105"/>
                  </a:lnTo>
                  <a:lnTo>
                    <a:pt x="315" y="147"/>
                  </a:lnTo>
                  <a:lnTo>
                    <a:pt x="210" y="147"/>
                  </a:lnTo>
                  <a:lnTo>
                    <a:pt x="64" y="210"/>
                  </a:lnTo>
                  <a:lnTo>
                    <a:pt x="1" y="272"/>
                  </a:lnTo>
                  <a:lnTo>
                    <a:pt x="22" y="314"/>
                  </a:lnTo>
                  <a:lnTo>
                    <a:pt x="64" y="461"/>
                  </a:lnTo>
                  <a:lnTo>
                    <a:pt x="105" y="628"/>
                  </a:lnTo>
                  <a:lnTo>
                    <a:pt x="168" y="670"/>
                  </a:lnTo>
                  <a:lnTo>
                    <a:pt x="273" y="691"/>
                  </a:lnTo>
                  <a:lnTo>
                    <a:pt x="273" y="754"/>
                  </a:lnTo>
                  <a:lnTo>
                    <a:pt x="231" y="754"/>
                  </a:lnTo>
                  <a:lnTo>
                    <a:pt x="105" y="775"/>
                  </a:lnTo>
                  <a:lnTo>
                    <a:pt x="126" y="879"/>
                  </a:lnTo>
                  <a:lnTo>
                    <a:pt x="147" y="900"/>
                  </a:lnTo>
                  <a:lnTo>
                    <a:pt x="210" y="879"/>
                  </a:lnTo>
                  <a:lnTo>
                    <a:pt x="273" y="879"/>
                  </a:lnTo>
                  <a:lnTo>
                    <a:pt x="252" y="1047"/>
                  </a:lnTo>
                  <a:lnTo>
                    <a:pt x="147" y="1193"/>
                  </a:lnTo>
                  <a:lnTo>
                    <a:pt x="147" y="1277"/>
                  </a:lnTo>
                  <a:lnTo>
                    <a:pt x="315" y="1402"/>
                  </a:lnTo>
                  <a:lnTo>
                    <a:pt x="419" y="1423"/>
                  </a:lnTo>
                  <a:lnTo>
                    <a:pt x="461" y="1486"/>
                  </a:lnTo>
                  <a:lnTo>
                    <a:pt x="440" y="1570"/>
                  </a:lnTo>
                  <a:lnTo>
                    <a:pt x="336" y="1507"/>
                  </a:lnTo>
                  <a:lnTo>
                    <a:pt x="273" y="1528"/>
                  </a:lnTo>
                  <a:lnTo>
                    <a:pt x="273" y="1674"/>
                  </a:lnTo>
                  <a:lnTo>
                    <a:pt x="419" y="1821"/>
                  </a:lnTo>
                  <a:lnTo>
                    <a:pt x="356" y="1842"/>
                  </a:lnTo>
                  <a:lnTo>
                    <a:pt x="482" y="1988"/>
                  </a:lnTo>
                  <a:lnTo>
                    <a:pt x="482" y="2051"/>
                  </a:lnTo>
                  <a:lnTo>
                    <a:pt x="545" y="2135"/>
                  </a:lnTo>
                  <a:lnTo>
                    <a:pt x="670" y="2135"/>
                  </a:lnTo>
                  <a:lnTo>
                    <a:pt x="754" y="2218"/>
                  </a:lnTo>
                  <a:lnTo>
                    <a:pt x="900" y="2239"/>
                  </a:lnTo>
                  <a:lnTo>
                    <a:pt x="900" y="2365"/>
                  </a:lnTo>
                  <a:lnTo>
                    <a:pt x="838" y="2448"/>
                  </a:lnTo>
                  <a:lnTo>
                    <a:pt x="796" y="2511"/>
                  </a:lnTo>
                  <a:lnTo>
                    <a:pt x="859" y="2532"/>
                  </a:lnTo>
                  <a:lnTo>
                    <a:pt x="942" y="2658"/>
                  </a:lnTo>
                  <a:lnTo>
                    <a:pt x="984" y="2658"/>
                  </a:lnTo>
                  <a:lnTo>
                    <a:pt x="1089" y="2741"/>
                  </a:lnTo>
                  <a:lnTo>
                    <a:pt x="1152" y="2846"/>
                  </a:lnTo>
                  <a:lnTo>
                    <a:pt x="1152" y="2992"/>
                  </a:lnTo>
                  <a:lnTo>
                    <a:pt x="1172" y="3076"/>
                  </a:lnTo>
                  <a:lnTo>
                    <a:pt x="1214" y="3034"/>
                  </a:lnTo>
                  <a:lnTo>
                    <a:pt x="1193" y="2951"/>
                  </a:lnTo>
                  <a:lnTo>
                    <a:pt x="1361" y="2867"/>
                  </a:lnTo>
                  <a:lnTo>
                    <a:pt x="1465" y="2846"/>
                  </a:lnTo>
                  <a:lnTo>
                    <a:pt x="1570" y="2762"/>
                  </a:lnTo>
                  <a:lnTo>
                    <a:pt x="1779" y="2720"/>
                  </a:lnTo>
                  <a:lnTo>
                    <a:pt x="1905" y="2720"/>
                  </a:lnTo>
                  <a:lnTo>
                    <a:pt x="2051" y="2679"/>
                  </a:lnTo>
                  <a:lnTo>
                    <a:pt x="2135" y="2679"/>
                  </a:lnTo>
                  <a:lnTo>
                    <a:pt x="2198" y="2574"/>
                  </a:lnTo>
                  <a:lnTo>
                    <a:pt x="2114" y="2469"/>
                  </a:lnTo>
                  <a:lnTo>
                    <a:pt x="2093" y="2365"/>
                  </a:lnTo>
                  <a:lnTo>
                    <a:pt x="2302" y="2197"/>
                  </a:lnTo>
                  <a:lnTo>
                    <a:pt x="2344" y="2051"/>
                  </a:lnTo>
                  <a:lnTo>
                    <a:pt x="2261" y="1925"/>
                  </a:lnTo>
                  <a:lnTo>
                    <a:pt x="2093" y="1737"/>
                  </a:lnTo>
                  <a:lnTo>
                    <a:pt x="2030" y="1507"/>
                  </a:lnTo>
                  <a:lnTo>
                    <a:pt x="2114" y="1423"/>
                  </a:lnTo>
                  <a:lnTo>
                    <a:pt x="2093" y="1319"/>
                  </a:lnTo>
                  <a:lnTo>
                    <a:pt x="2051" y="1193"/>
                  </a:lnTo>
                  <a:lnTo>
                    <a:pt x="2030" y="1109"/>
                  </a:lnTo>
                  <a:lnTo>
                    <a:pt x="2135" y="984"/>
                  </a:lnTo>
                  <a:lnTo>
                    <a:pt x="1926" y="963"/>
                  </a:lnTo>
                  <a:lnTo>
                    <a:pt x="1842" y="1088"/>
                  </a:lnTo>
                  <a:lnTo>
                    <a:pt x="1737" y="1005"/>
                  </a:lnTo>
                  <a:lnTo>
                    <a:pt x="1633" y="1047"/>
                  </a:lnTo>
                  <a:lnTo>
                    <a:pt x="1591" y="963"/>
                  </a:lnTo>
                  <a:lnTo>
                    <a:pt x="1382" y="879"/>
                  </a:lnTo>
                  <a:lnTo>
                    <a:pt x="1361" y="837"/>
                  </a:lnTo>
                  <a:lnTo>
                    <a:pt x="1424" y="691"/>
                  </a:lnTo>
                  <a:lnTo>
                    <a:pt x="1277" y="565"/>
                  </a:lnTo>
                  <a:lnTo>
                    <a:pt x="1110" y="482"/>
                  </a:lnTo>
                  <a:lnTo>
                    <a:pt x="1089" y="377"/>
                  </a:lnTo>
                  <a:lnTo>
                    <a:pt x="900" y="168"/>
                  </a:lnTo>
                  <a:lnTo>
                    <a:pt x="880" y="105"/>
                  </a:lnTo>
                  <a:lnTo>
                    <a:pt x="754" y="63"/>
                  </a:lnTo>
                  <a:lnTo>
                    <a:pt x="670" y="42"/>
                  </a:lnTo>
                  <a:lnTo>
                    <a:pt x="566" y="21"/>
                  </a:lnTo>
                  <a:lnTo>
                    <a:pt x="46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1" name="Google Shape;12306;p43">
            <a:extLst>
              <a:ext uri="{FF2B5EF4-FFF2-40B4-BE49-F238E27FC236}">
                <a16:creationId xmlns:a16="http://schemas.microsoft.com/office/drawing/2014/main" id="{F3EC1F88-327C-FE1D-7B62-1EB8059AD14E}"/>
              </a:ext>
            </a:extLst>
          </p:cNvPr>
          <p:cNvGrpSpPr/>
          <p:nvPr/>
        </p:nvGrpSpPr>
        <p:grpSpPr>
          <a:xfrm>
            <a:off x="2895753" y="2501486"/>
            <a:ext cx="1201672" cy="938924"/>
            <a:chOff x="-8126650" y="2871650"/>
            <a:chExt cx="1507650" cy="1471850"/>
          </a:xfrm>
        </p:grpSpPr>
        <p:sp>
          <p:nvSpPr>
            <p:cNvPr id="282" name="Google Shape;12307;p43">
              <a:extLst>
                <a:ext uri="{FF2B5EF4-FFF2-40B4-BE49-F238E27FC236}">
                  <a16:creationId xmlns:a16="http://schemas.microsoft.com/office/drawing/2014/main" id="{1810276E-4181-B901-836B-BA7D351BFD8C}"/>
                </a:ext>
              </a:extLst>
            </p:cNvPr>
            <p:cNvSpPr/>
            <p:nvPr/>
          </p:nvSpPr>
          <p:spPr>
            <a:xfrm>
              <a:off x="-8126650" y="2933175"/>
              <a:ext cx="1439200" cy="393825"/>
            </a:xfrm>
            <a:custGeom>
              <a:avLst/>
              <a:gdLst/>
              <a:ahLst/>
              <a:cxnLst/>
              <a:rect l="l" t="t" r="r" b="b"/>
              <a:pathLst>
                <a:path w="57568" h="15753" extrusionOk="0">
                  <a:moveTo>
                    <a:pt x="7918" y="0"/>
                  </a:moveTo>
                  <a:cubicBezTo>
                    <a:pt x="3656" y="0"/>
                    <a:pt x="120" y="3465"/>
                    <a:pt x="36" y="7727"/>
                  </a:cubicBezTo>
                  <a:cubicBezTo>
                    <a:pt x="1" y="9811"/>
                    <a:pt x="798" y="11787"/>
                    <a:pt x="2287" y="13311"/>
                  </a:cubicBezTo>
                  <a:cubicBezTo>
                    <a:pt x="3811" y="14859"/>
                    <a:pt x="5918" y="15752"/>
                    <a:pt x="8073" y="15752"/>
                  </a:cubicBezTo>
                  <a:lnTo>
                    <a:pt x="49697" y="15752"/>
                  </a:lnTo>
                  <a:cubicBezTo>
                    <a:pt x="54031" y="15752"/>
                    <a:pt x="57567" y="12216"/>
                    <a:pt x="57567" y="7870"/>
                  </a:cubicBezTo>
                  <a:cubicBezTo>
                    <a:pt x="57567" y="3536"/>
                    <a:pt x="54031" y="0"/>
                    <a:pt x="49697" y="0"/>
                  </a:cubicBez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3" name="Google Shape;12308;p43">
              <a:extLst>
                <a:ext uri="{FF2B5EF4-FFF2-40B4-BE49-F238E27FC236}">
                  <a16:creationId xmlns:a16="http://schemas.microsoft.com/office/drawing/2014/main" id="{BB133230-24B7-79D6-D94F-D95D1F0ABD2C}"/>
                </a:ext>
              </a:extLst>
            </p:cNvPr>
            <p:cNvSpPr/>
            <p:nvPr/>
          </p:nvSpPr>
          <p:spPr>
            <a:xfrm>
              <a:off x="-7147375" y="2871650"/>
              <a:ext cx="528375" cy="1471850"/>
            </a:xfrm>
            <a:custGeom>
              <a:avLst/>
              <a:gdLst/>
              <a:ahLst/>
              <a:cxnLst/>
              <a:rect l="l" t="t" r="r" b="b"/>
              <a:pathLst>
                <a:path w="21135" h="58874" extrusionOk="0">
                  <a:moveTo>
                    <a:pt x="10788" y="2756"/>
                  </a:moveTo>
                  <a:cubicBezTo>
                    <a:pt x="15224" y="2756"/>
                    <a:pt x="18787" y="6579"/>
                    <a:pt x="18337" y="11105"/>
                  </a:cubicBezTo>
                  <a:cubicBezTo>
                    <a:pt x="17979" y="14653"/>
                    <a:pt x="15110" y="17523"/>
                    <a:pt x="11574" y="17880"/>
                  </a:cubicBezTo>
                  <a:cubicBezTo>
                    <a:pt x="11314" y="17906"/>
                    <a:pt x="11057" y="17918"/>
                    <a:pt x="10802" y="17918"/>
                  </a:cubicBezTo>
                  <a:cubicBezTo>
                    <a:pt x="6365" y="17918"/>
                    <a:pt x="2801" y="14084"/>
                    <a:pt x="3251" y="9557"/>
                  </a:cubicBezTo>
                  <a:cubicBezTo>
                    <a:pt x="3609" y="6009"/>
                    <a:pt x="6478" y="3152"/>
                    <a:pt x="10014" y="2795"/>
                  </a:cubicBezTo>
                  <a:cubicBezTo>
                    <a:pt x="10275" y="2769"/>
                    <a:pt x="10533" y="2756"/>
                    <a:pt x="10788" y="2756"/>
                  </a:cubicBezTo>
                  <a:close/>
                  <a:moveTo>
                    <a:pt x="10806" y="1"/>
                  </a:moveTo>
                  <a:cubicBezTo>
                    <a:pt x="10412" y="1"/>
                    <a:pt x="10013" y="23"/>
                    <a:pt x="9609" y="68"/>
                  </a:cubicBezTo>
                  <a:cubicBezTo>
                    <a:pt x="4811" y="604"/>
                    <a:pt x="977" y="4497"/>
                    <a:pt x="513" y="9296"/>
                  </a:cubicBezTo>
                  <a:cubicBezTo>
                    <a:pt x="1" y="14499"/>
                    <a:pt x="3359" y="19023"/>
                    <a:pt x="8061" y="20297"/>
                  </a:cubicBezTo>
                  <a:cubicBezTo>
                    <a:pt x="8871" y="20523"/>
                    <a:pt x="9419" y="21285"/>
                    <a:pt x="9419" y="22119"/>
                  </a:cubicBezTo>
                  <a:lnTo>
                    <a:pt x="9419" y="57159"/>
                  </a:lnTo>
                  <a:lnTo>
                    <a:pt x="10836" y="58873"/>
                  </a:lnTo>
                  <a:lnTo>
                    <a:pt x="12169" y="57159"/>
                  </a:lnTo>
                  <a:lnTo>
                    <a:pt x="12169" y="22071"/>
                  </a:lnTo>
                  <a:cubicBezTo>
                    <a:pt x="12169" y="21237"/>
                    <a:pt x="12753" y="20523"/>
                    <a:pt x="13562" y="20297"/>
                  </a:cubicBezTo>
                  <a:cubicBezTo>
                    <a:pt x="17932" y="19082"/>
                    <a:pt x="21135" y="15082"/>
                    <a:pt x="21135" y="10331"/>
                  </a:cubicBezTo>
                  <a:cubicBezTo>
                    <a:pt x="21135" y="4630"/>
                    <a:pt x="16510" y="1"/>
                    <a:pt x="10806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4" name="Google Shape;12309;p43">
              <a:extLst>
                <a:ext uri="{FF2B5EF4-FFF2-40B4-BE49-F238E27FC236}">
                  <a16:creationId xmlns:a16="http://schemas.microsoft.com/office/drawing/2014/main" id="{421CC938-5BF5-C983-31AF-0BBD896E8D6C}"/>
                </a:ext>
              </a:extLst>
            </p:cNvPr>
            <p:cNvSpPr/>
            <p:nvPr/>
          </p:nvSpPr>
          <p:spPr>
            <a:xfrm>
              <a:off x="-8097775" y="2960850"/>
              <a:ext cx="1383825" cy="338450"/>
            </a:xfrm>
            <a:custGeom>
              <a:avLst/>
              <a:gdLst/>
              <a:ahLst/>
              <a:cxnLst/>
              <a:rect l="l" t="t" r="r" b="b"/>
              <a:pathLst>
                <a:path w="55353" h="13538" extrusionOk="0">
                  <a:moveTo>
                    <a:pt x="6811" y="1"/>
                  </a:moveTo>
                  <a:cubicBezTo>
                    <a:pt x="3144" y="1"/>
                    <a:pt x="108" y="2977"/>
                    <a:pt x="36" y="6632"/>
                  </a:cubicBezTo>
                  <a:cubicBezTo>
                    <a:pt x="1" y="8418"/>
                    <a:pt x="691" y="10121"/>
                    <a:pt x="1977" y="11431"/>
                  </a:cubicBezTo>
                  <a:cubicBezTo>
                    <a:pt x="3287" y="12764"/>
                    <a:pt x="5108" y="13538"/>
                    <a:pt x="6966" y="13538"/>
                  </a:cubicBezTo>
                  <a:lnTo>
                    <a:pt x="48590" y="13538"/>
                  </a:lnTo>
                  <a:cubicBezTo>
                    <a:pt x="52317" y="13538"/>
                    <a:pt x="55353" y="10502"/>
                    <a:pt x="55353" y="6763"/>
                  </a:cubicBezTo>
                  <a:cubicBezTo>
                    <a:pt x="55353" y="3037"/>
                    <a:pt x="52317" y="1"/>
                    <a:pt x="4859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100"/>
                <a:buFontTx/>
                <a:buNone/>
                <a:tabLst/>
                <a:defRPr/>
              </a:pPr>
              <a:r>
                <a:rPr kumimoji="0" lang="e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arrow" panose="020B060602020203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MÉXICO (4)</a:t>
              </a:r>
              <a:endParaRPr kumimoji="0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85" name="Google Shape;12310;p43">
              <a:extLst>
                <a:ext uri="{FF2B5EF4-FFF2-40B4-BE49-F238E27FC236}">
                  <a16:creationId xmlns:a16="http://schemas.microsoft.com/office/drawing/2014/main" id="{3E38F34E-BA8A-25BD-7808-701F2EC4C060}"/>
                </a:ext>
              </a:extLst>
            </p:cNvPr>
            <p:cNvSpPr/>
            <p:nvPr/>
          </p:nvSpPr>
          <p:spPr>
            <a:xfrm>
              <a:off x="-6929717" y="3081963"/>
              <a:ext cx="113166" cy="134597"/>
            </a:xfrm>
            <a:custGeom>
              <a:avLst/>
              <a:gdLst/>
              <a:ahLst/>
              <a:cxnLst/>
              <a:rect l="l" t="t" r="r" b="b"/>
              <a:pathLst>
                <a:path w="9657" h="9645" extrusionOk="0">
                  <a:moveTo>
                    <a:pt x="4835" y="0"/>
                  </a:moveTo>
                  <a:cubicBezTo>
                    <a:pt x="2168" y="0"/>
                    <a:pt x="1" y="2167"/>
                    <a:pt x="1" y="4822"/>
                  </a:cubicBezTo>
                  <a:cubicBezTo>
                    <a:pt x="1" y="7489"/>
                    <a:pt x="2168" y="9644"/>
                    <a:pt x="4835" y="9644"/>
                  </a:cubicBezTo>
                  <a:cubicBezTo>
                    <a:pt x="7490" y="9644"/>
                    <a:pt x="9657" y="7489"/>
                    <a:pt x="9657" y="4822"/>
                  </a:cubicBezTo>
                  <a:cubicBezTo>
                    <a:pt x="9657" y="2167"/>
                    <a:pt x="7490" y="0"/>
                    <a:pt x="4835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6" name="Google Shape;12306;p43">
            <a:extLst>
              <a:ext uri="{FF2B5EF4-FFF2-40B4-BE49-F238E27FC236}">
                <a16:creationId xmlns:a16="http://schemas.microsoft.com/office/drawing/2014/main" id="{18F7ED08-DA89-D748-D130-D538B9691525}"/>
              </a:ext>
            </a:extLst>
          </p:cNvPr>
          <p:cNvGrpSpPr/>
          <p:nvPr/>
        </p:nvGrpSpPr>
        <p:grpSpPr>
          <a:xfrm>
            <a:off x="2807416" y="3872264"/>
            <a:ext cx="1785410" cy="337244"/>
            <a:chOff x="-8126650" y="2865159"/>
            <a:chExt cx="2240023" cy="528661"/>
          </a:xfrm>
        </p:grpSpPr>
        <p:sp>
          <p:nvSpPr>
            <p:cNvPr id="287" name="Google Shape;12307;p43">
              <a:extLst>
                <a:ext uri="{FF2B5EF4-FFF2-40B4-BE49-F238E27FC236}">
                  <a16:creationId xmlns:a16="http://schemas.microsoft.com/office/drawing/2014/main" id="{9810E153-40C4-A8C9-13F9-AA9E3207F288}"/>
                </a:ext>
              </a:extLst>
            </p:cNvPr>
            <p:cNvSpPr/>
            <p:nvPr/>
          </p:nvSpPr>
          <p:spPr>
            <a:xfrm>
              <a:off x="-8126650" y="2933175"/>
              <a:ext cx="1439200" cy="393825"/>
            </a:xfrm>
            <a:custGeom>
              <a:avLst/>
              <a:gdLst/>
              <a:ahLst/>
              <a:cxnLst/>
              <a:rect l="l" t="t" r="r" b="b"/>
              <a:pathLst>
                <a:path w="57568" h="15753" extrusionOk="0">
                  <a:moveTo>
                    <a:pt x="7918" y="0"/>
                  </a:moveTo>
                  <a:cubicBezTo>
                    <a:pt x="3656" y="0"/>
                    <a:pt x="120" y="3465"/>
                    <a:pt x="36" y="7727"/>
                  </a:cubicBezTo>
                  <a:cubicBezTo>
                    <a:pt x="1" y="9811"/>
                    <a:pt x="798" y="11787"/>
                    <a:pt x="2287" y="13311"/>
                  </a:cubicBezTo>
                  <a:cubicBezTo>
                    <a:pt x="3811" y="14859"/>
                    <a:pt x="5918" y="15752"/>
                    <a:pt x="8073" y="15752"/>
                  </a:cubicBezTo>
                  <a:lnTo>
                    <a:pt x="49697" y="15752"/>
                  </a:lnTo>
                  <a:cubicBezTo>
                    <a:pt x="54031" y="15752"/>
                    <a:pt x="57567" y="12216"/>
                    <a:pt x="57567" y="7870"/>
                  </a:cubicBezTo>
                  <a:cubicBezTo>
                    <a:pt x="57567" y="3536"/>
                    <a:pt x="54031" y="0"/>
                    <a:pt x="49697" y="0"/>
                  </a:cubicBez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8" name="Google Shape;12308;p43">
              <a:extLst>
                <a:ext uri="{FF2B5EF4-FFF2-40B4-BE49-F238E27FC236}">
                  <a16:creationId xmlns:a16="http://schemas.microsoft.com/office/drawing/2014/main" id="{A9F5359E-D587-BD0A-B0FC-45F843EC3B11}"/>
                </a:ext>
              </a:extLst>
            </p:cNvPr>
            <p:cNvSpPr/>
            <p:nvPr/>
          </p:nvSpPr>
          <p:spPr>
            <a:xfrm rot="16200000">
              <a:off x="-6739957" y="2540490"/>
              <a:ext cx="528661" cy="1177999"/>
            </a:xfrm>
            <a:custGeom>
              <a:avLst/>
              <a:gdLst/>
              <a:ahLst/>
              <a:cxnLst/>
              <a:rect l="l" t="t" r="r" b="b"/>
              <a:pathLst>
                <a:path w="21135" h="58874" extrusionOk="0">
                  <a:moveTo>
                    <a:pt x="10788" y="2756"/>
                  </a:moveTo>
                  <a:cubicBezTo>
                    <a:pt x="15224" y="2756"/>
                    <a:pt x="18787" y="6579"/>
                    <a:pt x="18337" y="11105"/>
                  </a:cubicBezTo>
                  <a:cubicBezTo>
                    <a:pt x="17979" y="14653"/>
                    <a:pt x="15110" y="17523"/>
                    <a:pt x="11574" y="17880"/>
                  </a:cubicBezTo>
                  <a:cubicBezTo>
                    <a:pt x="11314" y="17906"/>
                    <a:pt x="11057" y="17918"/>
                    <a:pt x="10802" y="17918"/>
                  </a:cubicBezTo>
                  <a:cubicBezTo>
                    <a:pt x="6365" y="17918"/>
                    <a:pt x="2801" y="14084"/>
                    <a:pt x="3251" y="9557"/>
                  </a:cubicBezTo>
                  <a:cubicBezTo>
                    <a:pt x="3609" y="6009"/>
                    <a:pt x="6478" y="3152"/>
                    <a:pt x="10014" y="2795"/>
                  </a:cubicBezTo>
                  <a:cubicBezTo>
                    <a:pt x="10275" y="2769"/>
                    <a:pt x="10533" y="2756"/>
                    <a:pt x="10788" y="2756"/>
                  </a:cubicBezTo>
                  <a:close/>
                  <a:moveTo>
                    <a:pt x="10806" y="1"/>
                  </a:moveTo>
                  <a:cubicBezTo>
                    <a:pt x="10412" y="1"/>
                    <a:pt x="10013" y="23"/>
                    <a:pt x="9609" y="68"/>
                  </a:cubicBezTo>
                  <a:cubicBezTo>
                    <a:pt x="4811" y="604"/>
                    <a:pt x="977" y="4497"/>
                    <a:pt x="513" y="9296"/>
                  </a:cubicBezTo>
                  <a:cubicBezTo>
                    <a:pt x="1" y="14499"/>
                    <a:pt x="3359" y="19023"/>
                    <a:pt x="8061" y="20297"/>
                  </a:cubicBezTo>
                  <a:cubicBezTo>
                    <a:pt x="8871" y="20523"/>
                    <a:pt x="9419" y="21285"/>
                    <a:pt x="9419" y="22119"/>
                  </a:cubicBezTo>
                  <a:lnTo>
                    <a:pt x="9419" y="57159"/>
                  </a:lnTo>
                  <a:lnTo>
                    <a:pt x="10836" y="58873"/>
                  </a:lnTo>
                  <a:lnTo>
                    <a:pt x="12169" y="57159"/>
                  </a:lnTo>
                  <a:lnTo>
                    <a:pt x="12169" y="22071"/>
                  </a:lnTo>
                  <a:cubicBezTo>
                    <a:pt x="12169" y="21237"/>
                    <a:pt x="12753" y="20523"/>
                    <a:pt x="13562" y="20297"/>
                  </a:cubicBezTo>
                  <a:cubicBezTo>
                    <a:pt x="17932" y="19082"/>
                    <a:pt x="21135" y="15082"/>
                    <a:pt x="21135" y="10331"/>
                  </a:cubicBezTo>
                  <a:cubicBezTo>
                    <a:pt x="21135" y="4630"/>
                    <a:pt x="16510" y="1"/>
                    <a:pt x="10806" y="1"/>
                  </a:cubicBezTo>
                  <a:close/>
                </a:path>
              </a:pathLst>
            </a:custGeom>
            <a:solidFill>
              <a:srgbClr val="00B3F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9" name="Google Shape;12309;p43">
              <a:extLst>
                <a:ext uri="{FF2B5EF4-FFF2-40B4-BE49-F238E27FC236}">
                  <a16:creationId xmlns:a16="http://schemas.microsoft.com/office/drawing/2014/main" id="{2CEF9945-8973-E8A8-1A84-E7B5BDBC295B}"/>
                </a:ext>
              </a:extLst>
            </p:cNvPr>
            <p:cNvSpPr/>
            <p:nvPr/>
          </p:nvSpPr>
          <p:spPr>
            <a:xfrm>
              <a:off x="-8097772" y="2960850"/>
              <a:ext cx="1383824" cy="338449"/>
            </a:xfrm>
            <a:custGeom>
              <a:avLst/>
              <a:gdLst/>
              <a:ahLst/>
              <a:cxnLst/>
              <a:rect l="l" t="t" r="r" b="b"/>
              <a:pathLst>
                <a:path w="55353" h="13538" extrusionOk="0">
                  <a:moveTo>
                    <a:pt x="6811" y="1"/>
                  </a:moveTo>
                  <a:cubicBezTo>
                    <a:pt x="3144" y="1"/>
                    <a:pt x="108" y="2977"/>
                    <a:pt x="36" y="6632"/>
                  </a:cubicBezTo>
                  <a:cubicBezTo>
                    <a:pt x="1" y="8418"/>
                    <a:pt x="691" y="10121"/>
                    <a:pt x="1977" y="11431"/>
                  </a:cubicBezTo>
                  <a:cubicBezTo>
                    <a:pt x="3287" y="12764"/>
                    <a:pt x="5108" y="13538"/>
                    <a:pt x="6966" y="13538"/>
                  </a:cubicBezTo>
                  <a:lnTo>
                    <a:pt x="48590" y="13538"/>
                  </a:lnTo>
                  <a:cubicBezTo>
                    <a:pt x="52317" y="13538"/>
                    <a:pt x="55353" y="10502"/>
                    <a:pt x="55353" y="6763"/>
                  </a:cubicBezTo>
                  <a:cubicBezTo>
                    <a:pt x="55353" y="3037"/>
                    <a:pt x="52317" y="1"/>
                    <a:pt x="4859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100"/>
                <a:buFontTx/>
                <a:buNone/>
                <a:tabLst/>
                <a:defRPr/>
              </a:pPr>
              <a:r>
                <a:rPr kumimoji="0" lang="e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arrow" panose="020B060602020203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COLOMBIA (2)</a:t>
              </a:r>
              <a:r>
                <a:rPr kumimoji="0" lang="en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arrow" panose="020B060602020203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  </a:t>
              </a:r>
              <a:endParaRPr kumimoji="0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90" name="Google Shape;12310;p43">
              <a:extLst>
                <a:ext uri="{FF2B5EF4-FFF2-40B4-BE49-F238E27FC236}">
                  <a16:creationId xmlns:a16="http://schemas.microsoft.com/office/drawing/2014/main" id="{46C50803-9884-ACDF-3549-6B2C44291FD1}"/>
                </a:ext>
              </a:extLst>
            </p:cNvPr>
            <p:cNvSpPr/>
            <p:nvPr/>
          </p:nvSpPr>
          <p:spPr>
            <a:xfrm>
              <a:off x="-6905386" y="3045471"/>
              <a:ext cx="121773" cy="155438"/>
            </a:xfrm>
            <a:custGeom>
              <a:avLst/>
              <a:gdLst/>
              <a:ahLst/>
              <a:cxnLst/>
              <a:rect l="l" t="t" r="r" b="b"/>
              <a:pathLst>
                <a:path w="9657" h="9645" extrusionOk="0">
                  <a:moveTo>
                    <a:pt x="4835" y="0"/>
                  </a:moveTo>
                  <a:cubicBezTo>
                    <a:pt x="2168" y="0"/>
                    <a:pt x="1" y="2167"/>
                    <a:pt x="1" y="4822"/>
                  </a:cubicBezTo>
                  <a:cubicBezTo>
                    <a:pt x="1" y="7489"/>
                    <a:pt x="2168" y="9644"/>
                    <a:pt x="4835" y="9644"/>
                  </a:cubicBezTo>
                  <a:cubicBezTo>
                    <a:pt x="7490" y="9644"/>
                    <a:pt x="9657" y="7489"/>
                    <a:pt x="9657" y="4822"/>
                  </a:cubicBezTo>
                  <a:cubicBezTo>
                    <a:pt x="9657" y="2167"/>
                    <a:pt x="7490" y="0"/>
                    <a:pt x="4835" y="0"/>
                  </a:cubicBezTo>
                  <a:close/>
                </a:path>
              </a:pathLst>
            </a:custGeom>
            <a:solidFill>
              <a:srgbClr val="00B3F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91" name="Group 1">
            <a:extLst>
              <a:ext uri="{FF2B5EF4-FFF2-40B4-BE49-F238E27FC236}">
                <a16:creationId xmlns:a16="http://schemas.microsoft.com/office/drawing/2014/main" id="{DA9C8929-399D-E617-60FB-A0217A6A1182}"/>
              </a:ext>
            </a:extLst>
          </p:cNvPr>
          <p:cNvGrpSpPr/>
          <p:nvPr/>
        </p:nvGrpSpPr>
        <p:grpSpPr>
          <a:xfrm>
            <a:off x="6028535" y="2929686"/>
            <a:ext cx="1785410" cy="337244"/>
            <a:chOff x="6917535" y="2929686"/>
            <a:chExt cx="1785410" cy="337244"/>
          </a:xfrm>
        </p:grpSpPr>
        <p:sp>
          <p:nvSpPr>
            <p:cNvPr id="292" name="Google Shape;12307;p43">
              <a:extLst>
                <a:ext uri="{FF2B5EF4-FFF2-40B4-BE49-F238E27FC236}">
                  <a16:creationId xmlns:a16="http://schemas.microsoft.com/office/drawing/2014/main" id="{FAAC5C03-4452-AEE7-28F4-9C92F442102D}"/>
                </a:ext>
              </a:extLst>
            </p:cNvPr>
            <p:cNvSpPr/>
            <p:nvPr/>
          </p:nvSpPr>
          <p:spPr>
            <a:xfrm rot="10800000">
              <a:off x="7555831" y="2972312"/>
              <a:ext cx="1147114" cy="251229"/>
            </a:xfrm>
            <a:custGeom>
              <a:avLst/>
              <a:gdLst/>
              <a:ahLst/>
              <a:cxnLst/>
              <a:rect l="l" t="t" r="r" b="b"/>
              <a:pathLst>
                <a:path w="57568" h="15753" extrusionOk="0">
                  <a:moveTo>
                    <a:pt x="7918" y="0"/>
                  </a:moveTo>
                  <a:cubicBezTo>
                    <a:pt x="3656" y="0"/>
                    <a:pt x="120" y="3465"/>
                    <a:pt x="36" y="7727"/>
                  </a:cubicBezTo>
                  <a:cubicBezTo>
                    <a:pt x="1" y="9811"/>
                    <a:pt x="798" y="11787"/>
                    <a:pt x="2287" y="13311"/>
                  </a:cubicBezTo>
                  <a:cubicBezTo>
                    <a:pt x="3811" y="14859"/>
                    <a:pt x="5918" y="15752"/>
                    <a:pt x="8073" y="15752"/>
                  </a:cubicBezTo>
                  <a:lnTo>
                    <a:pt x="49697" y="15752"/>
                  </a:lnTo>
                  <a:cubicBezTo>
                    <a:pt x="54031" y="15752"/>
                    <a:pt x="57567" y="12216"/>
                    <a:pt x="57567" y="7870"/>
                  </a:cubicBezTo>
                  <a:cubicBezTo>
                    <a:pt x="57567" y="3536"/>
                    <a:pt x="54031" y="0"/>
                    <a:pt x="49697" y="0"/>
                  </a:cubicBez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3" name="Google Shape;12308;p43">
              <a:extLst>
                <a:ext uri="{FF2B5EF4-FFF2-40B4-BE49-F238E27FC236}">
                  <a16:creationId xmlns:a16="http://schemas.microsoft.com/office/drawing/2014/main" id="{B442431D-1F64-F8B9-6532-CCD2F040030B}"/>
                </a:ext>
              </a:extLst>
            </p:cNvPr>
            <p:cNvSpPr/>
            <p:nvPr/>
          </p:nvSpPr>
          <p:spPr>
            <a:xfrm rot="5400000">
              <a:off x="7218375" y="2628846"/>
              <a:ext cx="337244" cy="938924"/>
            </a:xfrm>
            <a:custGeom>
              <a:avLst/>
              <a:gdLst/>
              <a:ahLst/>
              <a:cxnLst/>
              <a:rect l="l" t="t" r="r" b="b"/>
              <a:pathLst>
                <a:path w="21135" h="58874" extrusionOk="0">
                  <a:moveTo>
                    <a:pt x="10788" y="2756"/>
                  </a:moveTo>
                  <a:cubicBezTo>
                    <a:pt x="15224" y="2756"/>
                    <a:pt x="18787" y="6579"/>
                    <a:pt x="18337" y="11105"/>
                  </a:cubicBezTo>
                  <a:cubicBezTo>
                    <a:pt x="17979" y="14653"/>
                    <a:pt x="15110" y="17523"/>
                    <a:pt x="11574" y="17880"/>
                  </a:cubicBezTo>
                  <a:cubicBezTo>
                    <a:pt x="11314" y="17906"/>
                    <a:pt x="11057" y="17918"/>
                    <a:pt x="10802" y="17918"/>
                  </a:cubicBezTo>
                  <a:cubicBezTo>
                    <a:pt x="6365" y="17918"/>
                    <a:pt x="2801" y="14084"/>
                    <a:pt x="3251" y="9557"/>
                  </a:cubicBezTo>
                  <a:cubicBezTo>
                    <a:pt x="3609" y="6009"/>
                    <a:pt x="6478" y="3152"/>
                    <a:pt x="10014" y="2795"/>
                  </a:cubicBezTo>
                  <a:cubicBezTo>
                    <a:pt x="10275" y="2769"/>
                    <a:pt x="10533" y="2756"/>
                    <a:pt x="10788" y="2756"/>
                  </a:cubicBezTo>
                  <a:close/>
                  <a:moveTo>
                    <a:pt x="10806" y="1"/>
                  </a:moveTo>
                  <a:cubicBezTo>
                    <a:pt x="10412" y="1"/>
                    <a:pt x="10013" y="23"/>
                    <a:pt x="9609" y="68"/>
                  </a:cubicBezTo>
                  <a:cubicBezTo>
                    <a:pt x="4811" y="604"/>
                    <a:pt x="977" y="4497"/>
                    <a:pt x="513" y="9296"/>
                  </a:cubicBezTo>
                  <a:cubicBezTo>
                    <a:pt x="1" y="14499"/>
                    <a:pt x="3359" y="19023"/>
                    <a:pt x="8061" y="20297"/>
                  </a:cubicBezTo>
                  <a:cubicBezTo>
                    <a:pt x="8871" y="20523"/>
                    <a:pt x="9419" y="21285"/>
                    <a:pt x="9419" y="22119"/>
                  </a:cubicBezTo>
                  <a:lnTo>
                    <a:pt x="9419" y="57159"/>
                  </a:lnTo>
                  <a:lnTo>
                    <a:pt x="10836" y="58873"/>
                  </a:lnTo>
                  <a:lnTo>
                    <a:pt x="12169" y="57159"/>
                  </a:lnTo>
                  <a:lnTo>
                    <a:pt x="12169" y="22071"/>
                  </a:lnTo>
                  <a:cubicBezTo>
                    <a:pt x="12169" y="21237"/>
                    <a:pt x="12753" y="20523"/>
                    <a:pt x="13562" y="20297"/>
                  </a:cubicBezTo>
                  <a:cubicBezTo>
                    <a:pt x="17932" y="19082"/>
                    <a:pt x="21135" y="15082"/>
                    <a:pt x="21135" y="10331"/>
                  </a:cubicBezTo>
                  <a:cubicBezTo>
                    <a:pt x="21135" y="4630"/>
                    <a:pt x="16510" y="1"/>
                    <a:pt x="10806" y="1"/>
                  </a:cubicBezTo>
                  <a:close/>
                </a:path>
              </a:pathLst>
            </a:custGeom>
            <a:solidFill>
              <a:srgbClr val="00B3F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4" name="Google Shape;12309;p43">
              <a:extLst>
                <a:ext uri="{FF2B5EF4-FFF2-40B4-BE49-F238E27FC236}">
                  <a16:creationId xmlns:a16="http://schemas.microsoft.com/office/drawing/2014/main" id="{8EA8BC68-9EC5-24AD-8D20-A332112D972D}"/>
                </a:ext>
              </a:extLst>
            </p:cNvPr>
            <p:cNvSpPr/>
            <p:nvPr/>
          </p:nvSpPr>
          <p:spPr>
            <a:xfrm>
              <a:off x="7576951" y="2989983"/>
              <a:ext cx="1102977" cy="215904"/>
            </a:xfrm>
            <a:custGeom>
              <a:avLst/>
              <a:gdLst/>
              <a:ahLst/>
              <a:cxnLst/>
              <a:rect l="l" t="t" r="r" b="b"/>
              <a:pathLst>
                <a:path w="55353" h="13538" extrusionOk="0">
                  <a:moveTo>
                    <a:pt x="6811" y="1"/>
                  </a:moveTo>
                  <a:cubicBezTo>
                    <a:pt x="3144" y="1"/>
                    <a:pt x="108" y="2977"/>
                    <a:pt x="36" y="6632"/>
                  </a:cubicBezTo>
                  <a:cubicBezTo>
                    <a:pt x="1" y="8418"/>
                    <a:pt x="691" y="10121"/>
                    <a:pt x="1977" y="11431"/>
                  </a:cubicBezTo>
                  <a:cubicBezTo>
                    <a:pt x="3287" y="12764"/>
                    <a:pt x="5108" y="13538"/>
                    <a:pt x="6966" y="13538"/>
                  </a:cubicBezTo>
                  <a:lnTo>
                    <a:pt x="48590" y="13538"/>
                  </a:lnTo>
                  <a:cubicBezTo>
                    <a:pt x="52317" y="13538"/>
                    <a:pt x="55353" y="10502"/>
                    <a:pt x="55353" y="6763"/>
                  </a:cubicBezTo>
                  <a:cubicBezTo>
                    <a:pt x="55353" y="3037"/>
                    <a:pt x="52317" y="1"/>
                    <a:pt x="4859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100"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arrow" panose="020B060602020203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PORTUGA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arrow" panose="020B060602020203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L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arrow" panose="020B060602020203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(1) 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95" name="Google Shape;12310;p43">
              <a:extLst>
                <a:ext uri="{FF2B5EF4-FFF2-40B4-BE49-F238E27FC236}">
                  <a16:creationId xmlns:a16="http://schemas.microsoft.com/office/drawing/2014/main" id="{8B291649-0E76-CB84-0EAB-F29185E4B741}"/>
                </a:ext>
              </a:extLst>
            </p:cNvPr>
            <p:cNvSpPr/>
            <p:nvPr/>
          </p:nvSpPr>
          <p:spPr>
            <a:xfrm rot="10800000">
              <a:off x="7647333" y="3063663"/>
              <a:ext cx="112817" cy="87254"/>
            </a:xfrm>
            <a:custGeom>
              <a:avLst/>
              <a:gdLst/>
              <a:ahLst/>
              <a:cxnLst/>
              <a:rect l="l" t="t" r="r" b="b"/>
              <a:pathLst>
                <a:path w="9657" h="9645" extrusionOk="0">
                  <a:moveTo>
                    <a:pt x="4835" y="0"/>
                  </a:moveTo>
                  <a:cubicBezTo>
                    <a:pt x="2168" y="0"/>
                    <a:pt x="1" y="2167"/>
                    <a:pt x="1" y="4822"/>
                  </a:cubicBezTo>
                  <a:cubicBezTo>
                    <a:pt x="1" y="7489"/>
                    <a:pt x="2168" y="9644"/>
                    <a:pt x="4835" y="9644"/>
                  </a:cubicBezTo>
                  <a:cubicBezTo>
                    <a:pt x="7490" y="9644"/>
                    <a:pt x="9657" y="7489"/>
                    <a:pt x="9657" y="4822"/>
                  </a:cubicBezTo>
                  <a:cubicBezTo>
                    <a:pt x="9657" y="2167"/>
                    <a:pt x="7490" y="0"/>
                    <a:pt x="4835" y="0"/>
                  </a:cubicBezTo>
                  <a:close/>
                </a:path>
              </a:pathLst>
            </a:custGeom>
            <a:solidFill>
              <a:srgbClr val="00B3F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96" name="Google Shape;12286;p43">
            <a:extLst>
              <a:ext uri="{FF2B5EF4-FFF2-40B4-BE49-F238E27FC236}">
                <a16:creationId xmlns:a16="http://schemas.microsoft.com/office/drawing/2014/main" id="{1201D854-0593-4344-84E4-FEDD2F131DD0}"/>
              </a:ext>
            </a:extLst>
          </p:cNvPr>
          <p:cNvGrpSpPr/>
          <p:nvPr/>
        </p:nvGrpSpPr>
        <p:grpSpPr>
          <a:xfrm rot="5400000">
            <a:off x="5543017" y="4359361"/>
            <a:ext cx="326933" cy="1811065"/>
            <a:chOff x="-1994350" y="334884"/>
            <a:chExt cx="528375" cy="2424191"/>
          </a:xfrm>
        </p:grpSpPr>
        <p:sp>
          <p:nvSpPr>
            <p:cNvPr id="297" name="Google Shape;12287;p43">
              <a:extLst>
                <a:ext uri="{FF2B5EF4-FFF2-40B4-BE49-F238E27FC236}">
                  <a16:creationId xmlns:a16="http://schemas.microsoft.com/office/drawing/2014/main" id="{EC87501B-9C16-36AB-58F2-D1A2AE9E4D2A}"/>
                </a:ext>
              </a:extLst>
            </p:cNvPr>
            <p:cNvSpPr/>
            <p:nvPr/>
          </p:nvSpPr>
          <p:spPr>
            <a:xfrm rot="16200000">
              <a:off x="-2519463" y="927272"/>
              <a:ext cx="1577572" cy="392797"/>
            </a:xfrm>
            <a:custGeom>
              <a:avLst/>
              <a:gdLst/>
              <a:ahLst/>
              <a:cxnLst/>
              <a:rect l="l" t="t" r="r" b="b"/>
              <a:pathLst>
                <a:path w="57567" h="15753" extrusionOk="0">
                  <a:moveTo>
                    <a:pt x="7906" y="1"/>
                  </a:moveTo>
                  <a:cubicBezTo>
                    <a:pt x="3644" y="1"/>
                    <a:pt x="119" y="3466"/>
                    <a:pt x="36" y="7728"/>
                  </a:cubicBezTo>
                  <a:cubicBezTo>
                    <a:pt x="0" y="9812"/>
                    <a:pt x="798" y="11800"/>
                    <a:pt x="2286" y="13312"/>
                  </a:cubicBezTo>
                  <a:cubicBezTo>
                    <a:pt x="3810" y="14860"/>
                    <a:pt x="5918" y="15753"/>
                    <a:pt x="8073" y="15753"/>
                  </a:cubicBezTo>
                  <a:lnTo>
                    <a:pt x="49697" y="15753"/>
                  </a:lnTo>
                  <a:cubicBezTo>
                    <a:pt x="54031" y="15753"/>
                    <a:pt x="57567" y="12217"/>
                    <a:pt x="57567" y="7871"/>
                  </a:cubicBezTo>
                  <a:cubicBezTo>
                    <a:pt x="57567" y="3537"/>
                    <a:pt x="54031" y="1"/>
                    <a:pt x="49697" y="1"/>
                  </a:cubicBez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8" name="Google Shape;12288;p43">
              <a:extLst>
                <a:ext uri="{FF2B5EF4-FFF2-40B4-BE49-F238E27FC236}">
                  <a16:creationId xmlns:a16="http://schemas.microsoft.com/office/drawing/2014/main" id="{9299E010-7336-6A39-A3C5-B16B6B12EABC}"/>
                </a:ext>
              </a:extLst>
            </p:cNvPr>
            <p:cNvSpPr/>
            <p:nvPr/>
          </p:nvSpPr>
          <p:spPr>
            <a:xfrm>
              <a:off x="-1994350" y="1425400"/>
              <a:ext cx="528375" cy="1333675"/>
            </a:xfrm>
            <a:custGeom>
              <a:avLst/>
              <a:gdLst/>
              <a:ahLst/>
              <a:cxnLst/>
              <a:rect l="l" t="t" r="r" b="b"/>
              <a:pathLst>
                <a:path w="21135" h="53347" extrusionOk="0">
                  <a:moveTo>
                    <a:pt x="10788" y="2754"/>
                  </a:moveTo>
                  <a:cubicBezTo>
                    <a:pt x="15224" y="2754"/>
                    <a:pt x="18787" y="6578"/>
                    <a:pt x="18337" y="11115"/>
                  </a:cubicBezTo>
                  <a:cubicBezTo>
                    <a:pt x="17979" y="14651"/>
                    <a:pt x="15110" y="17520"/>
                    <a:pt x="11574" y="17878"/>
                  </a:cubicBezTo>
                  <a:cubicBezTo>
                    <a:pt x="11314" y="17903"/>
                    <a:pt x="11057" y="17916"/>
                    <a:pt x="10802" y="17916"/>
                  </a:cubicBezTo>
                  <a:cubicBezTo>
                    <a:pt x="6365" y="17916"/>
                    <a:pt x="2801" y="14082"/>
                    <a:pt x="3251" y="9555"/>
                  </a:cubicBezTo>
                  <a:cubicBezTo>
                    <a:pt x="3609" y="6019"/>
                    <a:pt x="6478" y="3150"/>
                    <a:pt x="10014" y="2792"/>
                  </a:cubicBezTo>
                  <a:cubicBezTo>
                    <a:pt x="10275" y="2766"/>
                    <a:pt x="10533" y="2754"/>
                    <a:pt x="10788" y="2754"/>
                  </a:cubicBezTo>
                  <a:close/>
                  <a:moveTo>
                    <a:pt x="10791" y="0"/>
                  </a:moveTo>
                  <a:cubicBezTo>
                    <a:pt x="10402" y="0"/>
                    <a:pt x="10007" y="22"/>
                    <a:pt x="9609" y="66"/>
                  </a:cubicBezTo>
                  <a:cubicBezTo>
                    <a:pt x="4811" y="602"/>
                    <a:pt x="977" y="4495"/>
                    <a:pt x="513" y="9293"/>
                  </a:cubicBezTo>
                  <a:cubicBezTo>
                    <a:pt x="1" y="14496"/>
                    <a:pt x="3359" y="19021"/>
                    <a:pt x="8061" y="20295"/>
                  </a:cubicBezTo>
                  <a:cubicBezTo>
                    <a:pt x="8871" y="20521"/>
                    <a:pt x="9419" y="21283"/>
                    <a:pt x="9419" y="22116"/>
                  </a:cubicBezTo>
                  <a:lnTo>
                    <a:pt x="9419" y="51620"/>
                  </a:lnTo>
                  <a:lnTo>
                    <a:pt x="10836" y="53346"/>
                  </a:lnTo>
                  <a:lnTo>
                    <a:pt x="12169" y="51620"/>
                  </a:lnTo>
                  <a:lnTo>
                    <a:pt x="12169" y="22080"/>
                  </a:lnTo>
                  <a:cubicBezTo>
                    <a:pt x="12169" y="21235"/>
                    <a:pt x="12753" y="20521"/>
                    <a:pt x="13562" y="20295"/>
                  </a:cubicBezTo>
                  <a:cubicBezTo>
                    <a:pt x="17920" y="19080"/>
                    <a:pt x="21135" y="15080"/>
                    <a:pt x="21135" y="10329"/>
                  </a:cubicBezTo>
                  <a:cubicBezTo>
                    <a:pt x="21135" y="4622"/>
                    <a:pt x="16501" y="0"/>
                    <a:pt x="10791" y="0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9" name="Google Shape;12289;p43">
              <a:extLst>
                <a:ext uri="{FF2B5EF4-FFF2-40B4-BE49-F238E27FC236}">
                  <a16:creationId xmlns:a16="http://schemas.microsoft.com/office/drawing/2014/main" id="{CE6F2251-1E89-2C8B-47A6-D44614C9653C}"/>
                </a:ext>
              </a:extLst>
            </p:cNvPr>
            <p:cNvSpPr/>
            <p:nvPr/>
          </p:nvSpPr>
          <p:spPr>
            <a:xfrm rot="16200000">
              <a:off x="-2508730" y="953065"/>
              <a:ext cx="1550215" cy="313854"/>
            </a:xfrm>
            <a:custGeom>
              <a:avLst/>
              <a:gdLst/>
              <a:ahLst/>
              <a:cxnLst/>
              <a:rect l="l" t="t" r="r" b="b"/>
              <a:pathLst>
                <a:path w="55353" h="13538" extrusionOk="0">
                  <a:moveTo>
                    <a:pt x="6799" y="0"/>
                  </a:moveTo>
                  <a:cubicBezTo>
                    <a:pt x="3144" y="0"/>
                    <a:pt x="108" y="2977"/>
                    <a:pt x="36" y="6644"/>
                  </a:cubicBezTo>
                  <a:cubicBezTo>
                    <a:pt x="1" y="8418"/>
                    <a:pt x="691" y="10121"/>
                    <a:pt x="1977" y="11430"/>
                  </a:cubicBezTo>
                  <a:cubicBezTo>
                    <a:pt x="3287" y="12764"/>
                    <a:pt x="5108" y="13538"/>
                    <a:pt x="6966" y="13538"/>
                  </a:cubicBezTo>
                  <a:lnTo>
                    <a:pt x="48590" y="13538"/>
                  </a:lnTo>
                  <a:cubicBezTo>
                    <a:pt x="52317" y="13538"/>
                    <a:pt x="55353" y="10502"/>
                    <a:pt x="55353" y="6763"/>
                  </a:cubicBezTo>
                  <a:cubicBezTo>
                    <a:pt x="55353" y="3036"/>
                    <a:pt x="52317" y="0"/>
                    <a:pt x="4859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arrow" panose="020B060602020203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ARGENTINA (4</a:t>
              </a:r>
              <a:r>
                <a:rPr kumimoji="0" lang="en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arrow" panose="020B060602020203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)</a:t>
              </a:r>
              <a:endParaRPr kumimoji="0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00" name="Google Shape;12290;p43">
              <a:extLst>
                <a:ext uri="{FF2B5EF4-FFF2-40B4-BE49-F238E27FC236}">
                  <a16:creationId xmlns:a16="http://schemas.microsoft.com/office/drawing/2014/main" id="{326B4DCE-CA2D-B97C-2FA5-87E3BDA86A99}"/>
                </a:ext>
              </a:extLst>
            </p:cNvPr>
            <p:cNvSpPr/>
            <p:nvPr/>
          </p:nvSpPr>
          <p:spPr>
            <a:xfrm>
              <a:off x="-1795308" y="1681549"/>
              <a:ext cx="122254" cy="156098"/>
            </a:xfrm>
            <a:custGeom>
              <a:avLst/>
              <a:gdLst/>
              <a:ahLst/>
              <a:cxnLst/>
              <a:rect l="l" t="t" r="r" b="b"/>
              <a:pathLst>
                <a:path w="9657" h="9645" extrusionOk="0">
                  <a:moveTo>
                    <a:pt x="4823" y="1"/>
                  </a:moveTo>
                  <a:cubicBezTo>
                    <a:pt x="2168" y="1"/>
                    <a:pt x="1" y="2168"/>
                    <a:pt x="1" y="4823"/>
                  </a:cubicBezTo>
                  <a:cubicBezTo>
                    <a:pt x="1" y="7490"/>
                    <a:pt x="2168" y="9645"/>
                    <a:pt x="4823" y="9645"/>
                  </a:cubicBezTo>
                  <a:cubicBezTo>
                    <a:pt x="7490" y="9645"/>
                    <a:pt x="9657" y="7490"/>
                    <a:pt x="9657" y="4823"/>
                  </a:cubicBezTo>
                  <a:cubicBezTo>
                    <a:pt x="9657" y="2168"/>
                    <a:pt x="7490" y="1"/>
                    <a:pt x="4823" y="1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01" name="Picture 3" descr="P:\Servicio al Cliente y Mercadeo\MERCADEO\Diseño\Diseños Aprobación\11_LOGOS\LOGOS FNG\logos-10.png">
            <a:extLst>
              <a:ext uri="{FF2B5EF4-FFF2-40B4-BE49-F238E27FC236}">
                <a16:creationId xmlns:a16="http://schemas.microsoft.com/office/drawing/2014/main" id="{E4F428C5-A5B5-595A-3CB9-B357E9512D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5634" y="3906617"/>
            <a:ext cx="654639" cy="324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2" name="Picture 305">
            <a:extLst>
              <a:ext uri="{FF2B5EF4-FFF2-40B4-BE49-F238E27FC236}">
                <a16:creationId xmlns:a16="http://schemas.microsoft.com/office/drawing/2014/main" id="{AE0671F6-8DF0-AF65-BD5D-52DF60F1029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040798" y="2179178"/>
            <a:ext cx="760974" cy="285365"/>
          </a:xfrm>
          <a:prstGeom prst="rect">
            <a:avLst/>
          </a:prstGeom>
        </p:spPr>
      </p:pic>
      <p:pic>
        <p:nvPicPr>
          <p:cNvPr id="303" name="Picture 306">
            <a:extLst>
              <a:ext uri="{FF2B5EF4-FFF2-40B4-BE49-F238E27FC236}">
                <a16:creationId xmlns:a16="http://schemas.microsoft.com/office/drawing/2014/main" id="{883D1245-B8BD-65F9-5386-5576EAF48F8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15876" y="4601192"/>
            <a:ext cx="824019" cy="199021"/>
          </a:xfrm>
          <a:prstGeom prst="rect">
            <a:avLst/>
          </a:prstGeom>
        </p:spPr>
      </p:pic>
      <p:grpSp>
        <p:nvGrpSpPr>
          <p:cNvPr id="304" name="Google Shape;12306;p43">
            <a:extLst>
              <a:ext uri="{FF2B5EF4-FFF2-40B4-BE49-F238E27FC236}">
                <a16:creationId xmlns:a16="http://schemas.microsoft.com/office/drawing/2014/main" id="{3E469AC3-EB0F-62A3-726C-45B106339ED5}"/>
              </a:ext>
            </a:extLst>
          </p:cNvPr>
          <p:cNvGrpSpPr/>
          <p:nvPr/>
        </p:nvGrpSpPr>
        <p:grpSpPr>
          <a:xfrm>
            <a:off x="2826022" y="4230559"/>
            <a:ext cx="1785410" cy="337244"/>
            <a:chOff x="-8126650" y="2865159"/>
            <a:chExt cx="2240023" cy="528661"/>
          </a:xfrm>
        </p:grpSpPr>
        <p:sp>
          <p:nvSpPr>
            <p:cNvPr id="305" name="Google Shape;12307;p43">
              <a:extLst>
                <a:ext uri="{FF2B5EF4-FFF2-40B4-BE49-F238E27FC236}">
                  <a16:creationId xmlns:a16="http://schemas.microsoft.com/office/drawing/2014/main" id="{813C6DA1-F8C6-555E-6BB2-5AB782594325}"/>
                </a:ext>
              </a:extLst>
            </p:cNvPr>
            <p:cNvSpPr/>
            <p:nvPr/>
          </p:nvSpPr>
          <p:spPr>
            <a:xfrm>
              <a:off x="-8126650" y="2933175"/>
              <a:ext cx="1439200" cy="393825"/>
            </a:xfrm>
            <a:custGeom>
              <a:avLst/>
              <a:gdLst/>
              <a:ahLst/>
              <a:cxnLst/>
              <a:rect l="l" t="t" r="r" b="b"/>
              <a:pathLst>
                <a:path w="57568" h="15753" extrusionOk="0">
                  <a:moveTo>
                    <a:pt x="7918" y="0"/>
                  </a:moveTo>
                  <a:cubicBezTo>
                    <a:pt x="3656" y="0"/>
                    <a:pt x="120" y="3465"/>
                    <a:pt x="36" y="7727"/>
                  </a:cubicBezTo>
                  <a:cubicBezTo>
                    <a:pt x="1" y="9811"/>
                    <a:pt x="798" y="11787"/>
                    <a:pt x="2287" y="13311"/>
                  </a:cubicBezTo>
                  <a:cubicBezTo>
                    <a:pt x="3811" y="14859"/>
                    <a:pt x="5918" y="15752"/>
                    <a:pt x="8073" y="15752"/>
                  </a:cubicBezTo>
                  <a:lnTo>
                    <a:pt x="49697" y="15752"/>
                  </a:lnTo>
                  <a:cubicBezTo>
                    <a:pt x="54031" y="15752"/>
                    <a:pt x="57567" y="12216"/>
                    <a:pt x="57567" y="7870"/>
                  </a:cubicBezTo>
                  <a:cubicBezTo>
                    <a:pt x="57567" y="3536"/>
                    <a:pt x="54031" y="0"/>
                    <a:pt x="49697" y="0"/>
                  </a:cubicBez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6" name="Google Shape;12308;p43">
              <a:extLst>
                <a:ext uri="{FF2B5EF4-FFF2-40B4-BE49-F238E27FC236}">
                  <a16:creationId xmlns:a16="http://schemas.microsoft.com/office/drawing/2014/main" id="{FF40590B-F052-8B91-3124-A5308956D0BD}"/>
                </a:ext>
              </a:extLst>
            </p:cNvPr>
            <p:cNvSpPr/>
            <p:nvPr/>
          </p:nvSpPr>
          <p:spPr>
            <a:xfrm rot="16200000">
              <a:off x="-6739957" y="2540490"/>
              <a:ext cx="528661" cy="1177999"/>
            </a:xfrm>
            <a:custGeom>
              <a:avLst/>
              <a:gdLst/>
              <a:ahLst/>
              <a:cxnLst/>
              <a:rect l="l" t="t" r="r" b="b"/>
              <a:pathLst>
                <a:path w="21135" h="58874" extrusionOk="0">
                  <a:moveTo>
                    <a:pt x="10788" y="2756"/>
                  </a:moveTo>
                  <a:cubicBezTo>
                    <a:pt x="15224" y="2756"/>
                    <a:pt x="18787" y="6579"/>
                    <a:pt x="18337" y="11105"/>
                  </a:cubicBezTo>
                  <a:cubicBezTo>
                    <a:pt x="17979" y="14653"/>
                    <a:pt x="15110" y="17523"/>
                    <a:pt x="11574" y="17880"/>
                  </a:cubicBezTo>
                  <a:cubicBezTo>
                    <a:pt x="11314" y="17906"/>
                    <a:pt x="11057" y="17918"/>
                    <a:pt x="10802" y="17918"/>
                  </a:cubicBezTo>
                  <a:cubicBezTo>
                    <a:pt x="6365" y="17918"/>
                    <a:pt x="2801" y="14084"/>
                    <a:pt x="3251" y="9557"/>
                  </a:cubicBezTo>
                  <a:cubicBezTo>
                    <a:pt x="3609" y="6009"/>
                    <a:pt x="6478" y="3152"/>
                    <a:pt x="10014" y="2795"/>
                  </a:cubicBezTo>
                  <a:cubicBezTo>
                    <a:pt x="10275" y="2769"/>
                    <a:pt x="10533" y="2756"/>
                    <a:pt x="10788" y="2756"/>
                  </a:cubicBezTo>
                  <a:close/>
                  <a:moveTo>
                    <a:pt x="10806" y="1"/>
                  </a:moveTo>
                  <a:cubicBezTo>
                    <a:pt x="10412" y="1"/>
                    <a:pt x="10013" y="23"/>
                    <a:pt x="9609" y="68"/>
                  </a:cubicBezTo>
                  <a:cubicBezTo>
                    <a:pt x="4811" y="604"/>
                    <a:pt x="977" y="4497"/>
                    <a:pt x="513" y="9296"/>
                  </a:cubicBezTo>
                  <a:cubicBezTo>
                    <a:pt x="1" y="14499"/>
                    <a:pt x="3359" y="19023"/>
                    <a:pt x="8061" y="20297"/>
                  </a:cubicBezTo>
                  <a:cubicBezTo>
                    <a:pt x="8871" y="20523"/>
                    <a:pt x="9419" y="21285"/>
                    <a:pt x="9419" y="22119"/>
                  </a:cubicBezTo>
                  <a:lnTo>
                    <a:pt x="9419" y="57159"/>
                  </a:lnTo>
                  <a:lnTo>
                    <a:pt x="10836" y="58873"/>
                  </a:lnTo>
                  <a:lnTo>
                    <a:pt x="12169" y="57159"/>
                  </a:lnTo>
                  <a:lnTo>
                    <a:pt x="12169" y="22071"/>
                  </a:lnTo>
                  <a:cubicBezTo>
                    <a:pt x="12169" y="21237"/>
                    <a:pt x="12753" y="20523"/>
                    <a:pt x="13562" y="20297"/>
                  </a:cubicBezTo>
                  <a:cubicBezTo>
                    <a:pt x="17932" y="19082"/>
                    <a:pt x="21135" y="15082"/>
                    <a:pt x="21135" y="10331"/>
                  </a:cubicBezTo>
                  <a:cubicBezTo>
                    <a:pt x="21135" y="4630"/>
                    <a:pt x="16510" y="1"/>
                    <a:pt x="10806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7" name="Google Shape;12309;p43">
              <a:extLst>
                <a:ext uri="{FF2B5EF4-FFF2-40B4-BE49-F238E27FC236}">
                  <a16:creationId xmlns:a16="http://schemas.microsoft.com/office/drawing/2014/main" id="{866385AD-92C1-0C7E-8C1C-821970090047}"/>
                </a:ext>
              </a:extLst>
            </p:cNvPr>
            <p:cNvSpPr/>
            <p:nvPr/>
          </p:nvSpPr>
          <p:spPr>
            <a:xfrm>
              <a:off x="-8097772" y="2960850"/>
              <a:ext cx="1383824" cy="338449"/>
            </a:xfrm>
            <a:custGeom>
              <a:avLst/>
              <a:gdLst/>
              <a:ahLst/>
              <a:cxnLst/>
              <a:rect l="l" t="t" r="r" b="b"/>
              <a:pathLst>
                <a:path w="55353" h="13538" extrusionOk="0">
                  <a:moveTo>
                    <a:pt x="6811" y="1"/>
                  </a:moveTo>
                  <a:cubicBezTo>
                    <a:pt x="3144" y="1"/>
                    <a:pt x="108" y="2977"/>
                    <a:pt x="36" y="6632"/>
                  </a:cubicBezTo>
                  <a:cubicBezTo>
                    <a:pt x="1" y="8418"/>
                    <a:pt x="691" y="10121"/>
                    <a:pt x="1977" y="11431"/>
                  </a:cubicBezTo>
                  <a:cubicBezTo>
                    <a:pt x="3287" y="12764"/>
                    <a:pt x="5108" y="13538"/>
                    <a:pt x="6966" y="13538"/>
                  </a:cubicBezTo>
                  <a:lnTo>
                    <a:pt x="48590" y="13538"/>
                  </a:lnTo>
                  <a:cubicBezTo>
                    <a:pt x="52317" y="13538"/>
                    <a:pt x="55353" y="10502"/>
                    <a:pt x="55353" y="6763"/>
                  </a:cubicBezTo>
                  <a:cubicBezTo>
                    <a:pt x="55353" y="3037"/>
                    <a:pt x="52317" y="1"/>
                    <a:pt x="4859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100"/>
                <a:buFontTx/>
                <a:buNone/>
                <a:tabLst/>
                <a:defRPr/>
              </a:pPr>
              <a:r>
                <a:rPr kumimoji="0" lang="e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arrow" panose="020B060602020203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PERÚ (1)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08" name="Google Shape;12310;p43">
              <a:extLst>
                <a:ext uri="{FF2B5EF4-FFF2-40B4-BE49-F238E27FC236}">
                  <a16:creationId xmlns:a16="http://schemas.microsoft.com/office/drawing/2014/main" id="{8EA4DB51-2F56-D09A-9E7F-8A4336DF6AA8}"/>
                </a:ext>
              </a:extLst>
            </p:cNvPr>
            <p:cNvSpPr/>
            <p:nvPr/>
          </p:nvSpPr>
          <p:spPr>
            <a:xfrm>
              <a:off x="-6902448" y="3055272"/>
              <a:ext cx="130267" cy="177143"/>
            </a:xfrm>
            <a:custGeom>
              <a:avLst/>
              <a:gdLst/>
              <a:ahLst/>
              <a:cxnLst/>
              <a:rect l="l" t="t" r="r" b="b"/>
              <a:pathLst>
                <a:path w="9657" h="9645" extrusionOk="0">
                  <a:moveTo>
                    <a:pt x="4835" y="0"/>
                  </a:moveTo>
                  <a:cubicBezTo>
                    <a:pt x="2168" y="0"/>
                    <a:pt x="1" y="2167"/>
                    <a:pt x="1" y="4822"/>
                  </a:cubicBezTo>
                  <a:cubicBezTo>
                    <a:pt x="1" y="7489"/>
                    <a:pt x="2168" y="9644"/>
                    <a:pt x="4835" y="9644"/>
                  </a:cubicBezTo>
                  <a:cubicBezTo>
                    <a:pt x="7490" y="9644"/>
                    <a:pt x="9657" y="7489"/>
                    <a:pt x="9657" y="4822"/>
                  </a:cubicBezTo>
                  <a:cubicBezTo>
                    <a:pt x="9657" y="2167"/>
                    <a:pt x="7490" y="0"/>
                    <a:pt x="4835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09" name="Picture 313">
            <a:extLst>
              <a:ext uri="{FF2B5EF4-FFF2-40B4-BE49-F238E27FC236}">
                <a16:creationId xmlns:a16="http://schemas.microsoft.com/office/drawing/2014/main" id="{50C5B8A1-7B44-6D95-74C9-247A9860AB7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324815" y="2189084"/>
            <a:ext cx="602402" cy="179664"/>
          </a:xfrm>
          <a:prstGeom prst="rect">
            <a:avLst/>
          </a:prstGeom>
        </p:spPr>
      </p:pic>
      <p:pic>
        <p:nvPicPr>
          <p:cNvPr id="310" name="24 Imagen">
            <a:extLst>
              <a:ext uri="{FF2B5EF4-FFF2-40B4-BE49-F238E27FC236}">
                <a16:creationId xmlns:a16="http://schemas.microsoft.com/office/drawing/2014/main" id="{2AFD919D-5BAF-8785-8FE7-A7DA385AABFA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2327" y="1889368"/>
            <a:ext cx="598631" cy="267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1" name="Picture 315">
            <a:extLst>
              <a:ext uri="{FF2B5EF4-FFF2-40B4-BE49-F238E27FC236}">
                <a16:creationId xmlns:a16="http://schemas.microsoft.com/office/drawing/2014/main" id="{70F86E82-76AA-69BD-B0B6-81D80882783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910101" y="1960068"/>
            <a:ext cx="958319" cy="231319"/>
          </a:xfrm>
          <a:prstGeom prst="rect">
            <a:avLst/>
          </a:prstGeom>
        </p:spPr>
      </p:pic>
      <p:grpSp>
        <p:nvGrpSpPr>
          <p:cNvPr id="317" name="Google Shape;12306;p43">
            <a:extLst>
              <a:ext uri="{FF2B5EF4-FFF2-40B4-BE49-F238E27FC236}">
                <a16:creationId xmlns:a16="http://schemas.microsoft.com/office/drawing/2014/main" id="{B104B6AA-0B09-9CA7-CD44-0344EAF01D29}"/>
              </a:ext>
            </a:extLst>
          </p:cNvPr>
          <p:cNvGrpSpPr/>
          <p:nvPr/>
        </p:nvGrpSpPr>
        <p:grpSpPr>
          <a:xfrm>
            <a:off x="2411356" y="3543252"/>
            <a:ext cx="1785410" cy="337244"/>
            <a:chOff x="-8126650" y="2865159"/>
            <a:chExt cx="2240023" cy="528661"/>
          </a:xfrm>
        </p:grpSpPr>
        <p:sp>
          <p:nvSpPr>
            <p:cNvPr id="318" name="Google Shape;12307;p43">
              <a:extLst>
                <a:ext uri="{FF2B5EF4-FFF2-40B4-BE49-F238E27FC236}">
                  <a16:creationId xmlns:a16="http://schemas.microsoft.com/office/drawing/2014/main" id="{16DAB0CC-012D-172B-8452-2428CB4F704C}"/>
                </a:ext>
              </a:extLst>
            </p:cNvPr>
            <p:cNvSpPr/>
            <p:nvPr/>
          </p:nvSpPr>
          <p:spPr>
            <a:xfrm>
              <a:off x="-8126650" y="2933175"/>
              <a:ext cx="1439200" cy="393825"/>
            </a:xfrm>
            <a:custGeom>
              <a:avLst/>
              <a:gdLst/>
              <a:ahLst/>
              <a:cxnLst/>
              <a:rect l="l" t="t" r="r" b="b"/>
              <a:pathLst>
                <a:path w="57568" h="15753" extrusionOk="0">
                  <a:moveTo>
                    <a:pt x="7918" y="0"/>
                  </a:moveTo>
                  <a:cubicBezTo>
                    <a:pt x="3656" y="0"/>
                    <a:pt x="120" y="3465"/>
                    <a:pt x="36" y="7727"/>
                  </a:cubicBezTo>
                  <a:cubicBezTo>
                    <a:pt x="1" y="9811"/>
                    <a:pt x="798" y="11787"/>
                    <a:pt x="2287" y="13311"/>
                  </a:cubicBezTo>
                  <a:cubicBezTo>
                    <a:pt x="3811" y="14859"/>
                    <a:pt x="5918" y="15752"/>
                    <a:pt x="8073" y="15752"/>
                  </a:cubicBezTo>
                  <a:lnTo>
                    <a:pt x="49697" y="15752"/>
                  </a:lnTo>
                  <a:cubicBezTo>
                    <a:pt x="54031" y="15752"/>
                    <a:pt x="57567" y="12216"/>
                    <a:pt x="57567" y="7870"/>
                  </a:cubicBezTo>
                  <a:cubicBezTo>
                    <a:pt x="57567" y="3536"/>
                    <a:pt x="54031" y="0"/>
                    <a:pt x="49697" y="0"/>
                  </a:cubicBez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9" name="Google Shape;12308;p43">
              <a:extLst>
                <a:ext uri="{FF2B5EF4-FFF2-40B4-BE49-F238E27FC236}">
                  <a16:creationId xmlns:a16="http://schemas.microsoft.com/office/drawing/2014/main" id="{4AE5CB1A-DE81-9726-DC17-C67C24A5A5BF}"/>
                </a:ext>
              </a:extLst>
            </p:cNvPr>
            <p:cNvSpPr/>
            <p:nvPr/>
          </p:nvSpPr>
          <p:spPr>
            <a:xfrm rot="16200000">
              <a:off x="-6739957" y="2540490"/>
              <a:ext cx="528661" cy="1177999"/>
            </a:xfrm>
            <a:custGeom>
              <a:avLst/>
              <a:gdLst/>
              <a:ahLst/>
              <a:cxnLst/>
              <a:rect l="l" t="t" r="r" b="b"/>
              <a:pathLst>
                <a:path w="21135" h="58874" extrusionOk="0">
                  <a:moveTo>
                    <a:pt x="10788" y="2756"/>
                  </a:moveTo>
                  <a:cubicBezTo>
                    <a:pt x="15224" y="2756"/>
                    <a:pt x="18787" y="6579"/>
                    <a:pt x="18337" y="11105"/>
                  </a:cubicBezTo>
                  <a:cubicBezTo>
                    <a:pt x="17979" y="14653"/>
                    <a:pt x="15110" y="17523"/>
                    <a:pt x="11574" y="17880"/>
                  </a:cubicBezTo>
                  <a:cubicBezTo>
                    <a:pt x="11314" y="17906"/>
                    <a:pt x="11057" y="17918"/>
                    <a:pt x="10802" y="17918"/>
                  </a:cubicBezTo>
                  <a:cubicBezTo>
                    <a:pt x="6365" y="17918"/>
                    <a:pt x="2801" y="14084"/>
                    <a:pt x="3251" y="9557"/>
                  </a:cubicBezTo>
                  <a:cubicBezTo>
                    <a:pt x="3609" y="6009"/>
                    <a:pt x="6478" y="3152"/>
                    <a:pt x="10014" y="2795"/>
                  </a:cubicBezTo>
                  <a:cubicBezTo>
                    <a:pt x="10275" y="2769"/>
                    <a:pt x="10533" y="2756"/>
                    <a:pt x="10788" y="2756"/>
                  </a:cubicBezTo>
                  <a:close/>
                  <a:moveTo>
                    <a:pt x="10806" y="1"/>
                  </a:moveTo>
                  <a:cubicBezTo>
                    <a:pt x="10412" y="1"/>
                    <a:pt x="10013" y="23"/>
                    <a:pt x="9609" y="68"/>
                  </a:cubicBezTo>
                  <a:cubicBezTo>
                    <a:pt x="4811" y="604"/>
                    <a:pt x="977" y="4497"/>
                    <a:pt x="513" y="9296"/>
                  </a:cubicBezTo>
                  <a:cubicBezTo>
                    <a:pt x="1" y="14499"/>
                    <a:pt x="3359" y="19023"/>
                    <a:pt x="8061" y="20297"/>
                  </a:cubicBezTo>
                  <a:cubicBezTo>
                    <a:pt x="8871" y="20523"/>
                    <a:pt x="9419" y="21285"/>
                    <a:pt x="9419" y="22119"/>
                  </a:cubicBezTo>
                  <a:lnTo>
                    <a:pt x="9419" y="57159"/>
                  </a:lnTo>
                  <a:lnTo>
                    <a:pt x="10836" y="58873"/>
                  </a:lnTo>
                  <a:lnTo>
                    <a:pt x="12169" y="57159"/>
                  </a:lnTo>
                  <a:lnTo>
                    <a:pt x="12169" y="22071"/>
                  </a:lnTo>
                  <a:cubicBezTo>
                    <a:pt x="12169" y="21237"/>
                    <a:pt x="12753" y="20523"/>
                    <a:pt x="13562" y="20297"/>
                  </a:cubicBezTo>
                  <a:cubicBezTo>
                    <a:pt x="17932" y="19082"/>
                    <a:pt x="21135" y="15082"/>
                    <a:pt x="21135" y="10331"/>
                  </a:cubicBezTo>
                  <a:cubicBezTo>
                    <a:pt x="21135" y="4630"/>
                    <a:pt x="16510" y="1"/>
                    <a:pt x="10806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0" name="Google Shape;12309;p43">
              <a:extLst>
                <a:ext uri="{FF2B5EF4-FFF2-40B4-BE49-F238E27FC236}">
                  <a16:creationId xmlns:a16="http://schemas.microsoft.com/office/drawing/2014/main" id="{036E4C95-C8D2-F4C8-CF4C-842C19C7578F}"/>
                </a:ext>
              </a:extLst>
            </p:cNvPr>
            <p:cNvSpPr/>
            <p:nvPr/>
          </p:nvSpPr>
          <p:spPr>
            <a:xfrm>
              <a:off x="-8097772" y="2960850"/>
              <a:ext cx="1383824" cy="338449"/>
            </a:xfrm>
            <a:custGeom>
              <a:avLst/>
              <a:gdLst/>
              <a:ahLst/>
              <a:cxnLst/>
              <a:rect l="l" t="t" r="r" b="b"/>
              <a:pathLst>
                <a:path w="55353" h="13538" extrusionOk="0">
                  <a:moveTo>
                    <a:pt x="6811" y="1"/>
                  </a:moveTo>
                  <a:cubicBezTo>
                    <a:pt x="3144" y="1"/>
                    <a:pt x="108" y="2977"/>
                    <a:pt x="36" y="6632"/>
                  </a:cubicBezTo>
                  <a:cubicBezTo>
                    <a:pt x="1" y="8418"/>
                    <a:pt x="691" y="10121"/>
                    <a:pt x="1977" y="11431"/>
                  </a:cubicBezTo>
                  <a:cubicBezTo>
                    <a:pt x="3287" y="12764"/>
                    <a:pt x="5108" y="13538"/>
                    <a:pt x="6966" y="13538"/>
                  </a:cubicBezTo>
                  <a:lnTo>
                    <a:pt x="48590" y="13538"/>
                  </a:lnTo>
                  <a:cubicBezTo>
                    <a:pt x="52317" y="13538"/>
                    <a:pt x="55353" y="10502"/>
                    <a:pt x="55353" y="6763"/>
                  </a:cubicBezTo>
                  <a:cubicBezTo>
                    <a:pt x="55353" y="3037"/>
                    <a:pt x="52317" y="1"/>
                    <a:pt x="4859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100"/>
                <a:buFontTx/>
                <a:buNone/>
                <a:tabLst/>
                <a:defRPr/>
              </a:pPr>
              <a:r>
                <a:rPr kumimoji="0" lang="e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arrow" panose="020B060602020203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SALVADOR (2) </a:t>
              </a:r>
              <a:endParaRPr kumimoji="0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21" name="Google Shape;12310;p43">
              <a:extLst>
                <a:ext uri="{FF2B5EF4-FFF2-40B4-BE49-F238E27FC236}">
                  <a16:creationId xmlns:a16="http://schemas.microsoft.com/office/drawing/2014/main" id="{2EEAA249-9C74-ED0B-DA80-C65A93C14D6D}"/>
                </a:ext>
              </a:extLst>
            </p:cNvPr>
            <p:cNvSpPr/>
            <p:nvPr/>
          </p:nvSpPr>
          <p:spPr>
            <a:xfrm>
              <a:off x="-6882796" y="3041552"/>
              <a:ext cx="132499" cy="188642"/>
            </a:xfrm>
            <a:custGeom>
              <a:avLst/>
              <a:gdLst/>
              <a:ahLst/>
              <a:cxnLst/>
              <a:rect l="l" t="t" r="r" b="b"/>
              <a:pathLst>
                <a:path w="9657" h="9645" extrusionOk="0">
                  <a:moveTo>
                    <a:pt x="4835" y="0"/>
                  </a:moveTo>
                  <a:cubicBezTo>
                    <a:pt x="2168" y="0"/>
                    <a:pt x="1" y="2167"/>
                    <a:pt x="1" y="4822"/>
                  </a:cubicBezTo>
                  <a:cubicBezTo>
                    <a:pt x="1" y="7489"/>
                    <a:pt x="2168" y="9644"/>
                    <a:pt x="4835" y="9644"/>
                  </a:cubicBezTo>
                  <a:cubicBezTo>
                    <a:pt x="7490" y="9644"/>
                    <a:pt x="9657" y="7489"/>
                    <a:pt x="9657" y="4822"/>
                  </a:cubicBezTo>
                  <a:cubicBezTo>
                    <a:pt x="9657" y="2167"/>
                    <a:pt x="7490" y="0"/>
                    <a:pt x="483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22" name="Picture 326">
            <a:extLst>
              <a:ext uri="{FF2B5EF4-FFF2-40B4-BE49-F238E27FC236}">
                <a16:creationId xmlns:a16="http://schemas.microsoft.com/office/drawing/2014/main" id="{B3A48F55-B3BB-2FE7-C92A-E24CD5BA177B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2210658" y="3195792"/>
            <a:ext cx="552310" cy="211570"/>
          </a:xfrm>
          <a:prstGeom prst="rect">
            <a:avLst/>
          </a:prstGeom>
        </p:spPr>
      </p:pic>
      <p:pic>
        <p:nvPicPr>
          <p:cNvPr id="323" name="Picture 4">
            <a:extLst>
              <a:ext uri="{FF2B5EF4-FFF2-40B4-BE49-F238E27FC236}">
                <a16:creationId xmlns:a16="http://schemas.microsoft.com/office/drawing/2014/main" id="{5CF431EC-F526-38C7-477C-2575235A26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1605" y="4510109"/>
            <a:ext cx="1006691" cy="550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4" name="Picture 6">
            <a:extLst>
              <a:ext uri="{FF2B5EF4-FFF2-40B4-BE49-F238E27FC236}">
                <a16:creationId xmlns:a16="http://schemas.microsoft.com/office/drawing/2014/main" id="{7931D0CA-6D52-F3C1-A798-9A5EC8CEC3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0465" y="5520343"/>
            <a:ext cx="959782" cy="139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25" name="Group 355">
            <a:extLst>
              <a:ext uri="{FF2B5EF4-FFF2-40B4-BE49-F238E27FC236}">
                <a16:creationId xmlns:a16="http://schemas.microsoft.com/office/drawing/2014/main" id="{EFD63A5B-A03A-8603-20BB-17EADF2FDFF2}"/>
              </a:ext>
            </a:extLst>
          </p:cNvPr>
          <p:cNvGrpSpPr/>
          <p:nvPr/>
        </p:nvGrpSpPr>
        <p:grpSpPr>
          <a:xfrm>
            <a:off x="2740002" y="3112264"/>
            <a:ext cx="894729" cy="431798"/>
            <a:chOff x="2606786" y="3197786"/>
            <a:chExt cx="894729" cy="431798"/>
          </a:xfrm>
        </p:grpSpPr>
        <p:pic>
          <p:nvPicPr>
            <p:cNvPr id="326" name="Picture 331">
              <a:extLst>
                <a:ext uri="{FF2B5EF4-FFF2-40B4-BE49-F238E27FC236}">
                  <a16:creationId xmlns:a16="http://schemas.microsoft.com/office/drawing/2014/main" id="{6E857EF4-5E26-FB42-51C0-4DFD7ABBAC6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2836991" y="3197786"/>
              <a:ext cx="345476" cy="326362"/>
            </a:xfrm>
            <a:prstGeom prst="rect">
              <a:avLst/>
            </a:prstGeom>
          </p:spPr>
        </p:pic>
        <p:sp>
          <p:nvSpPr>
            <p:cNvPr id="327" name="TextBox 332">
              <a:extLst>
                <a:ext uri="{FF2B5EF4-FFF2-40B4-BE49-F238E27FC236}">
                  <a16:creationId xmlns:a16="http://schemas.microsoft.com/office/drawing/2014/main" id="{F356FF9E-3860-B3D3-7343-1BB45B490939}"/>
                </a:ext>
              </a:extLst>
            </p:cNvPr>
            <p:cNvSpPr txBox="1"/>
            <p:nvPr/>
          </p:nvSpPr>
          <p:spPr>
            <a:xfrm>
              <a:off x="2606786" y="3367974"/>
              <a:ext cx="894729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MX" sz="1100" b="1">
                  <a:solidFill>
                    <a:schemeClr val="bg2">
                      <a:lumMod val="75000"/>
                    </a:schemeClr>
                  </a:solidFill>
                </a:rPr>
                <a:t>BANDESAL</a:t>
              </a:r>
              <a:endParaRPr lang="en-US" sz="1100" b="1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</p:grpSp>
      <p:pic>
        <p:nvPicPr>
          <p:cNvPr id="328" name="Picture 16">
            <a:extLst>
              <a:ext uri="{FF2B5EF4-FFF2-40B4-BE49-F238E27FC236}">
                <a16:creationId xmlns:a16="http://schemas.microsoft.com/office/drawing/2014/main" id="{C4BC7868-7F1C-A323-07F2-66ACBE7061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8915" y="3931695"/>
            <a:ext cx="682106" cy="236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9" name="Picture 18" descr="Banco Popular y de Desarrollo Comunal, Fondo de Desarrollo de las Micro,  Pequeñas y Medianas Empresas (FODEMIPYME) | Sistema de Información Cultural  de Costa Rica">
            <a:extLst>
              <a:ext uri="{FF2B5EF4-FFF2-40B4-BE49-F238E27FC236}">
                <a16:creationId xmlns:a16="http://schemas.microsoft.com/office/drawing/2014/main" id="{778D2D09-1AB0-5CB1-7C73-DBFB866515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4286" y="3712912"/>
            <a:ext cx="746136" cy="224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0" name="Google Shape;12286;p43">
            <a:extLst>
              <a:ext uri="{FF2B5EF4-FFF2-40B4-BE49-F238E27FC236}">
                <a16:creationId xmlns:a16="http://schemas.microsoft.com/office/drawing/2014/main" id="{F0181198-CB74-2919-24C0-C39DA9501395}"/>
              </a:ext>
            </a:extLst>
          </p:cNvPr>
          <p:cNvGrpSpPr/>
          <p:nvPr/>
        </p:nvGrpSpPr>
        <p:grpSpPr>
          <a:xfrm rot="5400000">
            <a:off x="5080483" y="2913652"/>
            <a:ext cx="326933" cy="1811065"/>
            <a:chOff x="-1994350" y="334884"/>
            <a:chExt cx="528375" cy="2424191"/>
          </a:xfrm>
        </p:grpSpPr>
        <p:sp>
          <p:nvSpPr>
            <p:cNvPr id="331" name="Google Shape;12287;p43">
              <a:extLst>
                <a:ext uri="{FF2B5EF4-FFF2-40B4-BE49-F238E27FC236}">
                  <a16:creationId xmlns:a16="http://schemas.microsoft.com/office/drawing/2014/main" id="{F87B5DB6-4D88-617A-D0E8-0A496E4C3DD0}"/>
                </a:ext>
              </a:extLst>
            </p:cNvPr>
            <p:cNvSpPr/>
            <p:nvPr/>
          </p:nvSpPr>
          <p:spPr>
            <a:xfrm rot="16200000">
              <a:off x="-2519463" y="927272"/>
              <a:ext cx="1577572" cy="392797"/>
            </a:xfrm>
            <a:custGeom>
              <a:avLst/>
              <a:gdLst/>
              <a:ahLst/>
              <a:cxnLst/>
              <a:rect l="l" t="t" r="r" b="b"/>
              <a:pathLst>
                <a:path w="57567" h="15753" extrusionOk="0">
                  <a:moveTo>
                    <a:pt x="7906" y="1"/>
                  </a:moveTo>
                  <a:cubicBezTo>
                    <a:pt x="3644" y="1"/>
                    <a:pt x="119" y="3466"/>
                    <a:pt x="36" y="7728"/>
                  </a:cubicBezTo>
                  <a:cubicBezTo>
                    <a:pt x="0" y="9812"/>
                    <a:pt x="798" y="11800"/>
                    <a:pt x="2286" y="13312"/>
                  </a:cubicBezTo>
                  <a:cubicBezTo>
                    <a:pt x="3810" y="14860"/>
                    <a:pt x="5918" y="15753"/>
                    <a:pt x="8073" y="15753"/>
                  </a:cubicBezTo>
                  <a:lnTo>
                    <a:pt x="49697" y="15753"/>
                  </a:lnTo>
                  <a:cubicBezTo>
                    <a:pt x="54031" y="15753"/>
                    <a:pt x="57567" y="12217"/>
                    <a:pt x="57567" y="7871"/>
                  </a:cubicBezTo>
                  <a:cubicBezTo>
                    <a:pt x="57567" y="3537"/>
                    <a:pt x="54031" y="1"/>
                    <a:pt x="49697" y="1"/>
                  </a:cubicBez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2" name="Google Shape;12288;p43">
              <a:extLst>
                <a:ext uri="{FF2B5EF4-FFF2-40B4-BE49-F238E27FC236}">
                  <a16:creationId xmlns:a16="http://schemas.microsoft.com/office/drawing/2014/main" id="{942F2AE2-037E-D3D0-77FC-93A44D41BE7D}"/>
                </a:ext>
              </a:extLst>
            </p:cNvPr>
            <p:cNvSpPr/>
            <p:nvPr/>
          </p:nvSpPr>
          <p:spPr>
            <a:xfrm>
              <a:off x="-1994350" y="1425400"/>
              <a:ext cx="528375" cy="1333675"/>
            </a:xfrm>
            <a:custGeom>
              <a:avLst/>
              <a:gdLst/>
              <a:ahLst/>
              <a:cxnLst/>
              <a:rect l="l" t="t" r="r" b="b"/>
              <a:pathLst>
                <a:path w="21135" h="53347" extrusionOk="0">
                  <a:moveTo>
                    <a:pt x="10788" y="2754"/>
                  </a:moveTo>
                  <a:cubicBezTo>
                    <a:pt x="15224" y="2754"/>
                    <a:pt x="18787" y="6578"/>
                    <a:pt x="18337" y="11115"/>
                  </a:cubicBezTo>
                  <a:cubicBezTo>
                    <a:pt x="17979" y="14651"/>
                    <a:pt x="15110" y="17520"/>
                    <a:pt x="11574" y="17878"/>
                  </a:cubicBezTo>
                  <a:cubicBezTo>
                    <a:pt x="11314" y="17903"/>
                    <a:pt x="11057" y="17916"/>
                    <a:pt x="10802" y="17916"/>
                  </a:cubicBezTo>
                  <a:cubicBezTo>
                    <a:pt x="6365" y="17916"/>
                    <a:pt x="2801" y="14082"/>
                    <a:pt x="3251" y="9555"/>
                  </a:cubicBezTo>
                  <a:cubicBezTo>
                    <a:pt x="3609" y="6019"/>
                    <a:pt x="6478" y="3150"/>
                    <a:pt x="10014" y="2792"/>
                  </a:cubicBezTo>
                  <a:cubicBezTo>
                    <a:pt x="10275" y="2766"/>
                    <a:pt x="10533" y="2754"/>
                    <a:pt x="10788" y="2754"/>
                  </a:cubicBezTo>
                  <a:close/>
                  <a:moveTo>
                    <a:pt x="10791" y="0"/>
                  </a:moveTo>
                  <a:cubicBezTo>
                    <a:pt x="10402" y="0"/>
                    <a:pt x="10007" y="22"/>
                    <a:pt x="9609" y="66"/>
                  </a:cubicBezTo>
                  <a:cubicBezTo>
                    <a:pt x="4811" y="602"/>
                    <a:pt x="977" y="4495"/>
                    <a:pt x="513" y="9293"/>
                  </a:cubicBezTo>
                  <a:cubicBezTo>
                    <a:pt x="1" y="14496"/>
                    <a:pt x="3359" y="19021"/>
                    <a:pt x="8061" y="20295"/>
                  </a:cubicBezTo>
                  <a:cubicBezTo>
                    <a:pt x="8871" y="20521"/>
                    <a:pt x="9419" y="21283"/>
                    <a:pt x="9419" y="22116"/>
                  </a:cubicBezTo>
                  <a:lnTo>
                    <a:pt x="9419" y="51620"/>
                  </a:lnTo>
                  <a:lnTo>
                    <a:pt x="10836" y="53346"/>
                  </a:lnTo>
                  <a:lnTo>
                    <a:pt x="12169" y="51620"/>
                  </a:lnTo>
                  <a:lnTo>
                    <a:pt x="12169" y="22080"/>
                  </a:lnTo>
                  <a:cubicBezTo>
                    <a:pt x="12169" y="21235"/>
                    <a:pt x="12753" y="20521"/>
                    <a:pt x="13562" y="20295"/>
                  </a:cubicBezTo>
                  <a:cubicBezTo>
                    <a:pt x="17920" y="19080"/>
                    <a:pt x="21135" y="15080"/>
                    <a:pt x="21135" y="10329"/>
                  </a:cubicBezTo>
                  <a:cubicBezTo>
                    <a:pt x="21135" y="4622"/>
                    <a:pt x="16501" y="0"/>
                    <a:pt x="10791" y="0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3" name="Google Shape;12289;p43">
              <a:extLst>
                <a:ext uri="{FF2B5EF4-FFF2-40B4-BE49-F238E27FC236}">
                  <a16:creationId xmlns:a16="http://schemas.microsoft.com/office/drawing/2014/main" id="{C8059BAB-81C2-BBAB-8E9B-8435B4B6347F}"/>
                </a:ext>
              </a:extLst>
            </p:cNvPr>
            <p:cNvSpPr/>
            <p:nvPr/>
          </p:nvSpPr>
          <p:spPr>
            <a:xfrm rot="16200000">
              <a:off x="-2508730" y="953065"/>
              <a:ext cx="1550215" cy="313854"/>
            </a:xfrm>
            <a:custGeom>
              <a:avLst/>
              <a:gdLst/>
              <a:ahLst/>
              <a:cxnLst/>
              <a:rect l="l" t="t" r="r" b="b"/>
              <a:pathLst>
                <a:path w="55353" h="13538" extrusionOk="0">
                  <a:moveTo>
                    <a:pt x="6799" y="0"/>
                  </a:moveTo>
                  <a:cubicBezTo>
                    <a:pt x="3144" y="0"/>
                    <a:pt x="108" y="2977"/>
                    <a:pt x="36" y="6644"/>
                  </a:cubicBezTo>
                  <a:cubicBezTo>
                    <a:pt x="1" y="8418"/>
                    <a:pt x="691" y="10121"/>
                    <a:pt x="1977" y="11430"/>
                  </a:cubicBezTo>
                  <a:cubicBezTo>
                    <a:pt x="3287" y="12764"/>
                    <a:pt x="5108" y="13538"/>
                    <a:pt x="6966" y="13538"/>
                  </a:cubicBezTo>
                  <a:lnTo>
                    <a:pt x="48590" y="13538"/>
                  </a:lnTo>
                  <a:cubicBezTo>
                    <a:pt x="52317" y="13538"/>
                    <a:pt x="55353" y="10502"/>
                    <a:pt x="55353" y="6763"/>
                  </a:cubicBezTo>
                  <a:cubicBezTo>
                    <a:pt x="55353" y="3036"/>
                    <a:pt x="52317" y="0"/>
                    <a:pt x="4859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arrow" panose="020B060602020203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COSTA </a:t>
              </a:r>
              <a:r>
                <a:rPr kumimoji="0" lang="e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arrow" panose="020B060602020203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RICA (1</a:t>
              </a:r>
              <a:r>
                <a:rPr kumimoji="0" lang="en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arrow" panose="020B060602020203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)</a:t>
              </a:r>
              <a:endParaRPr kumimoji="0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34" name="Google Shape;12290;p43">
              <a:extLst>
                <a:ext uri="{FF2B5EF4-FFF2-40B4-BE49-F238E27FC236}">
                  <a16:creationId xmlns:a16="http://schemas.microsoft.com/office/drawing/2014/main" id="{FE0E5C73-B580-4146-DABB-BC2F8D37C6F8}"/>
                </a:ext>
              </a:extLst>
            </p:cNvPr>
            <p:cNvSpPr/>
            <p:nvPr/>
          </p:nvSpPr>
          <p:spPr>
            <a:xfrm>
              <a:off x="-1767156" y="1677945"/>
              <a:ext cx="109656" cy="126230"/>
            </a:xfrm>
            <a:custGeom>
              <a:avLst/>
              <a:gdLst/>
              <a:ahLst/>
              <a:cxnLst/>
              <a:rect l="l" t="t" r="r" b="b"/>
              <a:pathLst>
                <a:path w="9657" h="9645" extrusionOk="0">
                  <a:moveTo>
                    <a:pt x="4823" y="1"/>
                  </a:moveTo>
                  <a:cubicBezTo>
                    <a:pt x="2168" y="1"/>
                    <a:pt x="1" y="2168"/>
                    <a:pt x="1" y="4823"/>
                  </a:cubicBezTo>
                  <a:cubicBezTo>
                    <a:pt x="1" y="7490"/>
                    <a:pt x="2168" y="9645"/>
                    <a:pt x="4823" y="9645"/>
                  </a:cubicBezTo>
                  <a:cubicBezTo>
                    <a:pt x="7490" y="9645"/>
                    <a:pt x="9657" y="7490"/>
                    <a:pt x="9657" y="4823"/>
                  </a:cubicBezTo>
                  <a:cubicBezTo>
                    <a:pt x="9657" y="2168"/>
                    <a:pt x="7490" y="1"/>
                    <a:pt x="4823" y="1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35" name="Google Shape;12286;p43">
            <a:extLst>
              <a:ext uri="{FF2B5EF4-FFF2-40B4-BE49-F238E27FC236}">
                <a16:creationId xmlns:a16="http://schemas.microsoft.com/office/drawing/2014/main" id="{B336C674-FF61-B0DE-8E9C-3897436E3931}"/>
              </a:ext>
            </a:extLst>
          </p:cNvPr>
          <p:cNvGrpSpPr/>
          <p:nvPr/>
        </p:nvGrpSpPr>
        <p:grpSpPr>
          <a:xfrm rot="5400000">
            <a:off x="5911669" y="3453551"/>
            <a:ext cx="326933" cy="1811065"/>
            <a:chOff x="-1994350" y="334884"/>
            <a:chExt cx="528375" cy="2424191"/>
          </a:xfrm>
        </p:grpSpPr>
        <p:sp>
          <p:nvSpPr>
            <p:cNvPr id="336" name="Google Shape;12287;p43">
              <a:extLst>
                <a:ext uri="{FF2B5EF4-FFF2-40B4-BE49-F238E27FC236}">
                  <a16:creationId xmlns:a16="http://schemas.microsoft.com/office/drawing/2014/main" id="{26B5AA33-F476-1183-984A-DF8C59D2575C}"/>
                </a:ext>
              </a:extLst>
            </p:cNvPr>
            <p:cNvSpPr/>
            <p:nvPr/>
          </p:nvSpPr>
          <p:spPr>
            <a:xfrm rot="16200000">
              <a:off x="-2519463" y="927272"/>
              <a:ext cx="1577572" cy="392797"/>
            </a:xfrm>
            <a:custGeom>
              <a:avLst/>
              <a:gdLst/>
              <a:ahLst/>
              <a:cxnLst/>
              <a:rect l="l" t="t" r="r" b="b"/>
              <a:pathLst>
                <a:path w="57567" h="15753" extrusionOk="0">
                  <a:moveTo>
                    <a:pt x="7906" y="1"/>
                  </a:moveTo>
                  <a:cubicBezTo>
                    <a:pt x="3644" y="1"/>
                    <a:pt x="119" y="3466"/>
                    <a:pt x="36" y="7728"/>
                  </a:cubicBezTo>
                  <a:cubicBezTo>
                    <a:pt x="0" y="9812"/>
                    <a:pt x="798" y="11800"/>
                    <a:pt x="2286" y="13312"/>
                  </a:cubicBezTo>
                  <a:cubicBezTo>
                    <a:pt x="3810" y="14860"/>
                    <a:pt x="5918" y="15753"/>
                    <a:pt x="8073" y="15753"/>
                  </a:cubicBezTo>
                  <a:lnTo>
                    <a:pt x="49697" y="15753"/>
                  </a:lnTo>
                  <a:cubicBezTo>
                    <a:pt x="54031" y="15753"/>
                    <a:pt x="57567" y="12217"/>
                    <a:pt x="57567" y="7871"/>
                  </a:cubicBezTo>
                  <a:cubicBezTo>
                    <a:pt x="57567" y="3537"/>
                    <a:pt x="54031" y="1"/>
                    <a:pt x="49697" y="1"/>
                  </a:cubicBez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7" name="Google Shape;12288;p43">
              <a:extLst>
                <a:ext uri="{FF2B5EF4-FFF2-40B4-BE49-F238E27FC236}">
                  <a16:creationId xmlns:a16="http://schemas.microsoft.com/office/drawing/2014/main" id="{C50212B4-B89D-F7A0-E0D0-41EAE35148A9}"/>
                </a:ext>
              </a:extLst>
            </p:cNvPr>
            <p:cNvSpPr/>
            <p:nvPr/>
          </p:nvSpPr>
          <p:spPr>
            <a:xfrm>
              <a:off x="-1994350" y="1425400"/>
              <a:ext cx="528375" cy="1333675"/>
            </a:xfrm>
            <a:custGeom>
              <a:avLst/>
              <a:gdLst/>
              <a:ahLst/>
              <a:cxnLst/>
              <a:rect l="l" t="t" r="r" b="b"/>
              <a:pathLst>
                <a:path w="21135" h="53347" extrusionOk="0">
                  <a:moveTo>
                    <a:pt x="10788" y="2754"/>
                  </a:moveTo>
                  <a:cubicBezTo>
                    <a:pt x="15224" y="2754"/>
                    <a:pt x="18787" y="6578"/>
                    <a:pt x="18337" y="11115"/>
                  </a:cubicBezTo>
                  <a:cubicBezTo>
                    <a:pt x="17979" y="14651"/>
                    <a:pt x="15110" y="17520"/>
                    <a:pt x="11574" y="17878"/>
                  </a:cubicBezTo>
                  <a:cubicBezTo>
                    <a:pt x="11314" y="17903"/>
                    <a:pt x="11057" y="17916"/>
                    <a:pt x="10802" y="17916"/>
                  </a:cubicBezTo>
                  <a:cubicBezTo>
                    <a:pt x="6365" y="17916"/>
                    <a:pt x="2801" y="14082"/>
                    <a:pt x="3251" y="9555"/>
                  </a:cubicBezTo>
                  <a:cubicBezTo>
                    <a:pt x="3609" y="6019"/>
                    <a:pt x="6478" y="3150"/>
                    <a:pt x="10014" y="2792"/>
                  </a:cubicBezTo>
                  <a:cubicBezTo>
                    <a:pt x="10275" y="2766"/>
                    <a:pt x="10533" y="2754"/>
                    <a:pt x="10788" y="2754"/>
                  </a:cubicBezTo>
                  <a:close/>
                  <a:moveTo>
                    <a:pt x="10791" y="0"/>
                  </a:moveTo>
                  <a:cubicBezTo>
                    <a:pt x="10402" y="0"/>
                    <a:pt x="10007" y="22"/>
                    <a:pt x="9609" y="66"/>
                  </a:cubicBezTo>
                  <a:cubicBezTo>
                    <a:pt x="4811" y="602"/>
                    <a:pt x="977" y="4495"/>
                    <a:pt x="513" y="9293"/>
                  </a:cubicBezTo>
                  <a:cubicBezTo>
                    <a:pt x="1" y="14496"/>
                    <a:pt x="3359" y="19021"/>
                    <a:pt x="8061" y="20295"/>
                  </a:cubicBezTo>
                  <a:cubicBezTo>
                    <a:pt x="8871" y="20521"/>
                    <a:pt x="9419" y="21283"/>
                    <a:pt x="9419" y="22116"/>
                  </a:cubicBezTo>
                  <a:lnTo>
                    <a:pt x="9419" y="51620"/>
                  </a:lnTo>
                  <a:lnTo>
                    <a:pt x="10836" y="53346"/>
                  </a:lnTo>
                  <a:lnTo>
                    <a:pt x="12169" y="51620"/>
                  </a:lnTo>
                  <a:lnTo>
                    <a:pt x="12169" y="22080"/>
                  </a:lnTo>
                  <a:cubicBezTo>
                    <a:pt x="12169" y="21235"/>
                    <a:pt x="12753" y="20521"/>
                    <a:pt x="13562" y="20295"/>
                  </a:cubicBezTo>
                  <a:cubicBezTo>
                    <a:pt x="17920" y="19080"/>
                    <a:pt x="21135" y="15080"/>
                    <a:pt x="21135" y="10329"/>
                  </a:cubicBezTo>
                  <a:cubicBezTo>
                    <a:pt x="21135" y="4622"/>
                    <a:pt x="16501" y="0"/>
                    <a:pt x="10791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8" name="Google Shape;12289;p43">
              <a:extLst>
                <a:ext uri="{FF2B5EF4-FFF2-40B4-BE49-F238E27FC236}">
                  <a16:creationId xmlns:a16="http://schemas.microsoft.com/office/drawing/2014/main" id="{454FFDD1-9371-1905-C3D6-300074E14EF9}"/>
                </a:ext>
              </a:extLst>
            </p:cNvPr>
            <p:cNvSpPr/>
            <p:nvPr/>
          </p:nvSpPr>
          <p:spPr>
            <a:xfrm rot="16200000">
              <a:off x="-2508730" y="953065"/>
              <a:ext cx="1550215" cy="313854"/>
            </a:xfrm>
            <a:custGeom>
              <a:avLst/>
              <a:gdLst/>
              <a:ahLst/>
              <a:cxnLst/>
              <a:rect l="l" t="t" r="r" b="b"/>
              <a:pathLst>
                <a:path w="55353" h="13538" extrusionOk="0">
                  <a:moveTo>
                    <a:pt x="6799" y="0"/>
                  </a:moveTo>
                  <a:cubicBezTo>
                    <a:pt x="3144" y="0"/>
                    <a:pt x="108" y="2977"/>
                    <a:pt x="36" y="6644"/>
                  </a:cubicBezTo>
                  <a:cubicBezTo>
                    <a:pt x="1" y="8418"/>
                    <a:pt x="691" y="10121"/>
                    <a:pt x="1977" y="11430"/>
                  </a:cubicBezTo>
                  <a:cubicBezTo>
                    <a:pt x="3287" y="12764"/>
                    <a:pt x="5108" y="13538"/>
                    <a:pt x="6966" y="13538"/>
                  </a:cubicBezTo>
                  <a:lnTo>
                    <a:pt x="48590" y="13538"/>
                  </a:lnTo>
                  <a:cubicBezTo>
                    <a:pt x="52317" y="13538"/>
                    <a:pt x="55353" y="10502"/>
                    <a:pt x="55353" y="6763"/>
                  </a:cubicBezTo>
                  <a:cubicBezTo>
                    <a:pt x="55353" y="3036"/>
                    <a:pt x="52317" y="0"/>
                    <a:pt x="4859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arrow" panose="020B060602020203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BRASIL</a:t>
              </a:r>
              <a:r>
                <a:rPr kumimoji="0" lang="en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arrow" panose="020B060602020203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 (1)</a:t>
              </a:r>
              <a:endParaRPr kumimoji="0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39" name="Google Shape;12290;p43">
              <a:extLst>
                <a:ext uri="{FF2B5EF4-FFF2-40B4-BE49-F238E27FC236}">
                  <a16:creationId xmlns:a16="http://schemas.microsoft.com/office/drawing/2014/main" id="{FE7666AA-FA1E-E534-4072-0142E93A62DE}"/>
                </a:ext>
              </a:extLst>
            </p:cNvPr>
            <p:cNvSpPr/>
            <p:nvPr/>
          </p:nvSpPr>
          <p:spPr>
            <a:xfrm>
              <a:off x="-1780583" y="1616433"/>
              <a:ext cx="159691" cy="158619"/>
            </a:xfrm>
            <a:custGeom>
              <a:avLst/>
              <a:gdLst/>
              <a:ahLst/>
              <a:cxnLst/>
              <a:rect l="l" t="t" r="r" b="b"/>
              <a:pathLst>
                <a:path w="9657" h="9645" extrusionOk="0">
                  <a:moveTo>
                    <a:pt x="4823" y="1"/>
                  </a:moveTo>
                  <a:cubicBezTo>
                    <a:pt x="2168" y="1"/>
                    <a:pt x="1" y="2168"/>
                    <a:pt x="1" y="4823"/>
                  </a:cubicBezTo>
                  <a:cubicBezTo>
                    <a:pt x="1" y="7490"/>
                    <a:pt x="2168" y="9645"/>
                    <a:pt x="4823" y="9645"/>
                  </a:cubicBezTo>
                  <a:cubicBezTo>
                    <a:pt x="7490" y="9645"/>
                    <a:pt x="9657" y="7490"/>
                    <a:pt x="9657" y="4823"/>
                  </a:cubicBezTo>
                  <a:cubicBezTo>
                    <a:pt x="9657" y="2168"/>
                    <a:pt x="7490" y="1"/>
                    <a:pt x="4823" y="1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40" name="Google Shape;12286;p43">
            <a:extLst>
              <a:ext uri="{FF2B5EF4-FFF2-40B4-BE49-F238E27FC236}">
                <a16:creationId xmlns:a16="http://schemas.microsoft.com/office/drawing/2014/main" id="{4905C2C4-0A9F-C128-8D77-60BCC41B2CC7}"/>
              </a:ext>
            </a:extLst>
          </p:cNvPr>
          <p:cNvGrpSpPr/>
          <p:nvPr/>
        </p:nvGrpSpPr>
        <p:grpSpPr>
          <a:xfrm rot="5400000">
            <a:off x="5061247" y="2569302"/>
            <a:ext cx="326933" cy="1811064"/>
            <a:chOff x="-1994351" y="334884"/>
            <a:chExt cx="528375" cy="2424190"/>
          </a:xfrm>
        </p:grpSpPr>
        <p:sp>
          <p:nvSpPr>
            <p:cNvPr id="341" name="Google Shape;12287;p43">
              <a:extLst>
                <a:ext uri="{FF2B5EF4-FFF2-40B4-BE49-F238E27FC236}">
                  <a16:creationId xmlns:a16="http://schemas.microsoft.com/office/drawing/2014/main" id="{C01531CE-97DA-9EFC-2E32-173ABCA12822}"/>
                </a:ext>
              </a:extLst>
            </p:cNvPr>
            <p:cNvSpPr/>
            <p:nvPr/>
          </p:nvSpPr>
          <p:spPr>
            <a:xfrm rot="16200000">
              <a:off x="-2519463" y="927272"/>
              <a:ext cx="1577572" cy="392797"/>
            </a:xfrm>
            <a:custGeom>
              <a:avLst/>
              <a:gdLst/>
              <a:ahLst/>
              <a:cxnLst/>
              <a:rect l="l" t="t" r="r" b="b"/>
              <a:pathLst>
                <a:path w="57567" h="15753" extrusionOk="0">
                  <a:moveTo>
                    <a:pt x="7906" y="1"/>
                  </a:moveTo>
                  <a:cubicBezTo>
                    <a:pt x="3644" y="1"/>
                    <a:pt x="119" y="3466"/>
                    <a:pt x="36" y="7728"/>
                  </a:cubicBezTo>
                  <a:cubicBezTo>
                    <a:pt x="0" y="9812"/>
                    <a:pt x="798" y="11800"/>
                    <a:pt x="2286" y="13312"/>
                  </a:cubicBezTo>
                  <a:cubicBezTo>
                    <a:pt x="3810" y="14860"/>
                    <a:pt x="5918" y="15753"/>
                    <a:pt x="8073" y="15753"/>
                  </a:cubicBezTo>
                  <a:lnTo>
                    <a:pt x="49697" y="15753"/>
                  </a:lnTo>
                  <a:cubicBezTo>
                    <a:pt x="54031" y="15753"/>
                    <a:pt x="57567" y="12217"/>
                    <a:pt x="57567" y="7871"/>
                  </a:cubicBezTo>
                  <a:cubicBezTo>
                    <a:pt x="57567" y="3537"/>
                    <a:pt x="54031" y="1"/>
                    <a:pt x="49697" y="1"/>
                  </a:cubicBez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2" name="Google Shape;12288;p43">
              <a:extLst>
                <a:ext uri="{FF2B5EF4-FFF2-40B4-BE49-F238E27FC236}">
                  <a16:creationId xmlns:a16="http://schemas.microsoft.com/office/drawing/2014/main" id="{474034B2-2F35-FCCC-00B4-252AD1CCCE83}"/>
                </a:ext>
              </a:extLst>
            </p:cNvPr>
            <p:cNvSpPr/>
            <p:nvPr/>
          </p:nvSpPr>
          <p:spPr>
            <a:xfrm>
              <a:off x="-1994351" y="1425399"/>
              <a:ext cx="528375" cy="1333675"/>
            </a:xfrm>
            <a:custGeom>
              <a:avLst/>
              <a:gdLst/>
              <a:ahLst/>
              <a:cxnLst/>
              <a:rect l="l" t="t" r="r" b="b"/>
              <a:pathLst>
                <a:path w="21135" h="53347" extrusionOk="0">
                  <a:moveTo>
                    <a:pt x="10788" y="2754"/>
                  </a:moveTo>
                  <a:cubicBezTo>
                    <a:pt x="15224" y="2754"/>
                    <a:pt x="18787" y="6578"/>
                    <a:pt x="18337" y="11115"/>
                  </a:cubicBezTo>
                  <a:cubicBezTo>
                    <a:pt x="17979" y="14651"/>
                    <a:pt x="15110" y="17520"/>
                    <a:pt x="11574" y="17878"/>
                  </a:cubicBezTo>
                  <a:cubicBezTo>
                    <a:pt x="11314" y="17903"/>
                    <a:pt x="11057" y="17916"/>
                    <a:pt x="10802" y="17916"/>
                  </a:cubicBezTo>
                  <a:cubicBezTo>
                    <a:pt x="6365" y="17916"/>
                    <a:pt x="2801" y="14082"/>
                    <a:pt x="3251" y="9555"/>
                  </a:cubicBezTo>
                  <a:cubicBezTo>
                    <a:pt x="3609" y="6019"/>
                    <a:pt x="6478" y="3150"/>
                    <a:pt x="10014" y="2792"/>
                  </a:cubicBezTo>
                  <a:cubicBezTo>
                    <a:pt x="10275" y="2766"/>
                    <a:pt x="10533" y="2754"/>
                    <a:pt x="10788" y="2754"/>
                  </a:cubicBezTo>
                  <a:close/>
                  <a:moveTo>
                    <a:pt x="10791" y="0"/>
                  </a:moveTo>
                  <a:cubicBezTo>
                    <a:pt x="10402" y="0"/>
                    <a:pt x="10007" y="22"/>
                    <a:pt x="9609" y="66"/>
                  </a:cubicBezTo>
                  <a:cubicBezTo>
                    <a:pt x="4811" y="602"/>
                    <a:pt x="977" y="4495"/>
                    <a:pt x="513" y="9293"/>
                  </a:cubicBezTo>
                  <a:cubicBezTo>
                    <a:pt x="1" y="14496"/>
                    <a:pt x="3359" y="19021"/>
                    <a:pt x="8061" y="20295"/>
                  </a:cubicBezTo>
                  <a:cubicBezTo>
                    <a:pt x="8871" y="20521"/>
                    <a:pt x="9419" y="21283"/>
                    <a:pt x="9419" y="22116"/>
                  </a:cubicBezTo>
                  <a:lnTo>
                    <a:pt x="9419" y="51620"/>
                  </a:lnTo>
                  <a:lnTo>
                    <a:pt x="10836" y="53346"/>
                  </a:lnTo>
                  <a:lnTo>
                    <a:pt x="12169" y="51620"/>
                  </a:lnTo>
                  <a:lnTo>
                    <a:pt x="12169" y="22080"/>
                  </a:lnTo>
                  <a:cubicBezTo>
                    <a:pt x="12169" y="21235"/>
                    <a:pt x="12753" y="20521"/>
                    <a:pt x="13562" y="20295"/>
                  </a:cubicBezTo>
                  <a:cubicBezTo>
                    <a:pt x="17920" y="19080"/>
                    <a:pt x="21135" y="15080"/>
                    <a:pt x="21135" y="10329"/>
                  </a:cubicBezTo>
                  <a:cubicBezTo>
                    <a:pt x="21135" y="4622"/>
                    <a:pt x="16501" y="0"/>
                    <a:pt x="10791" y="0"/>
                  </a:cubicBezTo>
                  <a:close/>
                </a:path>
              </a:pathLst>
            </a:custGeom>
            <a:solidFill>
              <a:srgbClr val="EC701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3" name="Google Shape;12289;p43">
              <a:extLst>
                <a:ext uri="{FF2B5EF4-FFF2-40B4-BE49-F238E27FC236}">
                  <a16:creationId xmlns:a16="http://schemas.microsoft.com/office/drawing/2014/main" id="{15478799-738B-A570-98CB-87B40E646ECD}"/>
                </a:ext>
              </a:extLst>
            </p:cNvPr>
            <p:cNvSpPr/>
            <p:nvPr/>
          </p:nvSpPr>
          <p:spPr>
            <a:xfrm rot="16200000">
              <a:off x="-2508730" y="953065"/>
              <a:ext cx="1550215" cy="313854"/>
            </a:xfrm>
            <a:custGeom>
              <a:avLst/>
              <a:gdLst/>
              <a:ahLst/>
              <a:cxnLst/>
              <a:rect l="l" t="t" r="r" b="b"/>
              <a:pathLst>
                <a:path w="55353" h="13538" extrusionOk="0">
                  <a:moveTo>
                    <a:pt x="6799" y="0"/>
                  </a:moveTo>
                  <a:cubicBezTo>
                    <a:pt x="3144" y="0"/>
                    <a:pt x="108" y="2977"/>
                    <a:pt x="36" y="6644"/>
                  </a:cubicBezTo>
                  <a:cubicBezTo>
                    <a:pt x="1" y="8418"/>
                    <a:pt x="691" y="10121"/>
                    <a:pt x="1977" y="11430"/>
                  </a:cubicBezTo>
                  <a:cubicBezTo>
                    <a:pt x="3287" y="12764"/>
                    <a:pt x="5108" y="13538"/>
                    <a:pt x="6966" y="13538"/>
                  </a:cubicBezTo>
                  <a:lnTo>
                    <a:pt x="48590" y="13538"/>
                  </a:lnTo>
                  <a:cubicBezTo>
                    <a:pt x="52317" y="13538"/>
                    <a:pt x="55353" y="10502"/>
                    <a:pt x="55353" y="6763"/>
                  </a:cubicBezTo>
                  <a:cubicBezTo>
                    <a:pt x="55353" y="3036"/>
                    <a:pt x="52317" y="0"/>
                    <a:pt x="4859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100"/>
                <a:buFont typeface="Arial"/>
                <a:buNone/>
                <a:tabLst/>
                <a:defRPr/>
              </a:pPr>
              <a:r>
                <a:rPr kumimoji="0" lang="e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Arial Narrow" panose="020B0606020202030204" pitchFamily="34" charset="0"/>
                  <a:ea typeface="Fira Sans Extra Condensed Medium"/>
                  <a:cs typeface="Fira Sans Extra Condensed Medium"/>
                  <a:sym typeface="Fira Sans Extra Condensed Medium"/>
                </a:rPr>
                <a:t>HONDURAS (1)</a:t>
              </a:r>
              <a:endParaRPr kumimoji="0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44" name="Google Shape;12290;p43">
              <a:extLst>
                <a:ext uri="{FF2B5EF4-FFF2-40B4-BE49-F238E27FC236}">
                  <a16:creationId xmlns:a16="http://schemas.microsoft.com/office/drawing/2014/main" id="{1B05DB5C-F434-F37C-450F-E30293D5A2E8}"/>
                </a:ext>
              </a:extLst>
            </p:cNvPr>
            <p:cNvSpPr/>
            <p:nvPr/>
          </p:nvSpPr>
          <p:spPr>
            <a:xfrm>
              <a:off x="-1800121" y="1618779"/>
              <a:ext cx="160884" cy="146978"/>
            </a:xfrm>
            <a:custGeom>
              <a:avLst/>
              <a:gdLst/>
              <a:ahLst/>
              <a:cxnLst/>
              <a:rect l="l" t="t" r="r" b="b"/>
              <a:pathLst>
                <a:path w="9657" h="9645" extrusionOk="0">
                  <a:moveTo>
                    <a:pt x="4823" y="1"/>
                  </a:moveTo>
                  <a:cubicBezTo>
                    <a:pt x="2168" y="1"/>
                    <a:pt x="1" y="2168"/>
                    <a:pt x="1" y="4823"/>
                  </a:cubicBezTo>
                  <a:cubicBezTo>
                    <a:pt x="1" y="7490"/>
                    <a:pt x="2168" y="9645"/>
                    <a:pt x="4823" y="9645"/>
                  </a:cubicBezTo>
                  <a:cubicBezTo>
                    <a:pt x="7490" y="9645"/>
                    <a:pt x="9657" y="7490"/>
                    <a:pt x="9657" y="4823"/>
                  </a:cubicBezTo>
                  <a:cubicBezTo>
                    <a:pt x="9657" y="2168"/>
                    <a:pt x="7490" y="1"/>
                    <a:pt x="4823" y="1"/>
                  </a:cubicBezTo>
                  <a:close/>
                </a:path>
              </a:pathLst>
            </a:custGeom>
            <a:solidFill>
              <a:srgbClr val="EC701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345" name="Straight Connector 350">
            <a:extLst>
              <a:ext uri="{FF2B5EF4-FFF2-40B4-BE49-F238E27FC236}">
                <a16:creationId xmlns:a16="http://schemas.microsoft.com/office/drawing/2014/main" id="{9D29DC4F-8B1A-787D-2B6C-8F075619F176}"/>
              </a:ext>
            </a:extLst>
          </p:cNvPr>
          <p:cNvCxnSpPr>
            <a:cxnSpLocks/>
          </p:cNvCxnSpPr>
          <p:nvPr/>
        </p:nvCxnSpPr>
        <p:spPr>
          <a:xfrm>
            <a:off x="4335927" y="3472630"/>
            <a:ext cx="0" cy="213832"/>
          </a:xfrm>
          <a:prstGeom prst="line">
            <a:avLst/>
          </a:prstGeom>
          <a:ln w="38100">
            <a:solidFill>
              <a:srgbClr val="EC70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6" name="Picture 22" descr="SGC Central">
            <a:extLst>
              <a:ext uri="{FF2B5EF4-FFF2-40B4-BE49-F238E27FC236}">
                <a16:creationId xmlns:a16="http://schemas.microsoft.com/office/drawing/2014/main" id="{B10EE2D3-EB8A-2BF7-9DFB-64CA984A34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906" y="4159939"/>
            <a:ext cx="641951" cy="343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7" name="Picture 24">
            <a:extLst>
              <a:ext uri="{FF2B5EF4-FFF2-40B4-BE49-F238E27FC236}">
                <a16:creationId xmlns:a16="http://schemas.microsoft.com/office/drawing/2014/main" id="{CE1F92D8-938E-3D71-62A1-E4109B202D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0259" y="3397122"/>
            <a:ext cx="917258" cy="162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48" name="Group 2">
            <a:extLst>
              <a:ext uri="{FF2B5EF4-FFF2-40B4-BE49-F238E27FC236}">
                <a16:creationId xmlns:a16="http://schemas.microsoft.com/office/drawing/2014/main" id="{6D9A9DD1-4AAB-58CE-127B-AA0E826F518A}"/>
              </a:ext>
            </a:extLst>
          </p:cNvPr>
          <p:cNvGrpSpPr/>
          <p:nvPr/>
        </p:nvGrpSpPr>
        <p:grpSpPr>
          <a:xfrm>
            <a:off x="5944287" y="2031724"/>
            <a:ext cx="2090619" cy="931437"/>
            <a:chOff x="6833287" y="2031724"/>
            <a:chExt cx="2090619" cy="931437"/>
          </a:xfrm>
        </p:grpSpPr>
        <p:sp>
          <p:nvSpPr>
            <p:cNvPr id="349" name="Google Shape;12287;p43">
              <a:extLst>
                <a:ext uri="{FF2B5EF4-FFF2-40B4-BE49-F238E27FC236}">
                  <a16:creationId xmlns:a16="http://schemas.microsoft.com/office/drawing/2014/main" id="{9A3CE470-92E8-826C-A6ED-386D7BC1CBA3}"/>
                </a:ext>
              </a:extLst>
            </p:cNvPr>
            <p:cNvSpPr/>
            <p:nvPr/>
          </p:nvSpPr>
          <p:spPr>
            <a:xfrm>
              <a:off x="6931775" y="2084572"/>
              <a:ext cx="1210866" cy="275047"/>
            </a:xfrm>
            <a:custGeom>
              <a:avLst/>
              <a:gdLst/>
              <a:ahLst/>
              <a:cxnLst/>
              <a:rect l="l" t="t" r="r" b="b"/>
              <a:pathLst>
                <a:path w="57567" h="15753" extrusionOk="0">
                  <a:moveTo>
                    <a:pt x="7906" y="1"/>
                  </a:moveTo>
                  <a:cubicBezTo>
                    <a:pt x="3644" y="1"/>
                    <a:pt x="119" y="3466"/>
                    <a:pt x="36" y="7728"/>
                  </a:cubicBezTo>
                  <a:cubicBezTo>
                    <a:pt x="0" y="9812"/>
                    <a:pt x="798" y="11800"/>
                    <a:pt x="2286" y="13312"/>
                  </a:cubicBezTo>
                  <a:cubicBezTo>
                    <a:pt x="3810" y="14860"/>
                    <a:pt x="5918" y="15753"/>
                    <a:pt x="8073" y="15753"/>
                  </a:cubicBezTo>
                  <a:lnTo>
                    <a:pt x="49697" y="15753"/>
                  </a:lnTo>
                  <a:cubicBezTo>
                    <a:pt x="54031" y="15753"/>
                    <a:pt x="57567" y="12217"/>
                    <a:pt x="57567" y="7871"/>
                  </a:cubicBezTo>
                  <a:cubicBezTo>
                    <a:pt x="57567" y="3537"/>
                    <a:pt x="54031" y="1"/>
                    <a:pt x="49697" y="1"/>
                  </a:cubicBez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0" name="Google Shape;12288;p43">
              <a:extLst>
                <a:ext uri="{FF2B5EF4-FFF2-40B4-BE49-F238E27FC236}">
                  <a16:creationId xmlns:a16="http://schemas.microsoft.com/office/drawing/2014/main" id="{F014AD56-4056-EB98-808E-C7AAEE1C76A0}"/>
                </a:ext>
              </a:extLst>
            </p:cNvPr>
            <p:cNvSpPr/>
            <p:nvPr/>
          </p:nvSpPr>
          <p:spPr>
            <a:xfrm>
              <a:off x="6833287" y="2031724"/>
              <a:ext cx="342235" cy="931437"/>
            </a:xfrm>
            <a:custGeom>
              <a:avLst/>
              <a:gdLst/>
              <a:ahLst/>
              <a:cxnLst/>
              <a:rect l="l" t="t" r="r" b="b"/>
              <a:pathLst>
                <a:path w="21135" h="53347" extrusionOk="0">
                  <a:moveTo>
                    <a:pt x="10788" y="2754"/>
                  </a:moveTo>
                  <a:cubicBezTo>
                    <a:pt x="15224" y="2754"/>
                    <a:pt x="18787" y="6578"/>
                    <a:pt x="18337" y="11115"/>
                  </a:cubicBezTo>
                  <a:cubicBezTo>
                    <a:pt x="17979" y="14651"/>
                    <a:pt x="15110" y="17520"/>
                    <a:pt x="11574" y="17878"/>
                  </a:cubicBezTo>
                  <a:cubicBezTo>
                    <a:pt x="11314" y="17903"/>
                    <a:pt x="11057" y="17916"/>
                    <a:pt x="10802" y="17916"/>
                  </a:cubicBezTo>
                  <a:cubicBezTo>
                    <a:pt x="6365" y="17916"/>
                    <a:pt x="2801" y="14082"/>
                    <a:pt x="3251" y="9555"/>
                  </a:cubicBezTo>
                  <a:cubicBezTo>
                    <a:pt x="3609" y="6019"/>
                    <a:pt x="6478" y="3150"/>
                    <a:pt x="10014" y="2792"/>
                  </a:cubicBezTo>
                  <a:cubicBezTo>
                    <a:pt x="10275" y="2766"/>
                    <a:pt x="10533" y="2754"/>
                    <a:pt x="10788" y="2754"/>
                  </a:cubicBezTo>
                  <a:close/>
                  <a:moveTo>
                    <a:pt x="10791" y="0"/>
                  </a:moveTo>
                  <a:cubicBezTo>
                    <a:pt x="10402" y="0"/>
                    <a:pt x="10007" y="22"/>
                    <a:pt x="9609" y="66"/>
                  </a:cubicBezTo>
                  <a:cubicBezTo>
                    <a:pt x="4811" y="602"/>
                    <a:pt x="977" y="4495"/>
                    <a:pt x="513" y="9293"/>
                  </a:cubicBezTo>
                  <a:cubicBezTo>
                    <a:pt x="1" y="14496"/>
                    <a:pt x="3359" y="19021"/>
                    <a:pt x="8061" y="20295"/>
                  </a:cubicBezTo>
                  <a:cubicBezTo>
                    <a:pt x="8871" y="20521"/>
                    <a:pt x="9419" y="21283"/>
                    <a:pt x="9419" y="22116"/>
                  </a:cubicBezTo>
                  <a:lnTo>
                    <a:pt x="9419" y="51620"/>
                  </a:lnTo>
                  <a:lnTo>
                    <a:pt x="10836" y="53346"/>
                  </a:lnTo>
                  <a:lnTo>
                    <a:pt x="12169" y="51620"/>
                  </a:lnTo>
                  <a:lnTo>
                    <a:pt x="12169" y="22080"/>
                  </a:lnTo>
                  <a:cubicBezTo>
                    <a:pt x="12169" y="21235"/>
                    <a:pt x="12753" y="20521"/>
                    <a:pt x="13562" y="20295"/>
                  </a:cubicBezTo>
                  <a:cubicBezTo>
                    <a:pt x="17920" y="19080"/>
                    <a:pt x="21135" y="15080"/>
                    <a:pt x="21135" y="10329"/>
                  </a:cubicBezTo>
                  <a:cubicBezTo>
                    <a:pt x="21135" y="4622"/>
                    <a:pt x="16501" y="0"/>
                    <a:pt x="10791" y="0"/>
                  </a:cubicBezTo>
                  <a:close/>
                </a:path>
              </a:pathLst>
            </a:custGeom>
            <a:solidFill>
              <a:srgbClr val="99CC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1" name="Google Shape;12289;p43">
              <a:extLst>
                <a:ext uri="{FF2B5EF4-FFF2-40B4-BE49-F238E27FC236}">
                  <a16:creationId xmlns:a16="http://schemas.microsoft.com/office/drawing/2014/main" id="{986BABB7-95BE-68B8-1490-79D9BD148D06}"/>
                </a:ext>
              </a:extLst>
            </p:cNvPr>
            <p:cNvSpPr/>
            <p:nvPr/>
          </p:nvSpPr>
          <p:spPr>
            <a:xfrm>
              <a:off x="6926344" y="2093971"/>
              <a:ext cx="1164297" cy="236373"/>
            </a:xfrm>
            <a:custGeom>
              <a:avLst/>
              <a:gdLst/>
              <a:ahLst/>
              <a:cxnLst/>
              <a:rect l="l" t="t" r="r" b="b"/>
              <a:pathLst>
                <a:path w="55353" h="13538" extrusionOk="0">
                  <a:moveTo>
                    <a:pt x="6799" y="0"/>
                  </a:moveTo>
                  <a:cubicBezTo>
                    <a:pt x="3144" y="0"/>
                    <a:pt x="108" y="2977"/>
                    <a:pt x="36" y="6644"/>
                  </a:cubicBezTo>
                  <a:cubicBezTo>
                    <a:pt x="1" y="8418"/>
                    <a:pt x="691" y="10121"/>
                    <a:pt x="1977" y="11430"/>
                  </a:cubicBezTo>
                  <a:cubicBezTo>
                    <a:pt x="3287" y="12764"/>
                    <a:pt x="5108" y="13538"/>
                    <a:pt x="6966" y="13538"/>
                  </a:cubicBezTo>
                  <a:lnTo>
                    <a:pt x="48590" y="13538"/>
                  </a:lnTo>
                  <a:cubicBezTo>
                    <a:pt x="52317" y="13538"/>
                    <a:pt x="55353" y="10502"/>
                    <a:pt x="55353" y="6763"/>
                  </a:cubicBezTo>
                  <a:cubicBezTo>
                    <a:pt x="55353" y="3036"/>
                    <a:pt x="52317" y="0"/>
                    <a:pt x="4859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100"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ESPAÑA (1)</a:t>
              </a:r>
              <a:endParaRPr kumimoji="0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52" name="Google Shape;12290;p43">
              <a:extLst>
                <a:ext uri="{FF2B5EF4-FFF2-40B4-BE49-F238E27FC236}">
                  <a16:creationId xmlns:a16="http://schemas.microsoft.com/office/drawing/2014/main" id="{082C549A-047D-2E91-962E-788A8378D8AB}"/>
                </a:ext>
              </a:extLst>
            </p:cNvPr>
            <p:cNvSpPr/>
            <p:nvPr/>
          </p:nvSpPr>
          <p:spPr>
            <a:xfrm>
              <a:off x="6934465" y="2169656"/>
              <a:ext cx="79257" cy="88394"/>
            </a:xfrm>
            <a:custGeom>
              <a:avLst/>
              <a:gdLst/>
              <a:ahLst/>
              <a:cxnLst/>
              <a:rect l="l" t="t" r="r" b="b"/>
              <a:pathLst>
                <a:path w="9657" h="9645" extrusionOk="0">
                  <a:moveTo>
                    <a:pt x="4823" y="1"/>
                  </a:moveTo>
                  <a:cubicBezTo>
                    <a:pt x="2168" y="1"/>
                    <a:pt x="1" y="2168"/>
                    <a:pt x="1" y="4823"/>
                  </a:cubicBezTo>
                  <a:cubicBezTo>
                    <a:pt x="1" y="7490"/>
                    <a:pt x="2168" y="9645"/>
                    <a:pt x="4823" y="9645"/>
                  </a:cubicBezTo>
                  <a:cubicBezTo>
                    <a:pt x="7490" y="9645"/>
                    <a:pt x="9657" y="7490"/>
                    <a:pt x="9657" y="4823"/>
                  </a:cubicBezTo>
                  <a:cubicBezTo>
                    <a:pt x="9657" y="2168"/>
                    <a:pt x="7490" y="1"/>
                    <a:pt x="4823" y="1"/>
                  </a:cubicBezTo>
                  <a:close/>
                </a:path>
              </a:pathLst>
            </a:custGeom>
            <a:solidFill>
              <a:srgbClr val="99CC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53" name="Picture 361" descr="Logo&#10;&#10;Description automatically generated">
              <a:extLst>
                <a:ext uri="{FF2B5EF4-FFF2-40B4-BE49-F238E27FC236}">
                  <a16:creationId xmlns:a16="http://schemas.microsoft.com/office/drawing/2014/main" id="{2604C15E-3B03-07A6-6A46-6867F3866A07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8190434" y="2106186"/>
              <a:ext cx="733472" cy="262885"/>
            </a:xfrm>
            <a:prstGeom prst="rect">
              <a:avLst/>
            </a:prstGeom>
            <a:noFill/>
            <a:ln>
              <a:solidFill>
                <a:srgbClr val="17A4BC"/>
              </a:solidFill>
            </a:ln>
            <a:effectLst/>
          </p:spPr>
        </p:pic>
      </p:grpSp>
      <p:sp>
        <p:nvSpPr>
          <p:cNvPr id="354" name="TextBox 149">
            <a:extLst>
              <a:ext uri="{FF2B5EF4-FFF2-40B4-BE49-F238E27FC236}">
                <a16:creationId xmlns:a16="http://schemas.microsoft.com/office/drawing/2014/main" id="{D4B9E523-A30B-D60A-60C0-AF46228701F4}"/>
              </a:ext>
            </a:extLst>
          </p:cNvPr>
          <p:cNvSpPr txBox="1"/>
          <p:nvPr/>
        </p:nvSpPr>
        <p:spPr>
          <a:xfrm>
            <a:off x="8469542" y="3455268"/>
            <a:ext cx="3201517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MX"/>
            </a:defPPr>
            <a:lvl1pPr>
              <a:defRPr sz="1600" b="1">
                <a:solidFill>
                  <a:srgbClr val="0099C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ctr"/>
            <a:r>
              <a:rPr lang="en-US" sz="3200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9AD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  <a:latin typeface="Montserrat" pitchFamily="2" charset="77"/>
                <a:ea typeface="+mj-ea"/>
                <a:cs typeface="+mj-cs"/>
              </a:rPr>
              <a:t>11 Countries
18 Institutions</a:t>
            </a:r>
          </a:p>
        </p:txBody>
      </p:sp>
      <p:sp>
        <p:nvSpPr>
          <p:cNvPr id="355" name="TextBox 303">
            <a:extLst>
              <a:ext uri="{FF2B5EF4-FFF2-40B4-BE49-F238E27FC236}">
                <a16:creationId xmlns:a16="http://schemas.microsoft.com/office/drawing/2014/main" id="{99D57353-4FFA-E89D-2480-A19EC70FAF0A}"/>
              </a:ext>
            </a:extLst>
          </p:cNvPr>
          <p:cNvSpPr txBox="1"/>
          <p:nvPr/>
        </p:nvSpPr>
        <p:spPr>
          <a:xfrm>
            <a:off x="813718" y="1114903"/>
            <a:ext cx="112258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MX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RATES AS AN IBEROAMERICAN NETWORK SINCE 1998, ESTABLISHED AS AN ASSOCIATION IN 2017 
</a:t>
            </a:r>
            <a:endParaRPr lang="es-MX" dirty="0">
              <a:solidFill>
                <a:prstClr val="black"/>
              </a:solidFill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56" name="Picture 2" descr="FOGABA implementa exitosamente una garantía simplificada para que las PyMEs  obtengan financiamiento en el mercado de capitales - Noticias - Regar">
            <a:extLst>
              <a:ext uri="{FF2B5EF4-FFF2-40B4-BE49-F238E27FC236}">
                <a16:creationId xmlns:a16="http://schemas.microsoft.com/office/drawing/2014/main" id="{9DB3F2E7-6BE7-7E6B-D171-CCE9830F5F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6825" y="5457834"/>
            <a:ext cx="624576" cy="289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7" name="Imagen 356">
            <a:extLst>
              <a:ext uri="{FF2B5EF4-FFF2-40B4-BE49-F238E27FC236}">
                <a16:creationId xmlns:a16="http://schemas.microsoft.com/office/drawing/2014/main" id="{87D48E88-7D19-CFE1-30D4-498A63A0D717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129250" y="5440846"/>
            <a:ext cx="345211" cy="283546"/>
          </a:xfrm>
          <a:prstGeom prst="rect">
            <a:avLst/>
          </a:prstGeom>
        </p:spPr>
      </p:pic>
      <p:pic>
        <p:nvPicPr>
          <p:cNvPr id="358" name="Picture 6" descr="Brand">
            <a:extLst>
              <a:ext uri="{FF2B5EF4-FFF2-40B4-BE49-F238E27FC236}">
                <a16:creationId xmlns:a16="http://schemas.microsoft.com/office/drawing/2014/main" id="{F9980306-D6D1-06B3-6C5B-97BFE17DA5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9264" y="5435790"/>
            <a:ext cx="296591" cy="281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9" name="Picture 2">
            <a:extLst>
              <a:ext uri="{FF2B5EF4-FFF2-40B4-BE49-F238E27FC236}">
                <a16:creationId xmlns:a16="http://schemas.microsoft.com/office/drawing/2014/main" id="{63DBBE42-78F0-760F-187A-ECD6FCEAF5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713" y="2953327"/>
            <a:ext cx="846944" cy="324997"/>
          </a:xfrm>
          <a:prstGeom prst="rect">
            <a:avLst/>
          </a:prstGeom>
          <a:noFill/>
          <a:ln>
            <a:solidFill>
              <a:srgbClr val="17A4BC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98493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ángulo 21">
            <a:extLst>
              <a:ext uri="{FF2B5EF4-FFF2-40B4-BE49-F238E27FC236}">
                <a16:creationId xmlns:a16="http://schemas.microsoft.com/office/drawing/2014/main" id="{C9305CDF-B0BE-44B2-594F-C799242411F4}"/>
              </a:ext>
            </a:extLst>
          </p:cNvPr>
          <p:cNvSpPr/>
          <p:nvPr/>
        </p:nvSpPr>
        <p:spPr>
          <a:xfrm>
            <a:off x="-9361" y="1293369"/>
            <a:ext cx="12212568" cy="535990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8" name="Google Shape;17;p2">
            <a:extLst>
              <a:ext uri="{FF2B5EF4-FFF2-40B4-BE49-F238E27FC236}">
                <a16:creationId xmlns:a16="http://schemas.microsoft.com/office/drawing/2014/main" id="{ECDEF892-2A08-9CA4-4728-016A8AC887D9}"/>
              </a:ext>
            </a:extLst>
          </p:cNvPr>
          <p:cNvSpPr/>
          <p:nvPr/>
        </p:nvSpPr>
        <p:spPr>
          <a:xfrm>
            <a:off x="0" y="-3147"/>
            <a:ext cx="12192000" cy="104069"/>
          </a:xfrm>
          <a:prstGeom prst="rect">
            <a:avLst/>
          </a:prstGeom>
          <a:solidFill>
            <a:srgbClr val="008BB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</a:pPr>
            <a:endParaRPr sz="2400" b="1" kern="0" dirty="0">
              <a:solidFill>
                <a:schemeClr val="bg1"/>
              </a:solidFill>
              <a:latin typeface="Montserrat" pitchFamily="2" charset="77"/>
              <a:cs typeface="Arial"/>
              <a:sym typeface="Arial"/>
            </a:endParaRPr>
          </a:p>
        </p:txBody>
      </p:sp>
      <p:pic>
        <p:nvPicPr>
          <p:cNvPr id="48" name="Picture 2">
            <a:extLst>
              <a:ext uri="{FF2B5EF4-FFF2-40B4-BE49-F238E27FC236}">
                <a16:creationId xmlns:a16="http://schemas.microsoft.com/office/drawing/2014/main" id="{FAB4E7C3-E239-613A-BFB3-A092DE62353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54165" y="144148"/>
            <a:ext cx="1751280" cy="803065"/>
          </a:xfrm>
          <a:prstGeom prst="rect">
            <a:avLst/>
          </a:prstGeom>
        </p:spPr>
      </p:pic>
      <p:sp>
        <p:nvSpPr>
          <p:cNvPr id="15" name="Rectángulo 14">
            <a:extLst>
              <a:ext uri="{FF2B5EF4-FFF2-40B4-BE49-F238E27FC236}">
                <a16:creationId xmlns:a16="http://schemas.microsoft.com/office/drawing/2014/main" id="{575C85F7-EB34-847D-EE39-2517A9A0B5E9}"/>
              </a:ext>
            </a:extLst>
          </p:cNvPr>
          <p:cNvSpPr/>
          <p:nvPr/>
        </p:nvSpPr>
        <p:spPr>
          <a:xfrm rot="5400000">
            <a:off x="5964199" y="617580"/>
            <a:ext cx="296042" cy="12200695"/>
          </a:xfrm>
          <a:prstGeom prst="rect">
            <a:avLst/>
          </a:prstGeom>
          <a:gradFill flip="none" rotWithShape="1">
            <a:gsLst>
              <a:gs pos="69000">
                <a:srgbClr val="0070C0"/>
              </a:gs>
              <a:gs pos="0">
                <a:srgbClr val="00B0F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F6D24CA0-FF2C-964F-B35B-C3BDDBC157F2}"/>
              </a:ext>
            </a:extLst>
          </p:cNvPr>
          <p:cNvSpPr txBox="1"/>
          <p:nvPr/>
        </p:nvSpPr>
        <p:spPr>
          <a:xfrm>
            <a:off x="561854" y="6597496"/>
            <a:ext cx="18224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20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DAE22FD0-B91C-877B-4696-9A33A0E87E8D}"/>
              </a:ext>
            </a:extLst>
          </p:cNvPr>
          <p:cNvSpPr txBox="1"/>
          <p:nvPr/>
        </p:nvSpPr>
        <p:spPr>
          <a:xfrm>
            <a:off x="5627727" y="6297697"/>
            <a:ext cx="12954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6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8EDBEFF9-00FE-5FF7-C729-A5308A019EE5}"/>
              </a:ext>
            </a:extLst>
          </p:cNvPr>
          <p:cNvSpPr txBox="1"/>
          <p:nvPr/>
        </p:nvSpPr>
        <p:spPr>
          <a:xfrm>
            <a:off x="10041014" y="6340002"/>
            <a:ext cx="182242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2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E2E70289-6511-9BC0-D687-AB1015FC6C38}"/>
              </a:ext>
            </a:extLst>
          </p:cNvPr>
          <p:cNvSpPr txBox="1"/>
          <p:nvPr/>
        </p:nvSpPr>
        <p:spPr>
          <a:xfrm>
            <a:off x="3965852" y="6321505"/>
            <a:ext cx="12954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28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CAD31098-F0EC-7D44-02E2-B49C9EEE7FC7}"/>
              </a:ext>
            </a:extLst>
          </p:cNvPr>
          <p:cNvSpPr txBox="1"/>
          <p:nvPr/>
        </p:nvSpPr>
        <p:spPr>
          <a:xfrm>
            <a:off x="2497999" y="6421542"/>
            <a:ext cx="159438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2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9" name="Text Box 4">
            <a:extLst>
              <a:ext uri="{FF2B5EF4-FFF2-40B4-BE49-F238E27FC236}">
                <a16:creationId xmlns:a16="http://schemas.microsoft.com/office/drawing/2014/main" id="{E37C994D-747C-6E6B-D0C0-620987067B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20556" y="178304"/>
            <a:ext cx="9184695" cy="9787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MX"/>
            </a:defPPr>
            <a:lvl1pPr algn="r">
              <a:lnSpc>
                <a:spcPct val="90000"/>
              </a:lnSpc>
              <a:spcBef>
                <a:spcPct val="0"/>
              </a:spcBef>
              <a:buNone/>
              <a:defRPr sz="3200">
                <a:solidFill>
                  <a:schemeClr val="accent5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s-ES" sz="2400" b="1" dirty="0">
                <a:latin typeface="Century Gothic" panose="020B0502020202020204" pitchFamily="34" charset="0"/>
              </a:rPr>
              <a:t>THE WARRANTY INDUSTRY HAS EXPANDED WORLDWIDE,</a:t>
            </a:r>
          </a:p>
          <a:p>
            <a:r>
              <a:rPr lang="es-ES" sz="2400" dirty="0">
                <a:latin typeface="Century Gothic" panose="020B0502020202020204" pitchFamily="34" charset="0"/>
              </a:rPr>
              <a:t> PRESENTING DIFFERENT MODALITIES AND STRUCTURES</a:t>
            </a:r>
            <a:r>
              <a:rPr lang="es-ES" sz="2400" dirty="0"/>
              <a:t>.</a:t>
            </a:r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35EFE4B1-4194-718B-7AD2-E68EF43D7553}"/>
              </a:ext>
            </a:extLst>
          </p:cNvPr>
          <p:cNvSpPr/>
          <p:nvPr/>
        </p:nvSpPr>
        <p:spPr>
          <a:xfrm>
            <a:off x="454875" y="1561710"/>
            <a:ext cx="373880" cy="360040"/>
          </a:xfrm>
          <a:prstGeom prst="ellipse">
            <a:avLst/>
          </a:prstGeom>
          <a:gradFill flip="none" rotWithShape="1">
            <a:gsLst>
              <a:gs pos="0">
                <a:srgbClr val="FFFF00">
                  <a:shade val="30000"/>
                  <a:satMod val="115000"/>
                </a:srgbClr>
              </a:gs>
              <a:gs pos="50000">
                <a:srgbClr val="FFFF00">
                  <a:shade val="67500"/>
                  <a:satMod val="115000"/>
                </a:srgbClr>
              </a:gs>
              <a:gs pos="100000">
                <a:srgbClr val="FFFF0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92CF6969-1272-6A17-14CB-E3E9D358FDD2}"/>
              </a:ext>
            </a:extLst>
          </p:cNvPr>
          <p:cNvSpPr/>
          <p:nvPr/>
        </p:nvSpPr>
        <p:spPr>
          <a:xfrm>
            <a:off x="458748" y="2420449"/>
            <a:ext cx="373880" cy="360040"/>
          </a:xfrm>
          <a:prstGeom prst="ellipse">
            <a:avLst/>
          </a:prstGeom>
          <a:gradFill flip="none" rotWithShape="1">
            <a:gsLst>
              <a:gs pos="0">
                <a:srgbClr val="008BE5">
                  <a:shade val="30000"/>
                  <a:satMod val="115000"/>
                </a:srgbClr>
              </a:gs>
              <a:gs pos="50000">
                <a:srgbClr val="008BE5">
                  <a:shade val="67500"/>
                  <a:satMod val="115000"/>
                </a:srgbClr>
              </a:gs>
              <a:gs pos="100000">
                <a:srgbClr val="008BE5">
                  <a:shade val="100000"/>
                  <a:satMod val="115000"/>
                </a:srgbClr>
              </a:gs>
            </a:gsLst>
            <a:lin ang="13500000" scaled="1"/>
            <a:tileRect/>
          </a:gradFill>
          <a:ln w="3175">
            <a:solidFill>
              <a:schemeClr val="bg1">
                <a:lumMod val="85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MX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E32A5760-7301-ECFC-2623-3FDA89D9E162}"/>
              </a:ext>
            </a:extLst>
          </p:cNvPr>
          <p:cNvSpPr/>
          <p:nvPr/>
        </p:nvSpPr>
        <p:spPr>
          <a:xfrm>
            <a:off x="484898" y="3047188"/>
            <a:ext cx="373880" cy="360040"/>
          </a:xfrm>
          <a:prstGeom prst="ellipse">
            <a:avLst/>
          </a:prstGeom>
          <a:solidFill>
            <a:srgbClr val="92D050"/>
          </a:solidFill>
          <a:ln w="3175">
            <a:solidFill>
              <a:schemeClr val="bg1">
                <a:lumMod val="85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MX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84B682CD-8627-15EF-F6B9-7247099F958F}"/>
              </a:ext>
            </a:extLst>
          </p:cNvPr>
          <p:cNvSpPr/>
          <p:nvPr/>
        </p:nvSpPr>
        <p:spPr>
          <a:xfrm>
            <a:off x="490128" y="3673927"/>
            <a:ext cx="373880" cy="360040"/>
          </a:xfrm>
          <a:prstGeom prst="ellipse">
            <a:avLst/>
          </a:pr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MX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A74448C-FEAE-9625-FA6D-4603744293A3}"/>
              </a:ext>
            </a:extLst>
          </p:cNvPr>
          <p:cNvSpPr txBox="1"/>
          <p:nvPr/>
        </p:nvSpPr>
        <p:spPr>
          <a:xfrm>
            <a:off x="881191" y="1657173"/>
            <a:ext cx="22896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>
                <a:latin typeface="Century Gothic" panose="020B0502020202020204" pitchFamily="34" charset="0"/>
              </a:rPr>
              <a:t>Guarantee societies, legal companies
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55CAB3CC-90BF-4200-A4D0-4455119ED901}"/>
              </a:ext>
            </a:extLst>
          </p:cNvPr>
          <p:cNvSpPr txBox="1"/>
          <p:nvPr/>
        </p:nvSpPr>
        <p:spPr>
          <a:xfrm>
            <a:off x="908990" y="2372679"/>
            <a:ext cx="22896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>
                <a:latin typeface="Century Gothic" panose="020B0502020202020204" pitchFamily="34" charset="0"/>
              </a:rPr>
              <a:t>Guarantee societies, mutual legal companies
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70BAEB4A-FA9C-1D6B-E84F-E4B7C698DAA3}"/>
              </a:ext>
            </a:extLst>
          </p:cNvPr>
          <p:cNvSpPr txBox="1"/>
          <p:nvPr/>
        </p:nvSpPr>
        <p:spPr>
          <a:xfrm>
            <a:off x="950337" y="3174721"/>
            <a:ext cx="22896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>
                <a:latin typeface="Century Gothic" panose="020B0502020202020204" pitchFamily="34" charset="0"/>
              </a:rPr>
              <a:t>Warranty Program
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6560EAC9-045F-DE8A-9856-45969B0F416E}"/>
              </a:ext>
            </a:extLst>
          </p:cNvPr>
          <p:cNvSpPr txBox="1"/>
          <p:nvPr/>
        </p:nvSpPr>
        <p:spPr>
          <a:xfrm>
            <a:off x="913148" y="3785680"/>
            <a:ext cx="22896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>
                <a:latin typeface="Century Gothic" panose="020B0502020202020204" pitchFamily="34" charset="0"/>
              </a:rPr>
              <a:t>No warranty scheme
</a:t>
            </a: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D4704655-D2C1-6E5E-E8DE-0DDE2E18BFF7}"/>
              </a:ext>
            </a:extLst>
          </p:cNvPr>
          <p:cNvGrpSpPr/>
          <p:nvPr/>
        </p:nvGrpSpPr>
        <p:grpSpPr>
          <a:xfrm>
            <a:off x="2603500" y="1444236"/>
            <a:ext cx="9410700" cy="5104446"/>
            <a:chOff x="1114787" y="871501"/>
            <a:chExt cx="10131087" cy="5256793"/>
          </a:xfrm>
        </p:grpSpPr>
        <p:sp>
          <p:nvSpPr>
            <p:cNvPr id="11" name="Freeform 196">
              <a:extLst>
                <a:ext uri="{FF2B5EF4-FFF2-40B4-BE49-F238E27FC236}">
                  <a16:creationId xmlns:a16="http://schemas.microsoft.com/office/drawing/2014/main" id="{04074DC0-F86F-D8A4-6B03-53DE276EED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787" y="1523886"/>
              <a:ext cx="9857994" cy="2032576"/>
            </a:xfrm>
            <a:custGeom>
              <a:avLst/>
              <a:gdLst>
                <a:gd name="T0" fmla="*/ 374 w 5060"/>
                <a:gd name="T1" fmla="*/ 280 h 1078"/>
                <a:gd name="T2" fmla="*/ 344 w 5060"/>
                <a:gd name="T3" fmla="*/ 284 h 1078"/>
                <a:gd name="T4" fmla="*/ 280 w 5060"/>
                <a:gd name="T5" fmla="*/ 358 h 1078"/>
                <a:gd name="T6" fmla="*/ 228 w 5060"/>
                <a:gd name="T7" fmla="*/ 370 h 1078"/>
                <a:gd name="T8" fmla="*/ 284 w 5060"/>
                <a:gd name="T9" fmla="*/ 294 h 1078"/>
                <a:gd name="T10" fmla="*/ 224 w 5060"/>
                <a:gd name="T11" fmla="*/ 262 h 1078"/>
                <a:gd name="T12" fmla="*/ 192 w 5060"/>
                <a:gd name="T13" fmla="*/ 238 h 1078"/>
                <a:gd name="T14" fmla="*/ 244 w 5060"/>
                <a:gd name="T15" fmla="*/ 176 h 1078"/>
                <a:gd name="T16" fmla="*/ 162 w 5060"/>
                <a:gd name="T17" fmla="*/ 150 h 1078"/>
                <a:gd name="T18" fmla="*/ 232 w 5060"/>
                <a:gd name="T19" fmla="*/ 136 h 1078"/>
                <a:gd name="T20" fmla="*/ 202 w 5060"/>
                <a:gd name="T21" fmla="*/ 94 h 1078"/>
                <a:gd name="T22" fmla="*/ 254 w 5060"/>
                <a:gd name="T23" fmla="*/ 24 h 1078"/>
                <a:gd name="T24" fmla="*/ 344 w 5060"/>
                <a:gd name="T25" fmla="*/ 12 h 1078"/>
                <a:gd name="T26" fmla="*/ 508 w 5060"/>
                <a:gd name="T27" fmla="*/ 38 h 1078"/>
                <a:gd name="T28" fmla="*/ 606 w 5060"/>
                <a:gd name="T29" fmla="*/ 280 h 1078"/>
                <a:gd name="T30" fmla="*/ 672 w 5060"/>
                <a:gd name="T31" fmla="*/ 380 h 1078"/>
                <a:gd name="T32" fmla="*/ 630 w 5060"/>
                <a:gd name="T33" fmla="*/ 322 h 1078"/>
                <a:gd name="T34" fmla="*/ 598 w 5060"/>
                <a:gd name="T35" fmla="*/ 302 h 1078"/>
                <a:gd name="T36" fmla="*/ 552 w 5060"/>
                <a:gd name="T37" fmla="*/ 276 h 1078"/>
                <a:gd name="T38" fmla="*/ 448 w 5060"/>
                <a:gd name="T39" fmla="*/ 246 h 1078"/>
                <a:gd name="T40" fmla="*/ 1440 w 5060"/>
                <a:gd name="T41" fmla="*/ 728 h 1078"/>
                <a:gd name="T42" fmla="*/ 1450 w 5060"/>
                <a:gd name="T43" fmla="*/ 764 h 1078"/>
                <a:gd name="T44" fmla="*/ 1428 w 5060"/>
                <a:gd name="T45" fmla="*/ 794 h 1078"/>
                <a:gd name="T46" fmla="*/ 1380 w 5060"/>
                <a:gd name="T47" fmla="*/ 906 h 1078"/>
                <a:gd name="T48" fmla="*/ 1350 w 5060"/>
                <a:gd name="T49" fmla="*/ 914 h 1078"/>
                <a:gd name="T50" fmla="*/ 1274 w 5060"/>
                <a:gd name="T51" fmla="*/ 874 h 1078"/>
                <a:gd name="T52" fmla="*/ 1198 w 5060"/>
                <a:gd name="T53" fmla="*/ 884 h 1078"/>
                <a:gd name="T54" fmla="*/ 1144 w 5060"/>
                <a:gd name="T55" fmla="*/ 952 h 1078"/>
                <a:gd name="T56" fmla="*/ 1026 w 5060"/>
                <a:gd name="T57" fmla="*/ 858 h 1078"/>
                <a:gd name="T58" fmla="*/ 846 w 5060"/>
                <a:gd name="T59" fmla="*/ 806 h 1078"/>
                <a:gd name="T60" fmla="*/ 784 w 5060"/>
                <a:gd name="T61" fmla="*/ 732 h 1078"/>
                <a:gd name="T62" fmla="*/ 772 w 5060"/>
                <a:gd name="T63" fmla="*/ 568 h 1078"/>
                <a:gd name="T64" fmla="*/ 790 w 5060"/>
                <a:gd name="T65" fmla="*/ 546 h 1078"/>
                <a:gd name="T66" fmla="*/ 1010 w 5060"/>
                <a:gd name="T67" fmla="*/ 512 h 1078"/>
                <a:gd name="T68" fmla="*/ 1242 w 5060"/>
                <a:gd name="T69" fmla="*/ 530 h 1078"/>
                <a:gd name="T70" fmla="*/ 1376 w 5060"/>
                <a:gd name="T71" fmla="*/ 648 h 1078"/>
                <a:gd name="T72" fmla="*/ 1532 w 5060"/>
                <a:gd name="T73" fmla="*/ 556 h 1078"/>
                <a:gd name="T74" fmla="*/ 1526 w 5060"/>
                <a:gd name="T75" fmla="*/ 620 h 1078"/>
                <a:gd name="T76" fmla="*/ 1472 w 5060"/>
                <a:gd name="T77" fmla="*/ 676 h 1078"/>
                <a:gd name="T78" fmla="*/ 1442 w 5060"/>
                <a:gd name="T79" fmla="*/ 728 h 1078"/>
                <a:gd name="T80" fmla="*/ 426 w 5060"/>
                <a:gd name="T81" fmla="*/ 258 h 1078"/>
                <a:gd name="T82" fmla="*/ 120 w 5060"/>
                <a:gd name="T83" fmla="*/ 350 h 1078"/>
                <a:gd name="T84" fmla="*/ 1144 w 5060"/>
                <a:gd name="T85" fmla="*/ 926 h 1078"/>
                <a:gd name="T86" fmla="*/ 116 w 5060"/>
                <a:gd name="T87" fmla="*/ 194 h 1078"/>
                <a:gd name="T88" fmla="*/ 172 w 5060"/>
                <a:gd name="T89" fmla="*/ 266 h 1078"/>
                <a:gd name="T90" fmla="*/ 370 w 5060"/>
                <a:gd name="T91" fmla="*/ 318 h 1078"/>
                <a:gd name="T92" fmla="*/ 606 w 5060"/>
                <a:gd name="T93" fmla="*/ 314 h 1078"/>
                <a:gd name="T94" fmla="*/ 348 w 5060"/>
                <a:gd name="T95" fmla="*/ 324 h 1078"/>
                <a:gd name="T96" fmla="*/ 340 w 5060"/>
                <a:gd name="T97" fmla="*/ 328 h 1078"/>
                <a:gd name="T98" fmla="*/ 354 w 5060"/>
                <a:gd name="T99" fmla="*/ 340 h 1078"/>
                <a:gd name="T100" fmla="*/ 630 w 5060"/>
                <a:gd name="T101" fmla="*/ 350 h 1078"/>
                <a:gd name="T102" fmla="*/ 648 w 5060"/>
                <a:gd name="T103" fmla="*/ 378 h 1078"/>
                <a:gd name="T104" fmla="*/ 660 w 5060"/>
                <a:gd name="T105" fmla="*/ 374 h 1078"/>
                <a:gd name="T106" fmla="*/ 630 w 5060"/>
                <a:gd name="T107" fmla="*/ 374 h 1078"/>
                <a:gd name="T108" fmla="*/ 634 w 5060"/>
                <a:gd name="T109" fmla="*/ 384 h 1078"/>
                <a:gd name="T110" fmla="*/ 642 w 5060"/>
                <a:gd name="T111" fmla="*/ 388 h 1078"/>
                <a:gd name="T112" fmla="*/ 168 w 5060"/>
                <a:gd name="T113" fmla="*/ 414 h 1078"/>
                <a:gd name="T114" fmla="*/ 52 w 5060"/>
                <a:gd name="T115" fmla="*/ 440 h 1078"/>
                <a:gd name="T116" fmla="*/ 24 w 5060"/>
                <a:gd name="T117" fmla="*/ 452 h 1078"/>
                <a:gd name="T118" fmla="*/ 780 w 5060"/>
                <a:gd name="T119" fmla="*/ 522 h 1078"/>
                <a:gd name="T120" fmla="*/ 1480 w 5060"/>
                <a:gd name="T121" fmla="*/ 678 h 1078"/>
                <a:gd name="T122" fmla="*/ 1152 w 5060"/>
                <a:gd name="T123" fmla="*/ 914 h 1078"/>
                <a:gd name="T124" fmla="*/ 302 w 5060"/>
                <a:gd name="T125" fmla="*/ 1046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060" h="1078">
                  <a:moveTo>
                    <a:pt x="418" y="266"/>
                  </a:moveTo>
                  <a:lnTo>
                    <a:pt x="418" y="262"/>
                  </a:lnTo>
                  <a:lnTo>
                    <a:pt x="422" y="262"/>
                  </a:lnTo>
                  <a:lnTo>
                    <a:pt x="426" y="262"/>
                  </a:lnTo>
                  <a:lnTo>
                    <a:pt x="430" y="262"/>
                  </a:lnTo>
                  <a:lnTo>
                    <a:pt x="430" y="266"/>
                  </a:lnTo>
                  <a:lnTo>
                    <a:pt x="426" y="266"/>
                  </a:lnTo>
                  <a:lnTo>
                    <a:pt x="422" y="268"/>
                  </a:lnTo>
                  <a:lnTo>
                    <a:pt x="426" y="268"/>
                  </a:lnTo>
                  <a:lnTo>
                    <a:pt x="426" y="272"/>
                  </a:lnTo>
                  <a:lnTo>
                    <a:pt x="422" y="272"/>
                  </a:lnTo>
                  <a:lnTo>
                    <a:pt x="422" y="268"/>
                  </a:lnTo>
                  <a:lnTo>
                    <a:pt x="422" y="272"/>
                  </a:lnTo>
                  <a:lnTo>
                    <a:pt x="422" y="276"/>
                  </a:lnTo>
                  <a:lnTo>
                    <a:pt x="418" y="276"/>
                  </a:lnTo>
                  <a:lnTo>
                    <a:pt x="414" y="276"/>
                  </a:lnTo>
                  <a:lnTo>
                    <a:pt x="410" y="276"/>
                  </a:lnTo>
                  <a:lnTo>
                    <a:pt x="410" y="272"/>
                  </a:lnTo>
                  <a:lnTo>
                    <a:pt x="410" y="276"/>
                  </a:lnTo>
                  <a:lnTo>
                    <a:pt x="406" y="276"/>
                  </a:lnTo>
                  <a:lnTo>
                    <a:pt x="406" y="272"/>
                  </a:lnTo>
                  <a:lnTo>
                    <a:pt x="406" y="276"/>
                  </a:lnTo>
                  <a:lnTo>
                    <a:pt x="404" y="276"/>
                  </a:lnTo>
                  <a:lnTo>
                    <a:pt x="404" y="280"/>
                  </a:lnTo>
                  <a:lnTo>
                    <a:pt x="406" y="280"/>
                  </a:lnTo>
                  <a:lnTo>
                    <a:pt x="404" y="280"/>
                  </a:lnTo>
                  <a:lnTo>
                    <a:pt x="404" y="276"/>
                  </a:lnTo>
                  <a:lnTo>
                    <a:pt x="404" y="280"/>
                  </a:lnTo>
                  <a:lnTo>
                    <a:pt x="404" y="284"/>
                  </a:lnTo>
                  <a:lnTo>
                    <a:pt x="404" y="280"/>
                  </a:lnTo>
                  <a:lnTo>
                    <a:pt x="400" y="280"/>
                  </a:lnTo>
                  <a:lnTo>
                    <a:pt x="400" y="284"/>
                  </a:lnTo>
                  <a:lnTo>
                    <a:pt x="396" y="288"/>
                  </a:lnTo>
                  <a:lnTo>
                    <a:pt x="392" y="288"/>
                  </a:lnTo>
                  <a:lnTo>
                    <a:pt x="392" y="284"/>
                  </a:lnTo>
                  <a:lnTo>
                    <a:pt x="396" y="284"/>
                  </a:lnTo>
                  <a:lnTo>
                    <a:pt x="396" y="280"/>
                  </a:lnTo>
                  <a:lnTo>
                    <a:pt x="396" y="284"/>
                  </a:lnTo>
                  <a:lnTo>
                    <a:pt x="392" y="284"/>
                  </a:lnTo>
                  <a:lnTo>
                    <a:pt x="392" y="288"/>
                  </a:lnTo>
                  <a:lnTo>
                    <a:pt x="392" y="284"/>
                  </a:lnTo>
                  <a:lnTo>
                    <a:pt x="388" y="284"/>
                  </a:lnTo>
                  <a:lnTo>
                    <a:pt x="392" y="288"/>
                  </a:lnTo>
                  <a:lnTo>
                    <a:pt x="388" y="288"/>
                  </a:lnTo>
                  <a:lnTo>
                    <a:pt x="384" y="292"/>
                  </a:lnTo>
                  <a:lnTo>
                    <a:pt x="380" y="292"/>
                  </a:lnTo>
                  <a:lnTo>
                    <a:pt x="384" y="292"/>
                  </a:lnTo>
                  <a:lnTo>
                    <a:pt x="380" y="292"/>
                  </a:lnTo>
                  <a:lnTo>
                    <a:pt x="378" y="292"/>
                  </a:lnTo>
                  <a:lnTo>
                    <a:pt x="378" y="294"/>
                  </a:lnTo>
                  <a:lnTo>
                    <a:pt x="374" y="294"/>
                  </a:lnTo>
                  <a:lnTo>
                    <a:pt x="374" y="292"/>
                  </a:lnTo>
                  <a:lnTo>
                    <a:pt x="370" y="292"/>
                  </a:lnTo>
                  <a:lnTo>
                    <a:pt x="374" y="288"/>
                  </a:lnTo>
                  <a:lnTo>
                    <a:pt x="378" y="288"/>
                  </a:lnTo>
                  <a:lnTo>
                    <a:pt x="378" y="284"/>
                  </a:lnTo>
                  <a:lnTo>
                    <a:pt x="380" y="284"/>
                  </a:lnTo>
                  <a:lnTo>
                    <a:pt x="384" y="280"/>
                  </a:lnTo>
                  <a:lnTo>
                    <a:pt x="380" y="280"/>
                  </a:lnTo>
                  <a:lnTo>
                    <a:pt x="378" y="284"/>
                  </a:lnTo>
                  <a:lnTo>
                    <a:pt x="374" y="280"/>
                  </a:lnTo>
                  <a:lnTo>
                    <a:pt x="374" y="272"/>
                  </a:lnTo>
                  <a:lnTo>
                    <a:pt x="378" y="272"/>
                  </a:lnTo>
                  <a:lnTo>
                    <a:pt x="378" y="268"/>
                  </a:lnTo>
                  <a:lnTo>
                    <a:pt x="380" y="266"/>
                  </a:lnTo>
                  <a:lnTo>
                    <a:pt x="380" y="262"/>
                  </a:lnTo>
                  <a:lnTo>
                    <a:pt x="380" y="258"/>
                  </a:lnTo>
                  <a:lnTo>
                    <a:pt x="378" y="258"/>
                  </a:lnTo>
                  <a:lnTo>
                    <a:pt x="380" y="258"/>
                  </a:lnTo>
                  <a:lnTo>
                    <a:pt x="384" y="258"/>
                  </a:lnTo>
                  <a:lnTo>
                    <a:pt x="388" y="254"/>
                  </a:lnTo>
                  <a:lnTo>
                    <a:pt x="392" y="250"/>
                  </a:lnTo>
                  <a:lnTo>
                    <a:pt x="396" y="250"/>
                  </a:lnTo>
                  <a:lnTo>
                    <a:pt x="396" y="254"/>
                  </a:lnTo>
                  <a:lnTo>
                    <a:pt x="400" y="254"/>
                  </a:lnTo>
                  <a:lnTo>
                    <a:pt x="400" y="250"/>
                  </a:lnTo>
                  <a:lnTo>
                    <a:pt x="404" y="250"/>
                  </a:lnTo>
                  <a:lnTo>
                    <a:pt x="404" y="254"/>
                  </a:lnTo>
                  <a:lnTo>
                    <a:pt x="406" y="254"/>
                  </a:lnTo>
                  <a:lnTo>
                    <a:pt x="410" y="254"/>
                  </a:lnTo>
                  <a:lnTo>
                    <a:pt x="406" y="254"/>
                  </a:lnTo>
                  <a:lnTo>
                    <a:pt x="404" y="250"/>
                  </a:lnTo>
                  <a:lnTo>
                    <a:pt x="400" y="250"/>
                  </a:lnTo>
                  <a:lnTo>
                    <a:pt x="400" y="246"/>
                  </a:lnTo>
                  <a:lnTo>
                    <a:pt x="400" y="242"/>
                  </a:lnTo>
                  <a:lnTo>
                    <a:pt x="404" y="242"/>
                  </a:lnTo>
                  <a:lnTo>
                    <a:pt x="406" y="242"/>
                  </a:lnTo>
                  <a:lnTo>
                    <a:pt x="410" y="238"/>
                  </a:lnTo>
                  <a:lnTo>
                    <a:pt x="406" y="238"/>
                  </a:lnTo>
                  <a:lnTo>
                    <a:pt x="404" y="238"/>
                  </a:lnTo>
                  <a:lnTo>
                    <a:pt x="404" y="242"/>
                  </a:lnTo>
                  <a:lnTo>
                    <a:pt x="400" y="242"/>
                  </a:lnTo>
                  <a:lnTo>
                    <a:pt x="400" y="246"/>
                  </a:lnTo>
                  <a:lnTo>
                    <a:pt x="396" y="246"/>
                  </a:lnTo>
                  <a:lnTo>
                    <a:pt x="392" y="246"/>
                  </a:lnTo>
                  <a:lnTo>
                    <a:pt x="388" y="246"/>
                  </a:lnTo>
                  <a:lnTo>
                    <a:pt x="384" y="246"/>
                  </a:lnTo>
                  <a:lnTo>
                    <a:pt x="380" y="250"/>
                  </a:lnTo>
                  <a:lnTo>
                    <a:pt x="378" y="250"/>
                  </a:lnTo>
                  <a:lnTo>
                    <a:pt x="374" y="254"/>
                  </a:lnTo>
                  <a:lnTo>
                    <a:pt x="374" y="258"/>
                  </a:lnTo>
                  <a:lnTo>
                    <a:pt x="370" y="258"/>
                  </a:lnTo>
                  <a:lnTo>
                    <a:pt x="370" y="262"/>
                  </a:lnTo>
                  <a:lnTo>
                    <a:pt x="366" y="262"/>
                  </a:lnTo>
                  <a:lnTo>
                    <a:pt x="366" y="266"/>
                  </a:lnTo>
                  <a:lnTo>
                    <a:pt x="366" y="268"/>
                  </a:lnTo>
                  <a:lnTo>
                    <a:pt x="362" y="268"/>
                  </a:lnTo>
                  <a:lnTo>
                    <a:pt x="358" y="268"/>
                  </a:lnTo>
                  <a:lnTo>
                    <a:pt x="354" y="268"/>
                  </a:lnTo>
                  <a:lnTo>
                    <a:pt x="358" y="268"/>
                  </a:lnTo>
                  <a:lnTo>
                    <a:pt x="362" y="272"/>
                  </a:lnTo>
                  <a:lnTo>
                    <a:pt x="358" y="276"/>
                  </a:lnTo>
                  <a:lnTo>
                    <a:pt x="354" y="276"/>
                  </a:lnTo>
                  <a:lnTo>
                    <a:pt x="350" y="280"/>
                  </a:lnTo>
                  <a:lnTo>
                    <a:pt x="354" y="276"/>
                  </a:lnTo>
                  <a:lnTo>
                    <a:pt x="354" y="280"/>
                  </a:lnTo>
                  <a:lnTo>
                    <a:pt x="354" y="284"/>
                  </a:lnTo>
                  <a:lnTo>
                    <a:pt x="350" y="284"/>
                  </a:lnTo>
                  <a:lnTo>
                    <a:pt x="350" y="280"/>
                  </a:lnTo>
                  <a:lnTo>
                    <a:pt x="350" y="284"/>
                  </a:lnTo>
                  <a:lnTo>
                    <a:pt x="348" y="284"/>
                  </a:lnTo>
                  <a:lnTo>
                    <a:pt x="344" y="284"/>
                  </a:lnTo>
                  <a:lnTo>
                    <a:pt x="348" y="288"/>
                  </a:lnTo>
                  <a:lnTo>
                    <a:pt x="344" y="288"/>
                  </a:lnTo>
                  <a:lnTo>
                    <a:pt x="340" y="288"/>
                  </a:lnTo>
                  <a:lnTo>
                    <a:pt x="344" y="288"/>
                  </a:lnTo>
                  <a:lnTo>
                    <a:pt x="340" y="292"/>
                  </a:lnTo>
                  <a:lnTo>
                    <a:pt x="340" y="294"/>
                  </a:lnTo>
                  <a:lnTo>
                    <a:pt x="344" y="294"/>
                  </a:lnTo>
                  <a:lnTo>
                    <a:pt x="348" y="294"/>
                  </a:lnTo>
                  <a:lnTo>
                    <a:pt x="348" y="298"/>
                  </a:lnTo>
                  <a:lnTo>
                    <a:pt x="350" y="298"/>
                  </a:lnTo>
                  <a:lnTo>
                    <a:pt x="350" y="302"/>
                  </a:lnTo>
                  <a:lnTo>
                    <a:pt x="348" y="306"/>
                  </a:lnTo>
                  <a:lnTo>
                    <a:pt x="344" y="306"/>
                  </a:lnTo>
                  <a:lnTo>
                    <a:pt x="344" y="310"/>
                  </a:lnTo>
                  <a:lnTo>
                    <a:pt x="340" y="310"/>
                  </a:lnTo>
                  <a:lnTo>
                    <a:pt x="344" y="310"/>
                  </a:lnTo>
                  <a:lnTo>
                    <a:pt x="340" y="310"/>
                  </a:lnTo>
                  <a:lnTo>
                    <a:pt x="336" y="314"/>
                  </a:lnTo>
                  <a:lnTo>
                    <a:pt x="340" y="314"/>
                  </a:lnTo>
                  <a:lnTo>
                    <a:pt x="340" y="318"/>
                  </a:lnTo>
                  <a:lnTo>
                    <a:pt x="336" y="318"/>
                  </a:lnTo>
                  <a:lnTo>
                    <a:pt x="332" y="318"/>
                  </a:lnTo>
                  <a:lnTo>
                    <a:pt x="332" y="322"/>
                  </a:lnTo>
                  <a:lnTo>
                    <a:pt x="328" y="318"/>
                  </a:lnTo>
                  <a:lnTo>
                    <a:pt x="328" y="322"/>
                  </a:lnTo>
                  <a:lnTo>
                    <a:pt x="324" y="322"/>
                  </a:lnTo>
                  <a:lnTo>
                    <a:pt x="324" y="324"/>
                  </a:lnTo>
                  <a:lnTo>
                    <a:pt x="322" y="324"/>
                  </a:lnTo>
                  <a:lnTo>
                    <a:pt x="318" y="324"/>
                  </a:lnTo>
                  <a:lnTo>
                    <a:pt x="318" y="328"/>
                  </a:lnTo>
                  <a:lnTo>
                    <a:pt x="314" y="328"/>
                  </a:lnTo>
                  <a:lnTo>
                    <a:pt x="314" y="332"/>
                  </a:lnTo>
                  <a:lnTo>
                    <a:pt x="310" y="332"/>
                  </a:lnTo>
                  <a:lnTo>
                    <a:pt x="306" y="336"/>
                  </a:lnTo>
                  <a:lnTo>
                    <a:pt x="310" y="336"/>
                  </a:lnTo>
                  <a:lnTo>
                    <a:pt x="310" y="340"/>
                  </a:lnTo>
                  <a:lnTo>
                    <a:pt x="306" y="340"/>
                  </a:lnTo>
                  <a:lnTo>
                    <a:pt x="306" y="344"/>
                  </a:lnTo>
                  <a:lnTo>
                    <a:pt x="302" y="344"/>
                  </a:lnTo>
                  <a:lnTo>
                    <a:pt x="298" y="344"/>
                  </a:lnTo>
                  <a:lnTo>
                    <a:pt x="298" y="348"/>
                  </a:lnTo>
                  <a:lnTo>
                    <a:pt x="294" y="348"/>
                  </a:lnTo>
                  <a:lnTo>
                    <a:pt x="294" y="344"/>
                  </a:lnTo>
                  <a:lnTo>
                    <a:pt x="292" y="344"/>
                  </a:lnTo>
                  <a:lnTo>
                    <a:pt x="292" y="348"/>
                  </a:lnTo>
                  <a:lnTo>
                    <a:pt x="292" y="350"/>
                  </a:lnTo>
                  <a:lnTo>
                    <a:pt x="288" y="348"/>
                  </a:lnTo>
                  <a:lnTo>
                    <a:pt x="288" y="350"/>
                  </a:lnTo>
                  <a:lnTo>
                    <a:pt x="284" y="350"/>
                  </a:lnTo>
                  <a:lnTo>
                    <a:pt x="288" y="350"/>
                  </a:lnTo>
                  <a:lnTo>
                    <a:pt x="288" y="354"/>
                  </a:lnTo>
                  <a:lnTo>
                    <a:pt x="284" y="354"/>
                  </a:lnTo>
                  <a:lnTo>
                    <a:pt x="284" y="350"/>
                  </a:lnTo>
                  <a:lnTo>
                    <a:pt x="284" y="354"/>
                  </a:lnTo>
                  <a:lnTo>
                    <a:pt x="280" y="354"/>
                  </a:lnTo>
                  <a:lnTo>
                    <a:pt x="278" y="354"/>
                  </a:lnTo>
                  <a:lnTo>
                    <a:pt x="278" y="358"/>
                  </a:lnTo>
                  <a:lnTo>
                    <a:pt x="280" y="354"/>
                  </a:lnTo>
                  <a:lnTo>
                    <a:pt x="280" y="358"/>
                  </a:lnTo>
                  <a:lnTo>
                    <a:pt x="284" y="358"/>
                  </a:lnTo>
                  <a:lnTo>
                    <a:pt x="280" y="358"/>
                  </a:lnTo>
                  <a:lnTo>
                    <a:pt x="284" y="358"/>
                  </a:lnTo>
                  <a:lnTo>
                    <a:pt x="280" y="362"/>
                  </a:lnTo>
                  <a:lnTo>
                    <a:pt x="280" y="358"/>
                  </a:lnTo>
                  <a:lnTo>
                    <a:pt x="280" y="362"/>
                  </a:lnTo>
                  <a:lnTo>
                    <a:pt x="278" y="362"/>
                  </a:lnTo>
                  <a:lnTo>
                    <a:pt x="280" y="358"/>
                  </a:lnTo>
                  <a:lnTo>
                    <a:pt x="278" y="358"/>
                  </a:lnTo>
                  <a:lnTo>
                    <a:pt x="278" y="362"/>
                  </a:lnTo>
                  <a:lnTo>
                    <a:pt x="278" y="366"/>
                  </a:lnTo>
                  <a:lnTo>
                    <a:pt x="278" y="362"/>
                  </a:lnTo>
                  <a:lnTo>
                    <a:pt x="274" y="362"/>
                  </a:lnTo>
                  <a:lnTo>
                    <a:pt x="274" y="366"/>
                  </a:lnTo>
                  <a:lnTo>
                    <a:pt x="270" y="366"/>
                  </a:lnTo>
                  <a:lnTo>
                    <a:pt x="266" y="366"/>
                  </a:lnTo>
                  <a:lnTo>
                    <a:pt x="266" y="370"/>
                  </a:lnTo>
                  <a:lnTo>
                    <a:pt x="262" y="370"/>
                  </a:lnTo>
                  <a:lnTo>
                    <a:pt x="262" y="374"/>
                  </a:lnTo>
                  <a:lnTo>
                    <a:pt x="262" y="370"/>
                  </a:lnTo>
                  <a:lnTo>
                    <a:pt x="262" y="366"/>
                  </a:lnTo>
                  <a:lnTo>
                    <a:pt x="258" y="366"/>
                  </a:lnTo>
                  <a:lnTo>
                    <a:pt x="258" y="370"/>
                  </a:lnTo>
                  <a:lnTo>
                    <a:pt x="254" y="370"/>
                  </a:lnTo>
                  <a:lnTo>
                    <a:pt x="254" y="374"/>
                  </a:lnTo>
                  <a:lnTo>
                    <a:pt x="250" y="374"/>
                  </a:lnTo>
                  <a:lnTo>
                    <a:pt x="248" y="374"/>
                  </a:lnTo>
                  <a:lnTo>
                    <a:pt x="248" y="378"/>
                  </a:lnTo>
                  <a:lnTo>
                    <a:pt x="248" y="374"/>
                  </a:lnTo>
                  <a:lnTo>
                    <a:pt x="244" y="374"/>
                  </a:lnTo>
                  <a:lnTo>
                    <a:pt x="244" y="378"/>
                  </a:lnTo>
                  <a:lnTo>
                    <a:pt x="240" y="378"/>
                  </a:lnTo>
                  <a:lnTo>
                    <a:pt x="236" y="378"/>
                  </a:lnTo>
                  <a:lnTo>
                    <a:pt x="236" y="374"/>
                  </a:lnTo>
                  <a:lnTo>
                    <a:pt x="240" y="374"/>
                  </a:lnTo>
                  <a:lnTo>
                    <a:pt x="236" y="374"/>
                  </a:lnTo>
                  <a:lnTo>
                    <a:pt x="232" y="374"/>
                  </a:lnTo>
                  <a:lnTo>
                    <a:pt x="232" y="378"/>
                  </a:lnTo>
                  <a:lnTo>
                    <a:pt x="232" y="380"/>
                  </a:lnTo>
                  <a:lnTo>
                    <a:pt x="228" y="380"/>
                  </a:lnTo>
                  <a:lnTo>
                    <a:pt x="228" y="384"/>
                  </a:lnTo>
                  <a:lnTo>
                    <a:pt x="228" y="380"/>
                  </a:lnTo>
                  <a:lnTo>
                    <a:pt x="224" y="384"/>
                  </a:lnTo>
                  <a:lnTo>
                    <a:pt x="222" y="384"/>
                  </a:lnTo>
                  <a:lnTo>
                    <a:pt x="222" y="380"/>
                  </a:lnTo>
                  <a:lnTo>
                    <a:pt x="222" y="384"/>
                  </a:lnTo>
                  <a:lnTo>
                    <a:pt x="218" y="388"/>
                  </a:lnTo>
                  <a:lnTo>
                    <a:pt x="218" y="384"/>
                  </a:lnTo>
                  <a:lnTo>
                    <a:pt x="214" y="384"/>
                  </a:lnTo>
                  <a:lnTo>
                    <a:pt x="214" y="380"/>
                  </a:lnTo>
                  <a:lnTo>
                    <a:pt x="214" y="384"/>
                  </a:lnTo>
                  <a:lnTo>
                    <a:pt x="214" y="388"/>
                  </a:lnTo>
                  <a:lnTo>
                    <a:pt x="210" y="388"/>
                  </a:lnTo>
                  <a:lnTo>
                    <a:pt x="210" y="384"/>
                  </a:lnTo>
                  <a:lnTo>
                    <a:pt x="210" y="380"/>
                  </a:lnTo>
                  <a:lnTo>
                    <a:pt x="214" y="380"/>
                  </a:lnTo>
                  <a:lnTo>
                    <a:pt x="218" y="380"/>
                  </a:lnTo>
                  <a:lnTo>
                    <a:pt x="218" y="378"/>
                  </a:lnTo>
                  <a:lnTo>
                    <a:pt x="222" y="378"/>
                  </a:lnTo>
                  <a:lnTo>
                    <a:pt x="222" y="374"/>
                  </a:lnTo>
                  <a:lnTo>
                    <a:pt x="224" y="374"/>
                  </a:lnTo>
                  <a:lnTo>
                    <a:pt x="224" y="370"/>
                  </a:lnTo>
                  <a:lnTo>
                    <a:pt x="228" y="370"/>
                  </a:lnTo>
                  <a:lnTo>
                    <a:pt x="232" y="366"/>
                  </a:lnTo>
                  <a:lnTo>
                    <a:pt x="240" y="366"/>
                  </a:lnTo>
                  <a:lnTo>
                    <a:pt x="244" y="366"/>
                  </a:lnTo>
                  <a:lnTo>
                    <a:pt x="248" y="370"/>
                  </a:lnTo>
                  <a:lnTo>
                    <a:pt x="248" y="366"/>
                  </a:lnTo>
                  <a:lnTo>
                    <a:pt x="250" y="366"/>
                  </a:lnTo>
                  <a:lnTo>
                    <a:pt x="250" y="370"/>
                  </a:lnTo>
                  <a:lnTo>
                    <a:pt x="254" y="370"/>
                  </a:lnTo>
                  <a:lnTo>
                    <a:pt x="254" y="366"/>
                  </a:lnTo>
                  <a:lnTo>
                    <a:pt x="250" y="366"/>
                  </a:lnTo>
                  <a:lnTo>
                    <a:pt x="250" y="362"/>
                  </a:lnTo>
                  <a:lnTo>
                    <a:pt x="250" y="358"/>
                  </a:lnTo>
                  <a:lnTo>
                    <a:pt x="254" y="358"/>
                  </a:lnTo>
                  <a:lnTo>
                    <a:pt x="254" y="354"/>
                  </a:lnTo>
                  <a:lnTo>
                    <a:pt x="258" y="354"/>
                  </a:lnTo>
                  <a:lnTo>
                    <a:pt x="258" y="350"/>
                  </a:lnTo>
                  <a:lnTo>
                    <a:pt x="262" y="350"/>
                  </a:lnTo>
                  <a:lnTo>
                    <a:pt x="266" y="350"/>
                  </a:lnTo>
                  <a:lnTo>
                    <a:pt x="270" y="348"/>
                  </a:lnTo>
                  <a:lnTo>
                    <a:pt x="274" y="348"/>
                  </a:lnTo>
                  <a:lnTo>
                    <a:pt x="278" y="348"/>
                  </a:lnTo>
                  <a:lnTo>
                    <a:pt x="278" y="344"/>
                  </a:lnTo>
                  <a:lnTo>
                    <a:pt x="278" y="340"/>
                  </a:lnTo>
                  <a:lnTo>
                    <a:pt x="280" y="336"/>
                  </a:lnTo>
                  <a:lnTo>
                    <a:pt x="284" y="332"/>
                  </a:lnTo>
                  <a:lnTo>
                    <a:pt x="288" y="332"/>
                  </a:lnTo>
                  <a:lnTo>
                    <a:pt x="288" y="328"/>
                  </a:lnTo>
                  <a:lnTo>
                    <a:pt x="292" y="328"/>
                  </a:lnTo>
                  <a:lnTo>
                    <a:pt x="292" y="332"/>
                  </a:lnTo>
                  <a:lnTo>
                    <a:pt x="294" y="332"/>
                  </a:lnTo>
                  <a:lnTo>
                    <a:pt x="294" y="328"/>
                  </a:lnTo>
                  <a:lnTo>
                    <a:pt x="292" y="332"/>
                  </a:lnTo>
                  <a:lnTo>
                    <a:pt x="292" y="328"/>
                  </a:lnTo>
                  <a:lnTo>
                    <a:pt x="292" y="324"/>
                  </a:lnTo>
                  <a:lnTo>
                    <a:pt x="292" y="322"/>
                  </a:lnTo>
                  <a:lnTo>
                    <a:pt x="292" y="318"/>
                  </a:lnTo>
                  <a:lnTo>
                    <a:pt x="294" y="314"/>
                  </a:lnTo>
                  <a:lnTo>
                    <a:pt x="298" y="314"/>
                  </a:lnTo>
                  <a:lnTo>
                    <a:pt x="298" y="318"/>
                  </a:lnTo>
                  <a:lnTo>
                    <a:pt x="298" y="314"/>
                  </a:lnTo>
                  <a:lnTo>
                    <a:pt x="294" y="314"/>
                  </a:lnTo>
                  <a:lnTo>
                    <a:pt x="292" y="314"/>
                  </a:lnTo>
                  <a:lnTo>
                    <a:pt x="292" y="310"/>
                  </a:lnTo>
                  <a:lnTo>
                    <a:pt x="294" y="306"/>
                  </a:lnTo>
                  <a:lnTo>
                    <a:pt x="298" y="302"/>
                  </a:lnTo>
                  <a:lnTo>
                    <a:pt x="298" y="298"/>
                  </a:lnTo>
                  <a:lnTo>
                    <a:pt x="302" y="298"/>
                  </a:lnTo>
                  <a:lnTo>
                    <a:pt x="302" y="294"/>
                  </a:lnTo>
                  <a:lnTo>
                    <a:pt x="298" y="298"/>
                  </a:lnTo>
                  <a:lnTo>
                    <a:pt x="294" y="298"/>
                  </a:lnTo>
                  <a:lnTo>
                    <a:pt x="294" y="302"/>
                  </a:lnTo>
                  <a:lnTo>
                    <a:pt x="292" y="302"/>
                  </a:lnTo>
                  <a:lnTo>
                    <a:pt x="288" y="302"/>
                  </a:lnTo>
                  <a:lnTo>
                    <a:pt x="284" y="306"/>
                  </a:lnTo>
                  <a:lnTo>
                    <a:pt x="280" y="306"/>
                  </a:lnTo>
                  <a:lnTo>
                    <a:pt x="280" y="302"/>
                  </a:lnTo>
                  <a:lnTo>
                    <a:pt x="278" y="302"/>
                  </a:lnTo>
                  <a:lnTo>
                    <a:pt x="278" y="298"/>
                  </a:lnTo>
                  <a:lnTo>
                    <a:pt x="280" y="298"/>
                  </a:lnTo>
                  <a:lnTo>
                    <a:pt x="280" y="294"/>
                  </a:lnTo>
                  <a:lnTo>
                    <a:pt x="284" y="294"/>
                  </a:lnTo>
                  <a:lnTo>
                    <a:pt x="284" y="298"/>
                  </a:lnTo>
                  <a:lnTo>
                    <a:pt x="284" y="294"/>
                  </a:lnTo>
                  <a:lnTo>
                    <a:pt x="280" y="294"/>
                  </a:lnTo>
                  <a:lnTo>
                    <a:pt x="278" y="292"/>
                  </a:lnTo>
                  <a:lnTo>
                    <a:pt x="278" y="294"/>
                  </a:lnTo>
                  <a:lnTo>
                    <a:pt x="280" y="294"/>
                  </a:lnTo>
                  <a:lnTo>
                    <a:pt x="278" y="298"/>
                  </a:lnTo>
                  <a:lnTo>
                    <a:pt x="274" y="298"/>
                  </a:lnTo>
                  <a:lnTo>
                    <a:pt x="274" y="302"/>
                  </a:lnTo>
                  <a:lnTo>
                    <a:pt x="278" y="310"/>
                  </a:lnTo>
                  <a:lnTo>
                    <a:pt x="274" y="310"/>
                  </a:lnTo>
                  <a:lnTo>
                    <a:pt x="270" y="310"/>
                  </a:lnTo>
                  <a:lnTo>
                    <a:pt x="270" y="306"/>
                  </a:lnTo>
                  <a:lnTo>
                    <a:pt x="266" y="302"/>
                  </a:lnTo>
                  <a:lnTo>
                    <a:pt x="262" y="298"/>
                  </a:lnTo>
                  <a:lnTo>
                    <a:pt x="262" y="302"/>
                  </a:lnTo>
                  <a:lnTo>
                    <a:pt x="258" y="302"/>
                  </a:lnTo>
                  <a:lnTo>
                    <a:pt x="258" y="298"/>
                  </a:lnTo>
                  <a:lnTo>
                    <a:pt x="254" y="298"/>
                  </a:lnTo>
                  <a:lnTo>
                    <a:pt x="254" y="294"/>
                  </a:lnTo>
                  <a:lnTo>
                    <a:pt x="250" y="294"/>
                  </a:lnTo>
                  <a:lnTo>
                    <a:pt x="248" y="298"/>
                  </a:lnTo>
                  <a:lnTo>
                    <a:pt x="244" y="298"/>
                  </a:lnTo>
                  <a:lnTo>
                    <a:pt x="244" y="302"/>
                  </a:lnTo>
                  <a:lnTo>
                    <a:pt x="240" y="302"/>
                  </a:lnTo>
                  <a:lnTo>
                    <a:pt x="240" y="306"/>
                  </a:lnTo>
                  <a:lnTo>
                    <a:pt x="236" y="306"/>
                  </a:lnTo>
                  <a:lnTo>
                    <a:pt x="232" y="306"/>
                  </a:lnTo>
                  <a:lnTo>
                    <a:pt x="228" y="306"/>
                  </a:lnTo>
                  <a:lnTo>
                    <a:pt x="228" y="302"/>
                  </a:lnTo>
                  <a:lnTo>
                    <a:pt x="228" y="306"/>
                  </a:lnTo>
                  <a:lnTo>
                    <a:pt x="232" y="306"/>
                  </a:lnTo>
                  <a:lnTo>
                    <a:pt x="232" y="302"/>
                  </a:lnTo>
                  <a:lnTo>
                    <a:pt x="236" y="302"/>
                  </a:lnTo>
                  <a:lnTo>
                    <a:pt x="232" y="302"/>
                  </a:lnTo>
                  <a:lnTo>
                    <a:pt x="232" y="298"/>
                  </a:lnTo>
                  <a:lnTo>
                    <a:pt x="232" y="294"/>
                  </a:lnTo>
                  <a:lnTo>
                    <a:pt x="236" y="294"/>
                  </a:lnTo>
                  <a:lnTo>
                    <a:pt x="232" y="294"/>
                  </a:lnTo>
                  <a:lnTo>
                    <a:pt x="228" y="294"/>
                  </a:lnTo>
                  <a:lnTo>
                    <a:pt x="228" y="292"/>
                  </a:lnTo>
                  <a:lnTo>
                    <a:pt x="228" y="288"/>
                  </a:lnTo>
                  <a:lnTo>
                    <a:pt x="232" y="288"/>
                  </a:lnTo>
                  <a:lnTo>
                    <a:pt x="232" y="284"/>
                  </a:lnTo>
                  <a:lnTo>
                    <a:pt x="232" y="280"/>
                  </a:lnTo>
                  <a:lnTo>
                    <a:pt x="228" y="280"/>
                  </a:lnTo>
                  <a:lnTo>
                    <a:pt x="228" y="276"/>
                  </a:lnTo>
                  <a:lnTo>
                    <a:pt x="224" y="272"/>
                  </a:lnTo>
                  <a:lnTo>
                    <a:pt x="228" y="268"/>
                  </a:lnTo>
                  <a:lnTo>
                    <a:pt x="224" y="268"/>
                  </a:lnTo>
                  <a:lnTo>
                    <a:pt x="224" y="272"/>
                  </a:lnTo>
                  <a:lnTo>
                    <a:pt x="224" y="268"/>
                  </a:lnTo>
                  <a:lnTo>
                    <a:pt x="224" y="266"/>
                  </a:lnTo>
                  <a:lnTo>
                    <a:pt x="224" y="262"/>
                  </a:lnTo>
                  <a:lnTo>
                    <a:pt x="228" y="262"/>
                  </a:lnTo>
                  <a:lnTo>
                    <a:pt x="228" y="258"/>
                  </a:lnTo>
                  <a:lnTo>
                    <a:pt x="228" y="262"/>
                  </a:lnTo>
                  <a:lnTo>
                    <a:pt x="228" y="258"/>
                  </a:lnTo>
                  <a:lnTo>
                    <a:pt x="232" y="258"/>
                  </a:lnTo>
                  <a:lnTo>
                    <a:pt x="228" y="258"/>
                  </a:lnTo>
                  <a:lnTo>
                    <a:pt x="224" y="262"/>
                  </a:lnTo>
                  <a:lnTo>
                    <a:pt x="224" y="266"/>
                  </a:lnTo>
                  <a:lnTo>
                    <a:pt x="222" y="266"/>
                  </a:lnTo>
                  <a:lnTo>
                    <a:pt x="222" y="268"/>
                  </a:lnTo>
                  <a:lnTo>
                    <a:pt x="224" y="268"/>
                  </a:lnTo>
                  <a:lnTo>
                    <a:pt x="222" y="272"/>
                  </a:lnTo>
                  <a:lnTo>
                    <a:pt x="222" y="276"/>
                  </a:lnTo>
                  <a:lnTo>
                    <a:pt x="218" y="276"/>
                  </a:lnTo>
                  <a:lnTo>
                    <a:pt x="214" y="276"/>
                  </a:lnTo>
                  <a:lnTo>
                    <a:pt x="210" y="280"/>
                  </a:lnTo>
                  <a:lnTo>
                    <a:pt x="206" y="280"/>
                  </a:lnTo>
                  <a:lnTo>
                    <a:pt x="202" y="280"/>
                  </a:lnTo>
                  <a:lnTo>
                    <a:pt x="198" y="280"/>
                  </a:lnTo>
                  <a:lnTo>
                    <a:pt x="198" y="276"/>
                  </a:lnTo>
                  <a:lnTo>
                    <a:pt x="198" y="272"/>
                  </a:lnTo>
                  <a:lnTo>
                    <a:pt x="194" y="272"/>
                  </a:lnTo>
                  <a:lnTo>
                    <a:pt x="194" y="268"/>
                  </a:lnTo>
                  <a:lnTo>
                    <a:pt x="192" y="268"/>
                  </a:lnTo>
                  <a:lnTo>
                    <a:pt x="188" y="266"/>
                  </a:lnTo>
                  <a:lnTo>
                    <a:pt x="184" y="266"/>
                  </a:lnTo>
                  <a:lnTo>
                    <a:pt x="188" y="266"/>
                  </a:lnTo>
                  <a:lnTo>
                    <a:pt x="188" y="262"/>
                  </a:lnTo>
                  <a:lnTo>
                    <a:pt x="184" y="262"/>
                  </a:lnTo>
                  <a:lnTo>
                    <a:pt x="180" y="262"/>
                  </a:lnTo>
                  <a:lnTo>
                    <a:pt x="184" y="262"/>
                  </a:lnTo>
                  <a:lnTo>
                    <a:pt x="188" y="258"/>
                  </a:lnTo>
                  <a:lnTo>
                    <a:pt x="188" y="254"/>
                  </a:lnTo>
                  <a:lnTo>
                    <a:pt x="192" y="254"/>
                  </a:lnTo>
                  <a:lnTo>
                    <a:pt x="194" y="258"/>
                  </a:lnTo>
                  <a:lnTo>
                    <a:pt x="198" y="258"/>
                  </a:lnTo>
                  <a:lnTo>
                    <a:pt x="194" y="258"/>
                  </a:lnTo>
                  <a:lnTo>
                    <a:pt x="194" y="262"/>
                  </a:lnTo>
                  <a:lnTo>
                    <a:pt x="198" y="258"/>
                  </a:lnTo>
                  <a:lnTo>
                    <a:pt x="202" y="258"/>
                  </a:lnTo>
                  <a:lnTo>
                    <a:pt x="202" y="262"/>
                  </a:lnTo>
                  <a:lnTo>
                    <a:pt x="206" y="262"/>
                  </a:lnTo>
                  <a:lnTo>
                    <a:pt x="210" y="258"/>
                  </a:lnTo>
                  <a:lnTo>
                    <a:pt x="206" y="258"/>
                  </a:lnTo>
                  <a:lnTo>
                    <a:pt x="206" y="254"/>
                  </a:lnTo>
                  <a:lnTo>
                    <a:pt x="202" y="254"/>
                  </a:lnTo>
                  <a:lnTo>
                    <a:pt x="206" y="254"/>
                  </a:lnTo>
                  <a:lnTo>
                    <a:pt x="206" y="250"/>
                  </a:lnTo>
                  <a:lnTo>
                    <a:pt x="202" y="254"/>
                  </a:lnTo>
                  <a:lnTo>
                    <a:pt x="198" y="254"/>
                  </a:lnTo>
                  <a:lnTo>
                    <a:pt x="194" y="254"/>
                  </a:lnTo>
                  <a:lnTo>
                    <a:pt x="192" y="254"/>
                  </a:lnTo>
                  <a:lnTo>
                    <a:pt x="188" y="254"/>
                  </a:lnTo>
                  <a:lnTo>
                    <a:pt x="184" y="254"/>
                  </a:lnTo>
                  <a:lnTo>
                    <a:pt x="184" y="250"/>
                  </a:lnTo>
                  <a:lnTo>
                    <a:pt x="188" y="250"/>
                  </a:lnTo>
                  <a:lnTo>
                    <a:pt x="192" y="250"/>
                  </a:lnTo>
                  <a:lnTo>
                    <a:pt x="188" y="250"/>
                  </a:lnTo>
                  <a:lnTo>
                    <a:pt x="184" y="250"/>
                  </a:lnTo>
                  <a:lnTo>
                    <a:pt x="184" y="246"/>
                  </a:lnTo>
                  <a:lnTo>
                    <a:pt x="180" y="246"/>
                  </a:lnTo>
                  <a:lnTo>
                    <a:pt x="184" y="246"/>
                  </a:lnTo>
                  <a:lnTo>
                    <a:pt x="184" y="242"/>
                  </a:lnTo>
                  <a:lnTo>
                    <a:pt x="188" y="242"/>
                  </a:lnTo>
                  <a:lnTo>
                    <a:pt x="188" y="238"/>
                  </a:lnTo>
                  <a:lnTo>
                    <a:pt x="192" y="238"/>
                  </a:lnTo>
                  <a:lnTo>
                    <a:pt x="192" y="236"/>
                  </a:lnTo>
                  <a:lnTo>
                    <a:pt x="192" y="238"/>
                  </a:lnTo>
                  <a:lnTo>
                    <a:pt x="188" y="238"/>
                  </a:lnTo>
                  <a:lnTo>
                    <a:pt x="188" y="242"/>
                  </a:lnTo>
                  <a:lnTo>
                    <a:pt x="184" y="242"/>
                  </a:lnTo>
                  <a:lnTo>
                    <a:pt x="184" y="246"/>
                  </a:lnTo>
                  <a:lnTo>
                    <a:pt x="180" y="246"/>
                  </a:lnTo>
                  <a:lnTo>
                    <a:pt x="184" y="246"/>
                  </a:lnTo>
                  <a:lnTo>
                    <a:pt x="180" y="250"/>
                  </a:lnTo>
                  <a:lnTo>
                    <a:pt x="176" y="246"/>
                  </a:lnTo>
                  <a:lnTo>
                    <a:pt x="180" y="246"/>
                  </a:lnTo>
                  <a:lnTo>
                    <a:pt x="176" y="242"/>
                  </a:lnTo>
                  <a:lnTo>
                    <a:pt x="172" y="242"/>
                  </a:lnTo>
                  <a:lnTo>
                    <a:pt x="176" y="242"/>
                  </a:lnTo>
                  <a:lnTo>
                    <a:pt x="176" y="238"/>
                  </a:lnTo>
                  <a:lnTo>
                    <a:pt x="172" y="238"/>
                  </a:lnTo>
                  <a:lnTo>
                    <a:pt x="168" y="238"/>
                  </a:lnTo>
                  <a:lnTo>
                    <a:pt x="168" y="236"/>
                  </a:lnTo>
                  <a:lnTo>
                    <a:pt x="172" y="236"/>
                  </a:lnTo>
                  <a:lnTo>
                    <a:pt x="176" y="236"/>
                  </a:lnTo>
                  <a:lnTo>
                    <a:pt x="172" y="236"/>
                  </a:lnTo>
                  <a:lnTo>
                    <a:pt x="172" y="232"/>
                  </a:lnTo>
                  <a:lnTo>
                    <a:pt x="176" y="232"/>
                  </a:lnTo>
                  <a:lnTo>
                    <a:pt x="176" y="228"/>
                  </a:lnTo>
                  <a:lnTo>
                    <a:pt x="176" y="224"/>
                  </a:lnTo>
                  <a:lnTo>
                    <a:pt x="180" y="224"/>
                  </a:lnTo>
                  <a:lnTo>
                    <a:pt x="180" y="222"/>
                  </a:lnTo>
                  <a:lnTo>
                    <a:pt x="184" y="222"/>
                  </a:lnTo>
                  <a:lnTo>
                    <a:pt x="184" y="218"/>
                  </a:lnTo>
                  <a:lnTo>
                    <a:pt x="188" y="218"/>
                  </a:lnTo>
                  <a:lnTo>
                    <a:pt x="192" y="218"/>
                  </a:lnTo>
                  <a:lnTo>
                    <a:pt x="192" y="222"/>
                  </a:lnTo>
                  <a:lnTo>
                    <a:pt x="192" y="218"/>
                  </a:lnTo>
                  <a:lnTo>
                    <a:pt x="188" y="218"/>
                  </a:lnTo>
                  <a:lnTo>
                    <a:pt x="192" y="214"/>
                  </a:lnTo>
                  <a:lnTo>
                    <a:pt x="194" y="210"/>
                  </a:lnTo>
                  <a:lnTo>
                    <a:pt x="192" y="214"/>
                  </a:lnTo>
                  <a:lnTo>
                    <a:pt x="188" y="210"/>
                  </a:lnTo>
                  <a:lnTo>
                    <a:pt x="192" y="206"/>
                  </a:lnTo>
                  <a:lnTo>
                    <a:pt x="194" y="206"/>
                  </a:lnTo>
                  <a:lnTo>
                    <a:pt x="194" y="202"/>
                  </a:lnTo>
                  <a:lnTo>
                    <a:pt x="192" y="202"/>
                  </a:lnTo>
                  <a:lnTo>
                    <a:pt x="194" y="198"/>
                  </a:lnTo>
                  <a:lnTo>
                    <a:pt x="198" y="198"/>
                  </a:lnTo>
                  <a:lnTo>
                    <a:pt x="202" y="198"/>
                  </a:lnTo>
                  <a:lnTo>
                    <a:pt x="206" y="198"/>
                  </a:lnTo>
                  <a:lnTo>
                    <a:pt x="206" y="202"/>
                  </a:lnTo>
                  <a:lnTo>
                    <a:pt x="210" y="202"/>
                  </a:lnTo>
                  <a:lnTo>
                    <a:pt x="210" y="206"/>
                  </a:lnTo>
                  <a:lnTo>
                    <a:pt x="214" y="206"/>
                  </a:lnTo>
                  <a:lnTo>
                    <a:pt x="214" y="202"/>
                  </a:lnTo>
                  <a:lnTo>
                    <a:pt x="218" y="202"/>
                  </a:lnTo>
                  <a:lnTo>
                    <a:pt x="222" y="198"/>
                  </a:lnTo>
                  <a:lnTo>
                    <a:pt x="224" y="194"/>
                  </a:lnTo>
                  <a:lnTo>
                    <a:pt x="224" y="192"/>
                  </a:lnTo>
                  <a:lnTo>
                    <a:pt x="228" y="194"/>
                  </a:lnTo>
                  <a:lnTo>
                    <a:pt x="232" y="194"/>
                  </a:lnTo>
                  <a:lnTo>
                    <a:pt x="236" y="194"/>
                  </a:lnTo>
                  <a:lnTo>
                    <a:pt x="240" y="194"/>
                  </a:lnTo>
                  <a:lnTo>
                    <a:pt x="248" y="188"/>
                  </a:lnTo>
                  <a:lnTo>
                    <a:pt x="248" y="184"/>
                  </a:lnTo>
                  <a:lnTo>
                    <a:pt x="244" y="180"/>
                  </a:lnTo>
                  <a:lnTo>
                    <a:pt x="244" y="176"/>
                  </a:lnTo>
                  <a:lnTo>
                    <a:pt x="240" y="172"/>
                  </a:lnTo>
                  <a:lnTo>
                    <a:pt x="236" y="172"/>
                  </a:lnTo>
                  <a:lnTo>
                    <a:pt x="236" y="168"/>
                  </a:lnTo>
                  <a:lnTo>
                    <a:pt x="240" y="168"/>
                  </a:lnTo>
                  <a:lnTo>
                    <a:pt x="244" y="168"/>
                  </a:lnTo>
                  <a:lnTo>
                    <a:pt x="248" y="166"/>
                  </a:lnTo>
                  <a:lnTo>
                    <a:pt x="248" y="162"/>
                  </a:lnTo>
                  <a:lnTo>
                    <a:pt x="244" y="162"/>
                  </a:lnTo>
                  <a:lnTo>
                    <a:pt x="240" y="162"/>
                  </a:lnTo>
                  <a:lnTo>
                    <a:pt x="244" y="162"/>
                  </a:lnTo>
                  <a:lnTo>
                    <a:pt x="244" y="158"/>
                  </a:lnTo>
                  <a:lnTo>
                    <a:pt x="240" y="158"/>
                  </a:lnTo>
                  <a:lnTo>
                    <a:pt x="240" y="162"/>
                  </a:lnTo>
                  <a:lnTo>
                    <a:pt x="236" y="166"/>
                  </a:lnTo>
                  <a:lnTo>
                    <a:pt x="236" y="162"/>
                  </a:lnTo>
                  <a:lnTo>
                    <a:pt x="232" y="162"/>
                  </a:lnTo>
                  <a:lnTo>
                    <a:pt x="232" y="166"/>
                  </a:lnTo>
                  <a:lnTo>
                    <a:pt x="228" y="166"/>
                  </a:lnTo>
                  <a:lnTo>
                    <a:pt x="232" y="166"/>
                  </a:lnTo>
                  <a:lnTo>
                    <a:pt x="228" y="166"/>
                  </a:lnTo>
                  <a:lnTo>
                    <a:pt x="224" y="166"/>
                  </a:lnTo>
                  <a:lnTo>
                    <a:pt x="224" y="168"/>
                  </a:lnTo>
                  <a:lnTo>
                    <a:pt x="222" y="168"/>
                  </a:lnTo>
                  <a:lnTo>
                    <a:pt x="222" y="172"/>
                  </a:lnTo>
                  <a:lnTo>
                    <a:pt x="218" y="172"/>
                  </a:lnTo>
                  <a:lnTo>
                    <a:pt x="218" y="168"/>
                  </a:lnTo>
                  <a:lnTo>
                    <a:pt x="214" y="166"/>
                  </a:lnTo>
                  <a:lnTo>
                    <a:pt x="210" y="166"/>
                  </a:lnTo>
                  <a:lnTo>
                    <a:pt x="210" y="168"/>
                  </a:lnTo>
                  <a:lnTo>
                    <a:pt x="214" y="168"/>
                  </a:lnTo>
                  <a:lnTo>
                    <a:pt x="214" y="172"/>
                  </a:lnTo>
                  <a:lnTo>
                    <a:pt x="210" y="172"/>
                  </a:lnTo>
                  <a:lnTo>
                    <a:pt x="210" y="168"/>
                  </a:lnTo>
                  <a:lnTo>
                    <a:pt x="206" y="168"/>
                  </a:lnTo>
                  <a:lnTo>
                    <a:pt x="202" y="168"/>
                  </a:lnTo>
                  <a:lnTo>
                    <a:pt x="198" y="168"/>
                  </a:lnTo>
                  <a:lnTo>
                    <a:pt x="194" y="168"/>
                  </a:lnTo>
                  <a:lnTo>
                    <a:pt x="192" y="168"/>
                  </a:lnTo>
                  <a:lnTo>
                    <a:pt x="188" y="168"/>
                  </a:lnTo>
                  <a:lnTo>
                    <a:pt x="188" y="172"/>
                  </a:lnTo>
                  <a:lnTo>
                    <a:pt x="192" y="172"/>
                  </a:lnTo>
                  <a:lnTo>
                    <a:pt x="192" y="168"/>
                  </a:lnTo>
                  <a:lnTo>
                    <a:pt x="192" y="172"/>
                  </a:lnTo>
                  <a:lnTo>
                    <a:pt x="188" y="172"/>
                  </a:lnTo>
                  <a:lnTo>
                    <a:pt x="184" y="172"/>
                  </a:lnTo>
                  <a:lnTo>
                    <a:pt x="184" y="168"/>
                  </a:lnTo>
                  <a:lnTo>
                    <a:pt x="180" y="168"/>
                  </a:lnTo>
                  <a:lnTo>
                    <a:pt x="176" y="168"/>
                  </a:lnTo>
                  <a:lnTo>
                    <a:pt x="172" y="168"/>
                  </a:lnTo>
                  <a:lnTo>
                    <a:pt x="168" y="168"/>
                  </a:lnTo>
                  <a:lnTo>
                    <a:pt x="168" y="166"/>
                  </a:lnTo>
                  <a:lnTo>
                    <a:pt x="166" y="166"/>
                  </a:lnTo>
                  <a:lnTo>
                    <a:pt x="166" y="162"/>
                  </a:lnTo>
                  <a:lnTo>
                    <a:pt x="168" y="162"/>
                  </a:lnTo>
                  <a:lnTo>
                    <a:pt x="166" y="162"/>
                  </a:lnTo>
                  <a:lnTo>
                    <a:pt x="166" y="158"/>
                  </a:lnTo>
                  <a:lnTo>
                    <a:pt x="162" y="158"/>
                  </a:lnTo>
                  <a:lnTo>
                    <a:pt x="162" y="154"/>
                  </a:lnTo>
                  <a:lnTo>
                    <a:pt x="158" y="154"/>
                  </a:lnTo>
                  <a:lnTo>
                    <a:pt x="162" y="154"/>
                  </a:lnTo>
                  <a:lnTo>
                    <a:pt x="162" y="150"/>
                  </a:lnTo>
                  <a:lnTo>
                    <a:pt x="162" y="154"/>
                  </a:lnTo>
                  <a:lnTo>
                    <a:pt x="166" y="154"/>
                  </a:lnTo>
                  <a:lnTo>
                    <a:pt x="168" y="150"/>
                  </a:lnTo>
                  <a:lnTo>
                    <a:pt x="168" y="154"/>
                  </a:lnTo>
                  <a:lnTo>
                    <a:pt x="172" y="154"/>
                  </a:lnTo>
                  <a:lnTo>
                    <a:pt x="172" y="150"/>
                  </a:lnTo>
                  <a:lnTo>
                    <a:pt x="168" y="150"/>
                  </a:lnTo>
                  <a:lnTo>
                    <a:pt x="166" y="150"/>
                  </a:lnTo>
                  <a:lnTo>
                    <a:pt x="162" y="150"/>
                  </a:lnTo>
                  <a:lnTo>
                    <a:pt x="158" y="150"/>
                  </a:lnTo>
                  <a:lnTo>
                    <a:pt x="154" y="146"/>
                  </a:lnTo>
                  <a:lnTo>
                    <a:pt x="150" y="146"/>
                  </a:lnTo>
                  <a:lnTo>
                    <a:pt x="146" y="146"/>
                  </a:lnTo>
                  <a:lnTo>
                    <a:pt x="146" y="142"/>
                  </a:lnTo>
                  <a:lnTo>
                    <a:pt x="142" y="142"/>
                  </a:lnTo>
                  <a:lnTo>
                    <a:pt x="142" y="138"/>
                  </a:lnTo>
                  <a:lnTo>
                    <a:pt x="146" y="138"/>
                  </a:lnTo>
                  <a:lnTo>
                    <a:pt x="146" y="142"/>
                  </a:lnTo>
                  <a:lnTo>
                    <a:pt x="142" y="142"/>
                  </a:lnTo>
                  <a:lnTo>
                    <a:pt x="146" y="142"/>
                  </a:lnTo>
                  <a:lnTo>
                    <a:pt x="150" y="138"/>
                  </a:lnTo>
                  <a:lnTo>
                    <a:pt x="154" y="138"/>
                  </a:lnTo>
                  <a:lnTo>
                    <a:pt x="154" y="136"/>
                  </a:lnTo>
                  <a:lnTo>
                    <a:pt x="158" y="138"/>
                  </a:lnTo>
                  <a:lnTo>
                    <a:pt x="158" y="136"/>
                  </a:lnTo>
                  <a:lnTo>
                    <a:pt x="162" y="136"/>
                  </a:lnTo>
                  <a:lnTo>
                    <a:pt x="158" y="136"/>
                  </a:lnTo>
                  <a:lnTo>
                    <a:pt x="162" y="136"/>
                  </a:lnTo>
                  <a:lnTo>
                    <a:pt x="162" y="132"/>
                  </a:lnTo>
                  <a:lnTo>
                    <a:pt x="166" y="132"/>
                  </a:lnTo>
                  <a:lnTo>
                    <a:pt x="168" y="128"/>
                  </a:lnTo>
                  <a:lnTo>
                    <a:pt x="172" y="132"/>
                  </a:lnTo>
                  <a:lnTo>
                    <a:pt x="176" y="132"/>
                  </a:lnTo>
                  <a:lnTo>
                    <a:pt x="180" y="132"/>
                  </a:lnTo>
                  <a:lnTo>
                    <a:pt x="176" y="128"/>
                  </a:lnTo>
                  <a:lnTo>
                    <a:pt x="172" y="128"/>
                  </a:lnTo>
                  <a:lnTo>
                    <a:pt x="176" y="128"/>
                  </a:lnTo>
                  <a:lnTo>
                    <a:pt x="176" y="124"/>
                  </a:lnTo>
                  <a:lnTo>
                    <a:pt x="180" y="124"/>
                  </a:lnTo>
                  <a:lnTo>
                    <a:pt x="184" y="124"/>
                  </a:lnTo>
                  <a:lnTo>
                    <a:pt x="188" y="124"/>
                  </a:lnTo>
                  <a:lnTo>
                    <a:pt x="192" y="120"/>
                  </a:lnTo>
                  <a:lnTo>
                    <a:pt x="194" y="120"/>
                  </a:lnTo>
                  <a:lnTo>
                    <a:pt x="198" y="120"/>
                  </a:lnTo>
                  <a:lnTo>
                    <a:pt x="202" y="120"/>
                  </a:lnTo>
                  <a:lnTo>
                    <a:pt x="206" y="120"/>
                  </a:lnTo>
                  <a:lnTo>
                    <a:pt x="202" y="120"/>
                  </a:lnTo>
                  <a:lnTo>
                    <a:pt x="206" y="120"/>
                  </a:lnTo>
                  <a:lnTo>
                    <a:pt x="202" y="124"/>
                  </a:lnTo>
                  <a:lnTo>
                    <a:pt x="202" y="128"/>
                  </a:lnTo>
                  <a:lnTo>
                    <a:pt x="198" y="128"/>
                  </a:lnTo>
                  <a:lnTo>
                    <a:pt x="202" y="128"/>
                  </a:lnTo>
                  <a:lnTo>
                    <a:pt x="202" y="132"/>
                  </a:lnTo>
                  <a:lnTo>
                    <a:pt x="206" y="132"/>
                  </a:lnTo>
                  <a:lnTo>
                    <a:pt x="210" y="132"/>
                  </a:lnTo>
                  <a:lnTo>
                    <a:pt x="214" y="132"/>
                  </a:lnTo>
                  <a:lnTo>
                    <a:pt x="218" y="132"/>
                  </a:lnTo>
                  <a:lnTo>
                    <a:pt x="222" y="132"/>
                  </a:lnTo>
                  <a:lnTo>
                    <a:pt x="224" y="132"/>
                  </a:lnTo>
                  <a:lnTo>
                    <a:pt x="228" y="132"/>
                  </a:lnTo>
                  <a:lnTo>
                    <a:pt x="232" y="136"/>
                  </a:lnTo>
                  <a:lnTo>
                    <a:pt x="232" y="132"/>
                  </a:lnTo>
                  <a:lnTo>
                    <a:pt x="236" y="132"/>
                  </a:lnTo>
                  <a:lnTo>
                    <a:pt x="236" y="128"/>
                  </a:lnTo>
                  <a:lnTo>
                    <a:pt x="240" y="128"/>
                  </a:lnTo>
                  <a:lnTo>
                    <a:pt x="244" y="128"/>
                  </a:lnTo>
                  <a:lnTo>
                    <a:pt x="244" y="132"/>
                  </a:lnTo>
                  <a:lnTo>
                    <a:pt x="240" y="132"/>
                  </a:lnTo>
                  <a:lnTo>
                    <a:pt x="244" y="132"/>
                  </a:lnTo>
                  <a:lnTo>
                    <a:pt x="244" y="128"/>
                  </a:lnTo>
                  <a:lnTo>
                    <a:pt x="244" y="124"/>
                  </a:lnTo>
                  <a:lnTo>
                    <a:pt x="240" y="124"/>
                  </a:lnTo>
                  <a:lnTo>
                    <a:pt x="236" y="124"/>
                  </a:lnTo>
                  <a:lnTo>
                    <a:pt x="232" y="124"/>
                  </a:lnTo>
                  <a:lnTo>
                    <a:pt x="232" y="128"/>
                  </a:lnTo>
                  <a:lnTo>
                    <a:pt x="228" y="124"/>
                  </a:lnTo>
                  <a:lnTo>
                    <a:pt x="232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4" y="116"/>
                  </a:lnTo>
                  <a:lnTo>
                    <a:pt x="222" y="116"/>
                  </a:lnTo>
                  <a:lnTo>
                    <a:pt x="222" y="112"/>
                  </a:lnTo>
                  <a:lnTo>
                    <a:pt x="224" y="110"/>
                  </a:lnTo>
                  <a:lnTo>
                    <a:pt x="228" y="112"/>
                  </a:lnTo>
                  <a:lnTo>
                    <a:pt x="228" y="116"/>
                  </a:lnTo>
                  <a:lnTo>
                    <a:pt x="232" y="120"/>
                  </a:lnTo>
                  <a:lnTo>
                    <a:pt x="236" y="124"/>
                  </a:lnTo>
                  <a:lnTo>
                    <a:pt x="240" y="120"/>
                  </a:lnTo>
                  <a:lnTo>
                    <a:pt x="244" y="120"/>
                  </a:lnTo>
                  <a:lnTo>
                    <a:pt x="244" y="124"/>
                  </a:lnTo>
                  <a:lnTo>
                    <a:pt x="248" y="124"/>
                  </a:lnTo>
                  <a:lnTo>
                    <a:pt x="250" y="124"/>
                  </a:lnTo>
                  <a:lnTo>
                    <a:pt x="254" y="124"/>
                  </a:lnTo>
                  <a:lnTo>
                    <a:pt x="254" y="120"/>
                  </a:lnTo>
                  <a:lnTo>
                    <a:pt x="254" y="116"/>
                  </a:lnTo>
                  <a:lnTo>
                    <a:pt x="250" y="120"/>
                  </a:lnTo>
                  <a:lnTo>
                    <a:pt x="248" y="120"/>
                  </a:lnTo>
                  <a:lnTo>
                    <a:pt x="248" y="116"/>
                  </a:lnTo>
                  <a:lnTo>
                    <a:pt x="244" y="116"/>
                  </a:lnTo>
                  <a:lnTo>
                    <a:pt x="240" y="116"/>
                  </a:lnTo>
                  <a:lnTo>
                    <a:pt x="240" y="120"/>
                  </a:lnTo>
                  <a:lnTo>
                    <a:pt x="236" y="120"/>
                  </a:lnTo>
                  <a:lnTo>
                    <a:pt x="232" y="120"/>
                  </a:lnTo>
                  <a:lnTo>
                    <a:pt x="232" y="116"/>
                  </a:lnTo>
                  <a:lnTo>
                    <a:pt x="232" y="112"/>
                  </a:lnTo>
                  <a:lnTo>
                    <a:pt x="232" y="110"/>
                  </a:lnTo>
                  <a:lnTo>
                    <a:pt x="236" y="110"/>
                  </a:lnTo>
                  <a:lnTo>
                    <a:pt x="232" y="110"/>
                  </a:lnTo>
                  <a:lnTo>
                    <a:pt x="224" y="110"/>
                  </a:lnTo>
                  <a:lnTo>
                    <a:pt x="222" y="110"/>
                  </a:lnTo>
                  <a:lnTo>
                    <a:pt x="224" y="110"/>
                  </a:lnTo>
                  <a:lnTo>
                    <a:pt x="224" y="106"/>
                  </a:lnTo>
                  <a:lnTo>
                    <a:pt x="222" y="110"/>
                  </a:lnTo>
                  <a:lnTo>
                    <a:pt x="218" y="110"/>
                  </a:lnTo>
                  <a:lnTo>
                    <a:pt x="214" y="110"/>
                  </a:lnTo>
                  <a:lnTo>
                    <a:pt x="210" y="110"/>
                  </a:lnTo>
                  <a:lnTo>
                    <a:pt x="206" y="106"/>
                  </a:lnTo>
                  <a:lnTo>
                    <a:pt x="202" y="106"/>
                  </a:lnTo>
                  <a:lnTo>
                    <a:pt x="206" y="106"/>
                  </a:lnTo>
                  <a:lnTo>
                    <a:pt x="202" y="102"/>
                  </a:lnTo>
                  <a:lnTo>
                    <a:pt x="202" y="98"/>
                  </a:lnTo>
                  <a:lnTo>
                    <a:pt x="202" y="94"/>
                  </a:lnTo>
                  <a:lnTo>
                    <a:pt x="198" y="94"/>
                  </a:lnTo>
                  <a:lnTo>
                    <a:pt x="194" y="94"/>
                  </a:lnTo>
                  <a:lnTo>
                    <a:pt x="194" y="90"/>
                  </a:lnTo>
                  <a:lnTo>
                    <a:pt x="192" y="90"/>
                  </a:lnTo>
                  <a:lnTo>
                    <a:pt x="184" y="86"/>
                  </a:lnTo>
                  <a:lnTo>
                    <a:pt x="184" y="82"/>
                  </a:lnTo>
                  <a:lnTo>
                    <a:pt x="180" y="82"/>
                  </a:lnTo>
                  <a:lnTo>
                    <a:pt x="176" y="82"/>
                  </a:lnTo>
                  <a:lnTo>
                    <a:pt x="172" y="82"/>
                  </a:lnTo>
                  <a:lnTo>
                    <a:pt x="172" y="80"/>
                  </a:lnTo>
                  <a:lnTo>
                    <a:pt x="168" y="80"/>
                  </a:lnTo>
                  <a:lnTo>
                    <a:pt x="168" y="76"/>
                  </a:lnTo>
                  <a:lnTo>
                    <a:pt x="166" y="76"/>
                  </a:lnTo>
                  <a:lnTo>
                    <a:pt x="162" y="76"/>
                  </a:lnTo>
                  <a:lnTo>
                    <a:pt x="166" y="76"/>
                  </a:lnTo>
                  <a:lnTo>
                    <a:pt x="162" y="76"/>
                  </a:lnTo>
                  <a:lnTo>
                    <a:pt x="166" y="76"/>
                  </a:lnTo>
                  <a:lnTo>
                    <a:pt x="168" y="76"/>
                  </a:lnTo>
                  <a:lnTo>
                    <a:pt x="168" y="72"/>
                  </a:lnTo>
                  <a:lnTo>
                    <a:pt x="168" y="68"/>
                  </a:lnTo>
                  <a:lnTo>
                    <a:pt x="168" y="64"/>
                  </a:lnTo>
                  <a:lnTo>
                    <a:pt x="172" y="64"/>
                  </a:lnTo>
                  <a:lnTo>
                    <a:pt x="176" y="64"/>
                  </a:lnTo>
                  <a:lnTo>
                    <a:pt x="180" y="64"/>
                  </a:lnTo>
                  <a:lnTo>
                    <a:pt x="184" y="64"/>
                  </a:lnTo>
                  <a:lnTo>
                    <a:pt x="188" y="60"/>
                  </a:lnTo>
                  <a:lnTo>
                    <a:pt x="192" y="60"/>
                  </a:lnTo>
                  <a:lnTo>
                    <a:pt x="194" y="60"/>
                  </a:lnTo>
                  <a:lnTo>
                    <a:pt x="198" y="60"/>
                  </a:lnTo>
                  <a:lnTo>
                    <a:pt x="202" y="60"/>
                  </a:lnTo>
                  <a:lnTo>
                    <a:pt x="206" y="56"/>
                  </a:lnTo>
                  <a:lnTo>
                    <a:pt x="210" y="56"/>
                  </a:lnTo>
                  <a:lnTo>
                    <a:pt x="210" y="52"/>
                  </a:lnTo>
                  <a:lnTo>
                    <a:pt x="214" y="50"/>
                  </a:lnTo>
                  <a:lnTo>
                    <a:pt x="210" y="52"/>
                  </a:lnTo>
                  <a:lnTo>
                    <a:pt x="214" y="50"/>
                  </a:lnTo>
                  <a:lnTo>
                    <a:pt x="214" y="46"/>
                  </a:lnTo>
                  <a:lnTo>
                    <a:pt x="214" y="42"/>
                  </a:lnTo>
                  <a:lnTo>
                    <a:pt x="218" y="42"/>
                  </a:lnTo>
                  <a:lnTo>
                    <a:pt x="214" y="42"/>
                  </a:lnTo>
                  <a:lnTo>
                    <a:pt x="218" y="38"/>
                  </a:lnTo>
                  <a:lnTo>
                    <a:pt x="222" y="38"/>
                  </a:lnTo>
                  <a:lnTo>
                    <a:pt x="222" y="34"/>
                  </a:lnTo>
                  <a:lnTo>
                    <a:pt x="224" y="30"/>
                  </a:lnTo>
                  <a:lnTo>
                    <a:pt x="228" y="26"/>
                  </a:lnTo>
                  <a:lnTo>
                    <a:pt x="232" y="26"/>
                  </a:lnTo>
                  <a:lnTo>
                    <a:pt x="232" y="30"/>
                  </a:lnTo>
                  <a:lnTo>
                    <a:pt x="228" y="30"/>
                  </a:lnTo>
                  <a:lnTo>
                    <a:pt x="232" y="30"/>
                  </a:lnTo>
                  <a:lnTo>
                    <a:pt x="232" y="26"/>
                  </a:lnTo>
                  <a:lnTo>
                    <a:pt x="236" y="26"/>
                  </a:lnTo>
                  <a:lnTo>
                    <a:pt x="240" y="26"/>
                  </a:lnTo>
                  <a:lnTo>
                    <a:pt x="244" y="26"/>
                  </a:lnTo>
                  <a:lnTo>
                    <a:pt x="248" y="26"/>
                  </a:lnTo>
                  <a:lnTo>
                    <a:pt x="248" y="24"/>
                  </a:lnTo>
                  <a:lnTo>
                    <a:pt x="250" y="24"/>
                  </a:lnTo>
                  <a:lnTo>
                    <a:pt x="250" y="20"/>
                  </a:lnTo>
                  <a:lnTo>
                    <a:pt x="254" y="20"/>
                  </a:lnTo>
                  <a:lnTo>
                    <a:pt x="258" y="20"/>
                  </a:lnTo>
                  <a:lnTo>
                    <a:pt x="258" y="24"/>
                  </a:lnTo>
                  <a:lnTo>
                    <a:pt x="254" y="24"/>
                  </a:lnTo>
                  <a:lnTo>
                    <a:pt x="258" y="24"/>
                  </a:lnTo>
                  <a:lnTo>
                    <a:pt x="258" y="26"/>
                  </a:lnTo>
                  <a:lnTo>
                    <a:pt x="258" y="24"/>
                  </a:lnTo>
                  <a:lnTo>
                    <a:pt x="262" y="24"/>
                  </a:lnTo>
                  <a:lnTo>
                    <a:pt x="266" y="24"/>
                  </a:lnTo>
                  <a:lnTo>
                    <a:pt x="266" y="20"/>
                  </a:lnTo>
                  <a:lnTo>
                    <a:pt x="262" y="20"/>
                  </a:lnTo>
                  <a:lnTo>
                    <a:pt x="262" y="24"/>
                  </a:lnTo>
                  <a:lnTo>
                    <a:pt x="258" y="20"/>
                  </a:lnTo>
                  <a:lnTo>
                    <a:pt x="254" y="20"/>
                  </a:lnTo>
                  <a:lnTo>
                    <a:pt x="258" y="16"/>
                  </a:lnTo>
                  <a:lnTo>
                    <a:pt x="262" y="16"/>
                  </a:lnTo>
                  <a:lnTo>
                    <a:pt x="262" y="12"/>
                  </a:lnTo>
                  <a:lnTo>
                    <a:pt x="266" y="12"/>
                  </a:lnTo>
                  <a:lnTo>
                    <a:pt x="270" y="12"/>
                  </a:lnTo>
                  <a:lnTo>
                    <a:pt x="266" y="12"/>
                  </a:lnTo>
                  <a:lnTo>
                    <a:pt x="270" y="12"/>
                  </a:lnTo>
                  <a:lnTo>
                    <a:pt x="266" y="12"/>
                  </a:lnTo>
                  <a:lnTo>
                    <a:pt x="266" y="16"/>
                  </a:lnTo>
                  <a:lnTo>
                    <a:pt x="270" y="16"/>
                  </a:lnTo>
                  <a:lnTo>
                    <a:pt x="274" y="16"/>
                  </a:lnTo>
                  <a:lnTo>
                    <a:pt x="274" y="12"/>
                  </a:lnTo>
                  <a:lnTo>
                    <a:pt x="274" y="16"/>
                  </a:lnTo>
                  <a:lnTo>
                    <a:pt x="278" y="16"/>
                  </a:lnTo>
                  <a:lnTo>
                    <a:pt x="278" y="12"/>
                  </a:lnTo>
                  <a:lnTo>
                    <a:pt x="280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92" y="8"/>
                  </a:lnTo>
                  <a:lnTo>
                    <a:pt x="294" y="8"/>
                  </a:lnTo>
                  <a:lnTo>
                    <a:pt x="294" y="4"/>
                  </a:lnTo>
                  <a:lnTo>
                    <a:pt x="298" y="4"/>
                  </a:lnTo>
                  <a:lnTo>
                    <a:pt x="302" y="0"/>
                  </a:lnTo>
                  <a:lnTo>
                    <a:pt x="306" y="0"/>
                  </a:lnTo>
                  <a:lnTo>
                    <a:pt x="310" y="0"/>
                  </a:lnTo>
                  <a:lnTo>
                    <a:pt x="314" y="0"/>
                  </a:lnTo>
                  <a:lnTo>
                    <a:pt x="314" y="4"/>
                  </a:lnTo>
                  <a:lnTo>
                    <a:pt x="318" y="4"/>
                  </a:lnTo>
                  <a:lnTo>
                    <a:pt x="322" y="4"/>
                  </a:lnTo>
                  <a:lnTo>
                    <a:pt x="318" y="8"/>
                  </a:lnTo>
                  <a:lnTo>
                    <a:pt x="314" y="8"/>
                  </a:lnTo>
                  <a:lnTo>
                    <a:pt x="310" y="12"/>
                  </a:lnTo>
                  <a:lnTo>
                    <a:pt x="314" y="12"/>
                  </a:lnTo>
                  <a:lnTo>
                    <a:pt x="314" y="16"/>
                  </a:lnTo>
                  <a:lnTo>
                    <a:pt x="314" y="12"/>
                  </a:lnTo>
                  <a:lnTo>
                    <a:pt x="318" y="12"/>
                  </a:lnTo>
                  <a:lnTo>
                    <a:pt x="322" y="12"/>
                  </a:lnTo>
                  <a:lnTo>
                    <a:pt x="322" y="8"/>
                  </a:lnTo>
                  <a:lnTo>
                    <a:pt x="324" y="8"/>
                  </a:lnTo>
                  <a:lnTo>
                    <a:pt x="324" y="4"/>
                  </a:lnTo>
                  <a:lnTo>
                    <a:pt x="328" y="4"/>
                  </a:lnTo>
                  <a:lnTo>
                    <a:pt x="328" y="8"/>
                  </a:lnTo>
                  <a:lnTo>
                    <a:pt x="324" y="8"/>
                  </a:lnTo>
                  <a:lnTo>
                    <a:pt x="328" y="8"/>
                  </a:lnTo>
                  <a:lnTo>
                    <a:pt x="328" y="4"/>
                  </a:lnTo>
                  <a:lnTo>
                    <a:pt x="332" y="8"/>
                  </a:lnTo>
                  <a:lnTo>
                    <a:pt x="332" y="12"/>
                  </a:lnTo>
                  <a:lnTo>
                    <a:pt x="336" y="12"/>
                  </a:lnTo>
                  <a:lnTo>
                    <a:pt x="340" y="12"/>
                  </a:lnTo>
                  <a:lnTo>
                    <a:pt x="340" y="16"/>
                  </a:lnTo>
                  <a:lnTo>
                    <a:pt x="344" y="12"/>
                  </a:lnTo>
                  <a:lnTo>
                    <a:pt x="348" y="12"/>
                  </a:lnTo>
                  <a:lnTo>
                    <a:pt x="350" y="12"/>
                  </a:lnTo>
                  <a:lnTo>
                    <a:pt x="354" y="12"/>
                  </a:lnTo>
                  <a:lnTo>
                    <a:pt x="358" y="12"/>
                  </a:lnTo>
                  <a:lnTo>
                    <a:pt x="362" y="12"/>
                  </a:lnTo>
                  <a:lnTo>
                    <a:pt x="366" y="12"/>
                  </a:lnTo>
                  <a:lnTo>
                    <a:pt x="366" y="16"/>
                  </a:lnTo>
                  <a:lnTo>
                    <a:pt x="362" y="16"/>
                  </a:lnTo>
                  <a:lnTo>
                    <a:pt x="362" y="20"/>
                  </a:lnTo>
                  <a:lnTo>
                    <a:pt x="366" y="20"/>
                  </a:lnTo>
                  <a:lnTo>
                    <a:pt x="370" y="20"/>
                  </a:lnTo>
                  <a:lnTo>
                    <a:pt x="366" y="20"/>
                  </a:lnTo>
                  <a:lnTo>
                    <a:pt x="362" y="20"/>
                  </a:lnTo>
                  <a:lnTo>
                    <a:pt x="366" y="20"/>
                  </a:lnTo>
                  <a:lnTo>
                    <a:pt x="370" y="20"/>
                  </a:lnTo>
                  <a:lnTo>
                    <a:pt x="374" y="20"/>
                  </a:lnTo>
                  <a:lnTo>
                    <a:pt x="374" y="24"/>
                  </a:lnTo>
                  <a:lnTo>
                    <a:pt x="370" y="24"/>
                  </a:lnTo>
                  <a:lnTo>
                    <a:pt x="374" y="24"/>
                  </a:lnTo>
                  <a:lnTo>
                    <a:pt x="378" y="24"/>
                  </a:lnTo>
                  <a:lnTo>
                    <a:pt x="380" y="24"/>
                  </a:lnTo>
                  <a:lnTo>
                    <a:pt x="384" y="24"/>
                  </a:lnTo>
                  <a:lnTo>
                    <a:pt x="388" y="24"/>
                  </a:lnTo>
                  <a:lnTo>
                    <a:pt x="388" y="20"/>
                  </a:lnTo>
                  <a:lnTo>
                    <a:pt x="392" y="20"/>
                  </a:lnTo>
                  <a:lnTo>
                    <a:pt x="392" y="24"/>
                  </a:lnTo>
                  <a:lnTo>
                    <a:pt x="396" y="24"/>
                  </a:lnTo>
                  <a:lnTo>
                    <a:pt x="400" y="24"/>
                  </a:lnTo>
                  <a:lnTo>
                    <a:pt x="400" y="20"/>
                  </a:lnTo>
                  <a:lnTo>
                    <a:pt x="406" y="20"/>
                  </a:lnTo>
                  <a:lnTo>
                    <a:pt x="406" y="24"/>
                  </a:lnTo>
                  <a:lnTo>
                    <a:pt x="410" y="24"/>
                  </a:lnTo>
                  <a:lnTo>
                    <a:pt x="414" y="24"/>
                  </a:lnTo>
                  <a:lnTo>
                    <a:pt x="418" y="24"/>
                  </a:lnTo>
                  <a:lnTo>
                    <a:pt x="418" y="26"/>
                  </a:lnTo>
                  <a:lnTo>
                    <a:pt x="422" y="26"/>
                  </a:lnTo>
                  <a:lnTo>
                    <a:pt x="426" y="24"/>
                  </a:lnTo>
                  <a:lnTo>
                    <a:pt x="426" y="26"/>
                  </a:lnTo>
                  <a:lnTo>
                    <a:pt x="430" y="26"/>
                  </a:lnTo>
                  <a:lnTo>
                    <a:pt x="434" y="30"/>
                  </a:lnTo>
                  <a:lnTo>
                    <a:pt x="436" y="30"/>
                  </a:lnTo>
                  <a:lnTo>
                    <a:pt x="440" y="30"/>
                  </a:lnTo>
                  <a:lnTo>
                    <a:pt x="444" y="30"/>
                  </a:lnTo>
                  <a:lnTo>
                    <a:pt x="448" y="30"/>
                  </a:lnTo>
                  <a:lnTo>
                    <a:pt x="452" y="30"/>
                  </a:lnTo>
                  <a:lnTo>
                    <a:pt x="456" y="30"/>
                  </a:lnTo>
                  <a:lnTo>
                    <a:pt x="460" y="30"/>
                  </a:lnTo>
                  <a:lnTo>
                    <a:pt x="464" y="34"/>
                  </a:lnTo>
                  <a:lnTo>
                    <a:pt x="466" y="34"/>
                  </a:lnTo>
                  <a:lnTo>
                    <a:pt x="470" y="34"/>
                  </a:lnTo>
                  <a:lnTo>
                    <a:pt x="474" y="34"/>
                  </a:lnTo>
                  <a:lnTo>
                    <a:pt x="478" y="34"/>
                  </a:lnTo>
                  <a:lnTo>
                    <a:pt x="482" y="34"/>
                  </a:lnTo>
                  <a:lnTo>
                    <a:pt x="482" y="30"/>
                  </a:lnTo>
                  <a:lnTo>
                    <a:pt x="490" y="30"/>
                  </a:lnTo>
                  <a:lnTo>
                    <a:pt x="492" y="30"/>
                  </a:lnTo>
                  <a:lnTo>
                    <a:pt x="496" y="30"/>
                  </a:lnTo>
                  <a:lnTo>
                    <a:pt x="500" y="30"/>
                  </a:lnTo>
                  <a:lnTo>
                    <a:pt x="504" y="34"/>
                  </a:lnTo>
                  <a:lnTo>
                    <a:pt x="508" y="34"/>
                  </a:lnTo>
                  <a:lnTo>
                    <a:pt x="508" y="38"/>
                  </a:lnTo>
                  <a:lnTo>
                    <a:pt x="512" y="38"/>
                  </a:lnTo>
                  <a:lnTo>
                    <a:pt x="516" y="38"/>
                  </a:lnTo>
                  <a:lnTo>
                    <a:pt x="516" y="42"/>
                  </a:lnTo>
                  <a:lnTo>
                    <a:pt x="520" y="42"/>
                  </a:lnTo>
                  <a:lnTo>
                    <a:pt x="522" y="42"/>
                  </a:lnTo>
                  <a:lnTo>
                    <a:pt x="526" y="42"/>
                  </a:lnTo>
                  <a:lnTo>
                    <a:pt x="526" y="46"/>
                  </a:lnTo>
                  <a:lnTo>
                    <a:pt x="526" y="50"/>
                  </a:lnTo>
                  <a:lnTo>
                    <a:pt x="526" y="60"/>
                  </a:lnTo>
                  <a:lnTo>
                    <a:pt x="526" y="72"/>
                  </a:lnTo>
                  <a:lnTo>
                    <a:pt x="526" y="80"/>
                  </a:lnTo>
                  <a:lnTo>
                    <a:pt x="526" y="82"/>
                  </a:lnTo>
                  <a:lnTo>
                    <a:pt x="526" y="86"/>
                  </a:lnTo>
                  <a:lnTo>
                    <a:pt x="526" y="90"/>
                  </a:lnTo>
                  <a:lnTo>
                    <a:pt x="526" y="98"/>
                  </a:lnTo>
                  <a:lnTo>
                    <a:pt x="526" y="102"/>
                  </a:lnTo>
                  <a:lnTo>
                    <a:pt x="526" y="110"/>
                  </a:lnTo>
                  <a:lnTo>
                    <a:pt x="526" y="112"/>
                  </a:lnTo>
                  <a:lnTo>
                    <a:pt x="526" y="116"/>
                  </a:lnTo>
                  <a:lnTo>
                    <a:pt x="526" y="120"/>
                  </a:lnTo>
                  <a:lnTo>
                    <a:pt x="526" y="132"/>
                  </a:lnTo>
                  <a:lnTo>
                    <a:pt x="526" y="142"/>
                  </a:lnTo>
                  <a:lnTo>
                    <a:pt x="526" y="154"/>
                  </a:lnTo>
                  <a:lnTo>
                    <a:pt x="526" y="176"/>
                  </a:lnTo>
                  <a:lnTo>
                    <a:pt x="526" y="184"/>
                  </a:lnTo>
                  <a:lnTo>
                    <a:pt x="526" y="188"/>
                  </a:lnTo>
                  <a:lnTo>
                    <a:pt x="526" y="202"/>
                  </a:lnTo>
                  <a:lnTo>
                    <a:pt x="526" y="214"/>
                  </a:lnTo>
                  <a:lnTo>
                    <a:pt x="526" y="254"/>
                  </a:lnTo>
                  <a:lnTo>
                    <a:pt x="526" y="266"/>
                  </a:lnTo>
                  <a:lnTo>
                    <a:pt x="526" y="268"/>
                  </a:lnTo>
                  <a:lnTo>
                    <a:pt x="534" y="268"/>
                  </a:lnTo>
                  <a:lnTo>
                    <a:pt x="542" y="268"/>
                  </a:lnTo>
                  <a:lnTo>
                    <a:pt x="546" y="268"/>
                  </a:lnTo>
                  <a:lnTo>
                    <a:pt x="546" y="266"/>
                  </a:lnTo>
                  <a:lnTo>
                    <a:pt x="548" y="266"/>
                  </a:lnTo>
                  <a:lnTo>
                    <a:pt x="552" y="266"/>
                  </a:lnTo>
                  <a:lnTo>
                    <a:pt x="552" y="268"/>
                  </a:lnTo>
                  <a:lnTo>
                    <a:pt x="552" y="272"/>
                  </a:lnTo>
                  <a:lnTo>
                    <a:pt x="556" y="276"/>
                  </a:lnTo>
                  <a:lnTo>
                    <a:pt x="560" y="276"/>
                  </a:lnTo>
                  <a:lnTo>
                    <a:pt x="560" y="280"/>
                  </a:lnTo>
                  <a:lnTo>
                    <a:pt x="564" y="284"/>
                  </a:lnTo>
                  <a:lnTo>
                    <a:pt x="568" y="284"/>
                  </a:lnTo>
                  <a:lnTo>
                    <a:pt x="572" y="288"/>
                  </a:lnTo>
                  <a:lnTo>
                    <a:pt x="576" y="292"/>
                  </a:lnTo>
                  <a:lnTo>
                    <a:pt x="576" y="294"/>
                  </a:lnTo>
                  <a:lnTo>
                    <a:pt x="576" y="298"/>
                  </a:lnTo>
                  <a:lnTo>
                    <a:pt x="578" y="298"/>
                  </a:lnTo>
                  <a:lnTo>
                    <a:pt x="578" y="294"/>
                  </a:lnTo>
                  <a:lnTo>
                    <a:pt x="582" y="294"/>
                  </a:lnTo>
                  <a:lnTo>
                    <a:pt x="586" y="294"/>
                  </a:lnTo>
                  <a:lnTo>
                    <a:pt x="590" y="294"/>
                  </a:lnTo>
                  <a:lnTo>
                    <a:pt x="590" y="292"/>
                  </a:lnTo>
                  <a:lnTo>
                    <a:pt x="590" y="288"/>
                  </a:lnTo>
                  <a:lnTo>
                    <a:pt x="594" y="288"/>
                  </a:lnTo>
                  <a:lnTo>
                    <a:pt x="594" y="284"/>
                  </a:lnTo>
                  <a:lnTo>
                    <a:pt x="598" y="284"/>
                  </a:lnTo>
                  <a:lnTo>
                    <a:pt x="598" y="280"/>
                  </a:lnTo>
                  <a:lnTo>
                    <a:pt x="602" y="280"/>
                  </a:lnTo>
                  <a:lnTo>
                    <a:pt x="606" y="280"/>
                  </a:lnTo>
                  <a:lnTo>
                    <a:pt x="608" y="284"/>
                  </a:lnTo>
                  <a:lnTo>
                    <a:pt x="612" y="284"/>
                  </a:lnTo>
                  <a:lnTo>
                    <a:pt x="612" y="288"/>
                  </a:lnTo>
                  <a:lnTo>
                    <a:pt x="608" y="288"/>
                  </a:lnTo>
                  <a:lnTo>
                    <a:pt x="612" y="292"/>
                  </a:lnTo>
                  <a:lnTo>
                    <a:pt x="616" y="292"/>
                  </a:lnTo>
                  <a:lnTo>
                    <a:pt x="616" y="294"/>
                  </a:lnTo>
                  <a:lnTo>
                    <a:pt x="620" y="294"/>
                  </a:lnTo>
                  <a:lnTo>
                    <a:pt x="620" y="298"/>
                  </a:lnTo>
                  <a:lnTo>
                    <a:pt x="622" y="298"/>
                  </a:lnTo>
                  <a:lnTo>
                    <a:pt x="622" y="302"/>
                  </a:lnTo>
                  <a:lnTo>
                    <a:pt x="626" y="302"/>
                  </a:lnTo>
                  <a:lnTo>
                    <a:pt x="626" y="306"/>
                  </a:lnTo>
                  <a:lnTo>
                    <a:pt x="630" y="306"/>
                  </a:lnTo>
                  <a:lnTo>
                    <a:pt x="634" y="310"/>
                  </a:lnTo>
                  <a:lnTo>
                    <a:pt x="634" y="314"/>
                  </a:lnTo>
                  <a:lnTo>
                    <a:pt x="638" y="314"/>
                  </a:lnTo>
                  <a:lnTo>
                    <a:pt x="638" y="318"/>
                  </a:lnTo>
                  <a:lnTo>
                    <a:pt x="638" y="322"/>
                  </a:lnTo>
                  <a:lnTo>
                    <a:pt x="642" y="322"/>
                  </a:lnTo>
                  <a:lnTo>
                    <a:pt x="642" y="324"/>
                  </a:lnTo>
                  <a:lnTo>
                    <a:pt x="646" y="328"/>
                  </a:lnTo>
                  <a:lnTo>
                    <a:pt x="646" y="332"/>
                  </a:lnTo>
                  <a:lnTo>
                    <a:pt x="648" y="332"/>
                  </a:lnTo>
                  <a:lnTo>
                    <a:pt x="648" y="336"/>
                  </a:lnTo>
                  <a:lnTo>
                    <a:pt x="648" y="340"/>
                  </a:lnTo>
                  <a:lnTo>
                    <a:pt x="652" y="340"/>
                  </a:lnTo>
                  <a:lnTo>
                    <a:pt x="652" y="344"/>
                  </a:lnTo>
                  <a:lnTo>
                    <a:pt x="656" y="348"/>
                  </a:lnTo>
                  <a:lnTo>
                    <a:pt x="656" y="350"/>
                  </a:lnTo>
                  <a:lnTo>
                    <a:pt x="660" y="350"/>
                  </a:lnTo>
                  <a:lnTo>
                    <a:pt x="664" y="350"/>
                  </a:lnTo>
                  <a:lnTo>
                    <a:pt x="664" y="354"/>
                  </a:lnTo>
                  <a:lnTo>
                    <a:pt x="668" y="354"/>
                  </a:lnTo>
                  <a:lnTo>
                    <a:pt x="672" y="354"/>
                  </a:lnTo>
                  <a:lnTo>
                    <a:pt x="672" y="358"/>
                  </a:lnTo>
                  <a:lnTo>
                    <a:pt x="676" y="358"/>
                  </a:lnTo>
                  <a:lnTo>
                    <a:pt x="676" y="362"/>
                  </a:lnTo>
                  <a:lnTo>
                    <a:pt x="678" y="362"/>
                  </a:lnTo>
                  <a:lnTo>
                    <a:pt x="682" y="362"/>
                  </a:lnTo>
                  <a:lnTo>
                    <a:pt x="682" y="366"/>
                  </a:lnTo>
                  <a:lnTo>
                    <a:pt x="678" y="366"/>
                  </a:lnTo>
                  <a:lnTo>
                    <a:pt x="678" y="370"/>
                  </a:lnTo>
                  <a:lnTo>
                    <a:pt x="678" y="374"/>
                  </a:lnTo>
                  <a:lnTo>
                    <a:pt x="678" y="378"/>
                  </a:lnTo>
                  <a:lnTo>
                    <a:pt x="682" y="380"/>
                  </a:lnTo>
                  <a:lnTo>
                    <a:pt x="678" y="380"/>
                  </a:lnTo>
                  <a:lnTo>
                    <a:pt x="678" y="384"/>
                  </a:lnTo>
                  <a:lnTo>
                    <a:pt x="676" y="388"/>
                  </a:lnTo>
                  <a:lnTo>
                    <a:pt x="672" y="388"/>
                  </a:lnTo>
                  <a:lnTo>
                    <a:pt x="672" y="392"/>
                  </a:lnTo>
                  <a:lnTo>
                    <a:pt x="672" y="388"/>
                  </a:lnTo>
                  <a:lnTo>
                    <a:pt x="672" y="392"/>
                  </a:lnTo>
                  <a:lnTo>
                    <a:pt x="668" y="392"/>
                  </a:lnTo>
                  <a:lnTo>
                    <a:pt x="668" y="388"/>
                  </a:lnTo>
                  <a:lnTo>
                    <a:pt x="668" y="384"/>
                  </a:lnTo>
                  <a:lnTo>
                    <a:pt x="672" y="384"/>
                  </a:lnTo>
                  <a:lnTo>
                    <a:pt x="676" y="380"/>
                  </a:lnTo>
                  <a:lnTo>
                    <a:pt x="676" y="378"/>
                  </a:lnTo>
                  <a:lnTo>
                    <a:pt x="676" y="380"/>
                  </a:lnTo>
                  <a:lnTo>
                    <a:pt x="672" y="380"/>
                  </a:lnTo>
                  <a:lnTo>
                    <a:pt x="672" y="384"/>
                  </a:lnTo>
                  <a:lnTo>
                    <a:pt x="672" y="380"/>
                  </a:lnTo>
                  <a:lnTo>
                    <a:pt x="668" y="384"/>
                  </a:lnTo>
                  <a:lnTo>
                    <a:pt x="668" y="380"/>
                  </a:lnTo>
                  <a:lnTo>
                    <a:pt x="672" y="380"/>
                  </a:lnTo>
                  <a:lnTo>
                    <a:pt x="672" y="378"/>
                  </a:lnTo>
                  <a:lnTo>
                    <a:pt x="668" y="378"/>
                  </a:lnTo>
                  <a:lnTo>
                    <a:pt x="668" y="374"/>
                  </a:lnTo>
                  <a:lnTo>
                    <a:pt x="668" y="370"/>
                  </a:lnTo>
                  <a:lnTo>
                    <a:pt x="668" y="366"/>
                  </a:lnTo>
                  <a:lnTo>
                    <a:pt x="664" y="366"/>
                  </a:lnTo>
                  <a:lnTo>
                    <a:pt x="664" y="362"/>
                  </a:lnTo>
                  <a:lnTo>
                    <a:pt x="668" y="362"/>
                  </a:lnTo>
                  <a:lnTo>
                    <a:pt x="664" y="362"/>
                  </a:lnTo>
                  <a:lnTo>
                    <a:pt x="664" y="366"/>
                  </a:lnTo>
                  <a:lnTo>
                    <a:pt x="660" y="366"/>
                  </a:lnTo>
                  <a:lnTo>
                    <a:pt x="660" y="362"/>
                  </a:lnTo>
                  <a:lnTo>
                    <a:pt x="660" y="366"/>
                  </a:lnTo>
                  <a:lnTo>
                    <a:pt x="656" y="366"/>
                  </a:lnTo>
                  <a:lnTo>
                    <a:pt x="652" y="366"/>
                  </a:lnTo>
                  <a:lnTo>
                    <a:pt x="656" y="366"/>
                  </a:lnTo>
                  <a:lnTo>
                    <a:pt x="656" y="370"/>
                  </a:lnTo>
                  <a:lnTo>
                    <a:pt x="656" y="374"/>
                  </a:lnTo>
                  <a:lnTo>
                    <a:pt x="652" y="374"/>
                  </a:lnTo>
                  <a:lnTo>
                    <a:pt x="648" y="374"/>
                  </a:lnTo>
                  <a:lnTo>
                    <a:pt x="648" y="370"/>
                  </a:lnTo>
                  <a:lnTo>
                    <a:pt x="652" y="370"/>
                  </a:lnTo>
                  <a:lnTo>
                    <a:pt x="652" y="366"/>
                  </a:lnTo>
                  <a:lnTo>
                    <a:pt x="652" y="362"/>
                  </a:lnTo>
                  <a:lnTo>
                    <a:pt x="652" y="358"/>
                  </a:lnTo>
                  <a:lnTo>
                    <a:pt x="656" y="358"/>
                  </a:lnTo>
                  <a:lnTo>
                    <a:pt x="652" y="358"/>
                  </a:lnTo>
                  <a:lnTo>
                    <a:pt x="652" y="354"/>
                  </a:lnTo>
                  <a:lnTo>
                    <a:pt x="648" y="354"/>
                  </a:lnTo>
                  <a:lnTo>
                    <a:pt x="648" y="350"/>
                  </a:lnTo>
                  <a:lnTo>
                    <a:pt x="646" y="350"/>
                  </a:lnTo>
                  <a:lnTo>
                    <a:pt x="646" y="348"/>
                  </a:lnTo>
                  <a:lnTo>
                    <a:pt x="648" y="348"/>
                  </a:lnTo>
                  <a:lnTo>
                    <a:pt x="646" y="348"/>
                  </a:lnTo>
                  <a:lnTo>
                    <a:pt x="642" y="348"/>
                  </a:lnTo>
                  <a:lnTo>
                    <a:pt x="642" y="344"/>
                  </a:lnTo>
                  <a:lnTo>
                    <a:pt x="642" y="340"/>
                  </a:lnTo>
                  <a:lnTo>
                    <a:pt x="638" y="340"/>
                  </a:lnTo>
                  <a:lnTo>
                    <a:pt x="634" y="340"/>
                  </a:lnTo>
                  <a:lnTo>
                    <a:pt x="630" y="340"/>
                  </a:lnTo>
                  <a:lnTo>
                    <a:pt x="630" y="336"/>
                  </a:lnTo>
                  <a:lnTo>
                    <a:pt x="634" y="336"/>
                  </a:lnTo>
                  <a:lnTo>
                    <a:pt x="638" y="336"/>
                  </a:lnTo>
                  <a:lnTo>
                    <a:pt x="638" y="332"/>
                  </a:lnTo>
                  <a:lnTo>
                    <a:pt x="638" y="336"/>
                  </a:lnTo>
                  <a:lnTo>
                    <a:pt x="634" y="336"/>
                  </a:lnTo>
                  <a:lnTo>
                    <a:pt x="634" y="332"/>
                  </a:lnTo>
                  <a:lnTo>
                    <a:pt x="630" y="332"/>
                  </a:lnTo>
                  <a:lnTo>
                    <a:pt x="634" y="328"/>
                  </a:lnTo>
                  <a:lnTo>
                    <a:pt x="630" y="328"/>
                  </a:lnTo>
                  <a:lnTo>
                    <a:pt x="630" y="324"/>
                  </a:lnTo>
                  <a:lnTo>
                    <a:pt x="638" y="328"/>
                  </a:lnTo>
                  <a:lnTo>
                    <a:pt x="634" y="328"/>
                  </a:lnTo>
                  <a:lnTo>
                    <a:pt x="634" y="324"/>
                  </a:lnTo>
                  <a:lnTo>
                    <a:pt x="630" y="324"/>
                  </a:lnTo>
                  <a:lnTo>
                    <a:pt x="630" y="322"/>
                  </a:lnTo>
                  <a:lnTo>
                    <a:pt x="634" y="322"/>
                  </a:lnTo>
                  <a:lnTo>
                    <a:pt x="638" y="322"/>
                  </a:lnTo>
                  <a:lnTo>
                    <a:pt x="634" y="322"/>
                  </a:lnTo>
                  <a:lnTo>
                    <a:pt x="630" y="322"/>
                  </a:lnTo>
                  <a:lnTo>
                    <a:pt x="630" y="324"/>
                  </a:lnTo>
                  <a:lnTo>
                    <a:pt x="626" y="322"/>
                  </a:lnTo>
                  <a:lnTo>
                    <a:pt x="626" y="318"/>
                  </a:lnTo>
                  <a:lnTo>
                    <a:pt x="630" y="318"/>
                  </a:lnTo>
                  <a:lnTo>
                    <a:pt x="626" y="318"/>
                  </a:lnTo>
                  <a:lnTo>
                    <a:pt x="626" y="322"/>
                  </a:lnTo>
                  <a:lnTo>
                    <a:pt x="626" y="318"/>
                  </a:lnTo>
                  <a:lnTo>
                    <a:pt x="622" y="318"/>
                  </a:lnTo>
                  <a:lnTo>
                    <a:pt x="622" y="314"/>
                  </a:lnTo>
                  <a:lnTo>
                    <a:pt x="626" y="310"/>
                  </a:lnTo>
                  <a:lnTo>
                    <a:pt x="622" y="310"/>
                  </a:lnTo>
                  <a:lnTo>
                    <a:pt x="626" y="310"/>
                  </a:lnTo>
                  <a:lnTo>
                    <a:pt x="626" y="306"/>
                  </a:lnTo>
                  <a:lnTo>
                    <a:pt x="626" y="310"/>
                  </a:lnTo>
                  <a:lnTo>
                    <a:pt x="626" y="306"/>
                  </a:lnTo>
                  <a:lnTo>
                    <a:pt x="626" y="310"/>
                  </a:lnTo>
                  <a:lnTo>
                    <a:pt x="622" y="310"/>
                  </a:lnTo>
                  <a:lnTo>
                    <a:pt x="622" y="314"/>
                  </a:lnTo>
                  <a:lnTo>
                    <a:pt x="620" y="314"/>
                  </a:lnTo>
                  <a:lnTo>
                    <a:pt x="620" y="310"/>
                  </a:lnTo>
                  <a:lnTo>
                    <a:pt x="616" y="310"/>
                  </a:lnTo>
                  <a:lnTo>
                    <a:pt x="612" y="306"/>
                  </a:lnTo>
                  <a:lnTo>
                    <a:pt x="612" y="302"/>
                  </a:lnTo>
                  <a:lnTo>
                    <a:pt x="608" y="302"/>
                  </a:lnTo>
                  <a:lnTo>
                    <a:pt x="608" y="298"/>
                  </a:lnTo>
                  <a:lnTo>
                    <a:pt x="608" y="294"/>
                  </a:lnTo>
                  <a:lnTo>
                    <a:pt x="608" y="292"/>
                  </a:lnTo>
                  <a:lnTo>
                    <a:pt x="606" y="292"/>
                  </a:lnTo>
                  <a:lnTo>
                    <a:pt x="606" y="288"/>
                  </a:lnTo>
                  <a:lnTo>
                    <a:pt x="606" y="292"/>
                  </a:lnTo>
                  <a:lnTo>
                    <a:pt x="608" y="294"/>
                  </a:lnTo>
                  <a:lnTo>
                    <a:pt x="606" y="294"/>
                  </a:lnTo>
                  <a:lnTo>
                    <a:pt x="606" y="292"/>
                  </a:lnTo>
                  <a:lnTo>
                    <a:pt x="606" y="294"/>
                  </a:lnTo>
                  <a:lnTo>
                    <a:pt x="606" y="298"/>
                  </a:lnTo>
                  <a:lnTo>
                    <a:pt x="608" y="298"/>
                  </a:lnTo>
                  <a:lnTo>
                    <a:pt x="608" y="302"/>
                  </a:lnTo>
                  <a:lnTo>
                    <a:pt x="608" y="306"/>
                  </a:lnTo>
                  <a:lnTo>
                    <a:pt x="608" y="310"/>
                  </a:lnTo>
                  <a:lnTo>
                    <a:pt x="612" y="310"/>
                  </a:lnTo>
                  <a:lnTo>
                    <a:pt x="612" y="314"/>
                  </a:lnTo>
                  <a:lnTo>
                    <a:pt x="608" y="314"/>
                  </a:lnTo>
                  <a:lnTo>
                    <a:pt x="606" y="314"/>
                  </a:lnTo>
                  <a:lnTo>
                    <a:pt x="606" y="310"/>
                  </a:lnTo>
                  <a:lnTo>
                    <a:pt x="602" y="310"/>
                  </a:lnTo>
                  <a:lnTo>
                    <a:pt x="598" y="310"/>
                  </a:lnTo>
                  <a:lnTo>
                    <a:pt x="602" y="306"/>
                  </a:lnTo>
                  <a:lnTo>
                    <a:pt x="598" y="306"/>
                  </a:lnTo>
                  <a:lnTo>
                    <a:pt x="598" y="302"/>
                  </a:lnTo>
                  <a:lnTo>
                    <a:pt x="598" y="298"/>
                  </a:lnTo>
                  <a:lnTo>
                    <a:pt x="602" y="298"/>
                  </a:lnTo>
                  <a:lnTo>
                    <a:pt x="598" y="298"/>
                  </a:lnTo>
                  <a:lnTo>
                    <a:pt x="598" y="294"/>
                  </a:lnTo>
                  <a:lnTo>
                    <a:pt x="594" y="294"/>
                  </a:lnTo>
                  <a:lnTo>
                    <a:pt x="594" y="298"/>
                  </a:lnTo>
                  <a:lnTo>
                    <a:pt x="598" y="298"/>
                  </a:lnTo>
                  <a:lnTo>
                    <a:pt x="598" y="302"/>
                  </a:lnTo>
                  <a:lnTo>
                    <a:pt x="594" y="302"/>
                  </a:lnTo>
                  <a:lnTo>
                    <a:pt x="590" y="302"/>
                  </a:lnTo>
                  <a:lnTo>
                    <a:pt x="590" y="298"/>
                  </a:lnTo>
                  <a:lnTo>
                    <a:pt x="586" y="298"/>
                  </a:lnTo>
                  <a:lnTo>
                    <a:pt x="582" y="294"/>
                  </a:lnTo>
                  <a:lnTo>
                    <a:pt x="582" y="298"/>
                  </a:lnTo>
                  <a:lnTo>
                    <a:pt x="582" y="302"/>
                  </a:lnTo>
                  <a:lnTo>
                    <a:pt x="582" y="298"/>
                  </a:lnTo>
                  <a:lnTo>
                    <a:pt x="586" y="298"/>
                  </a:lnTo>
                  <a:lnTo>
                    <a:pt x="590" y="298"/>
                  </a:lnTo>
                  <a:lnTo>
                    <a:pt x="590" y="302"/>
                  </a:lnTo>
                  <a:lnTo>
                    <a:pt x="586" y="302"/>
                  </a:lnTo>
                  <a:lnTo>
                    <a:pt x="590" y="302"/>
                  </a:lnTo>
                  <a:lnTo>
                    <a:pt x="594" y="302"/>
                  </a:lnTo>
                  <a:lnTo>
                    <a:pt x="590" y="306"/>
                  </a:lnTo>
                  <a:lnTo>
                    <a:pt x="594" y="306"/>
                  </a:lnTo>
                  <a:lnTo>
                    <a:pt x="598" y="306"/>
                  </a:lnTo>
                  <a:lnTo>
                    <a:pt x="598" y="310"/>
                  </a:lnTo>
                  <a:lnTo>
                    <a:pt x="594" y="314"/>
                  </a:lnTo>
                  <a:lnTo>
                    <a:pt x="594" y="310"/>
                  </a:lnTo>
                  <a:lnTo>
                    <a:pt x="590" y="310"/>
                  </a:lnTo>
                  <a:lnTo>
                    <a:pt x="590" y="314"/>
                  </a:lnTo>
                  <a:lnTo>
                    <a:pt x="590" y="310"/>
                  </a:lnTo>
                  <a:lnTo>
                    <a:pt x="594" y="314"/>
                  </a:lnTo>
                  <a:lnTo>
                    <a:pt x="590" y="314"/>
                  </a:lnTo>
                  <a:lnTo>
                    <a:pt x="590" y="310"/>
                  </a:lnTo>
                  <a:lnTo>
                    <a:pt x="586" y="314"/>
                  </a:lnTo>
                  <a:lnTo>
                    <a:pt x="590" y="314"/>
                  </a:lnTo>
                  <a:lnTo>
                    <a:pt x="586" y="314"/>
                  </a:lnTo>
                  <a:lnTo>
                    <a:pt x="586" y="310"/>
                  </a:lnTo>
                  <a:lnTo>
                    <a:pt x="582" y="310"/>
                  </a:lnTo>
                  <a:lnTo>
                    <a:pt x="578" y="310"/>
                  </a:lnTo>
                  <a:lnTo>
                    <a:pt x="578" y="306"/>
                  </a:lnTo>
                  <a:lnTo>
                    <a:pt x="576" y="306"/>
                  </a:lnTo>
                  <a:lnTo>
                    <a:pt x="576" y="302"/>
                  </a:lnTo>
                  <a:lnTo>
                    <a:pt x="576" y="306"/>
                  </a:lnTo>
                  <a:lnTo>
                    <a:pt x="572" y="302"/>
                  </a:lnTo>
                  <a:lnTo>
                    <a:pt x="572" y="298"/>
                  </a:lnTo>
                  <a:lnTo>
                    <a:pt x="568" y="298"/>
                  </a:lnTo>
                  <a:lnTo>
                    <a:pt x="568" y="294"/>
                  </a:lnTo>
                  <a:lnTo>
                    <a:pt x="564" y="294"/>
                  </a:lnTo>
                  <a:lnTo>
                    <a:pt x="560" y="294"/>
                  </a:lnTo>
                  <a:lnTo>
                    <a:pt x="564" y="292"/>
                  </a:lnTo>
                  <a:lnTo>
                    <a:pt x="560" y="292"/>
                  </a:lnTo>
                  <a:lnTo>
                    <a:pt x="560" y="294"/>
                  </a:lnTo>
                  <a:lnTo>
                    <a:pt x="556" y="292"/>
                  </a:lnTo>
                  <a:lnTo>
                    <a:pt x="552" y="292"/>
                  </a:lnTo>
                  <a:lnTo>
                    <a:pt x="552" y="288"/>
                  </a:lnTo>
                  <a:lnTo>
                    <a:pt x="548" y="288"/>
                  </a:lnTo>
                  <a:lnTo>
                    <a:pt x="546" y="288"/>
                  </a:lnTo>
                  <a:lnTo>
                    <a:pt x="546" y="284"/>
                  </a:lnTo>
                  <a:lnTo>
                    <a:pt x="548" y="280"/>
                  </a:lnTo>
                  <a:lnTo>
                    <a:pt x="546" y="280"/>
                  </a:lnTo>
                  <a:lnTo>
                    <a:pt x="546" y="276"/>
                  </a:lnTo>
                  <a:lnTo>
                    <a:pt x="548" y="276"/>
                  </a:lnTo>
                  <a:lnTo>
                    <a:pt x="548" y="280"/>
                  </a:lnTo>
                  <a:lnTo>
                    <a:pt x="548" y="284"/>
                  </a:lnTo>
                  <a:lnTo>
                    <a:pt x="552" y="284"/>
                  </a:lnTo>
                  <a:lnTo>
                    <a:pt x="552" y="280"/>
                  </a:lnTo>
                  <a:lnTo>
                    <a:pt x="548" y="280"/>
                  </a:lnTo>
                  <a:lnTo>
                    <a:pt x="552" y="276"/>
                  </a:lnTo>
                  <a:lnTo>
                    <a:pt x="556" y="280"/>
                  </a:lnTo>
                  <a:lnTo>
                    <a:pt x="556" y="276"/>
                  </a:lnTo>
                  <a:lnTo>
                    <a:pt x="552" y="276"/>
                  </a:lnTo>
                  <a:lnTo>
                    <a:pt x="548" y="276"/>
                  </a:lnTo>
                  <a:lnTo>
                    <a:pt x="548" y="272"/>
                  </a:lnTo>
                  <a:lnTo>
                    <a:pt x="546" y="272"/>
                  </a:lnTo>
                  <a:lnTo>
                    <a:pt x="546" y="276"/>
                  </a:lnTo>
                  <a:lnTo>
                    <a:pt x="542" y="280"/>
                  </a:lnTo>
                  <a:lnTo>
                    <a:pt x="538" y="280"/>
                  </a:lnTo>
                  <a:lnTo>
                    <a:pt x="534" y="280"/>
                  </a:lnTo>
                  <a:lnTo>
                    <a:pt x="530" y="280"/>
                  </a:lnTo>
                  <a:lnTo>
                    <a:pt x="526" y="280"/>
                  </a:lnTo>
                  <a:lnTo>
                    <a:pt x="522" y="276"/>
                  </a:lnTo>
                  <a:lnTo>
                    <a:pt x="520" y="276"/>
                  </a:lnTo>
                  <a:lnTo>
                    <a:pt x="522" y="276"/>
                  </a:lnTo>
                  <a:lnTo>
                    <a:pt x="522" y="272"/>
                  </a:lnTo>
                  <a:lnTo>
                    <a:pt x="520" y="272"/>
                  </a:lnTo>
                  <a:lnTo>
                    <a:pt x="520" y="276"/>
                  </a:lnTo>
                  <a:lnTo>
                    <a:pt x="516" y="276"/>
                  </a:lnTo>
                  <a:lnTo>
                    <a:pt x="516" y="272"/>
                  </a:lnTo>
                  <a:lnTo>
                    <a:pt x="512" y="272"/>
                  </a:lnTo>
                  <a:lnTo>
                    <a:pt x="504" y="272"/>
                  </a:lnTo>
                  <a:lnTo>
                    <a:pt x="500" y="272"/>
                  </a:lnTo>
                  <a:lnTo>
                    <a:pt x="496" y="272"/>
                  </a:lnTo>
                  <a:lnTo>
                    <a:pt x="492" y="272"/>
                  </a:lnTo>
                  <a:lnTo>
                    <a:pt x="490" y="272"/>
                  </a:lnTo>
                  <a:lnTo>
                    <a:pt x="486" y="272"/>
                  </a:lnTo>
                  <a:lnTo>
                    <a:pt x="482" y="272"/>
                  </a:lnTo>
                  <a:lnTo>
                    <a:pt x="482" y="268"/>
                  </a:lnTo>
                  <a:lnTo>
                    <a:pt x="478" y="268"/>
                  </a:lnTo>
                  <a:lnTo>
                    <a:pt x="474" y="268"/>
                  </a:lnTo>
                  <a:lnTo>
                    <a:pt x="470" y="268"/>
                  </a:lnTo>
                  <a:lnTo>
                    <a:pt x="470" y="266"/>
                  </a:lnTo>
                  <a:lnTo>
                    <a:pt x="470" y="262"/>
                  </a:lnTo>
                  <a:lnTo>
                    <a:pt x="474" y="262"/>
                  </a:lnTo>
                  <a:lnTo>
                    <a:pt x="474" y="258"/>
                  </a:lnTo>
                  <a:lnTo>
                    <a:pt x="470" y="262"/>
                  </a:lnTo>
                  <a:lnTo>
                    <a:pt x="466" y="266"/>
                  </a:lnTo>
                  <a:lnTo>
                    <a:pt x="464" y="266"/>
                  </a:lnTo>
                  <a:lnTo>
                    <a:pt x="460" y="266"/>
                  </a:lnTo>
                  <a:lnTo>
                    <a:pt x="456" y="262"/>
                  </a:lnTo>
                  <a:lnTo>
                    <a:pt x="460" y="262"/>
                  </a:lnTo>
                  <a:lnTo>
                    <a:pt x="460" y="258"/>
                  </a:lnTo>
                  <a:lnTo>
                    <a:pt x="460" y="262"/>
                  </a:lnTo>
                  <a:lnTo>
                    <a:pt x="456" y="262"/>
                  </a:lnTo>
                  <a:lnTo>
                    <a:pt x="456" y="258"/>
                  </a:lnTo>
                  <a:lnTo>
                    <a:pt x="456" y="262"/>
                  </a:lnTo>
                  <a:lnTo>
                    <a:pt x="452" y="262"/>
                  </a:lnTo>
                  <a:lnTo>
                    <a:pt x="452" y="258"/>
                  </a:lnTo>
                  <a:lnTo>
                    <a:pt x="456" y="258"/>
                  </a:lnTo>
                  <a:lnTo>
                    <a:pt x="452" y="258"/>
                  </a:lnTo>
                  <a:lnTo>
                    <a:pt x="448" y="258"/>
                  </a:lnTo>
                  <a:lnTo>
                    <a:pt x="444" y="258"/>
                  </a:lnTo>
                  <a:lnTo>
                    <a:pt x="448" y="258"/>
                  </a:lnTo>
                  <a:lnTo>
                    <a:pt x="452" y="254"/>
                  </a:lnTo>
                  <a:lnTo>
                    <a:pt x="448" y="254"/>
                  </a:lnTo>
                  <a:lnTo>
                    <a:pt x="444" y="254"/>
                  </a:lnTo>
                  <a:lnTo>
                    <a:pt x="448" y="250"/>
                  </a:lnTo>
                  <a:lnTo>
                    <a:pt x="452" y="250"/>
                  </a:lnTo>
                  <a:lnTo>
                    <a:pt x="452" y="246"/>
                  </a:lnTo>
                  <a:lnTo>
                    <a:pt x="448" y="246"/>
                  </a:lnTo>
                  <a:lnTo>
                    <a:pt x="448" y="250"/>
                  </a:lnTo>
                  <a:lnTo>
                    <a:pt x="444" y="250"/>
                  </a:lnTo>
                  <a:lnTo>
                    <a:pt x="440" y="254"/>
                  </a:lnTo>
                  <a:lnTo>
                    <a:pt x="440" y="250"/>
                  </a:lnTo>
                  <a:lnTo>
                    <a:pt x="436" y="250"/>
                  </a:lnTo>
                  <a:lnTo>
                    <a:pt x="436" y="254"/>
                  </a:lnTo>
                  <a:lnTo>
                    <a:pt x="434" y="254"/>
                  </a:lnTo>
                  <a:lnTo>
                    <a:pt x="434" y="250"/>
                  </a:lnTo>
                  <a:lnTo>
                    <a:pt x="434" y="246"/>
                  </a:lnTo>
                  <a:lnTo>
                    <a:pt x="434" y="254"/>
                  </a:lnTo>
                  <a:lnTo>
                    <a:pt x="430" y="254"/>
                  </a:lnTo>
                  <a:lnTo>
                    <a:pt x="426" y="254"/>
                  </a:lnTo>
                  <a:lnTo>
                    <a:pt x="430" y="250"/>
                  </a:lnTo>
                  <a:lnTo>
                    <a:pt x="430" y="246"/>
                  </a:lnTo>
                  <a:lnTo>
                    <a:pt x="430" y="250"/>
                  </a:lnTo>
                  <a:lnTo>
                    <a:pt x="426" y="250"/>
                  </a:lnTo>
                  <a:lnTo>
                    <a:pt x="422" y="250"/>
                  </a:lnTo>
                  <a:lnTo>
                    <a:pt x="426" y="250"/>
                  </a:lnTo>
                  <a:lnTo>
                    <a:pt x="422" y="254"/>
                  </a:lnTo>
                  <a:lnTo>
                    <a:pt x="418" y="254"/>
                  </a:lnTo>
                  <a:lnTo>
                    <a:pt x="418" y="258"/>
                  </a:lnTo>
                  <a:lnTo>
                    <a:pt x="418" y="254"/>
                  </a:lnTo>
                  <a:lnTo>
                    <a:pt x="422" y="258"/>
                  </a:lnTo>
                  <a:lnTo>
                    <a:pt x="418" y="258"/>
                  </a:lnTo>
                  <a:lnTo>
                    <a:pt x="422" y="258"/>
                  </a:lnTo>
                  <a:lnTo>
                    <a:pt x="426" y="262"/>
                  </a:lnTo>
                  <a:lnTo>
                    <a:pt x="422" y="262"/>
                  </a:lnTo>
                  <a:lnTo>
                    <a:pt x="418" y="262"/>
                  </a:lnTo>
                  <a:lnTo>
                    <a:pt x="418" y="266"/>
                  </a:lnTo>
                  <a:lnTo>
                    <a:pt x="418" y="266"/>
                  </a:lnTo>
                  <a:lnTo>
                    <a:pt x="418" y="266"/>
                  </a:lnTo>
                  <a:close/>
                  <a:moveTo>
                    <a:pt x="434" y="266"/>
                  </a:moveTo>
                  <a:lnTo>
                    <a:pt x="430" y="266"/>
                  </a:lnTo>
                  <a:lnTo>
                    <a:pt x="434" y="266"/>
                  </a:lnTo>
                  <a:lnTo>
                    <a:pt x="430" y="268"/>
                  </a:lnTo>
                  <a:lnTo>
                    <a:pt x="430" y="266"/>
                  </a:lnTo>
                  <a:lnTo>
                    <a:pt x="434" y="262"/>
                  </a:lnTo>
                  <a:lnTo>
                    <a:pt x="434" y="266"/>
                  </a:lnTo>
                  <a:lnTo>
                    <a:pt x="434" y="266"/>
                  </a:lnTo>
                  <a:lnTo>
                    <a:pt x="434" y="266"/>
                  </a:lnTo>
                  <a:close/>
                  <a:moveTo>
                    <a:pt x="224" y="384"/>
                  </a:moveTo>
                  <a:lnTo>
                    <a:pt x="224" y="388"/>
                  </a:lnTo>
                  <a:lnTo>
                    <a:pt x="224" y="384"/>
                  </a:lnTo>
                  <a:lnTo>
                    <a:pt x="224" y="384"/>
                  </a:lnTo>
                  <a:lnTo>
                    <a:pt x="224" y="384"/>
                  </a:lnTo>
                  <a:close/>
                  <a:moveTo>
                    <a:pt x="1440" y="706"/>
                  </a:moveTo>
                  <a:lnTo>
                    <a:pt x="1440" y="708"/>
                  </a:lnTo>
                  <a:lnTo>
                    <a:pt x="1440" y="706"/>
                  </a:lnTo>
                  <a:lnTo>
                    <a:pt x="1436" y="706"/>
                  </a:lnTo>
                  <a:lnTo>
                    <a:pt x="1440" y="708"/>
                  </a:lnTo>
                  <a:lnTo>
                    <a:pt x="1440" y="712"/>
                  </a:lnTo>
                  <a:lnTo>
                    <a:pt x="1440" y="716"/>
                  </a:lnTo>
                  <a:lnTo>
                    <a:pt x="1440" y="720"/>
                  </a:lnTo>
                  <a:lnTo>
                    <a:pt x="1440" y="724"/>
                  </a:lnTo>
                  <a:lnTo>
                    <a:pt x="1436" y="724"/>
                  </a:lnTo>
                  <a:lnTo>
                    <a:pt x="1436" y="720"/>
                  </a:lnTo>
                  <a:lnTo>
                    <a:pt x="1436" y="716"/>
                  </a:lnTo>
                  <a:lnTo>
                    <a:pt x="1436" y="720"/>
                  </a:lnTo>
                  <a:lnTo>
                    <a:pt x="1436" y="724"/>
                  </a:lnTo>
                  <a:lnTo>
                    <a:pt x="1440" y="724"/>
                  </a:lnTo>
                  <a:lnTo>
                    <a:pt x="1440" y="728"/>
                  </a:lnTo>
                  <a:lnTo>
                    <a:pt x="1440" y="732"/>
                  </a:lnTo>
                  <a:lnTo>
                    <a:pt x="1440" y="728"/>
                  </a:lnTo>
                  <a:lnTo>
                    <a:pt x="1436" y="728"/>
                  </a:lnTo>
                  <a:lnTo>
                    <a:pt x="1432" y="724"/>
                  </a:lnTo>
                  <a:lnTo>
                    <a:pt x="1428" y="724"/>
                  </a:lnTo>
                  <a:lnTo>
                    <a:pt x="1428" y="720"/>
                  </a:lnTo>
                  <a:lnTo>
                    <a:pt x="1428" y="716"/>
                  </a:lnTo>
                  <a:lnTo>
                    <a:pt x="1432" y="716"/>
                  </a:lnTo>
                  <a:lnTo>
                    <a:pt x="1432" y="712"/>
                  </a:lnTo>
                  <a:lnTo>
                    <a:pt x="1432" y="716"/>
                  </a:lnTo>
                  <a:lnTo>
                    <a:pt x="1428" y="716"/>
                  </a:lnTo>
                  <a:lnTo>
                    <a:pt x="1428" y="720"/>
                  </a:lnTo>
                  <a:lnTo>
                    <a:pt x="1428" y="724"/>
                  </a:lnTo>
                  <a:lnTo>
                    <a:pt x="1432" y="724"/>
                  </a:lnTo>
                  <a:lnTo>
                    <a:pt x="1432" y="728"/>
                  </a:lnTo>
                  <a:lnTo>
                    <a:pt x="1436" y="728"/>
                  </a:lnTo>
                  <a:lnTo>
                    <a:pt x="1440" y="732"/>
                  </a:lnTo>
                  <a:lnTo>
                    <a:pt x="1442" y="732"/>
                  </a:lnTo>
                  <a:lnTo>
                    <a:pt x="1442" y="734"/>
                  </a:lnTo>
                  <a:lnTo>
                    <a:pt x="1440" y="738"/>
                  </a:lnTo>
                  <a:lnTo>
                    <a:pt x="1440" y="734"/>
                  </a:lnTo>
                  <a:lnTo>
                    <a:pt x="1436" y="734"/>
                  </a:lnTo>
                  <a:lnTo>
                    <a:pt x="1432" y="732"/>
                  </a:lnTo>
                  <a:lnTo>
                    <a:pt x="1432" y="728"/>
                  </a:lnTo>
                  <a:lnTo>
                    <a:pt x="1428" y="728"/>
                  </a:lnTo>
                  <a:lnTo>
                    <a:pt x="1432" y="728"/>
                  </a:lnTo>
                  <a:lnTo>
                    <a:pt x="1432" y="732"/>
                  </a:lnTo>
                  <a:lnTo>
                    <a:pt x="1436" y="734"/>
                  </a:lnTo>
                  <a:lnTo>
                    <a:pt x="1440" y="738"/>
                  </a:lnTo>
                  <a:lnTo>
                    <a:pt x="1442" y="738"/>
                  </a:lnTo>
                  <a:lnTo>
                    <a:pt x="1442" y="742"/>
                  </a:lnTo>
                  <a:lnTo>
                    <a:pt x="1440" y="742"/>
                  </a:lnTo>
                  <a:lnTo>
                    <a:pt x="1440" y="746"/>
                  </a:lnTo>
                  <a:lnTo>
                    <a:pt x="1440" y="742"/>
                  </a:lnTo>
                  <a:lnTo>
                    <a:pt x="1436" y="742"/>
                  </a:lnTo>
                  <a:lnTo>
                    <a:pt x="1440" y="742"/>
                  </a:lnTo>
                  <a:lnTo>
                    <a:pt x="1440" y="746"/>
                  </a:lnTo>
                  <a:lnTo>
                    <a:pt x="1442" y="746"/>
                  </a:lnTo>
                  <a:lnTo>
                    <a:pt x="1440" y="750"/>
                  </a:lnTo>
                  <a:lnTo>
                    <a:pt x="1436" y="746"/>
                  </a:lnTo>
                  <a:lnTo>
                    <a:pt x="1432" y="746"/>
                  </a:lnTo>
                  <a:lnTo>
                    <a:pt x="1432" y="742"/>
                  </a:lnTo>
                  <a:lnTo>
                    <a:pt x="1428" y="742"/>
                  </a:lnTo>
                  <a:lnTo>
                    <a:pt x="1432" y="742"/>
                  </a:lnTo>
                  <a:lnTo>
                    <a:pt x="1432" y="746"/>
                  </a:lnTo>
                  <a:lnTo>
                    <a:pt x="1436" y="746"/>
                  </a:lnTo>
                  <a:lnTo>
                    <a:pt x="1436" y="750"/>
                  </a:lnTo>
                  <a:lnTo>
                    <a:pt x="1440" y="750"/>
                  </a:lnTo>
                  <a:lnTo>
                    <a:pt x="1440" y="754"/>
                  </a:lnTo>
                  <a:lnTo>
                    <a:pt x="1440" y="750"/>
                  </a:lnTo>
                  <a:lnTo>
                    <a:pt x="1442" y="750"/>
                  </a:lnTo>
                  <a:lnTo>
                    <a:pt x="1446" y="750"/>
                  </a:lnTo>
                  <a:lnTo>
                    <a:pt x="1446" y="754"/>
                  </a:lnTo>
                  <a:lnTo>
                    <a:pt x="1446" y="758"/>
                  </a:lnTo>
                  <a:lnTo>
                    <a:pt x="1446" y="762"/>
                  </a:lnTo>
                  <a:lnTo>
                    <a:pt x="1446" y="764"/>
                  </a:lnTo>
                  <a:lnTo>
                    <a:pt x="1450" y="764"/>
                  </a:lnTo>
                  <a:lnTo>
                    <a:pt x="1450" y="768"/>
                  </a:lnTo>
                  <a:lnTo>
                    <a:pt x="1450" y="772"/>
                  </a:lnTo>
                  <a:lnTo>
                    <a:pt x="1450" y="768"/>
                  </a:lnTo>
                  <a:lnTo>
                    <a:pt x="1450" y="764"/>
                  </a:lnTo>
                  <a:lnTo>
                    <a:pt x="1446" y="764"/>
                  </a:lnTo>
                  <a:lnTo>
                    <a:pt x="1446" y="762"/>
                  </a:lnTo>
                  <a:lnTo>
                    <a:pt x="1446" y="758"/>
                  </a:lnTo>
                  <a:lnTo>
                    <a:pt x="1446" y="754"/>
                  </a:lnTo>
                  <a:lnTo>
                    <a:pt x="1446" y="758"/>
                  </a:lnTo>
                  <a:lnTo>
                    <a:pt x="1442" y="758"/>
                  </a:lnTo>
                  <a:lnTo>
                    <a:pt x="1446" y="762"/>
                  </a:lnTo>
                  <a:lnTo>
                    <a:pt x="1446" y="764"/>
                  </a:lnTo>
                  <a:lnTo>
                    <a:pt x="1446" y="768"/>
                  </a:lnTo>
                  <a:lnTo>
                    <a:pt x="1446" y="764"/>
                  </a:lnTo>
                  <a:lnTo>
                    <a:pt x="1446" y="762"/>
                  </a:lnTo>
                  <a:lnTo>
                    <a:pt x="1446" y="764"/>
                  </a:lnTo>
                  <a:lnTo>
                    <a:pt x="1442" y="764"/>
                  </a:lnTo>
                  <a:lnTo>
                    <a:pt x="1442" y="762"/>
                  </a:lnTo>
                  <a:lnTo>
                    <a:pt x="1442" y="764"/>
                  </a:lnTo>
                  <a:lnTo>
                    <a:pt x="1440" y="764"/>
                  </a:lnTo>
                  <a:lnTo>
                    <a:pt x="1440" y="768"/>
                  </a:lnTo>
                  <a:lnTo>
                    <a:pt x="1436" y="768"/>
                  </a:lnTo>
                  <a:lnTo>
                    <a:pt x="1436" y="764"/>
                  </a:lnTo>
                  <a:lnTo>
                    <a:pt x="1436" y="768"/>
                  </a:lnTo>
                  <a:lnTo>
                    <a:pt x="1440" y="768"/>
                  </a:lnTo>
                  <a:lnTo>
                    <a:pt x="1442" y="768"/>
                  </a:lnTo>
                  <a:lnTo>
                    <a:pt x="1440" y="768"/>
                  </a:lnTo>
                  <a:lnTo>
                    <a:pt x="1442" y="768"/>
                  </a:lnTo>
                  <a:lnTo>
                    <a:pt x="1446" y="768"/>
                  </a:lnTo>
                  <a:lnTo>
                    <a:pt x="1442" y="772"/>
                  </a:lnTo>
                  <a:lnTo>
                    <a:pt x="1442" y="776"/>
                  </a:lnTo>
                  <a:lnTo>
                    <a:pt x="1442" y="772"/>
                  </a:lnTo>
                  <a:lnTo>
                    <a:pt x="1442" y="776"/>
                  </a:lnTo>
                  <a:lnTo>
                    <a:pt x="1446" y="772"/>
                  </a:lnTo>
                  <a:lnTo>
                    <a:pt x="1446" y="768"/>
                  </a:lnTo>
                  <a:lnTo>
                    <a:pt x="1450" y="772"/>
                  </a:lnTo>
                  <a:lnTo>
                    <a:pt x="1450" y="776"/>
                  </a:lnTo>
                  <a:lnTo>
                    <a:pt x="1446" y="776"/>
                  </a:lnTo>
                  <a:lnTo>
                    <a:pt x="1446" y="780"/>
                  </a:lnTo>
                  <a:lnTo>
                    <a:pt x="1442" y="780"/>
                  </a:lnTo>
                  <a:lnTo>
                    <a:pt x="1440" y="780"/>
                  </a:lnTo>
                  <a:lnTo>
                    <a:pt x="1436" y="780"/>
                  </a:lnTo>
                  <a:lnTo>
                    <a:pt x="1436" y="776"/>
                  </a:lnTo>
                  <a:lnTo>
                    <a:pt x="1440" y="776"/>
                  </a:lnTo>
                  <a:lnTo>
                    <a:pt x="1436" y="776"/>
                  </a:lnTo>
                  <a:lnTo>
                    <a:pt x="1436" y="780"/>
                  </a:lnTo>
                  <a:lnTo>
                    <a:pt x="1432" y="780"/>
                  </a:lnTo>
                  <a:lnTo>
                    <a:pt x="1432" y="776"/>
                  </a:lnTo>
                  <a:lnTo>
                    <a:pt x="1432" y="780"/>
                  </a:lnTo>
                  <a:lnTo>
                    <a:pt x="1440" y="780"/>
                  </a:lnTo>
                  <a:lnTo>
                    <a:pt x="1440" y="784"/>
                  </a:lnTo>
                  <a:lnTo>
                    <a:pt x="1436" y="784"/>
                  </a:lnTo>
                  <a:lnTo>
                    <a:pt x="1436" y="788"/>
                  </a:lnTo>
                  <a:lnTo>
                    <a:pt x="1432" y="788"/>
                  </a:lnTo>
                  <a:lnTo>
                    <a:pt x="1432" y="784"/>
                  </a:lnTo>
                  <a:lnTo>
                    <a:pt x="1432" y="788"/>
                  </a:lnTo>
                  <a:lnTo>
                    <a:pt x="1436" y="788"/>
                  </a:lnTo>
                  <a:lnTo>
                    <a:pt x="1440" y="788"/>
                  </a:lnTo>
                  <a:lnTo>
                    <a:pt x="1442" y="788"/>
                  </a:lnTo>
                  <a:lnTo>
                    <a:pt x="1440" y="788"/>
                  </a:lnTo>
                  <a:lnTo>
                    <a:pt x="1440" y="790"/>
                  </a:lnTo>
                  <a:lnTo>
                    <a:pt x="1436" y="790"/>
                  </a:lnTo>
                  <a:lnTo>
                    <a:pt x="1428" y="794"/>
                  </a:lnTo>
                  <a:lnTo>
                    <a:pt x="1424" y="794"/>
                  </a:lnTo>
                  <a:lnTo>
                    <a:pt x="1428" y="794"/>
                  </a:lnTo>
                  <a:lnTo>
                    <a:pt x="1424" y="790"/>
                  </a:lnTo>
                  <a:lnTo>
                    <a:pt x="1424" y="794"/>
                  </a:lnTo>
                  <a:lnTo>
                    <a:pt x="1424" y="798"/>
                  </a:lnTo>
                  <a:lnTo>
                    <a:pt x="1420" y="798"/>
                  </a:lnTo>
                  <a:lnTo>
                    <a:pt x="1420" y="802"/>
                  </a:lnTo>
                  <a:lnTo>
                    <a:pt x="1416" y="802"/>
                  </a:lnTo>
                  <a:lnTo>
                    <a:pt x="1416" y="806"/>
                  </a:lnTo>
                  <a:lnTo>
                    <a:pt x="1416" y="802"/>
                  </a:lnTo>
                  <a:lnTo>
                    <a:pt x="1416" y="806"/>
                  </a:lnTo>
                  <a:lnTo>
                    <a:pt x="1416" y="810"/>
                  </a:lnTo>
                  <a:lnTo>
                    <a:pt x="1416" y="806"/>
                  </a:lnTo>
                  <a:lnTo>
                    <a:pt x="1414" y="806"/>
                  </a:lnTo>
                  <a:lnTo>
                    <a:pt x="1410" y="810"/>
                  </a:lnTo>
                  <a:lnTo>
                    <a:pt x="1406" y="810"/>
                  </a:lnTo>
                  <a:lnTo>
                    <a:pt x="1406" y="814"/>
                  </a:lnTo>
                  <a:lnTo>
                    <a:pt x="1402" y="814"/>
                  </a:lnTo>
                  <a:lnTo>
                    <a:pt x="1402" y="818"/>
                  </a:lnTo>
                  <a:lnTo>
                    <a:pt x="1398" y="820"/>
                  </a:lnTo>
                  <a:lnTo>
                    <a:pt x="1398" y="818"/>
                  </a:lnTo>
                  <a:lnTo>
                    <a:pt x="1398" y="820"/>
                  </a:lnTo>
                  <a:lnTo>
                    <a:pt x="1398" y="824"/>
                  </a:lnTo>
                  <a:lnTo>
                    <a:pt x="1394" y="824"/>
                  </a:lnTo>
                  <a:lnTo>
                    <a:pt x="1390" y="828"/>
                  </a:lnTo>
                  <a:lnTo>
                    <a:pt x="1390" y="832"/>
                  </a:lnTo>
                  <a:lnTo>
                    <a:pt x="1386" y="832"/>
                  </a:lnTo>
                  <a:lnTo>
                    <a:pt x="1384" y="836"/>
                  </a:lnTo>
                  <a:lnTo>
                    <a:pt x="1380" y="832"/>
                  </a:lnTo>
                  <a:lnTo>
                    <a:pt x="1380" y="836"/>
                  </a:lnTo>
                  <a:lnTo>
                    <a:pt x="1384" y="836"/>
                  </a:lnTo>
                  <a:lnTo>
                    <a:pt x="1380" y="840"/>
                  </a:lnTo>
                  <a:lnTo>
                    <a:pt x="1380" y="836"/>
                  </a:lnTo>
                  <a:lnTo>
                    <a:pt x="1376" y="836"/>
                  </a:lnTo>
                  <a:lnTo>
                    <a:pt x="1376" y="832"/>
                  </a:lnTo>
                  <a:lnTo>
                    <a:pt x="1376" y="836"/>
                  </a:lnTo>
                  <a:lnTo>
                    <a:pt x="1380" y="840"/>
                  </a:lnTo>
                  <a:lnTo>
                    <a:pt x="1376" y="840"/>
                  </a:lnTo>
                  <a:lnTo>
                    <a:pt x="1376" y="844"/>
                  </a:lnTo>
                  <a:lnTo>
                    <a:pt x="1376" y="848"/>
                  </a:lnTo>
                  <a:lnTo>
                    <a:pt x="1372" y="848"/>
                  </a:lnTo>
                  <a:lnTo>
                    <a:pt x="1372" y="850"/>
                  </a:lnTo>
                  <a:lnTo>
                    <a:pt x="1368" y="850"/>
                  </a:lnTo>
                  <a:lnTo>
                    <a:pt x="1372" y="854"/>
                  </a:lnTo>
                  <a:lnTo>
                    <a:pt x="1372" y="850"/>
                  </a:lnTo>
                  <a:lnTo>
                    <a:pt x="1372" y="854"/>
                  </a:lnTo>
                  <a:lnTo>
                    <a:pt x="1372" y="858"/>
                  </a:lnTo>
                  <a:lnTo>
                    <a:pt x="1368" y="858"/>
                  </a:lnTo>
                  <a:lnTo>
                    <a:pt x="1368" y="862"/>
                  </a:lnTo>
                  <a:lnTo>
                    <a:pt x="1368" y="858"/>
                  </a:lnTo>
                  <a:lnTo>
                    <a:pt x="1368" y="862"/>
                  </a:lnTo>
                  <a:lnTo>
                    <a:pt x="1368" y="866"/>
                  </a:lnTo>
                  <a:lnTo>
                    <a:pt x="1368" y="870"/>
                  </a:lnTo>
                  <a:lnTo>
                    <a:pt x="1368" y="874"/>
                  </a:lnTo>
                  <a:lnTo>
                    <a:pt x="1368" y="876"/>
                  </a:lnTo>
                  <a:lnTo>
                    <a:pt x="1368" y="880"/>
                  </a:lnTo>
                  <a:lnTo>
                    <a:pt x="1372" y="880"/>
                  </a:lnTo>
                  <a:lnTo>
                    <a:pt x="1372" y="884"/>
                  </a:lnTo>
                  <a:lnTo>
                    <a:pt x="1372" y="888"/>
                  </a:lnTo>
                  <a:lnTo>
                    <a:pt x="1376" y="896"/>
                  </a:lnTo>
                  <a:lnTo>
                    <a:pt x="1376" y="900"/>
                  </a:lnTo>
                  <a:lnTo>
                    <a:pt x="1380" y="904"/>
                  </a:lnTo>
                  <a:lnTo>
                    <a:pt x="1380" y="906"/>
                  </a:lnTo>
                  <a:lnTo>
                    <a:pt x="1380" y="910"/>
                  </a:lnTo>
                  <a:lnTo>
                    <a:pt x="1380" y="914"/>
                  </a:lnTo>
                  <a:lnTo>
                    <a:pt x="1384" y="918"/>
                  </a:lnTo>
                  <a:lnTo>
                    <a:pt x="1380" y="918"/>
                  </a:lnTo>
                  <a:lnTo>
                    <a:pt x="1380" y="914"/>
                  </a:lnTo>
                  <a:lnTo>
                    <a:pt x="1380" y="910"/>
                  </a:lnTo>
                  <a:lnTo>
                    <a:pt x="1380" y="906"/>
                  </a:lnTo>
                  <a:lnTo>
                    <a:pt x="1376" y="906"/>
                  </a:lnTo>
                  <a:lnTo>
                    <a:pt x="1376" y="904"/>
                  </a:lnTo>
                  <a:lnTo>
                    <a:pt x="1380" y="904"/>
                  </a:lnTo>
                  <a:lnTo>
                    <a:pt x="1376" y="904"/>
                  </a:lnTo>
                  <a:lnTo>
                    <a:pt x="1380" y="910"/>
                  </a:lnTo>
                  <a:lnTo>
                    <a:pt x="1380" y="914"/>
                  </a:lnTo>
                  <a:lnTo>
                    <a:pt x="1384" y="918"/>
                  </a:lnTo>
                  <a:lnTo>
                    <a:pt x="1384" y="922"/>
                  </a:lnTo>
                  <a:lnTo>
                    <a:pt x="1384" y="926"/>
                  </a:lnTo>
                  <a:lnTo>
                    <a:pt x="1386" y="932"/>
                  </a:lnTo>
                  <a:lnTo>
                    <a:pt x="1386" y="936"/>
                  </a:lnTo>
                  <a:lnTo>
                    <a:pt x="1386" y="940"/>
                  </a:lnTo>
                  <a:lnTo>
                    <a:pt x="1386" y="944"/>
                  </a:lnTo>
                  <a:lnTo>
                    <a:pt x="1386" y="948"/>
                  </a:lnTo>
                  <a:lnTo>
                    <a:pt x="1386" y="956"/>
                  </a:lnTo>
                  <a:lnTo>
                    <a:pt x="1386" y="960"/>
                  </a:lnTo>
                  <a:lnTo>
                    <a:pt x="1384" y="960"/>
                  </a:lnTo>
                  <a:lnTo>
                    <a:pt x="1384" y="962"/>
                  </a:lnTo>
                  <a:lnTo>
                    <a:pt x="1384" y="966"/>
                  </a:lnTo>
                  <a:lnTo>
                    <a:pt x="1380" y="966"/>
                  </a:lnTo>
                  <a:lnTo>
                    <a:pt x="1376" y="966"/>
                  </a:lnTo>
                  <a:lnTo>
                    <a:pt x="1372" y="970"/>
                  </a:lnTo>
                  <a:lnTo>
                    <a:pt x="1372" y="966"/>
                  </a:lnTo>
                  <a:lnTo>
                    <a:pt x="1376" y="966"/>
                  </a:lnTo>
                  <a:lnTo>
                    <a:pt x="1372" y="966"/>
                  </a:lnTo>
                  <a:lnTo>
                    <a:pt x="1372" y="962"/>
                  </a:lnTo>
                  <a:lnTo>
                    <a:pt x="1368" y="956"/>
                  </a:lnTo>
                  <a:lnTo>
                    <a:pt x="1364" y="956"/>
                  </a:lnTo>
                  <a:lnTo>
                    <a:pt x="1364" y="952"/>
                  </a:lnTo>
                  <a:lnTo>
                    <a:pt x="1360" y="948"/>
                  </a:lnTo>
                  <a:lnTo>
                    <a:pt x="1360" y="944"/>
                  </a:lnTo>
                  <a:lnTo>
                    <a:pt x="1364" y="940"/>
                  </a:lnTo>
                  <a:lnTo>
                    <a:pt x="1360" y="940"/>
                  </a:lnTo>
                  <a:lnTo>
                    <a:pt x="1360" y="944"/>
                  </a:lnTo>
                  <a:lnTo>
                    <a:pt x="1360" y="940"/>
                  </a:lnTo>
                  <a:lnTo>
                    <a:pt x="1360" y="936"/>
                  </a:lnTo>
                  <a:lnTo>
                    <a:pt x="1358" y="936"/>
                  </a:lnTo>
                  <a:lnTo>
                    <a:pt x="1358" y="940"/>
                  </a:lnTo>
                  <a:lnTo>
                    <a:pt x="1358" y="936"/>
                  </a:lnTo>
                  <a:lnTo>
                    <a:pt x="1354" y="936"/>
                  </a:lnTo>
                  <a:lnTo>
                    <a:pt x="1354" y="932"/>
                  </a:lnTo>
                  <a:lnTo>
                    <a:pt x="1354" y="930"/>
                  </a:lnTo>
                  <a:lnTo>
                    <a:pt x="1354" y="926"/>
                  </a:lnTo>
                  <a:lnTo>
                    <a:pt x="1350" y="926"/>
                  </a:lnTo>
                  <a:lnTo>
                    <a:pt x="1354" y="926"/>
                  </a:lnTo>
                  <a:lnTo>
                    <a:pt x="1350" y="926"/>
                  </a:lnTo>
                  <a:lnTo>
                    <a:pt x="1354" y="922"/>
                  </a:lnTo>
                  <a:lnTo>
                    <a:pt x="1354" y="918"/>
                  </a:lnTo>
                  <a:lnTo>
                    <a:pt x="1350" y="914"/>
                  </a:lnTo>
                  <a:lnTo>
                    <a:pt x="1350" y="918"/>
                  </a:lnTo>
                  <a:lnTo>
                    <a:pt x="1354" y="918"/>
                  </a:lnTo>
                  <a:lnTo>
                    <a:pt x="1350" y="922"/>
                  </a:lnTo>
                  <a:lnTo>
                    <a:pt x="1350" y="918"/>
                  </a:lnTo>
                  <a:lnTo>
                    <a:pt x="1350" y="914"/>
                  </a:lnTo>
                  <a:lnTo>
                    <a:pt x="1350" y="910"/>
                  </a:lnTo>
                  <a:lnTo>
                    <a:pt x="1350" y="906"/>
                  </a:lnTo>
                  <a:lnTo>
                    <a:pt x="1350" y="904"/>
                  </a:lnTo>
                  <a:lnTo>
                    <a:pt x="1350" y="900"/>
                  </a:lnTo>
                  <a:lnTo>
                    <a:pt x="1350" y="896"/>
                  </a:lnTo>
                  <a:lnTo>
                    <a:pt x="1346" y="896"/>
                  </a:lnTo>
                  <a:lnTo>
                    <a:pt x="1346" y="892"/>
                  </a:lnTo>
                  <a:lnTo>
                    <a:pt x="1342" y="892"/>
                  </a:lnTo>
                  <a:lnTo>
                    <a:pt x="1342" y="888"/>
                  </a:lnTo>
                  <a:lnTo>
                    <a:pt x="1338" y="888"/>
                  </a:lnTo>
                  <a:lnTo>
                    <a:pt x="1338" y="884"/>
                  </a:lnTo>
                  <a:lnTo>
                    <a:pt x="1338" y="880"/>
                  </a:lnTo>
                  <a:lnTo>
                    <a:pt x="1334" y="880"/>
                  </a:lnTo>
                  <a:lnTo>
                    <a:pt x="1330" y="880"/>
                  </a:lnTo>
                  <a:lnTo>
                    <a:pt x="1330" y="876"/>
                  </a:lnTo>
                  <a:lnTo>
                    <a:pt x="1328" y="876"/>
                  </a:lnTo>
                  <a:lnTo>
                    <a:pt x="1324" y="880"/>
                  </a:lnTo>
                  <a:lnTo>
                    <a:pt x="1328" y="880"/>
                  </a:lnTo>
                  <a:lnTo>
                    <a:pt x="1324" y="880"/>
                  </a:lnTo>
                  <a:lnTo>
                    <a:pt x="1324" y="884"/>
                  </a:lnTo>
                  <a:lnTo>
                    <a:pt x="1320" y="884"/>
                  </a:lnTo>
                  <a:lnTo>
                    <a:pt x="1316" y="884"/>
                  </a:lnTo>
                  <a:lnTo>
                    <a:pt x="1312" y="884"/>
                  </a:lnTo>
                  <a:lnTo>
                    <a:pt x="1312" y="880"/>
                  </a:lnTo>
                  <a:lnTo>
                    <a:pt x="1308" y="880"/>
                  </a:lnTo>
                  <a:lnTo>
                    <a:pt x="1308" y="876"/>
                  </a:lnTo>
                  <a:lnTo>
                    <a:pt x="1308" y="880"/>
                  </a:lnTo>
                  <a:lnTo>
                    <a:pt x="1312" y="880"/>
                  </a:lnTo>
                  <a:lnTo>
                    <a:pt x="1308" y="876"/>
                  </a:lnTo>
                  <a:lnTo>
                    <a:pt x="1308" y="874"/>
                  </a:lnTo>
                  <a:lnTo>
                    <a:pt x="1304" y="874"/>
                  </a:lnTo>
                  <a:lnTo>
                    <a:pt x="1304" y="876"/>
                  </a:lnTo>
                  <a:lnTo>
                    <a:pt x="1308" y="876"/>
                  </a:lnTo>
                  <a:lnTo>
                    <a:pt x="1304" y="876"/>
                  </a:lnTo>
                  <a:lnTo>
                    <a:pt x="1304" y="874"/>
                  </a:lnTo>
                  <a:lnTo>
                    <a:pt x="1300" y="874"/>
                  </a:lnTo>
                  <a:lnTo>
                    <a:pt x="1298" y="874"/>
                  </a:lnTo>
                  <a:lnTo>
                    <a:pt x="1300" y="874"/>
                  </a:lnTo>
                  <a:lnTo>
                    <a:pt x="1300" y="870"/>
                  </a:lnTo>
                  <a:lnTo>
                    <a:pt x="1298" y="870"/>
                  </a:lnTo>
                  <a:lnTo>
                    <a:pt x="1298" y="874"/>
                  </a:lnTo>
                  <a:lnTo>
                    <a:pt x="1294" y="874"/>
                  </a:lnTo>
                  <a:lnTo>
                    <a:pt x="1290" y="874"/>
                  </a:lnTo>
                  <a:lnTo>
                    <a:pt x="1286" y="874"/>
                  </a:lnTo>
                  <a:lnTo>
                    <a:pt x="1290" y="874"/>
                  </a:lnTo>
                  <a:lnTo>
                    <a:pt x="1290" y="870"/>
                  </a:lnTo>
                  <a:lnTo>
                    <a:pt x="1286" y="870"/>
                  </a:lnTo>
                  <a:lnTo>
                    <a:pt x="1286" y="874"/>
                  </a:lnTo>
                  <a:lnTo>
                    <a:pt x="1282" y="874"/>
                  </a:lnTo>
                  <a:lnTo>
                    <a:pt x="1286" y="874"/>
                  </a:lnTo>
                  <a:lnTo>
                    <a:pt x="1282" y="870"/>
                  </a:lnTo>
                  <a:lnTo>
                    <a:pt x="1282" y="874"/>
                  </a:lnTo>
                  <a:lnTo>
                    <a:pt x="1278" y="876"/>
                  </a:lnTo>
                  <a:lnTo>
                    <a:pt x="1274" y="876"/>
                  </a:lnTo>
                  <a:lnTo>
                    <a:pt x="1278" y="876"/>
                  </a:lnTo>
                  <a:lnTo>
                    <a:pt x="1278" y="874"/>
                  </a:lnTo>
                  <a:lnTo>
                    <a:pt x="1274" y="874"/>
                  </a:lnTo>
                  <a:lnTo>
                    <a:pt x="1274" y="870"/>
                  </a:lnTo>
                  <a:lnTo>
                    <a:pt x="1274" y="866"/>
                  </a:lnTo>
                  <a:lnTo>
                    <a:pt x="1274" y="870"/>
                  </a:lnTo>
                  <a:lnTo>
                    <a:pt x="1274" y="874"/>
                  </a:lnTo>
                  <a:lnTo>
                    <a:pt x="1272" y="874"/>
                  </a:lnTo>
                  <a:lnTo>
                    <a:pt x="1268" y="874"/>
                  </a:lnTo>
                  <a:lnTo>
                    <a:pt x="1264" y="874"/>
                  </a:lnTo>
                  <a:lnTo>
                    <a:pt x="1260" y="874"/>
                  </a:lnTo>
                  <a:lnTo>
                    <a:pt x="1258" y="874"/>
                  </a:lnTo>
                  <a:lnTo>
                    <a:pt x="1258" y="876"/>
                  </a:lnTo>
                  <a:lnTo>
                    <a:pt x="1254" y="876"/>
                  </a:lnTo>
                  <a:lnTo>
                    <a:pt x="1250" y="876"/>
                  </a:lnTo>
                  <a:lnTo>
                    <a:pt x="1250" y="874"/>
                  </a:lnTo>
                  <a:lnTo>
                    <a:pt x="1246" y="874"/>
                  </a:lnTo>
                  <a:lnTo>
                    <a:pt x="1242" y="876"/>
                  </a:lnTo>
                  <a:lnTo>
                    <a:pt x="1242" y="880"/>
                  </a:lnTo>
                  <a:lnTo>
                    <a:pt x="1246" y="880"/>
                  </a:lnTo>
                  <a:lnTo>
                    <a:pt x="1250" y="876"/>
                  </a:lnTo>
                  <a:lnTo>
                    <a:pt x="1254" y="876"/>
                  </a:lnTo>
                  <a:lnTo>
                    <a:pt x="1254" y="880"/>
                  </a:lnTo>
                  <a:lnTo>
                    <a:pt x="1250" y="880"/>
                  </a:lnTo>
                  <a:lnTo>
                    <a:pt x="1254" y="880"/>
                  </a:lnTo>
                  <a:lnTo>
                    <a:pt x="1254" y="876"/>
                  </a:lnTo>
                  <a:lnTo>
                    <a:pt x="1258" y="880"/>
                  </a:lnTo>
                  <a:lnTo>
                    <a:pt x="1258" y="884"/>
                  </a:lnTo>
                  <a:lnTo>
                    <a:pt x="1254" y="884"/>
                  </a:lnTo>
                  <a:lnTo>
                    <a:pt x="1250" y="888"/>
                  </a:lnTo>
                  <a:lnTo>
                    <a:pt x="1254" y="888"/>
                  </a:lnTo>
                  <a:lnTo>
                    <a:pt x="1254" y="892"/>
                  </a:lnTo>
                  <a:lnTo>
                    <a:pt x="1258" y="892"/>
                  </a:lnTo>
                  <a:lnTo>
                    <a:pt x="1260" y="892"/>
                  </a:lnTo>
                  <a:lnTo>
                    <a:pt x="1260" y="896"/>
                  </a:lnTo>
                  <a:lnTo>
                    <a:pt x="1260" y="900"/>
                  </a:lnTo>
                  <a:lnTo>
                    <a:pt x="1258" y="896"/>
                  </a:lnTo>
                  <a:lnTo>
                    <a:pt x="1258" y="900"/>
                  </a:lnTo>
                  <a:lnTo>
                    <a:pt x="1258" y="896"/>
                  </a:lnTo>
                  <a:lnTo>
                    <a:pt x="1254" y="896"/>
                  </a:lnTo>
                  <a:lnTo>
                    <a:pt x="1254" y="892"/>
                  </a:lnTo>
                  <a:lnTo>
                    <a:pt x="1250" y="892"/>
                  </a:lnTo>
                  <a:lnTo>
                    <a:pt x="1250" y="888"/>
                  </a:lnTo>
                  <a:lnTo>
                    <a:pt x="1246" y="888"/>
                  </a:lnTo>
                  <a:lnTo>
                    <a:pt x="1246" y="892"/>
                  </a:lnTo>
                  <a:lnTo>
                    <a:pt x="1246" y="896"/>
                  </a:lnTo>
                  <a:lnTo>
                    <a:pt x="1242" y="896"/>
                  </a:lnTo>
                  <a:lnTo>
                    <a:pt x="1242" y="892"/>
                  </a:lnTo>
                  <a:lnTo>
                    <a:pt x="1238" y="892"/>
                  </a:lnTo>
                  <a:lnTo>
                    <a:pt x="1238" y="896"/>
                  </a:lnTo>
                  <a:lnTo>
                    <a:pt x="1234" y="896"/>
                  </a:lnTo>
                  <a:lnTo>
                    <a:pt x="1230" y="896"/>
                  </a:lnTo>
                  <a:lnTo>
                    <a:pt x="1230" y="892"/>
                  </a:lnTo>
                  <a:lnTo>
                    <a:pt x="1228" y="892"/>
                  </a:lnTo>
                  <a:lnTo>
                    <a:pt x="1230" y="892"/>
                  </a:lnTo>
                  <a:lnTo>
                    <a:pt x="1230" y="896"/>
                  </a:lnTo>
                  <a:lnTo>
                    <a:pt x="1230" y="892"/>
                  </a:lnTo>
                  <a:lnTo>
                    <a:pt x="1230" y="888"/>
                  </a:lnTo>
                  <a:lnTo>
                    <a:pt x="1228" y="888"/>
                  </a:lnTo>
                  <a:lnTo>
                    <a:pt x="1224" y="884"/>
                  </a:lnTo>
                  <a:lnTo>
                    <a:pt x="1220" y="884"/>
                  </a:lnTo>
                  <a:lnTo>
                    <a:pt x="1216" y="884"/>
                  </a:lnTo>
                  <a:lnTo>
                    <a:pt x="1216" y="888"/>
                  </a:lnTo>
                  <a:lnTo>
                    <a:pt x="1212" y="888"/>
                  </a:lnTo>
                  <a:lnTo>
                    <a:pt x="1208" y="888"/>
                  </a:lnTo>
                  <a:lnTo>
                    <a:pt x="1204" y="884"/>
                  </a:lnTo>
                  <a:lnTo>
                    <a:pt x="1202" y="884"/>
                  </a:lnTo>
                  <a:lnTo>
                    <a:pt x="1198" y="884"/>
                  </a:lnTo>
                  <a:lnTo>
                    <a:pt x="1194" y="884"/>
                  </a:lnTo>
                  <a:lnTo>
                    <a:pt x="1194" y="880"/>
                  </a:lnTo>
                  <a:lnTo>
                    <a:pt x="1190" y="884"/>
                  </a:lnTo>
                  <a:lnTo>
                    <a:pt x="1194" y="884"/>
                  </a:lnTo>
                  <a:lnTo>
                    <a:pt x="1190" y="884"/>
                  </a:lnTo>
                  <a:lnTo>
                    <a:pt x="1190" y="888"/>
                  </a:lnTo>
                  <a:lnTo>
                    <a:pt x="1186" y="888"/>
                  </a:lnTo>
                  <a:lnTo>
                    <a:pt x="1182" y="888"/>
                  </a:lnTo>
                  <a:lnTo>
                    <a:pt x="1182" y="892"/>
                  </a:lnTo>
                  <a:lnTo>
                    <a:pt x="1178" y="892"/>
                  </a:lnTo>
                  <a:lnTo>
                    <a:pt x="1182" y="888"/>
                  </a:lnTo>
                  <a:lnTo>
                    <a:pt x="1178" y="888"/>
                  </a:lnTo>
                  <a:lnTo>
                    <a:pt x="1182" y="888"/>
                  </a:lnTo>
                  <a:lnTo>
                    <a:pt x="1182" y="884"/>
                  </a:lnTo>
                  <a:lnTo>
                    <a:pt x="1178" y="884"/>
                  </a:lnTo>
                  <a:lnTo>
                    <a:pt x="1174" y="884"/>
                  </a:lnTo>
                  <a:lnTo>
                    <a:pt x="1174" y="888"/>
                  </a:lnTo>
                  <a:lnTo>
                    <a:pt x="1178" y="892"/>
                  </a:lnTo>
                  <a:lnTo>
                    <a:pt x="1174" y="896"/>
                  </a:lnTo>
                  <a:lnTo>
                    <a:pt x="1172" y="900"/>
                  </a:lnTo>
                  <a:lnTo>
                    <a:pt x="1168" y="904"/>
                  </a:lnTo>
                  <a:lnTo>
                    <a:pt x="1164" y="904"/>
                  </a:lnTo>
                  <a:lnTo>
                    <a:pt x="1164" y="906"/>
                  </a:lnTo>
                  <a:lnTo>
                    <a:pt x="1164" y="904"/>
                  </a:lnTo>
                  <a:lnTo>
                    <a:pt x="1168" y="904"/>
                  </a:lnTo>
                  <a:lnTo>
                    <a:pt x="1164" y="904"/>
                  </a:lnTo>
                  <a:lnTo>
                    <a:pt x="1164" y="906"/>
                  </a:lnTo>
                  <a:lnTo>
                    <a:pt x="1160" y="906"/>
                  </a:lnTo>
                  <a:lnTo>
                    <a:pt x="1164" y="906"/>
                  </a:lnTo>
                  <a:lnTo>
                    <a:pt x="1164" y="904"/>
                  </a:lnTo>
                  <a:lnTo>
                    <a:pt x="1160" y="906"/>
                  </a:lnTo>
                  <a:lnTo>
                    <a:pt x="1160" y="904"/>
                  </a:lnTo>
                  <a:lnTo>
                    <a:pt x="1156" y="904"/>
                  </a:lnTo>
                  <a:lnTo>
                    <a:pt x="1156" y="906"/>
                  </a:lnTo>
                  <a:lnTo>
                    <a:pt x="1156" y="904"/>
                  </a:lnTo>
                  <a:lnTo>
                    <a:pt x="1152" y="904"/>
                  </a:lnTo>
                  <a:lnTo>
                    <a:pt x="1152" y="906"/>
                  </a:lnTo>
                  <a:lnTo>
                    <a:pt x="1156" y="906"/>
                  </a:lnTo>
                  <a:lnTo>
                    <a:pt x="1152" y="910"/>
                  </a:lnTo>
                  <a:lnTo>
                    <a:pt x="1152" y="906"/>
                  </a:lnTo>
                  <a:lnTo>
                    <a:pt x="1148" y="910"/>
                  </a:lnTo>
                  <a:lnTo>
                    <a:pt x="1152" y="910"/>
                  </a:lnTo>
                  <a:lnTo>
                    <a:pt x="1148" y="914"/>
                  </a:lnTo>
                  <a:lnTo>
                    <a:pt x="1144" y="914"/>
                  </a:lnTo>
                  <a:lnTo>
                    <a:pt x="1148" y="914"/>
                  </a:lnTo>
                  <a:lnTo>
                    <a:pt x="1144" y="918"/>
                  </a:lnTo>
                  <a:lnTo>
                    <a:pt x="1142" y="918"/>
                  </a:lnTo>
                  <a:lnTo>
                    <a:pt x="1142" y="922"/>
                  </a:lnTo>
                  <a:lnTo>
                    <a:pt x="1144" y="922"/>
                  </a:lnTo>
                  <a:lnTo>
                    <a:pt x="1142" y="930"/>
                  </a:lnTo>
                  <a:lnTo>
                    <a:pt x="1138" y="930"/>
                  </a:lnTo>
                  <a:lnTo>
                    <a:pt x="1138" y="926"/>
                  </a:lnTo>
                  <a:lnTo>
                    <a:pt x="1138" y="930"/>
                  </a:lnTo>
                  <a:lnTo>
                    <a:pt x="1142" y="930"/>
                  </a:lnTo>
                  <a:lnTo>
                    <a:pt x="1142" y="932"/>
                  </a:lnTo>
                  <a:lnTo>
                    <a:pt x="1142" y="936"/>
                  </a:lnTo>
                  <a:lnTo>
                    <a:pt x="1142" y="940"/>
                  </a:lnTo>
                  <a:lnTo>
                    <a:pt x="1142" y="944"/>
                  </a:lnTo>
                  <a:lnTo>
                    <a:pt x="1142" y="948"/>
                  </a:lnTo>
                  <a:lnTo>
                    <a:pt x="1144" y="948"/>
                  </a:lnTo>
                  <a:lnTo>
                    <a:pt x="1144" y="952"/>
                  </a:lnTo>
                  <a:lnTo>
                    <a:pt x="1144" y="956"/>
                  </a:lnTo>
                  <a:lnTo>
                    <a:pt x="1142" y="956"/>
                  </a:lnTo>
                  <a:lnTo>
                    <a:pt x="1142" y="952"/>
                  </a:lnTo>
                  <a:lnTo>
                    <a:pt x="1138" y="952"/>
                  </a:lnTo>
                  <a:lnTo>
                    <a:pt x="1134" y="952"/>
                  </a:lnTo>
                  <a:lnTo>
                    <a:pt x="1130" y="952"/>
                  </a:lnTo>
                  <a:lnTo>
                    <a:pt x="1130" y="948"/>
                  </a:lnTo>
                  <a:lnTo>
                    <a:pt x="1126" y="948"/>
                  </a:lnTo>
                  <a:lnTo>
                    <a:pt x="1122" y="948"/>
                  </a:lnTo>
                  <a:lnTo>
                    <a:pt x="1122" y="944"/>
                  </a:lnTo>
                  <a:lnTo>
                    <a:pt x="1118" y="944"/>
                  </a:lnTo>
                  <a:lnTo>
                    <a:pt x="1118" y="940"/>
                  </a:lnTo>
                  <a:lnTo>
                    <a:pt x="1116" y="936"/>
                  </a:lnTo>
                  <a:lnTo>
                    <a:pt x="1116" y="932"/>
                  </a:lnTo>
                  <a:lnTo>
                    <a:pt x="1116" y="930"/>
                  </a:lnTo>
                  <a:lnTo>
                    <a:pt x="1116" y="926"/>
                  </a:lnTo>
                  <a:lnTo>
                    <a:pt x="1112" y="926"/>
                  </a:lnTo>
                  <a:lnTo>
                    <a:pt x="1112" y="922"/>
                  </a:lnTo>
                  <a:lnTo>
                    <a:pt x="1108" y="922"/>
                  </a:lnTo>
                  <a:lnTo>
                    <a:pt x="1108" y="918"/>
                  </a:lnTo>
                  <a:lnTo>
                    <a:pt x="1104" y="914"/>
                  </a:lnTo>
                  <a:lnTo>
                    <a:pt x="1104" y="910"/>
                  </a:lnTo>
                  <a:lnTo>
                    <a:pt x="1100" y="910"/>
                  </a:lnTo>
                  <a:lnTo>
                    <a:pt x="1100" y="906"/>
                  </a:lnTo>
                  <a:lnTo>
                    <a:pt x="1100" y="904"/>
                  </a:lnTo>
                  <a:lnTo>
                    <a:pt x="1096" y="900"/>
                  </a:lnTo>
                  <a:lnTo>
                    <a:pt x="1096" y="896"/>
                  </a:lnTo>
                  <a:lnTo>
                    <a:pt x="1092" y="892"/>
                  </a:lnTo>
                  <a:lnTo>
                    <a:pt x="1092" y="888"/>
                  </a:lnTo>
                  <a:lnTo>
                    <a:pt x="1088" y="888"/>
                  </a:lnTo>
                  <a:lnTo>
                    <a:pt x="1086" y="888"/>
                  </a:lnTo>
                  <a:lnTo>
                    <a:pt x="1086" y="884"/>
                  </a:lnTo>
                  <a:lnTo>
                    <a:pt x="1082" y="884"/>
                  </a:lnTo>
                  <a:lnTo>
                    <a:pt x="1078" y="884"/>
                  </a:lnTo>
                  <a:lnTo>
                    <a:pt x="1074" y="884"/>
                  </a:lnTo>
                  <a:lnTo>
                    <a:pt x="1074" y="880"/>
                  </a:lnTo>
                  <a:lnTo>
                    <a:pt x="1074" y="884"/>
                  </a:lnTo>
                  <a:lnTo>
                    <a:pt x="1070" y="884"/>
                  </a:lnTo>
                  <a:lnTo>
                    <a:pt x="1066" y="884"/>
                  </a:lnTo>
                  <a:lnTo>
                    <a:pt x="1066" y="888"/>
                  </a:lnTo>
                  <a:lnTo>
                    <a:pt x="1066" y="892"/>
                  </a:lnTo>
                  <a:lnTo>
                    <a:pt x="1066" y="896"/>
                  </a:lnTo>
                  <a:lnTo>
                    <a:pt x="1062" y="896"/>
                  </a:lnTo>
                  <a:lnTo>
                    <a:pt x="1062" y="900"/>
                  </a:lnTo>
                  <a:lnTo>
                    <a:pt x="1060" y="900"/>
                  </a:lnTo>
                  <a:lnTo>
                    <a:pt x="1056" y="896"/>
                  </a:lnTo>
                  <a:lnTo>
                    <a:pt x="1052" y="896"/>
                  </a:lnTo>
                  <a:lnTo>
                    <a:pt x="1052" y="892"/>
                  </a:lnTo>
                  <a:lnTo>
                    <a:pt x="1048" y="892"/>
                  </a:lnTo>
                  <a:lnTo>
                    <a:pt x="1048" y="888"/>
                  </a:lnTo>
                  <a:lnTo>
                    <a:pt x="1044" y="888"/>
                  </a:lnTo>
                  <a:lnTo>
                    <a:pt x="1040" y="884"/>
                  </a:lnTo>
                  <a:lnTo>
                    <a:pt x="1040" y="880"/>
                  </a:lnTo>
                  <a:lnTo>
                    <a:pt x="1040" y="876"/>
                  </a:lnTo>
                  <a:lnTo>
                    <a:pt x="1036" y="874"/>
                  </a:lnTo>
                  <a:lnTo>
                    <a:pt x="1036" y="870"/>
                  </a:lnTo>
                  <a:lnTo>
                    <a:pt x="1032" y="866"/>
                  </a:lnTo>
                  <a:lnTo>
                    <a:pt x="1030" y="866"/>
                  </a:lnTo>
                  <a:lnTo>
                    <a:pt x="1030" y="862"/>
                  </a:lnTo>
                  <a:lnTo>
                    <a:pt x="1026" y="862"/>
                  </a:lnTo>
                  <a:lnTo>
                    <a:pt x="1026" y="858"/>
                  </a:lnTo>
                  <a:lnTo>
                    <a:pt x="1022" y="858"/>
                  </a:lnTo>
                  <a:lnTo>
                    <a:pt x="1022" y="854"/>
                  </a:lnTo>
                  <a:lnTo>
                    <a:pt x="1018" y="854"/>
                  </a:lnTo>
                  <a:lnTo>
                    <a:pt x="1018" y="850"/>
                  </a:lnTo>
                  <a:lnTo>
                    <a:pt x="1014" y="850"/>
                  </a:lnTo>
                  <a:lnTo>
                    <a:pt x="1014" y="848"/>
                  </a:lnTo>
                  <a:lnTo>
                    <a:pt x="1010" y="848"/>
                  </a:lnTo>
                  <a:lnTo>
                    <a:pt x="1006" y="848"/>
                  </a:lnTo>
                  <a:lnTo>
                    <a:pt x="1002" y="848"/>
                  </a:lnTo>
                  <a:lnTo>
                    <a:pt x="1000" y="848"/>
                  </a:lnTo>
                  <a:lnTo>
                    <a:pt x="996" y="848"/>
                  </a:lnTo>
                  <a:lnTo>
                    <a:pt x="988" y="848"/>
                  </a:lnTo>
                  <a:lnTo>
                    <a:pt x="988" y="850"/>
                  </a:lnTo>
                  <a:lnTo>
                    <a:pt x="988" y="854"/>
                  </a:lnTo>
                  <a:lnTo>
                    <a:pt x="980" y="854"/>
                  </a:lnTo>
                  <a:lnTo>
                    <a:pt x="976" y="854"/>
                  </a:lnTo>
                  <a:lnTo>
                    <a:pt x="970" y="854"/>
                  </a:lnTo>
                  <a:lnTo>
                    <a:pt x="966" y="854"/>
                  </a:lnTo>
                  <a:lnTo>
                    <a:pt x="962" y="854"/>
                  </a:lnTo>
                  <a:lnTo>
                    <a:pt x="958" y="854"/>
                  </a:lnTo>
                  <a:lnTo>
                    <a:pt x="950" y="854"/>
                  </a:lnTo>
                  <a:lnTo>
                    <a:pt x="944" y="854"/>
                  </a:lnTo>
                  <a:lnTo>
                    <a:pt x="936" y="850"/>
                  </a:lnTo>
                  <a:lnTo>
                    <a:pt x="932" y="848"/>
                  </a:lnTo>
                  <a:lnTo>
                    <a:pt x="930" y="848"/>
                  </a:lnTo>
                  <a:lnTo>
                    <a:pt x="926" y="844"/>
                  </a:lnTo>
                  <a:lnTo>
                    <a:pt x="922" y="844"/>
                  </a:lnTo>
                  <a:lnTo>
                    <a:pt x="918" y="844"/>
                  </a:lnTo>
                  <a:lnTo>
                    <a:pt x="914" y="840"/>
                  </a:lnTo>
                  <a:lnTo>
                    <a:pt x="910" y="840"/>
                  </a:lnTo>
                  <a:lnTo>
                    <a:pt x="906" y="840"/>
                  </a:lnTo>
                  <a:lnTo>
                    <a:pt x="904" y="836"/>
                  </a:lnTo>
                  <a:lnTo>
                    <a:pt x="900" y="836"/>
                  </a:lnTo>
                  <a:lnTo>
                    <a:pt x="896" y="832"/>
                  </a:lnTo>
                  <a:lnTo>
                    <a:pt x="900" y="832"/>
                  </a:lnTo>
                  <a:lnTo>
                    <a:pt x="900" y="828"/>
                  </a:lnTo>
                  <a:lnTo>
                    <a:pt x="896" y="828"/>
                  </a:lnTo>
                  <a:lnTo>
                    <a:pt x="892" y="832"/>
                  </a:lnTo>
                  <a:lnTo>
                    <a:pt x="888" y="832"/>
                  </a:lnTo>
                  <a:lnTo>
                    <a:pt x="884" y="832"/>
                  </a:lnTo>
                  <a:lnTo>
                    <a:pt x="880" y="832"/>
                  </a:lnTo>
                  <a:lnTo>
                    <a:pt x="876" y="832"/>
                  </a:lnTo>
                  <a:lnTo>
                    <a:pt x="874" y="832"/>
                  </a:lnTo>
                  <a:lnTo>
                    <a:pt x="870" y="832"/>
                  </a:lnTo>
                  <a:lnTo>
                    <a:pt x="866" y="832"/>
                  </a:lnTo>
                  <a:lnTo>
                    <a:pt x="862" y="832"/>
                  </a:lnTo>
                  <a:lnTo>
                    <a:pt x="866" y="832"/>
                  </a:lnTo>
                  <a:lnTo>
                    <a:pt x="862" y="832"/>
                  </a:lnTo>
                  <a:lnTo>
                    <a:pt x="862" y="828"/>
                  </a:lnTo>
                  <a:lnTo>
                    <a:pt x="862" y="832"/>
                  </a:lnTo>
                  <a:lnTo>
                    <a:pt x="862" y="828"/>
                  </a:lnTo>
                  <a:lnTo>
                    <a:pt x="862" y="824"/>
                  </a:lnTo>
                  <a:lnTo>
                    <a:pt x="862" y="820"/>
                  </a:lnTo>
                  <a:lnTo>
                    <a:pt x="858" y="820"/>
                  </a:lnTo>
                  <a:lnTo>
                    <a:pt x="858" y="818"/>
                  </a:lnTo>
                  <a:lnTo>
                    <a:pt x="854" y="818"/>
                  </a:lnTo>
                  <a:lnTo>
                    <a:pt x="854" y="814"/>
                  </a:lnTo>
                  <a:lnTo>
                    <a:pt x="850" y="814"/>
                  </a:lnTo>
                  <a:lnTo>
                    <a:pt x="850" y="810"/>
                  </a:lnTo>
                  <a:lnTo>
                    <a:pt x="846" y="810"/>
                  </a:lnTo>
                  <a:lnTo>
                    <a:pt x="846" y="806"/>
                  </a:lnTo>
                  <a:lnTo>
                    <a:pt x="844" y="806"/>
                  </a:lnTo>
                  <a:lnTo>
                    <a:pt x="840" y="806"/>
                  </a:lnTo>
                  <a:lnTo>
                    <a:pt x="836" y="806"/>
                  </a:lnTo>
                  <a:lnTo>
                    <a:pt x="836" y="802"/>
                  </a:lnTo>
                  <a:lnTo>
                    <a:pt x="832" y="802"/>
                  </a:lnTo>
                  <a:lnTo>
                    <a:pt x="832" y="798"/>
                  </a:lnTo>
                  <a:lnTo>
                    <a:pt x="828" y="798"/>
                  </a:lnTo>
                  <a:lnTo>
                    <a:pt x="824" y="798"/>
                  </a:lnTo>
                  <a:lnTo>
                    <a:pt x="820" y="798"/>
                  </a:lnTo>
                  <a:lnTo>
                    <a:pt x="818" y="798"/>
                  </a:lnTo>
                  <a:lnTo>
                    <a:pt x="818" y="794"/>
                  </a:lnTo>
                  <a:lnTo>
                    <a:pt x="814" y="794"/>
                  </a:lnTo>
                  <a:lnTo>
                    <a:pt x="814" y="790"/>
                  </a:lnTo>
                  <a:lnTo>
                    <a:pt x="814" y="788"/>
                  </a:lnTo>
                  <a:lnTo>
                    <a:pt x="814" y="784"/>
                  </a:lnTo>
                  <a:lnTo>
                    <a:pt x="810" y="784"/>
                  </a:lnTo>
                  <a:lnTo>
                    <a:pt x="810" y="780"/>
                  </a:lnTo>
                  <a:lnTo>
                    <a:pt x="810" y="776"/>
                  </a:lnTo>
                  <a:lnTo>
                    <a:pt x="806" y="776"/>
                  </a:lnTo>
                  <a:lnTo>
                    <a:pt x="806" y="772"/>
                  </a:lnTo>
                  <a:lnTo>
                    <a:pt x="802" y="772"/>
                  </a:lnTo>
                  <a:lnTo>
                    <a:pt x="802" y="768"/>
                  </a:lnTo>
                  <a:lnTo>
                    <a:pt x="798" y="764"/>
                  </a:lnTo>
                  <a:lnTo>
                    <a:pt x="798" y="762"/>
                  </a:lnTo>
                  <a:lnTo>
                    <a:pt x="794" y="762"/>
                  </a:lnTo>
                  <a:lnTo>
                    <a:pt x="794" y="758"/>
                  </a:lnTo>
                  <a:lnTo>
                    <a:pt x="798" y="758"/>
                  </a:lnTo>
                  <a:lnTo>
                    <a:pt x="798" y="754"/>
                  </a:lnTo>
                  <a:lnTo>
                    <a:pt x="798" y="750"/>
                  </a:lnTo>
                  <a:lnTo>
                    <a:pt x="794" y="750"/>
                  </a:lnTo>
                  <a:lnTo>
                    <a:pt x="790" y="750"/>
                  </a:lnTo>
                  <a:lnTo>
                    <a:pt x="790" y="746"/>
                  </a:lnTo>
                  <a:lnTo>
                    <a:pt x="790" y="742"/>
                  </a:lnTo>
                  <a:lnTo>
                    <a:pt x="788" y="738"/>
                  </a:lnTo>
                  <a:lnTo>
                    <a:pt x="788" y="734"/>
                  </a:lnTo>
                  <a:lnTo>
                    <a:pt x="790" y="734"/>
                  </a:lnTo>
                  <a:lnTo>
                    <a:pt x="790" y="738"/>
                  </a:lnTo>
                  <a:lnTo>
                    <a:pt x="794" y="742"/>
                  </a:lnTo>
                  <a:lnTo>
                    <a:pt x="794" y="738"/>
                  </a:lnTo>
                  <a:lnTo>
                    <a:pt x="794" y="734"/>
                  </a:lnTo>
                  <a:lnTo>
                    <a:pt x="790" y="734"/>
                  </a:lnTo>
                  <a:lnTo>
                    <a:pt x="790" y="732"/>
                  </a:lnTo>
                  <a:lnTo>
                    <a:pt x="790" y="728"/>
                  </a:lnTo>
                  <a:lnTo>
                    <a:pt x="790" y="732"/>
                  </a:lnTo>
                  <a:lnTo>
                    <a:pt x="794" y="732"/>
                  </a:lnTo>
                  <a:lnTo>
                    <a:pt x="794" y="728"/>
                  </a:lnTo>
                  <a:lnTo>
                    <a:pt x="798" y="732"/>
                  </a:lnTo>
                  <a:lnTo>
                    <a:pt x="798" y="728"/>
                  </a:lnTo>
                  <a:lnTo>
                    <a:pt x="802" y="728"/>
                  </a:lnTo>
                  <a:lnTo>
                    <a:pt x="802" y="732"/>
                  </a:lnTo>
                  <a:lnTo>
                    <a:pt x="802" y="728"/>
                  </a:lnTo>
                  <a:lnTo>
                    <a:pt x="798" y="728"/>
                  </a:lnTo>
                  <a:lnTo>
                    <a:pt x="798" y="732"/>
                  </a:lnTo>
                  <a:lnTo>
                    <a:pt x="798" y="728"/>
                  </a:lnTo>
                  <a:lnTo>
                    <a:pt x="794" y="728"/>
                  </a:lnTo>
                  <a:lnTo>
                    <a:pt x="790" y="728"/>
                  </a:lnTo>
                  <a:lnTo>
                    <a:pt x="788" y="728"/>
                  </a:lnTo>
                  <a:lnTo>
                    <a:pt x="788" y="732"/>
                  </a:lnTo>
                  <a:lnTo>
                    <a:pt x="788" y="734"/>
                  </a:lnTo>
                  <a:lnTo>
                    <a:pt x="788" y="732"/>
                  </a:lnTo>
                  <a:lnTo>
                    <a:pt x="784" y="732"/>
                  </a:lnTo>
                  <a:lnTo>
                    <a:pt x="784" y="728"/>
                  </a:lnTo>
                  <a:lnTo>
                    <a:pt x="780" y="728"/>
                  </a:lnTo>
                  <a:lnTo>
                    <a:pt x="784" y="728"/>
                  </a:lnTo>
                  <a:lnTo>
                    <a:pt x="780" y="724"/>
                  </a:lnTo>
                  <a:lnTo>
                    <a:pt x="780" y="720"/>
                  </a:lnTo>
                  <a:lnTo>
                    <a:pt x="776" y="720"/>
                  </a:lnTo>
                  <a:lnTo>
                    <a:pt x="776" y="716"/>
                  </a:lnTo>
                  <a:lnTo>
                    <a:pt x="772" y="716"/>
                  </a:lnTo>
                  <a:lnTo>
                    <a:pt x="772" y="712"/>
                  </a:lnTo>
                  <a:lnTo>
                    <a:pt x="772" y="708"/>
                  </a:lnTo>
                  <a:lnTo>
                    <a:pt x="768" y="706"/>
                  </a:lnTo>
                  <a:lnTo>
                    <a:pt x="768" y="702"/>
                  </a:lnTo>
                  <a:lnTo>
                    <a:pt x="768" y="698"/>
                  </a:lnTo>
                  <a:lnTo>
                    <a:pt x="768" y="694"/>
                  </a:lnTo>
                  <a:lnTo>
                    <a:pt x="764" y="690"/>
                  </a:lnTo>
                  <a:lnTo>
                    <a:pt x="762" y="686"/>
                  </a:lnTo>
                  <a:lnTo>
                    <a:pt x="762" y="682"/>
                  </a:lnTo>
                  <a:lnTo>
                    <a:pt x="762" y="678"/>
                  </a:lnTo>
                  <a:lnTo>
                    <a:pt x="764" y="678"/>
                  </a:lnTo>
                  <a:lnTo>
                    <a:pt x="764" y="676"/>
                  </a:lnTo>
                  <a:lnTo>
                    <a:pt x="764" y="672"/>
                  </a:lnTo>
                  <a:lnTo>
                    <a:pt x="764" y="668"/>
                  </a:lnTo>
                  <a:lnTo>
                    <a:pt x="764" y="664"/>
                  </a:lnTo>
                  <a:lnTo>
                    <a:pt x="764" y="660"/>
                  </a:lnTo>
                  <a:lnTo>
                    <a:pt x="764" y="656"/>
                  </a:lnTo>
                  <a:lnTo>
                    <a:pt x="764" y="652"/>
                  </a:lnTo>
                  <a:lnTo>
                    <a:pt x="762" y="652"/>
                  </a:lnTo>
                  <a:lnTo>
                    <a:pt x="762" y="648"/>
                  </a:lnTo>
                  <a:lnTo>
                    <a:pt x="762" y="646"/>
                  </a:lnTo>
                  <a:lnTo>
                    <a:pt x="762" y="642"/>
                  </a:lnTo>
                  <a:lnTo>
                    <a:pt x="762" y="638"/>
                  </a:lnTo>
                  <a:lnTo>
                    <a:pt x="758" y="638"/>
                  </a:lnTo>
                  <a:lnTo>
                    <a:pt x="758" y="634"/>
                  </a:lnTo>
                  <a:lnTo>
                    <a:pt x="762" y="634"/>
                  </a:lnTo>
                  <a:lnTo>
                    <a:pt x="762" y="632"/>
                  </a:lnTo>
                  <a:lnTo>
                    <a:pt x="762" y="628"/>
                  </a:lnTo>
                  <a:lnTo>
                    <a:pt x="764" y="628"/>
                  </a:lnTo>
                  <a:lnTo>
                    <a:pt x="764" y="624"/>
                  </a:lnTo>
                  <a:lnTo>
                    <a:pt x="762" y="628"/>
                  </a:lnTo>
                  <a:lnTo>
                    <a:pt x="762" y="624"/>
                  </a:lnTo>
                  <a:lnTo>
                    <a:pt x="764" y="624"/>
                  </a:lnTo>
                  <a:lnTo>
                    <a:pt x="764" y="620"/>
                  </a:lnTo>
                  <a:lnTo>
                    <a:pt x="764" y="616"/>
                  </a:lnTo>
                  <a:lnTo>
                    <a:pt x="764" y="612"/>
                  </a:lnTo>
                  <a:lnTo>
                    <a:pt x="764" y="606"/>
                  </a:lnTo>
                  <a:lnTo>
                    <a:pt x="764" y="602"/>
                  </a:lnTo>
                  <a:lnTo>
                    <a:pt x="764" y="598"/>
                  </a:lnTo>
                  <a:lnTo>
                    <a:pt x="764" y="594"/>
                  </a:lnTo>
                  <a:lnTo>
                    <a:pt x="768" y="590"/>
                  </a:lnTo>
                  <a:lnTo>
                    <a:pt x="768" y="586"/>
                  </a:lnTo>
                  <a:lnTo>
                    <a:pt x="768" y="582"/>
                  </a:lnTo>
                  <a:lnTo>
                    <a:pt x="768" y="578"/>
                  </a:lnTo>
                  <a:lnTo>
                    <a:pt x="768" y="576"/>
                  </a:lnTo>
                  <a:lnTo>
                    <a:pt x="768" y="572"/>
                  </a:lnTo>
                  <a:lnTo>
                    <a:pt x="772" y="572"/>
                  </a:lnTo>
                  <a:lnTo>
                    <a:pt x="772" y="568"/>
                  </a:lnTo>
                  <a:lnTo>
                    <a:pt x="776" y="572"/>
                  </a:lnTo>
                  <a:lnTo>
                    <a:pt x="780" y="572"/>
                  </a:lnTo>
                  <a:lnTo>
                    <a:pt x="776" y="572"/>
                  </a:lnTo>
                  <a:lnTo>
                    <a:pt x="776" y="568"/>
                  </a:lnTo>
                  <a:lnTo>
                    <a:pt x="772" y="568"/>
                  </a:lnTo>
                  <a:lnTo>
                    <a:pt x="768" y="568"/>
                  </a:lnTo>
                  <a:lnTo>
                    <a:pt x="764" y="568"/>
                  </a:lnTo>
                  <a:lnTo>
                    <a:pt x="764" y="564"/>
                  </a:lnTo>
                  <a:lnTo>
                    <a:pt x="764" y="560"/>
                  </a:lnTo>
                  <a:lnTo>
                    <a:pt x="764" y="564"/>
                  </a:lnTo>
                  <a:lnTo>
                    <a:pt x="768" y="568"/>
                  </a:lnTo>
                  <a:lnTo>
                    <a:pt x="768" y="564"/>
                  </a:lnTo>
                  <a:lnTo>
                    <a:pt x="768" y="560"/>
                  </a:lnTo>
                  <a:lnTo>
                    <a:pt x="764" y="560"/>
                  </a:lnTo>
                  <a:lnTo>
                    <a:pt x="764" y="556"/>
                  </a:lnTo>
                  <a:lnTo>
                    <a:pt x="768" y="556"/>
                  </a:lnTo>
                  <a:lnTo>
                    <a:pt x="768" y="552"/>
                  </a:lnTo>
                  <a:lnTo>
                    <a:pt x="764" y="552"/>
                  </a:lnTo>
                  <a:lnTo>
                    <a:pt x="764" y="556"/>
                  </a:lnTo>
                  <a:lnTo>
                    <a:pt x="764" y="552"/>
                  </a:lnTo>
                  <a:lnTo>
                    <a:pt x="764" y="550"/>
                  </a:lnTo>
                  <a:lnTo>
                    <a:pt x="762" y="546"/>
                  </a:lnTo>
                  <a:lnTo>
                    <a:pt x="762" y="542"/>
                  </a:lnTo>
                  <a:lnTo>
                    <a:pt x="762" y="538"/>
                  </a:lnTo>
                  <a:lnTo>
                    <a:pt x="758" y="534"/>
                  </a:lnTo>
                  <a:lnTo>
                    <a:pt x="758" y="530"/>
                  </a:lnTo>
                  <a:lnTo>
                    <a:pt x="758" y="526"/>
                  </a:lnTo>
                  <a:lnTo>
                    <a:pt x="762" y="526"/>
                  </a:lnTo>
                  <a:lnTo>
                    <a:pt x="764" y="526"/>
                  </a:lnTo>
                  <a:lnTo>
                    <a:pt x="764" y="530"/>
                  </a:lnTo>
                  <a:lnTo>
                    <a:pt x="768" y="530"/>
                  </a:lnTo>
                  <a:lnTo>
                    <a:pt x="772" y="530"/>
                  </a:lnTo>
                  <a:lnTo>
                    <a:pt x="776" y="530"/>
                  </a:lnTo>
                  <a:lnTo>
                    <a:pt x="780" y="530"/>
                  </a:lnTo>
                  <a:lnTo>
                    <a:pt x="784" y="530"/>
                  </a:lnTo>
                  <a:lnTo>
                    <a:pt x="784" y="534"/>
                  </a:lnTo>
                  <a:lnTo>
                    <a:pt x="788" y="534"/>
                  </a:lnTo>
                  <a:lnTo>
                    <a:pt x="784" y="538"/>
                  </a:lnTo>
                  <a:lnTo>
                    <a:pt x="784" y="542"/>
                  </a:lnTo>
                  <a:lnTo>
                    <a:pt x="780" y="542"/>
                  </a:lnTo>
                  <a:lnTo>
                    <a:pt x="780" y="546"/>
                  </a:lnTo>
                  <a:lnTo>
                    <a:pt x="784" y="546"/>
                  </a:lnTo>
                  <a:lnTo>
                    <a:pt x="780" y="546"/>
                  </a:lnTo>
                  <a:lnTo>
                    <a:pt x="780" y="542"/>
                  </a:lnTo>
                  <a:lnTo>
                    <a:pt x="784" y="542"/>
                  </a:lnTo>
                  <a:lnTo>
                    <a:pt x="784" y="538"/>
                  </a:lnTo>
                  <a:lnTo>
                    <a:pt x="788" y="534"/>
                  </a:lnTo>
                  <a:lnTo>
                    <a:pt x="788" y="538"/>
                  </a:lnTo>
                  <a:lnTo>
                    <a:pt x="788" y="542"/>
                  </a:lnTo>
                  <a:lnTo>
                    <a:pt x="784" y="542"/>
                  </a:lnTo>
                  <a:lnTo>
                    <a:pt x="788" y="542"/>
                  </a:lnTo>
                  <a:lnTo>
                    <a:pt x="788" y="546"/>
                  </a:lnTo>
                  <a:lnTo>
                    <a:pt x="788" y="550"/>
                  </a:lnTo>
                  <a:lnTo>
                    <a:pt x="784" y="550"/>
                  </a:lnTo>
                  <a:lnTo>
                    <a:pt x="788" y="546"/>
                  </a:lnTo>
                  <a:lnTo>
                    <a:pt x="784" y="546"/>
                  </a:lnTo>
                  <a:lnTo>
                    <a:pt x="784" y="550"/>
                  </a:lnTo>
                  <a:lnTo>
                    <a:pt x="784" y="546"/>
                  </a:lnTo>
                  <a:lnTo>
                    <a:pt x="784" y="550"/>
                  </a:lnTo>
                  <a:lnTo>
                    <a:pt x="780" y="550"/>
                  </a:lnTo>
                  <a:lnTo>
                    <a:pt x="780" y="552"/>
                  </a:lnTo>
                  <a:lnTo>
                    <a:pt x="784" y="552"/>
                  </a:lnTo>
                  <a:lnTo>
                    <a:pt x="784" y="550"/>
                  </a:lnTo>
                  <a:lnTo>
                    <a:pt x="784" y="552"/>
                  </a:lnTo>
                  <a:lnTo>
                    <a:pt x="788" y="550"/>
                  </a:lnTo>
                  <a:lnTo>
                    <a:pt x="790" y="546"/>
                  </a:lnTo>
                  <a:lnTo>
                    <a:pt x="790" y="542"/>
                  </a:lnTo>
                  <a:lnTo>
                    <a:pt x="788" y="542"/>
                  </a:lnTo>
                  <a:lnTo>
                    <a:pt x="790" y="538"/>
                  </a:lnTo>
                  <a:lnTo>
                    <a:pt x="790" y="534"/>
                  </a:lnTo>
                  <a:lnTo>
                    <a:pt x="790" y="530"/>
                  </a:lnTo>
                  <a:lnTo>
                    <a:pt x="788" y="530"/>
                  </a:lnTo>
                  <a:lnTo>
                    <a:pt x="788" y="526"/>
                  </a:lnTo>
                  <a:lnTo>
                    <a:pt x="790" y="526"/>
                  </a:lnTo>
                  <a:lnTo>
                    <a:pt x="788" y="522"/>
                  </a:lnTo>
                  <a:lnTo>
                    <a:pt x="788" y="526"/>
                  </a:lnTo>
                  <a:lnTo>
                    <a:pt x="784" y="522"/>
                  </a:lnTo>
                  <a:lnTo>
                    <a:pt x="788" y="522"/>
                  </a:lnTo>
                  <a:lnTo>
                    <a:pt x="788" y="520"/>
                  </a:lnTo>
                  <a:lnTo>
                    <a:pt x="784" y="516"/>
                  </a:lnTo>
                  <a:lnTo>
                    <a:pt x="784" y="512"/>
                  </a:lnTo>
                  <a:lnTo>
                    <a:pt x="788" y="512"/>
                  </a:lnTo>
                  <a:lnTo>
                    <a:pt x="790" y="512"/>
                  </a:lnTo>
                  <a:lnTo>
                    <a:pt x="794" y="512"/>
                  </a:lnTo>
                  <a:lnTo>
                    <a:pt x="810" y="512"/>
                  </a:lnTo>
                  <a:lnTo>
                    <a:pt x="818" y="512"/>
                  </a:lnTo>
                  <a:lnTo>
                    <a:pt x="820" y="512"/>
                  </a:lnTo>
                  <a:lnTo>
                    <a:pt x="824" y="512"/>
                  </a:lnTo>
                  <a:lnTo>
                    <a:pt x="832" y="512"/>
                  </a:lnTo>
                  <a:lnTo>
                    <a:pt x="836" y="512"/>
                  </a:lnTo>
                  <a:lnTo>
                    <a:pt x="840" y="512"/>
                  </a:lnTo>
                  <a:lnTo>
                    <a:pt x="846" y="512"/>
                  </a:lnTo>
                  <a:lnTo>
                    <a:pt x="850" y="512"/>
                  </a:lnTo>
                  <a:lnTo>
                    <a:pt x="854" y="512"/>
                  </a:lnTo>
                  <a:lnTo>
                    <a:pt x="858" y="512"/>
                  </a:lnTo>
                  <a:lnTo>
                    <a:pt x="862" y="512"/>
                  </a:lnTo>
                  <a:lnTo>
                    <a:pt x="866" y="512"/>
                  </a:lnTo>
                  <a:lnTo>
                    <a:pt x="880" y="512"/>
                  </a:lnTo>
                  <a:lnTo>
                    <a:pt x="884" y="512"/>
                  </a:lnTo>
                  <a:lnTo>
                    <a:pt x="888" y="512"/>
                  </a:lnTo>
                  <a:lnTo>
                    <a:pt x="892" y="512"/>
                  </a:lnTo>
                  <a:lnTo>
                    <a:pt x="896" y="512"/>
                  </a:lnTo>
                  <a:lnTo>
                    <a:pt x="900" y="512"/>
                  </a:lnTo>
                  <a:lnTo>
                    <a:pt x="904" y="512"/>
                  </a:lnTo>
                  <a:lnTo>
                    <a:pt x="906" y="512"/>
                  </a:lnTo>
                  <a:lnTo>
                    <a:pt x="914" y="512"/>
                  </a:lnTo>
                  <a:lnTo>
                    <a:pt x="918" y="512"/>
                  </a:lnTo>
                  <a:lnTo>
                    <a:pt x="922" y="512"/>
                  </a:lnTo>
                  <a:lnTo>
                    <a:pt x="930" y="512"/>
                  </a:lnTo>
                  <a:lnTo>
                    <a:pt x="932" y="512"/>
                  </a:lnTo>
                  <a:lnTo>
                    <a:pt x="936" y="512"/>
                  </a:lnTo>
                  <a:lnTo>
                    <a:pt x="940" y="512"/>
                  </a:lnTo>
                  <a:lnTo>
                    <a:pt x="944" y="512"/>
                  </a:lnTo>
                  <a:lnTo>
                    <a:pt x="954" y="512"/>
                  </a:lnTo>
                  <a:lnTo>
                    <a:pt x="958" y="512"/>
                  </a:lnTo>
                  <a:lnTo>
                    <a:pt x="962" y="512"/>
                  </a:lnTo>
                  <a:lnTo>
                    <a:pt x="966" y="512"/>
                  </a:lnTo>
                  <a:lnTo>
                    <a:pt x="970" y="512"/>
                  </a:lnTo>
                  <a:lnTo>
                    <a:pt x="974" y="512"/>
                  </a:lnTo>
                  <a:lnTo>
                    <a:pt x="980" y="512"/>
                  </a:lnTo>
                  <a:lnTo>
                    <a:pt x="984" y="512"/>
                  </a:lnTo>
                  <a:lnTo>
                    <a:pt x="988" y="512"/>
                  </a:lnTo>
                  <a:lnTo>
                    <a:pt x="992" y="512"/>
                  </a:lnTo>
                  <a:lnTo>
                    <a:pt x="996" y="512"/>
                  </a:lnTo>
                  <a:lnTo>
                    <a:pt x="1000" y="512"/>
                  </a:lnTo>
                  <a:lnTo>
                    <a:pt x="1002" y="512"/>
                  </a:lnTo>
                  <a:lnTo>
                    <a:pt x="1010" y="512"/>
                  </a:lnTo>
                  <a:lnTo>
                    <a:pt x="1014" y="512"/>
                  </a:lnTo>
                  <a:lnTo>
                    <a:pt x="1018" y="512"/>
                  </a:lnTo>
                  <a:lnTo>
                    <a:pt x="1022" y="512"/>
                  </a:lnTo>
                  <a:lnTo>
                    <a:pt x="1026" y="512"/>
                  </a:lnTo>
                  <a:lnTo>
                    <a:pt x="1032" y="512"/>
                  </a:lnTo>
                  <a:lnTo>
                    <a:pt x="1036" y="512"/>
                  </a:lnTo>
                  <a:lnTo>
                    <a:pt x="1044" y="512"/>
                  </a:lnTo>
                  <a:lnTo>
                    <a:pt x="1048" y="512"/>
                  </a:lnTo>
                  <a:lnTo>
                    <a:pt x="1052" y="512"/>
                  </a:lnTo>
                  <a:lnTo>
                    <a:pt x="1056" y="512"/>
                  </a:lnTo>
                  <a:lnTo>
                    <a:pt x="1060" y="512"/>
                  </a:lnTo>
                  <a:lnTo>
                    <a:pt x="1062" y="512"/>
                  </a:lnTo>
                  <a:lnTo>
                    <a:pt x="1066" y="512"/>
                  </a:lnTo>
                  <a:lnTo>
                    <a:pt x="1070" y="512"/>
                  </a:lnTo>
                  <a:lnTo>
                    <a:pt x="1074" y="512"/>
                  </a:lnTo>
                  <a:lnTo>
                    <a:pt x="1086" y="512"/>
                  </a:lnTo>
                  <a:lnTo>
                    <a:pt x="1088" y="512"/>
                  </a:lnTo>
                  <a:lnTo>
                    <a:pt x="1100" y="512"/>
                  </a:lnTo>
                  <a:lnTo>
                    <a:pt x="1108" y="512"/>
                  </a:lnTo>
                  <a:lnTo>
                    <a:pt x="1116" y="512"/>
                  </a:lnTo>
                  <a:lnTo>
                    <a:pt x="1122" y="512"/>
                  </a:lnTo>
                  <a:lnTo>
                    <a:pt x="1126" y="512"/>
                  </a:lnTo>
                  <a:lnTo>
                    <a:pt x="1130" y="512"/>
                  </a:lnTo>
                  <a:lnTo>
                    <a:pt x="1134" y="512"/>
                  </a:lnTo>
                  <a:lnTo>
                    <a:pt x="1138" y="512"/>
                  </a:lnTo>
                  <a:lnTo>
                    <a:pt x="1142" y="512"/>
                  </a:lnTo>
                  <a:lnTo>
                    <a:pt x="1144" y="512"/>
                  </a:lnTo>
                  <a:lnTo>
                    <a:pt x="1172" y="512"/>
                  </a:lnTo>
                  <a:lnTo>
                    <a:pt x="1174" y="512"/>
                  </a:lnTo>
                  <a:lnTo>
                    <a:pt x="1174" y="508"/>
                  </a:lnTo>
                  <a:lnTo>
                    <a:pt x="1174" y="504"/>
                  </a:lnTo>
                  <a:lnTo>
                    <a:pt x="1178" y="504"/>
                  </a:lnTo>
                  <a:lnTo>
                    <a:pt x="1178" y="508"/>
                  </a:lnTo>
                  <a:lnTo>
                    <a:pt x="1178" y="512"/>
                  </a:lnTo>
                  <a:lnTo>
                    <a:pt x="1182" y="512"/>
                  </a:lnTo>
                  <a:lnTo>
                    <a:pt x="1182" y="516"/>
                  </a:lnTo>
                  <a:lnTo>
                    <a:pt x="1182" y="520"/>
                  </a:lnTo>
                  <a:lnTo>
                    <a:pt x="1186" y="520"/>
                  </a:lnTo>
                  <a:lnTo>
                    <a:pt x="1190" y="520"/>
                  </a:lnTo>
                  <a:lnTo>
                    <a:pt x="1194" y="520"/>
                  </a:lnTo>
                  <a:lnTo>
                    <a:pt x="1194" y="522"/>
                  </a:lnTo>
                  <a:lnTo>
                    <a:pt x="1198" y="522"/>
                  </a:lnTo>
                  <a:lnTo>
                    <a:pt x="1202" y="520"/>
                  </a:lnTo>
                  <a:lnTo>
                    <a:pt x="1204" y="520"/>
                  </a:lnTo>
                  <a:lnTo>
                    <a:pt x="1208" y="522"/>
                  </a:lnTo>
                  <a:lnTo>
                    <a:pt x="1212" y="522"/>
                  </a:lnTo>
                  <a:lnTo>
                    <a:pt x="1212" y="526"/>
                  </a:lnTo>
                  <a:lnTo>
                    <a:pt x="1216" y="530"/>
                  </a:lnTo>
                  <a:lnTo>
                    <a:pt x="1216" y="526"/>
                  </a:lnTo>
                  <a:lnTo>
                    <a:pt x="1220" y="526"/>
                  </a:lnTo>
                  <a:lnTo>
                    <a:pt x="1220" y="530"/>
                  </a:lnTo>
                  <a:lnTo>
                    <a:pt x="1224" y="530"/>
                  </a:lnTo>
                  <a:lnTo>
                    <a:pt x="1228" y="530"/>
                  </a:lnTo>
                  <a:lnTo>
                    <a:pt x="1228" y="534"/>
                  </a:lnTo>
                  <a:lnTo>
                    <a:pt x="1228" y="530"/>
                  </a:lnTo>
                  <a:lnTo>
                    <a:pt x="1230" y="530"/>
                  </a:lnTo>
                  <a:lnTo>
                    <a:pt x="1234" y="530"/>
                  </a:lnTo>
                  <a:lnTo>
                    <a:pt x="1234" y="526"/>
                  </a:lnTo>
                  <a:lnTo>
                    <a:pt x="1234" y="530"/>
                  </a:lnTo>
                  <a:lnTo>
                    <a:pt x="1238" y="530"/>
                  </a:lnTo>
                  <a:lnTo>
                    <a:pt x="1242" y="530"/>
                  </a:lnTo>
                  <a:lnTo>
                    <a:pt x="1246" y="530"/>
                  </a:lnTo>
                  <a:lnTo>
                    <a:pt x="1246" y="534"/>
                  </a:lnTo>
                  <a:lnTo>
                    <a:pt x="1250" y="534"/>
                  </a:lnTo>
                  <a:lnTo>
                    <a:pt x="1254" y="534"/>
                  </a:lnTo>
                  <a:lnTo>
                    <a:pt x="1258" y="534"/>
                  </a:lnTo>
                  <a:lnTo>
                    <a:pt x="1260" y="530"/>
                  </a:lnTo>
                  <a:lnTo>
                    <a:pt x="1264" y="526"/>
                  </a:lnTo>
                  <a:lnTo>
                    <a:pt x="1268" y="526"/>
                  </a:lnTo>
                  <a:lnTo>
                    <a:pt x="1272" y="526"/>
                  </a:lnTo>
                  <a:lnTo>
                    <a:pt x="1282" y="534"/>
                  </a:lnTo>
                  <a:lnTo>
                    <a:pt x="1286" y="534"/>
                  </a:lnTo>
                  <a:lnTo>
                    <a:pt x="1286" y="538"/>
                  </a:lnTo>
                  <a:lnTo>
                    <a:pt x="1290" y="538"/>
                  </a:lnTo>
                  <a:lnTo>
                    <a:pt x="1294" y="542"/>
                  </a:lnTo>
                  <a:lnTo>
                    <a:pt x="1298" y="542"/>
                  </a:lnTo>
                  <a:lnTo>
                    <a:pt x="1300" y="546"/>
                  </a:lnTo>
                  <a:lnTo>
                    <a:pt x="1304" y="546"/>
                  </a:lnTo>
                  <a:lnTo>
                    <a:pt x="1304" y="550"/>
                  </a:lnTo>
                  <a:lnTo>
                    <a:pt x="1308" y="550"/>
                  </a:lnTo>
                  <a:lnTo>
                    <a:pt x="1312" y="550"/>
                  </a:lnTo>
                  <a:lnTo>
                    <a:pt x="1312" y="552"/>
                  </a:lnTo>
                  <a:lnTo>
                    <a:pt x="1320" y="556"/>
                  </a:lnTo>
                  <a:lnTo>
                    <a:pt x="1320" y="560"/>
                  </a:lnTo>
                  <a:lnTo>
                    <a:pt x="1324" y="564"/>
                  </a:lnTo>
                  <a:lnTo>
                    <a:pt x="1328" y="564"/>
                  </a:lnTo>
                  <a:lnTo>
                    <a:pt x="1330" y="564"/>
                  </a:lnTo>
                  <a:lnTo>
                    <a:pt x="1330" y="568"/>
                  </a:lnTo>
                  <a:lnTo>
                    <a:pt x="1330" y="572"/>
                  </a:lnTo>
                  <a:lnTo>
                    <a:pt x="1334" y="572"/>
                  </a:lnTo>
                  <a:lnTo>
                    <a:pt x="1338" y="572"/>
                  </a:lnTo>
                  <a:lnTo>
                    <a:pt x="1338" y="576"/>
                  </a:lnTo>
                  <a:lnTo>
                    <a:pt x="1338" y="578"/>
                  </a:lnTo>
                  <a:lnTo>
                    <a:pt x="1342" y="578"/>
                  </a:lnTo>
                  <a:lnTo>
                    <a:pt x="1346" y="582"/>
                  </a:lnTo>
                  <a:lnTo>
                    <a:pt x="1350" y="586"/>
                  </a:lnTo>
                  <a:lnTo>
                    <a:pt x="1354" y="586"/>
                  </a:lnTo>
                  <a:lnTo>
                    <a:pt x="1354" y="598"/>
                  </a:lnTo>
                  <a:lnTo>
                    <a:pt x="1358" y="606"/>
                  </a:lnTo>
                  <a:lnTo>
                    <a:pt x="1358" y="616"/>
                  </a:lnTo>
                  <a:lnTo>
                    <a:pt x="1358" y="624"/>
                  </a:lnTo>
                  <a:lnTo>
                    <a:pt x="1358" y="628"/>
                  </a:lnTo>
                  <a:lnTo>
                    <a:pt x="1358" y="632"/>
                  </a:lnTo>
                  <a:lnTo>
                    <a:pt x="1354" y="632"/>
                  </a:lnTo>
                  <a:lnTo>
                    <a:pt x="1354" y="634"/>
                  </a:lnTo>
                  <a:lnTo>
                    <a:pt x="1354" y="638"/>
                  </a:lnTo>
                  <a:lnTo>
                    <a:pt x="1354" y="642"/>
                  </a:lnTo>
                  <a:lnTo>
                    <a:pt x="1350" y="642"/>
                  </a:lnTo>
                  <a:lnTo>
                    <a:pt x="1350" y="646"/>
                  </a:lnTo>
                  <a:lnTo>
                    <a:pt x="1346" y="646"/>
                  </a:lnTo>
                  <a:lnTo>
                    <a:pt x="1346" y="648"/>
                  </a:lnTo>
                  <a:lnTo>
                    <a:pt x="1342" y="652"/>
                  </a:lnTo>
                  <a:lnTo>
                    <a:pt x="1346" y="652"/>
                  </a:lnTo>
                  <a:lnTo>
                    <a:pt x="1346" y="656"/>
                  </a:lnTo>
                  <a:lnTo>
                    <a:pt x="1350" y="660"/>
                  </a:lnTo>
                  <a:lnTo>
                    <a:pt x="1354" y="660"/>
                  </a:lnTo>
                  <a:lnTo>
                    <a:pt x="1358" y="656"/>
                  </a:lnTo>
                  <a:lnTo>
                    <a:pt x="1360" y="652"/>
                  </a:lnTo>
                  <a:lnTo>
                    <a:pt x="1364" y="652"/>
                  </a:lnTo>
                  <a:lnTo>
                    <a:pt x="1368" y="648"/>
                  </a:lnTo>
                  <a:lnTo>
                    <a:pt x="1372" y="648"/>
                  </a:lnTo>
                  <a:lnTo>
                    <a:pt x="1376" y="648"/>
                  </a:lnTo>
                  <a:lnTo>
                    <a:pt x="1380" y="646"/>
                  </a:lnTo>
                  <a:lnTo>
                    <a:pt x="1386" y="646"/>
                  </a:lnTo>
                  <a:lnTo>
                    <a:pt x="1390" y="642"/>
                  </a:lnTo>
                  <a:lnTo>
                    <a:pt x="1394" y="642"/>
                  </a:lnTo>
                  <a:lnTo>
                    <a:pt x="1398" y="638"/>
                  </a:lnTo>
                  <a:lnTo>
                    <a:pt x="1402" y="638"/>
                  </a:lnTo>
                  <a:lnTo>
                    <a:pt x="1402" y="634"/>
                  </a:lnTo>
                  <a:lnTo>
                    <a:pt x="1406" y="634"/>
                  </a:lnTo>
                  <a:lnTo>
                    <a:pt x="1402" y="634"/>
                  </a:lnTo>
                  <a:lnTo>
                    <a:pt x="1402" y="632"/>
                  </a:lnTo>
                  <a:lnTo>
                    <a:pt x="1402" y="628"/>
                  </a:lnTo>
                  <a:lnTo>
                    <a:pt x="1402" y="624"/>
                  </a:lnTo>
                  <a:lnTo>
                    <a:pt x="1406" y="620"/>
                  </a:lnTo>
                  <a:lnTo>
                    <a:pt x="1414" y="620"/>
                  </a:lnTo>
                  <a:lnTo>
                    <a:pt x="1416" y="620"/>
                  </a:lnTo>
                  <a:lnTo>
                    <a:pt x="1420" y="620"/>
                  </a:lnTo>
                  <a:lnTo>
                    <a:pt x="1424" y="620"/>
                  </a:lnTo>
                  <a:lnTo>
                    <a:pt x="1428" y="620"/>
                  </a:lnTo>
                  <a:lnTo>
                    <a:pt x="1432" y="620"/>
                  </a:lnTo>
                  <a:lnTo>
                    <a:pt x="1436" y="620"/>
                  </a:lnTo>
                  <a:lnTo>
                    <a:pt x="1436" y="616"/>
                  </a:lnTo>
                  <a:lnTo>
                    <a:pt x="1440" y="616"/>
                  </a:lnTo>
                  <a:lnTo>
                    <a:pt x="1440" y="612"/>
                  </a:lnTo>
                  <a:lnTo>
                    <a:pt x="1442" y="608"/>
                  </a:lnTo>
                  <a:lnTo>
                    <a:pt x="1446" y="608"/>
                  </a:lnTo>
                  <a:lnTo>
                    <a:pt x="1446" y="606"/>
                  </a:lnTo>
                  <a:lnTo>
                    <a:pt x="1450" y="606"/>
                  </a:lnTo>
                  <a:lnTo>
                    <a:pt x="1450" y="602"/>
                  </a:lnTo>
                  <a:lnTo>
                    <a:pt x="1454" y="598"/>
                  </a:lnTo>
                  <a:lnTo>
                    <a:pt x="1458" y="598"/>
                  </a:lnTo>
                  <a:lnTo>
                    <a:pt x="1458" y="594"/>
                  </a:lnTo>
                  <a:lnTo>
                    <a:pt x="1462" y="594"/>
                  </a:lnTo>
                  <a:lnTo>
                    <a:pt x="1466" y="594"/>
                  </a:lnTo>
                  <a:lnTo>
                    <a:pt x="1470" y="594"/>
                  </a:lnTo>
                  <a:lnTo>
                    <a:pt x="1476" y="594"/>
                  </a:lnTo>
                  <a:lnTo>
                    <a:pt x="1480" y="594"/>
                  </a:lnTo>
                  <a:lnTo>
                    <a:pt x="1484" y="594"/>
                  </a:lnTo>
                  <a:lnTo>
                    <a:pt x="1488" y="594"/>
                  </a:lnTo>
                  <a:lnTo>
                    <a:pt x="1492" y="594"/>
                  </a:lnTo>
                  <a:lnTo>
                    <a:pt x="1496" y="594"/>
                  </a:lnTo>
                  <a:lnTo>
                    <a:pt x="1498" y="594"/>
                  </a:lnTo>
                  <a:lnTo>
                    <a:pt x="1502" y="594"/>
                  </a:lnTo>
                  <a:lnTo>
                    <a:pt x="1506" y="594"/>
                  </a:lnTo>
                  <a:lnTo>
                    <a:pt x="1510" y="594"/>
                  </a:lnTo>
                  <a:lnTo>
                    <a:pt x="1510" y="590"/>
                  </a:lnTo>
                  <a:lnTo>
                    <a:pt x="1510" y="586"/>
                  </a:lnTo>
                  <a:lnTo>
                    <a:pt x="1514" y="586"/>
                  </a:lnTo>
                  <a:lnTo>
                    <a:pt x="1514" y="590"/>
                  </a:lnTo>
                  <a:lnTo>
                    <a:pt x="1514" y="586"/>
                  </a:lnTo>
                  <a:lnTo>
                    <a:pt x="1518" y="590"/>
                  </a:lnTo>
                  <a:lnTo>
                    <a:pt x="1522" y="586"/>
                  </a:lnTo>
                  <a:lnTo>
                    <a:pt x="1522" y="582"/>
                  </a:lnTo>
                  <a:lnTo>
                    <a:pt x="1522" y="578"/>
                  </a:lnTo>
                  <a:lnTo>
                    <a:pt x="1526" y="578"/>
                  </a:lnTo>
                  <a:lnTo>
                    <a:pt x="1526" y="576"/>
                  </a:lnTo>
                  <a:lnTo>
                    <a:pt x="1526" y="572"/>
                  </a:lnTo>
                  <a:lnTo>
                    <a:pt x="1526" y="568"/>
                  </a:lnTo>
                  <a:lnTo>
                    <a:pt x="1528" y="568"/>
                  </a:lnTo>
                  <a:lnTo>
                    <a:pt x="1528" y="564"/>
                  </a:lnTo>
                  <a:lnTo>
                    <a:pt x="1528" y="560"/>
                  </a:lnTo>
                  <a:lnTo>
                    <a:pt x="1532" y="556"/>
                  </a:lnTo>
                  <a:lnTo>
                    <a:pt x="1532" y="552"/>
                  </a:lnTo>
                  <a:lnTo>
                    <a:pt x="1536" y="552"/>
                  </a:lnTo>
                  <a:lnTo>
                    <a:pt x="1540" y="550"/>
                  </a:lnTo>
                  <a:lnTo>
                    <a:pt x="1540" y="546"/>
                  </a:lnTo>
                  <a:lnTo>
                    <a:pt x="1544" y="546"/>
                  </a:lnTo>
                  <a:lnTo>
                    <a:pt x="1544" y="550"/>
                  </a:lnTo>
                  <a:lnTo>
                    <a:pt x="1548" y="550"/>
                  </a:lnTo>
                  <a:lnTo>
                    <a:pt x="1552" y="550"/>
                  </a:lnTo>
                  <a:lnTo>
                    <a:pt x="1556" y="546"/>
                  </a:lnTo>
                  <a:lnTo>
                    <a:pt x="1558" y="550"/>
                  </a:lnTo>
                  <a:lnTo>
                    <a:pt x="1558" y="552"/>
                  </a:lnTo>
                  <a:lnTo>
                    <a:pt x="1562" y="552"/>
                  </a:lnTo>
                  <a:lnTo>
                    <a:pt x="1562" y="556"/>
                  </a:lnTo>
                  <a:lnTo>
                    <a:pt x="1562" y="568"/>
                  </a:lnTo>
                  <a:lnTo>
                    <a:pt x="1562" y="576"/>
                  </a:lnTo>
                  <a:lnTo>
                    <a:pt x="1562" y="578"/>
                  </a:lnTo>
                  <a:lnTo>
                    <a:pt x="1562" y="582"/>
                  </a:lnTo>
                  <a:lnTo>
                    <a:pt x="1566" y="582"/>
                  </a:lnTo>
                  <a:lnTo>
                    <a:pt x="1566" y="586"/>
                  </a:lnTo>
                  <a:lnTo>
                    <a:pt x="1566" y="590"/>
                  </a:lnTo>
                  <a:lnTo>
                    <a:pt x="1570" y="590"/>
                  </a:lnTo>
                  <a:lnTo>
                    <a:pt x="1570" y="594"/>
                  </a:lnTo>
                  <a:lnTo>
                    <a:pt x="1574" y="594"/>
                  </a:lnTo>
                  <a:lnTo>
                    <a:pt x="1570" y="594"/>
                  </a:lnTo>
                  <a:lnTo>
                    <a:pt x="1570" y="598"/>
                  </a:lnTo>
                  <a:lnTo>
                    <a:pt x="1574" y="598"/>
                  </a:lnTo>
                  <a:lnTo>
                    <a:pt x="1570" y="602"/>
                  </a:lnTo>
                  <a:lnTo>
                    <a:pt x="1566" y="602"/>
                  </a:lnTo>
                  <a:lnTo>
                    <a:pt x="1562" y="606"/>
                  </a:lnTo>
                  <a:lnTo>
                    <a:pt x="1562" y="602"/>
                  </a:lnTo>
                  <a:lnTo>
                    <a:pt x="1558" y="606"/>
                  </a:lnTo>
                  <a:lnTo>
                    <a:pt x="1558" y="608"/>
                  </a:lnTo>
                  <a:lnTo>
                    <a:pt x="1558" y="606"/>
                  </a:lnTo>
                  <a:lnTo>
                    <a:pt x="1556" y="606"/>
                  </a:lnTo>
                  <a:lnTo>
                    <a:pt x="1552" y="606"/>
                  </a:lnTo>
                  <a:lnTo>
                    <a:pt x="1552" y="608"/>
                  </a:lnTo>
                  <a:lnTo>
                    <a:pt x="1548" y="608"/>
                  </a:lnTo>
                  <a:lnTo>
                    <a:pt x="1548" y="606"/>
                  </a:lnTo>
                  <a:lnTo>
                    <a:pt x="1548" y="602"/>
                  </a:lnTo>
                  <a:lnTo>
                    <a:pt x="1548" y="606"/>
                  </a:lnTo>
                  <a:lnTo>
                    <a:pt x="1544" y="606"/>
                  </a:lnTo>
                  <a:lnTo>
                    <a:pt x="1544" y="608"/>
                  </a:lnTo>
                  <a:lnTo>
                    <a:pt x="1544" y="612"/>
                  </a:lnTo>
                  <a:lnTo>
                    <a:pt x="1540" y="616"/>
                  </a:lnTo>
                  <a:lnTo>
                    <a:pt x="1540" y="612"/>
                  </a:lnTo>
                  <a:lnTo>
                    <a:pt x="1536" y="616"/>
                  </a:lnTo>
                  <a:lnTo>
                    <a:pt x="1536" y="612"/>
                  </a:lnTo>
                  <a:lnTo>
                    <a:pt x="1536" y="616"/>
                  </a:lnTo>
                  <a:lnTo>
                    <a:pt x="1536" y="612"/>
                  </a:lnTo>
                  <a:lnTo>
                    <a:pt x="1536" y="616"/>
                  </a:lnTo>
                  <a:lnTo>
                    <a:pt x="1532" y="616"/>
                  </a:lnTo>
                  <a:lnTo>
                    <a:pt x="1536" y="616"/>
                  </a:lnTo>
                  <a:lnTo>
                    <a:pt x="1532" y="620"/>
                  </a:lnTo>
                  <a:lnTo>
                    <a:pt x="1532" y="616"/>
                  </a:lnTo>
                  <a:lnTo>
                    <a:pt x="1532" y="612"/>
                  </a:lnTo>
                  <a:lnTo>
                    <a:pt x="1532" y="616"/>
                  </a:lnTo>
                  <a:lnTo>
                    <a:pt x="1532" y="620"/>
                  </a:lnTo>
                  <a:lnTo>
                    <a:pt x="1532" y="616"/>
                  </a:lnTo>
                  <a:lnTo>
                    <a:pt x="1528" y="616"/>
                  </a:lnTo>
                  <a:lnTo>
                    <a:pt x="1528" y="620"/>
                  </a:lnTo>
                  <a:lnTo>
                    <a:pt x="1526" y="620"/>
                  </a:lnTo>
                  <a:lnTo>
                    <a:pt x="1528" y="620"/>
                  </a:lnTo>
                  <a:lnTo>
                    <a:pt x="1528" y="624"/>
                  </a:lnTo>
                  <a:lnTo>
                    <a:pt x="1526" y="624"/>
                  </a:lnTo>
                  <a:lnTo>
                    <a:pt x="1526" y="628"/>
                  </a:lnTo>
                  <a:lnTo>
                    <a:pt x="1522" y="628"/>
                  </a:lnTo>
                  <a:lnTo>
                    <a:pt x="1522" y="632"/>
                  </a:lnTo>
                  <a:lnTo>
                    <a:pt x="1522" y="634"/>
                  </a:lnTo>
                  <a:lnTo>
                    <a:pt x="1518" y="634"/>
                  </a:lnTo>
                  <a:lnTo>
                    <a:pt x="1518" y="638"/>
                  </a:lnTo>
                  <a:lnTo>
                    <a:pt x="1522" y="642"/>
                  </a:lnTo>
                  <a:lnTo>
                    <a:pt x="1522" y="638"/>
                  </a:lnTo>
                  <a:lnTo>
                    <a:pt x="1522" y="642"/>
                  </a:lnTo>
                  <a:lnTo>
                    <a:pt x="1518" y="642"/>
                  </a:lnTo>
                  <a:lnTo>
                    <a:pt x="1514" y="646"/>
                  </a:lnTo>
                  <a:lnTo>
                    <a:pt x="1518" y="648"/>
                  </a:lnTo>
                  <a:lnTo>
                    <a:pt x="1522" y="648"/>
                  </a:lnTo>
                  <a:lnTo>
                    <a:pt x="1522" y="652"/>
                  </a:lnTo>
                  <a:lnTo>
                    <a:pt x="1522" y="656"/>
                  </a:lnTo>
                  <a:lnTo>
                    <a:pt x="1526" y="656"/>
                  </a:lnTo>
                  <a:lnTo>
                    <a:pt x="1526" y="660"/>
                  </a:lnTo>
                  <a:lnTo>
                    <a:pt x="1528" y="656"/>
                  </a:lnTo>
                  <a:lnTo>
                    <a:pt x="1528" y="652"/>
                  </a:lnTo>
                  <a:lnTo>
                    <a:pt x="1526" y="652"/>
                  </a:lnTo>
                  <a:lnTo>
                    <a:pt x="1528" y="652"/>
                  </a:lnTo>
                  <a:lnTo>
                    <a:pt x="1532" y="652"/>
                  </a:lnTo>
                  <a:lnTo>
                    <a:pt x="1532" y="656"/>
                  </a:lnTo>
                  <a:lnTo>
                    <a:pt x="1532" y="660"/>
                  </a:lnTo>
                  <a:lnTo>
                    <a:pt x="1528" y="660"/>
                  </a:lnTo>
                  <a:lnTo>
                    <a:pt x="1526" y="660"/>
                  </a:lnTo>
                  <a:lnTo>
                    <a:pt x="1522" y="660"/>
                  </a:lnTo>
                  <a:lnTo>
                    <a:pt x="1522" y="656"/>
                  </a:lnTo>
                  <a:lnTo>
                    <a:pt x="1518" y="660"/>
                  </a:lnTo>
                  <a:lnTo>
                    <a:pt x="1514" y="664"/>
                  </a:lnTo>
                  <a:lnTo>
                    <a:pt x="1514" y="660"/>
                  </a:lnTo>
                  <a:lnTo>
                    <a:pt x="1514" y="656"/>
                  </a:lnTo>
                  <a:lnTo>
                    <a:pt x="1514" y="660"/>
                  </a:lnTo>
                  <a:lnTo>
                    <a:pt x="1510" y="660"/>
                  </a:lnTo>
                  <a:lnTo>
                    <a:pt x="1510" y="656"/>
                  </a:lnTo>
                  <a:lnTo>
                    <a:pt x="1510" y="660"/>
                  </a:lnTo>
                  <a:lnTo>
                    <a:pt x="1510" y="664"/>
                  </a:lnTo>
                  <a:lnTo>
                    <a:pt x="1506" y="664"/>
                  </a:lnTo>
                  <a:lnTo>
                    <a:pt x="1506" y="668"/>
                  </a:lnTo>
                  <a:lnTo>
                    <a:pt x="1502" y="668"/>
                  </a:lnTo>
                  <a:lnTo>
                    <a:pt x="1502" y="664"/>
                  </a:lnTo>
                  <a:lnTo>
                    <a:pt x="1498" y="668"/>
                  </a:lnTo>
                  <a:lnTo>
                    <a:pt x="1496" y="668"/>
                  </a:lnTo>
                  <a:lnTo>
                    <a:pt x="1492" y="668"/>
                  </a:lnTo>
                  <a:lnTo>
                    <a:pt x="1488" y="668"/>
                  </a:lnTo>
                  <a:lnTo>
                    <a:pt x="1484" y="668"/>
                  </a:lnTo>
                  <a:lnTo>
                    <a:pt x="1484" y="672"/>
                  </a:lnTo>
                  <a:lnTo>
                    <a:pt x="1480" y="672"/>
                  </a:lnTo>
                  <a:lnTo>
                    <a:pt x="1476" y="672"/>
                  </a:lnTo>
                  <a:lnTo>
                    <a:pt x="1476" y="676"/>
                  </a:lnTo>
                  <a:lnTo>
                    <a:pt x="1472" y="676"/>
                  </a:lnTo>
                  <a:lnTo>
                    <a:pt x="1476" y="676"/>
                  </a:lnTo>
                  <a:lnTo>
                    <a:pt x="1476" y="672"/>
                  </a:lnTo>
                  <a:lnTo>
                    <a:pt x="1476" y="668"/>
                  </a:lnTo>
                  <a:lnTo>
                    <a:pt x="1472" y="668"/>
                  </a:lnTo>
                  <a:lnTo>
                    <a:pt x="1476" y="668"/>
                  </a:lnTo>
                  <a:lnTo>
                    <a:pt x="1476" y="672"/>
                  </a:lnTo>
                  <a:lnTo>
                    <a:pt x="1472" y="676"/>
                  </a:lnTo>
                  <a:lnTo>
                    <a:pt x="1472" y="678"/>
                  </a:lnTo>
                  <a:lnTo>
                    <a:pt x="1470" y="678"/>
                  </a:lnTo>
                  <a:lnTo>
                    <a:pt x="1470" y="682"/>
                  </a:lnTo>
                  <a:lnTo>
                    <a:pt x="1472" y="682"/>
                  </a:lnTo>
                  <a:lnTo>
                    <a:pt x="1472" y="686"/>
                  </a:lnTo>
                  <a:lnTo>
                    <a:pt x="1472" y="690"/>
                  </a:lnTo>
                  <a:lnTo>
                    <a:pt x="1472" y="698"/>
                  </a:lnTo>
                  <a:lnTo>
                    <a:pt x="1472" y="694"/>
                  </a:lnTo>
                  <a:lnTo>
                    <a:pt x="1472" y="690"/>
                  </a:lnTo>
                  <a:lnTo>
                    <a:pt x="1472" y="694"/>
                  </a:lnTo>
                  <a:lnTo>
                    <a:pt x="1472" y="698"/>
                  </a:lnTo>
                  <a:lnTo>
                    <a:pt x="1470" y="698"/>
                  </a:lnTo>
                  <a:lnTo>
                    <a:pt x="1470" y="702"/>
                  </a:lnTo>
                  <a:lnTo>
                    <a:pt x="1466" y="702"/>
                  </a:lnTo>
                  <a:lnTo>
                    <a:pt x="1466" y="706"/>
                  </a:lnTo>
                  <a:lnTo>
                    <a:pt x="1470" y="706"/>
                  </a:lnTo>
                  <a:lnTo>
                    <a:pt x="1466" y="706"/>
                  </a:lnTo>
                  <a:lnTo>
                    <a:pt x="1466" y="708"/>
                  </a:lnTo>
                  <a:lnTo>
                    <a:pt x="1462" y="708"/>
                  </a:lnTo>
                  <a:lnTo>
                    <a:pt x="1462" y="712"/>
                  </a:lnTo>
                  <a:lnTo>
                    <a:pt x="1462" y="708"/>
                  </a:lnTo>
                  <a:lnTo>
                    <a:pt x="1458" y="708"/>
                  </a:lnTo>
                  <a:lnTo>
                    <a:pt x="1458" y="706"/>
                  </a:lnTo>
                  <a:lnTo>
                    <a:pt x="1454" y="706"/>
                  </a:lnTo>
                  <a:lnTo>
                    <a:pt x="1450" y="702"/>
                  </a:lnTo>
                  <a:lnTo>
                    <a:pt x="1450" y="698"/>
                  </a:lnTo>
                  <a:lnTo>
                    <a:pt x="1454" y="698"/>
                  </a:lnTo>
                  <a:lnTo>
                    <a:pt x="1454" y="694"/>
                  </a:lnTo>
                  <a:lnTo>
                    <a:pt x="1458" y="694"/>
                  </a:lnTo>
                  <a:lnTo>
                    <a:pt x="1458" y="690"/>
                  </a:lnTo>
                  <a:lnTo>
                    <a:pt x="1458" y="694"/>
                  </a:lnTo>
                  <a:lnTo>
                    <a:pt x="1454" y="694"/>
                  </a:lnTo>
                  <a:lnTo>
                    <a:pt x="1454" y="698"/>
                  </a:lnTo>
                  <a:lnTo>
                    <a:pt x="1450" y="698"/>
                  </a:lnTo>
                  <a:lnTo>
                    <a:pt x="1450" y="702"/>
                  </a:lnTo>
                  <a:lnTo>
                    <a:pt x="1454" y="706"/>
                  </a:lnTo>
                  <a:lnTo>
                    <a:pt x="1454" y="708"/>
                  </a:lnTo>
                  <a:lnTo>
                    <a:pt x="1454" y="712"/>
                  </a:lnTo>
                  <a:lnTo>
                    <a:pt x="1458" y="716"/>
                  </a:lnTo>
                  <a:lnTo>
                    <a:pt x="1458" y="720"/>
                  </a:lnTo>
                  <a:lnTo>
                    <a:pt x="1458" y="724"/>
                  </a:lnTo>
                  <a:lnTo>
                    <a:pt x="1458" y="720"/>
                  </a:lnTo>
                  <a:lnTo>
                    <a:pt x="1458" y="724"/>
                  </a:lnTo>
                  <a:lnTo>
                    <a:pt x="1458" y="728"/>
                  </a:lnTo>
                  <a:lnTo>
                    <a:pt x="1454" y="728"/>
                  </a:lnTo>
                  <a:lnTo>
                    <a:pt x="1454" y="732"/>
                  </a:lnTo>
                  <a:lnTo>
                    <a:pt x="1454" y="734"/>
                  </a:lnTo>
                  <a:lnTo>
                    <a:pt x="1450" y="734"/>
                  </a:lnTo>
                  <a:lnTo>
                    <a:pt x="1450" y="738"/>
                  </a:lnTo>
                  <a:lnTo>
                    <a:pt x="1446" y="742"/>
                  </a:lnTo>
                  <a:lnTo>
                    <a:pt x="1446" y="746"/>
                  </a:lnTo>
                  <a:lnTo>
                    <a:pt x="1446" y="742"/>
                  </a:lnTo>
                  <a:lnTo>
                    <a:pt x="1446" y="738"/>
                  </a:lnTo>
                  <a:lnTo>
                    <a:pt x="1446" y="734"/>
                  </a:lnTo>
                  <a:lnTo>
                    <a:pt x="1450" y="734"/>
                  </a:lnTo>
                  <a:lnTo>
                    <a:pt x="1450" y="732"/>
                  </a:lnTo>
                  <a:lnTo>
                    <a:pt x="1446" y="732"/>
                  </a:lnTo>
                  <a:lnTo>
                    <a:pt x="1446" y="728"/>
                  </a:lnTo>
                  <a:lnTo>
                    <a:pt x="1446" y="724"/>
                  </a:lnTo>
                  <a:lnTo>
                    <a:pt x="1446" y="728"/>
                  </a:lnTo>
                  <a:lnTo>
                    <a:pt x="1442" y="728"/>
                  </a:lnTo>
                  <a:lnTo>
                    <a:pt x="1442" y="724"/>
                  </a:lnTo>
                  <a:lnTo>
                    <a:pt x="1440" y="720"/>
                  </a:lnTo>
                  <a:lnTo>
                    <a:pt x="1442" y="720"/>
                  </a:lnTo>
                  <a:lnTo>
                    <a:pt x="1446" y="720"/>
                  </a:lnTo>
                  <a:lnTo>
                    <a:pt x="1446" y="716"/>
                  </a:lnTo>
                  <a:lnTo>
                    <a:pt x="1446" y="720"/>
                  </a:lnTo>
                  <a:lnTo>
                    <a:pt x="1442" y="720"/>
                  </a:lnTo>
                  <a:lnTo>
                    <a:pt x="1442" y="716"/>
                  </a:lnTo>
                  <a:lnTo>
                    <a:pt x="1440" y="716"/>
                  </a:lnTo>
                  <a:lnTo>
                    <a:pt x="1442" y="712"/>
                  </a:lnTo>
                  <a:lnTo>
                    <a:pt x="1442" y="716"/>
                  </a:lnTo>
                  <a:lnTo>
                    <a:pt x="1442" y="712"/>
                  </a:lnTo>
                  <a:lnTo>
                    <a:pt x="1440" y="712"/>
                  </a:lnTo>
                  <a:lnTo>
                    <a:pt x="1440" y="708"/>
                  </a:lnTo>
                  <a:lnTo>
                    <a:pt x="1442" y="712"/>
                  </a:lnTo>
                  <a:lnTo>
                    <a:pt x="1442" y="708"/>
                  </a:lnTo>
                  <a:lnTo>
                    <a:pt x="1442" y="706"/>
                  </a:lnTo>
                  <a:lnTo>
                    <a:pt x="1446" y="706"/>
                  </a:lnTo>
                  <a:lnTo>
                    <a:pt x="1446" y="702"/>
                  </a:lnTo>
                  <a:lnTo>
                    <a:pt x="1446" y="698"/>
                  </a:lnTo>
                  <a:lnTo>
                    <a:pt x="1442" y="702"/>
                  </a:lnTo>
                  <a:lnTo>
                    <a:pt x="1442" y="706"/>
                  </a:lnTo>
                  <a:lnTo>
                    <a:pt x="1442" y="702"/>
                  </a:lnTo>
                  <a:lnTo>
                    <a:pt x="1440" y="706"/>
                  </a:lnTo>
                  <a:lnTo>
                    <a:pt x="1440" y="706"/>
                  </a:lnTo>
                  <a:lnTo>
                    <a:pt x="1440" y="706"/>
                  </a:lnTo>
                  <a:close/>
                  <a:moveTo>
                    <a:pt x="780" y="520"/>
                  </a:moveTo>
                  <a:lnTo>
                    <a:pt x="780" y="522"/>
                  </a:lnTo>
                  <a:lnTo>
                    <a:pt x="780" y="520"/>
                  </a:lnTo>
                  <a:lnTo>
                    <a:pt x="780" y="520"/>
                  </a:lnTo>
                  <a:lnTo>
                    <a:pt x="780" y="520"/>
                  </a:lnTo>
                  <a:close/>
                  <a:moveTo>
                    <a:pt x="824" y="806"/>
                  </a:moveTo>
                  <a:lnTo>
                    <a:pt x="828" y="806"/>
                  </a:lnTo>
                  <a:lnTo>
                    <a:pt x="824" y="806"/>
                  </a:lnTo>
                  <a:lnTo>
                    <a:pt x="824" y="806"/>
                  </a:lnTo>
                  <a:lnTo>
                    <a:pt x="824" y="806"/>
                  </a:lnTo>
                  <a:close/>
                  <a:moveTo>
                    <a:pt x="192" y="120"/>
                  </a:moveTo>
                  <a:lnTo>
                    <a:pt x="188" y="120"/>
                  </a:lnTo>
                  <a:lnTo>
                    <a:pt x="180" y="124"/>
                  </a:lnTo>
                  <a:lnTo>
                    <a:pt x="184" y="120"/>
                  </a:lnTo>
                  <a:lnTo>
                    <a:pt x="188" y="120"/>
                  </a:lnTo>
                  <a:lnTo>
                    <a:pt x="192" y="120"/>
                  </a:lnTo>
                  <a:lnTo>
                    <a:pt x="192" y="120"/>
                  </a:lnTo>
                  <a:lnTo>
                    <a:pt x="192" y="120"/>
                  </a:lnTo>
                  <a:close/>
                  <a:moveTo>
                    <a:pt x="168" y="128"/>
                  </a:moveTo>
                  <a:lnTo>
                    <a:pt x="166" y="132"/>
                  </a:lnTo>
                  <a:lnTo>
                    <a:pt x="166" y="128"/>
                  </a:lnTo>
                  <a:lnTo>
                    <a:pt x="168" y="128"/>
                  </a:lnTo>
                  <a:lnTo>
                    <a:pt x="168" y="128"/>
                  </a:lnTo>
                  <a:lnTo>
                    <a:pt x="168" y="128"/>
                  </a:lnTo>
                  <a:close/>
                  <a:moveTo>
                    <a:pt x="224" y="192"/>
                  </a:moveTo>
                  <a:lnTo>
                    <a:pt x="222" y="192"/>
                  </a:lnTo>
                  <a:lnTo>
                    <a:pt x="224" y="192"/>
                  </a:lnTo>
                  <a:lnTo>
                    <a:pt x="224" y="192"/>
                  </a:lnTo>
                  <a:lnTo>
                    <a:pt x="224" y="192"/>
                  </a:lnTo>
                  <a:close/>
                  <a:moveTo>
                    <a:pt x="426" y="258"/>
                  </a:moveTo>
                  <a:lnTo>
                    <a:pt x="426" y="262"/>
                  </a:lnTo>
                  <a:lnTo>
                    <a:pt x="426" y="258"/>
                  </a:lnTo>
                  <a:lnTo>
                    <a:pt x="422" y="258"/>
                  </a:lnTo>
                  <a:lnTo>
                    <a:pt x="426" y="258"/>
                  </a:lnTo>
                  <a:lnTo>
                    <a:pt x="426" y="258"/>
                  </a:lnTo>
                  <a:lnTo>
                    <a:pt x="426" y="258"/>
                  </a:lnTo>
                  <a:close/>
                  <a:moveTo>
                    <a:pt x="82" y="268"/>
                  </a:moveTo>
                  <a:lnTo>
                    <a:pt x="82" y="266"/>
                  </a:lnTo>
                  <a:lnTo>
                    <a:pt x="80" y="266"/>
                  </a:lnTo>
                  <a:lnTo>
                    <a:pt x="76" y="266"/>
                  </a:lnTo>
                  <a:lnTo>
                    <a:pt x="72" y="262"/>
                  </a:lnTo>
                  <a:lnTo>
                    <a:pt x="76" y="262"/>
                  </a:lnTo>
                  <a:lnTo>
                    <a:pt x="76" y="266"/>
                  </a:lnTo>
                  <a:lnTo>
                    <a:pt x="80" y="266"/>
                  </a:lnTo>
                  <a:lnTo>
                    <a:pt x="82" y="266"/>
                  </a:lnTo>
                  <a:lnTo>
                    <a:pt x="82" y="268"/>
                  </a:lnTo>
                  <a:lnTo>
                    <a:pt x="82" y="268"/>
                  </a:lnTo>
                  <a:lnTo>
                    <a:pt x="82" y="268"/>
                  </a:lnTo>
                  <a:close/>
                  <a:moveTo>
                    <a:pt x="466" y="266"/>
                  </a:moveTo>
                  <a:lnTo>
                    <a:pt x="466" y="268"/>
                  </a:lnTo>
                  <a:lnTo>
                    <a:pt x="466" y="266"/>
                  </a:lnTo>
                  <a:lnTo>
                    <a:pt x="466" y="266"/>
                  </a:lnTo>
                  <a:lnTo>
                    <a:pt x="466" y="266"/>
                  </a:lnTo>
                  <a:close/>
                  <a:moveTo>
                    <a:pt x="426" y="266"/>
                  </a:moveTo>
                  <a:lnTo>
                    <a:pt x="426" y="268"/>
                  </a:lnTo>
                  <a:lnTo>
                    <a:pt x="426" y="266"/>
                  </a:lnTo>
                  <a:lnTo>
                    <a:pt x="426" y="266"/>
                  </a:lnTo>
                  <a:lnTo>
                    <a:pt x="426" y="266"/>
                  </a:lnTo>
                  <a:close/>
                  <a:moveTo>
                    <a:pt x="426" y="268"/>
                  </a:moveTo>
                  <a:lnTo>
                    <a:pt x="426" y="272"/>
                  </a:lnTo>
                  <a:lnTo>
                    <a:pt x="422" y="272"/>
                  </a:lnTo>
                  <a:lnTo>
                    <a:pt x="426" y="272"/>
                  </a:lnTo>
                  <a:lnTo>
                    <a:pt x="426" y="268"/>
                  </a:lnTo>
                  <a:lnTo>
                    <a:pt x="426" y="268"/>
                  </a:lnTo>
                  <a:lnTo>
                    <a:pt x="426" y="268"/>
                  </a:lnTo>
                  <a:close/>
                  <a:moveTo>
                    <a:pt x="482" y="276"/>
                  </a:moveTo>
                  <a:lnTo>
                    <a:pt x="478" y="276"/>
                  </a:lnTo>
                  <a:lnTo>
                    <a:pt x="474" y="276"/>
                  </a:lnTo>
                  <a:lnTo>
                    <a:pt x="474" y="280"/>
                  </a:lnTo>
                  <a:lnTo>
                    <a:pt x="474" y="276"/>
                  </a:lnTo>
                  <a:lnTo>
                    <a:pt x="478" y="276"/>
                  </a:lnTo>
                  <a:lnTo>
                    <a:pt x="478" y="272"/>
                  </a:lnTo>
                  <a:lnTo>
                    <a:pt x="482" y="272"/>
                  </a:lnTo>
                  <a:lnTo>
                    <a:pt x="482" y="276"/>
                  </a:lnTo>
                  <a:lnTo>
                    <a:pt x="482" y="276"/>
                  </a:lnTo>
                  <a:lnTo>
                    <a:pt x="482" y="276"/>
                  </a:lnTo>
                  <a:close/>
                  <a:moveTo>
                    <a:pt x="244" y="306"/>
                  </a:moveTo>
                  <a:lnTo>
                    <a:pt x="244" y="302"/>
                  </a:lnTo>
                  <a:lnTo>
                    <a:pt x="248" y="302"/>
                  </a:lnTo>
                  <a:lnTo>
                    <a:pt x="244" y="306"/>
                  </a:lnTo>
                  <a:lnTo>
                    <a:pt x="244" y="306"/>
                  </a:lnTo>
                  <a:lnTo>
                    <a:pt x="244" y="306"/>
                  </a:lnTo>
                  <a:close/>
                  <a:moveTo>
                    <a:pt x="620" y="314"/>
                  </a:moveTo>
                  <a:lnTo>
                    <a:pt x="616" y="314"/>
                  </a:lnTo>
                  <a:lnTo>
                    <a:pt x="616" y="310"/>
                  </a:lnTo>
                  <a:lnTo>
                    <a:pt x="620" y="314"/>
                  </a:lnTo>
                  <a:lnTo>
                    <a:pt x="620" y="314"/>
                  </a:lnTo>
                  <a:lnTo>
                    <a:pt x="620" y="314"/>
                  </a:lnTo>
                  <a:close/>
                  <a:moveTo>
                    <a:pt x="112" y="340"/>
                  </a:moveTo>
                  <a:lnTo>
                    <a:pt x="110" y="340"/>
                  </a:lnTo>
                  <a:lnTo>
                    <a:pt x="110" y="336"/>
                  </a:lnTo>
                  <a:lnTo>
                    <a:pt x="112" y="336"/>
                  </a:lnTo>
                  <a:lnTo>
                    <a:pt x="112" y="340"/>
                  </a:lnTo>
                  <a:lnTo>
                    <a:pt x="112" y="340"/>
                  </a:lnTo>
                  <a:lnTo>
                    <a:pt x="112" y="340"/>
                  </a:lnTo>
                  <a:close/>
                  <a:moveTo>
                    <a:pt x="120" y="350"/>
                  </a:moveTo>
                  <a:lnTo>
                    <a:pt x="124" y="350"/>
                  </a:lnTo>
                  <a:lnTo>
                    <a:pt x="120" y="350"/>
                  </a:lnTo>
                  <a:lnTo>
                    <a:pt x="120" y="350"/>
                  </a:lnTo>
                  <a:lnTo>
                    <a:pt x="120" y="350"/>
                  </a:lnTo>
                  <a:close/>
                  <a:moveTo>
                    <a:pt x="340" y="350"/>
                  </a:moveTo>
                  <a:lnTo>
                    <a:pt x="336" y="350"/>
                  </a:lnTo>
                  <a:lnTo>
                    <a:pt x="340" y="350"/>
                  </a:lnTo>
                  <a:lnTo>
                    <a:pt x="340" y="350"/>
                  </a:lnTo>
                  <a:lnTo>
                    <a:pt x="340" y="350"/>
                  </a:lnTo>
                  <a:close/>
                  <a:moveTo>
                    <a:pt x="344" y="350"/>
                  </a:moveTo>
                  <a:lnTo>
                    <a:pt x="340" y="350"/>
                  </a:lnTo>
                  <a:lnTo>
                    <a:pt x="344" y="350"/>
                  </a:lnTo>
                  <a:lnTo>
                    <a:pt x="344" y="350"/>
                  </a:lnTo>
                  <a:lnTo>
                    <a:pt x="344" y="350"/>
                  </a:lnTo>
                  <a:close/>
                  <a:moveTo>
                    <a:pt x="322" y="366"/>
                  </a:moveTo>
                  <a:lnTo>
                    <a:pt x="322" y="370"/>
                  </a:lnTo>
                  <a:lnTo>
                    <a:pt x="318" y="370"/>
                  </a:lnTo>
                  <a:lnTo>
                    <a:pt x="318" y="366"/>
                  </a:lnTo>
                  <a:lnTo>
                    <a:pt x="322" y="366"/>
                  </a:lnTo>
                  <a:lnTo>
                    <a:pt x="322" y="366"/>
                  </a:lnTo>
                  <a:lnTo>
                    <a:pt x="322" y="366"/>
                  </a:lnTo>
                  <a:close/>
                  <a:moveTo>
                    <a:pt x="634" y="366"/>
                  </a:moveTo>
                  <a:lnTo>
                    <a:pt x="634" y="370"/>
                  </a:lnTo>
                  <a:lnTo>
                    <a:pt x="634" y="366"/>
                  </a:lnTo>
                  <a:lnTo>
                    <a:pt x="634" y="366"/>
                  </a:lnTo>
                  <a:lnTo>
                    <a:pt x="634" y="366"/>
                  </a:lnTo>
                  <a:close/>
                  <a:moveTo>
                    <a:pt x="1472" y="678"/>
                  </a:moveTo>
                  <a:lnTo>
                    <a:pt x="1472" y="682"/>
                  </a:lnTo>
                  <a:lnTo>
                    <a:pt x="1470" y="682"/>
                  </a:lnTo>
                  <a:lnTo>
                    <a:pt x="1470" y="678"/>
                  </a:lnTo>
                  <a:lnTo>
                    <a:pt x="1472" y="678"/>
                  </a:lnTo>
                  <a:lnTo>
                    <a:pt x="1472" y="678"/>
                  </a:lnTo>
                  <a:lnTo>
                    <a:pt x="1472" y="678"/>
                  </a:lnTo>
                  <a:close/>
                  <a:moveTo>
                    <a:pt x="1450" y="784"/>
                  </a:moveTo>
                  <a:lnTo>
                    <a:pt x="1450" y="780"/>
                  </a:lnTo>
                  <a:lnTo>
                    <a:pt x="1454" y="780"/>
                  </a:lnTo>
                  <a:lnTo>
                    <a:pt x="1454" y="776"/>
                  </a:lnTo>
                  <a:lnTo>
                    <a:pt x="1450" y="772"/>
                  </a:lnTo>
                  <a:lnTo>
                    <a:pt x="1454" y="772"/>
                  </a:lnTo>
                  <a:lnTo>
                    <a:pt x="1454" y="776"/>
                  </a:lnTo>
                  <a:lnTo>
                    <a:pt x="1454" y="780"/>
                  </a:lnTo>
                  <a:lnTo>
                    <a:pt x="1450" y="784"/>
                  </a:lnTo>
                  <a:lnTo>
                    <a:pt x="1450" y="784"/>
                  </a:lnTo>
                  <a:lnTo>
                    <a:pt x="1450" y="784"/>
                  </a:lnTo>
                  <a:close/>
                  <a:moveTo>
                    <a:pt x="1380" y="910"/>
                  </a:moveTo>
                  <a:lnTo>
                    <a:pt x="1380" y="906"/>
                  </a:lnTo>
                  <a:lnTo>
                    <a:pt x="1380" y="910"/>
                  </a:lnTo>
                  <a:lnTo>
                    <a:pt x="1380" y="910"/>
                  </a:lnTo>
                  <a:lnTo>
                    <a:pt x="1380" y="910"/>
                  </a:lnTo>
                  <a:close/>
                  <a:moveTo>
                    <a:pt x="1384" y="918"/>
                  </a:moveTo>
                  <a:lnTo>
                    <a:pt x="1384" y="922"/>
                  </a:lnTo>
                  <a:lnTo>
                    <a:pt x="1384" y="926"/>
                  </a:lnTo>
                  <a:lnTo>
                    <a:pt x="1386" y="930"/>
                  </a:lnTo>
                  <a:lnTo>
                    <a:pt x="1386" y="932"/>
                  </a:lnTo>
                  <a:lnTo>
                    <a:pt x="1386" y="930"/>
                  </a:lnTo>
                  <a:lnTo>
                    <a:pt x="1384" y="926"/>
                  </a:lnTo>
                  <a:lnTo>
                    <a:pt x="1384" y="922"/>
                  </a:lnTo>
                  <a:lnTo>
                    <a:pt x="1384" y="918"/>
                  </a:lnTo>
                  <a:lnTo>
                    <a:pt x="1384" y="918"/>
                  </a:lnTo>
                  <a:lnTo>
                    <a:pt x="1384" y="918"/>
                  </a:lnTo>
                  <a:close/>
                  <a:moveTo>
                    <a:pt x="1144" y="926"/>
                  </a:moveTo>
                  <a:lnTo>
                    <a:pt x="1144" y="930"/>
                  </a:lnTo>
                  <a:lnTo>
                    <a:pt x="1142" y="930"/>
                  </a:lnTo>
                  <a:lnTo>
                    <a:pt x="1144" y="926"/>
                  </a:lnTo>
                  <a:lnTo>
                    <a:pt x="1144" y="922"/>
                  </a:lnTo>
                  <a:lnTo>
                    <a:pt x="1148" y="918"/>
                  </a:lnTo>
                  <a:lnTo>
                    <a:pt x="1148" y="922"/>
                  </a:lnTo>
                  <a:lnTo>
                    <a:pt x="1144" y="922"/>
                  </a:lnTo>
                  <a:lnTo>
                    <a:pt x="1144" y="926"/>
                  </a:lnTo>
                  <a:lnTo>
                    <a:pt x="1144" y="926"/>
                  </a:lnTo>
                  <a:lnTo>
                    <a:pt x="1144" y="926"/>
                  </a:lnTo>
                  <a:close/>
                  <a:moveTo>
                    <a:pt x="1144" y="940"/>
                  </a:moveTo>
                  <a:lnTo>
                    <a:pt x="1144" y="936"/>
                  </a:lnTo>
                  <a:lnTo>
                    <a:pt x="1142" y="936"/>
                  </a:lnTo>
                  <a:lnTo>
                    <a:pt x="1142" y="932"/>
                  </a:lnTo>
                  <a:lnTo>
                    <a:pt x="1142" y="930"/>
                  </a:lnTo>
                  <a:lnTo>
                    <a:pt x="1142" y="932"/>
                  </a:lnTo>
                  <a:lnTo>
                    <a:pt x="1144" y="936"/>
                  </a:lnTo>
                  <a:lnTo>
                    <a:pt x="1144" y="940"/>
                  </a:lnTo>
                  <a:lnTo>
                    <a:pt x="1144" y="944"/>
                  </a:lnTo>
                  <a:lnTo>
                    <a:pt x="1144" y="948"/>
                  </a:lnTo>
                  <a:lnTo>
                    <a:pt x="1144" y="952"/>
                  </a:lnTo>
                  <a:lnTo>
                    <a:pt x="1144" y="948"/>
                  </a:lnTo>
                  <a:lnTo>
                    <a:pt x="1144" y="944"/>
                  </a:lnTo>
                  <a:lnTo>
                    <a:pt x="1144" y="940"/>
                  </a:lnTo>
                  <a:lnTo>
                    <a:pt x="1144" y="940"/>
                  </a:lnTo>
                  <a:lnTo>
                    <a:pt x="1144" y="940"/>
                  </a:lnTo>
                  <a:close/>
                  <a:moveTo>
                    <a:pt x="132" y="202"/>
                  </a:moveTo>
                  <a:lnTo>
                    <a:pt x="128" y="202"/>
                  </a:lnTo>
                  <a:lnTo>
                    <a:pt x="124" y="202"/>
                  </a:lnTo>
                  <a:lnTo>
                    <a:pt x="120" y="206"/>
                  </a:lnTo>
                  <a:lnTo>
                    <a:pt x="120" y="202"/>
                  </a:lnTo>
                  <a:lnTo>
                    <a:pt x="116" y="202"/>
                  </a:lnTo>
                  <a:lnTo>
                    <a:pt x="112" y="202"/>
                  </a:lnTo>
                  <a:lnTo>
                    <a:pt x="112" y="198"/>
                  </a:lnTo>
                  <a:lnTo>
                    <a:pt x="110" y="194"/>
                  </a:lnTo>
                  <a:lnTo>
                    <a:pt x="106" y="194"/>
                  </a:lnTo>
                  <a:lnTo>
                    <a:pt x="102" y="194"/>
                  </a:lnTo>
                  <a:lnTo>
                    <a:pt x="106" y="194"/>
                  </a:lnTo>
                  <a:lnTo>
                    <a:pt x="110" y="194"/>
                  </a:lnTo>
                  <a:lnTo>
                    <a:pt x="110" y="198"/>
                  </a:lnTo>
                  <a:lnTo>
                    <a:pt x="112" y="198"/>
                  </a:lnTo>
                  <a:lnTo>
                    <a:pt x="110" y="198"/>
                  </a:lnTo>
                  <a:lnTo>
                    <a:pt x="106" y="194"/>
                  </a:lnTo>
                  <a:lnTo>
                    <a:pt x="102" y="194"/>
                  </a:lnTo>
                  <a:lnTo>
                    <a:pt x="98" y="194"/>
                  </a:lnTo>
                  <a:lnTo>
                    <a:pt x="98" y="198"/>
                  </a:lnTo>
                  <a:lnTo>
                    <a:pt x="94" y="198"/>
                  </a:lnTo>
                  <a:lnTo>
                    <a:pt x="90" y="198"/>
                  </a:lnTo>
                  <a:lnTo>
                    <a:pt x="90" y="194"/>
                  </a:lnTo>
                  <a:lnTo>
                    <a:pt x="90" y="192"/>
                  </a:lnTo>
                  <a:lnTo>
                    <a:pt x="90" y="188"/>
                  </a:lnTo>
                  <a:lnTo>
                    <a:pt x="94" y="188"/>
                  </a:lnTo>
                  <a:lnTo>
                    <a:pt x="94" y="192"/>
                  </a:lnTo>
                  <a:lnTo>
                    <a:pt x="98" y="192"/>
                  </a:lnTo>
                  <a:lnTo>
                    <a:pt x="102" y="192"/>
                  </a:lnTo>
                  <a:lnTo>
                    <a:pt x="106" y="192"/>
                  </a:lnTo>
                  <a:lnTo>
                    <a:pt x="110" y="188"/>
                  </a:lnTo>
                  <a:lnTo>
                    <a:pt x="112" y="188"/>
                  </a:lnTo>
                  <a:lnTo>
                    <a:pt x="112" y="192"/>
                  </a:lnTo>
                  <a:lnTo>
                    <a:pt x="116" y="192"/>
                  </a:lnTo>
                  <a:lnTo>
                    <a:pt x="116" y="194"/>
                  </a:lnTo>
                  <a:lnTo>
                    <a:pt x="120" y="194"/>
                  </a:lnTo>
                  <a:lnTo>
                    <a:pt x="124" y="194"/>
                  </a:lnTo>
                  <a:lnTo>
                    <a:pt x="124" y="198"/>
                  </a:lnTo>
                  <a:lnTo>
                    <a:pt x="128" y="198"/>
                  </a:lnTo>
                  <a:lnTo>
                    <a:pt x="132" y="198"/>
                  </a:lnTo>
                  <a:lnTo>
                    <a:pt x="136" y="198"/>
                  </a:lnTo>
                  <a:lnTo>
                    <a:pt x="132" y="202"/>
                  </a:lnTo>
                  <a:lnTo>
                    <a:pt x="132" y="202"/>
                  </a:lnTo>
                  <a:lnTo>
                    <a:pt x="132" y="202"/>
                  </a:lnTo>
                  <a:close/>
                  <a:moveTo>
                    <a:pt x="426" y="254"/>
                  </a:moveTo>
                  <a:lnTo>
                    <a:pt x="430" y="254"/>
                  </a:lnTo>
                  <a:lnTo>
                    <a:pt x="426" y="258"/>
                  </a:lnTo>
                  <a:lnTo>
                    <a:pt x="426" y="254"/>
                  </a:lnTo>
                  <a:lnTo>
                    <a:pt x="426" y="254"/>
                  </a:lnTo>
                  <a:lnTo>
                    <a:pt x="426" y="254"/>
                  </a:lnTo>
                  <a:close/>
                  <a:moveTo>
                    <a:pt x="460" y="262"/>
                  </a:moveTo>
                  <a:lnTo>
                    <a:pt x="456" y="262"/>
                  </a:lnTo>
                  <a:lnTo>
                    <a:pt x="452" y="266"/>
                  </a:lnTo>
                  <a:lnTo>
                    <a:pt x="452" y="262"/>
                  </a:lnTo>
                  <a:lnTo>
                    <a:pt x="456" y="262"/>
                  </a:lnTo>
                  <a:lnTo>
                    <a:pt x="460" y="262"/>
                  </a:lnTo>
                  <a:lnTo>
                    <a:pt x="460" y="262"/>
                  </a:lnTo>
                  <a:lnTo>
                    <a:pt x="460" y="262"/>
                  </a:lnTo>
                  <a:close/>
                  <a:moveTo>
                    <a:pt x="456" y="266"/>
                  </a:moveTo>
                  <a:lnTo>
                    <a:pt x="452" y="266"/>
                  </a:lnTo>
                  <a:lnTo>
                    <a:pt x="448" y="266"/>
                  </a:lnTo>
                  <a:lnTo>
                    <a:pt x="448" y="268"/>
                  </a:lnTo>
                  <a:lnTo>
                    <a:pt x="444" y="268"/>
                  </a:lnTo>
                  <a:lnTo>
                    <a:pt x="448" y="268"/>
                  </a:lnTo>
                  <a:lnTo>
                    <a:pt x="448" y="266"/>
                  </a:lnTo>
                  <a:lnTo>
                    <a:pt x="444" y="266"/>
                  </a:lnTo>
                  <a:lnTo>
                    <a:pt x="448" y="266"/>
                  </a:lnTo>
                  <a:lnTo>
                    <a:pt x="448" y="262"/>
                  </a:lnTo>
                  <a:lnTo>
                    <a:pt x="448" y="266"/>
                  </a:lnTo>
                  <a:lnTo>
                    <a:pt x="452" y="266"/>
                  </a:lnTo>
                  <a:lnTo>
                    <a:pt x="456" y="266"/>
                  </a:lnTo>
                  <a:lnTo>
                    <a:pt x="456" y="266"/>
                  </a:lnTo>
                  <a:lnTo>
                    <a:pt x="456" y="266"/>
                  </a:lnTo>
                  <a:close/>
                  <a:moveTo>
                    <a:pt x="172" y="266"/>
                  </a:moveTo>
                  <a:lnTo>
                    <a:pt x="176" y="266"/>
                  </a:lnTo>
                  <a:lnTo>
                    <a:pt x="176" y="268"/>
                  </a:lnTo>
                  <a:lnTo>
                    <a:pt x="176" y="272"/>
                  </a:lnTo>
                  <a:lnTo>
                    <a:pt x="180" y="276"/>
                  </a:lnTo>
                  <a:lnTo>
                    <a:pt x="176" y="276"/>
                  </a:lnTo>
                  <a:lnTo>
                    <a:pt x="172" y="276"/>
                  </a:lnTo>
                  <a:lnTo>
                    <a:pt x="168" y="276"/>
                  </a:lnTo>
                  <a:lnTo>
                    <a:pt x="168" y="280"/>
                  </a:lnTo>
                  <a:lnTo>
                    <a:pt x="172" y="280"/>
                  </a:lnTo>
                  <a:lnTo>
                    <a:pt x="168" y="280"/>
                  </a:lnTo>
                  <a:lnTo>
                    <a:pt x="166" y="276"/>
                  </a:lnTo>
                  <a:lnTo>
                    <a:pt x="158" y="276"/>
                  </a:lnTo>
                  <a:lnTo>
                    <a:pt x="158" y="272"/>
                  </a:lnTo>
                  <a:lnTo>
                    <a:pt x="154" y="272"/>
                  </a:lnTo>
                  <a:lnTo>
                    <a:pt x="154" y="268"/>
                  </a:lnTo>
                  <a:lnTo>
                    <a:pt x="158" y="268"/>
                  </a:lnTo>
                  <a:lnTo>
                    <a:pt x="162" y="268"/>
                  </a:lnTo>
                  <a:lnTo>
                    <a:pt x="162" y="266"/>
                  </a:lnTo>
                  <a:lnTo>
                    <a:pt x="166" y="266"/>
                  </a:lnTo>
                  <a:lnTo>
                    <a:pt x="168" y="266"/>
                  </a:lnTo>
                  <a:lnTo>
                    <a:pt x="172" y="266"/>
                  </a:lnTo>
                  <a:lnTo>
                    <a:pt x="172" y="266"/>
                  </a:lnTo>
                  <a:lnTo>
                    <a:pt x="172" y="266"/>
                  </a:lnTo>
                  <a:close/>
                  <a:moveTo>
                    <a:pt x="440" y="268"/>
                  </a:moveTo>
                  <a:lnTo>
                    <a:pt x="436" y="268"/>
                  </a:lnTo>
                  <a:lnTo>
                    <a:pt x="436" y="272"/>
                  </a:lnTo>
                  <a:lnTo>
                    <a:pt x="434" y="276"/>
                  </a:lnTo>
                  <a:lnTo>
                    <a:pt x="430" y="280"/>
                  </a:lnTo>
                  <a:lnTo>
                    <a:pt x="430" y="276"/>
                  </a:lnTo>
                  <a:lnTo>
                    <a:pt x="434" y="272"/>
                  </a:lnTo>
                  <a:lnTo>
                    <a:pt x="436" y="272"/>
                  </a:lnTo>
                  <a:lnTo>
                    <a:pt x="436" y="268"/>
                  </a:lnTo>
                  <a:lnTo>
                    <a:pt x="436" y="266"/>
                  </a:lnTo>
                  <a:lnTo>
                    <a:pt x="440" y="266"/>
                  </a:lnTo>
                  <a:lnTo>
                    <a:pt x="440" y="268"/>
                  </a:lnTo>
                  <a:lnTo>
                    <a:pt x="440" y="268"/>
                  </a:lnTo>
                  <a:lnTo>
                    <a:pt x="440" y="268"/>
                  </a:lnTo>
                  <a:close/>
                  <a:moveTo>
                    <a:pt x="430" y="272"/>
                  </a:moveTo>
                  <a:lnTo>
                    <a:pt x="426" y="272"/>
                  </a:lnTo>
                  <a:lnTo>
                    <a:pt x="430" y="268"/>
                  </a:lnTo>
                  <a:lnTo>
                    <a:pt x="430" y="272"/>
                  </a:lnTo>
                  <a:lnTo>
                    <a:pt x="430" y="272"/>
                  </a:lnTo>
                  <a:lnTo>
                    <a:pt x="430" y="272"/>
                  </a:lnTo>
                  <a:close/>
                  <a:moveTo>
                    <a:pt x="430" y="272"/>
                  </a:moveTo>
                  <a:lnTo>
                    <a:pt x="430" y="276"/>
                  </a:lnTo>
                  <a:lnTo>
                    <a:pt x="426" y="276"/>
                  </a:lnTo>
                  <a:lnTo>
                    <a:pt x="426" y="272"/>
                  </a:lnTo>
                  <a:lnTo>
                    <a:pt x="430" y="272"/>
                  </a:lnTo>
                  <a:lnTo>
                    <a:pt x="430" y="272"/>
                  </a:lnTo>
                  <a:lnTo>
                    <a:pt x="430" y="272"/>
                  </a:lnTo>
                  <a:close/>
                  <a:moveTo>
                    <a:pt x="350" y="288"/>
                  </a:moveTo>
                  <a:lnTo>
                    <a:pt x="350" y="292"/>
                  </a:lnTo>
                  <a:lnTo>
                    <a:pt x="348" y="292"/>
                  </a:lnTo>
                  <a:lnTo>
                    <a:pt x="348" y="288"/>
                  </a:lnTo>
                  <a:lnTo>
                    <a:pt x="350" y="288"/>
                  </a:lnTo>
                  <a:lnTo>
                    <a:pt x="350" y="288"/>
                  </a:lnTo>
                  <a:lnTo>
                    <a:pt x="350" y="288"/>
                  </a:lnTo>
                  <a:close/>
                  <a:moveTo>
                    <a:pt x="388" y="288"/>
                  </a:moveTo>
                  <a:lnTo>
                    <a:pt x="388" y="292"/>
                  </a:lnTo>
                  <a:lnTo>
                    <a:pt x="388" y="288"/>
                  </a:lnTo>
                  <a:lnTo>
                    <a:pt x="388" y="288"/>
                  </a:lnTo>
                  <a:lnTo>
                    <a:pt x="388" y="288"/>
                  </a:lnTo>
                  <a:close/>
                  <a:moveTo>
                    <a:pt x="366" y="306"/>
                  </a:moveTo>
                  <a:lnTo>
                    <a:pt x="362" y="310"/>
                  </a:lnTo>
                  <a:lnTo>
                    <a:pt x="362" y="306"/>
                  </a:lnTo>
                  <a:lnTo>
                    <a:pt x="366" y="306"/>
                  </a:lnTo>
                  <a:lnTo>
                    <a:pt x="366" y="306"/>
                  </a:lnTo>
                  <a:lnTo>
                    <a:pt x="366" y="306"/>
                  </a:lnTo>
                  <a:close/>
                  <a:moveTo>
                    <a:pt x="362" y="318"/>
                  </a:moveTo>
                  <a:lnTo>
                    <a:pt x="358" y="322"/>
                  </a:lnTo>
                  <a:lnTo>
                    <a:pt x="358" y="318"/>
                  </a:lnTo>
                  <a:lnTo>
                    <a:pt x="354" y="318"/>
                  </a:lnTo>
                  <a:lnTo>
                    <a:pt x="354" y="314"/>
                  </a:lnTo>
                  <a:lnTo>
                    <a:pt x="358" y="318"/>
                  </a:lnTo>
                  <a:lnTo>
                    <a:pt x="358" y="314"/>
                  </a:lnTo>
                  <a:lnTo>
                    <a:pt x="354" y="314"/>
                  </a:lnTo>
                  <a:lnTo>
                    <a:pt x="358" y="314"/>
                  </a:lnTo>
                  <a:lnTo>
                    <a:pt x="358" y="310"/>
                  </a:lnTo>
                  <a:lnTo>
                    <a:pt x="362" y="310"/>
                  </a:lnTo>
                  <a:lnTo>
                    <a:pt x="366" y="310"/>
                  </a:lnTo>
                  <a:lnTo>
                    <a:pt x="370" y="310"/>
                  </a:lnTo>
                  <a:lnTo>
                    <a:pt x="370" y="314"/>
                  </a:lnTo>
                  <a:lnTo>
                    <a:pt x="370" y="318"/>
                  </a:lnTo>
                  <a:lnTo>
                    <a:pt x="366" y="314"/>
                  </a:lnTo>
                  <a:lnTo>
                    <a:pt x="366" y="318"/>
                  </a:lnTo>
                  <a:lnTo>
                    <a:pt x="362" y="318"/>
                  </a:lnTo>
                  <a:lnTo>
                    <a:pt x="362" y="318"/>
                  </a:lnTo>
                  <a:lnTo>
                    <a:pt x="362" y="318"/>
                  </a:lnTo>
                  <a:close/>
                  <a:moveTo>
                    <a:pt x="626" y="332"/>
                  </a:moveTo>
                  <a:lnTo>
                    <a:pt x="622" y="332"/>
                  </a:lnTo>
                  <a:lnTo>
                    <a:pt x="626" y="332"/>
                  </a:lnTo>
                  <a:lnTo>
                    <a:pt x="626" y="336"/>
                  </a:lnTo>
                  <a:lnTo>
                    <a:pt x="622" y="336"/>
                  </a:lnTo>
                  <a:lnTo>
                    <a:pt x="622" y="332"/>
                  </a:lnTo>
                  <a:lnTo>
                    <a:pt x="622" y="336"/>
                  </a:lnTo>
                  <a:lnTo>
                    <a:pt x="620" y="340"/>
                  </a:lnTo>
                  <a:lnTo>
                    <a:pt x="616" y="340"/>
                  </a:lnTo>
                  <a:lnTo>
                    <a:pt x="616" y="336"/>
                  </a:lnTo>
                  <a:lnTo>
                    <a:pt x="620" y="332"/>
                  </a:lnTo>
                  <a:lnTo>
                    <a:pt x="620" y="336"/>
                  </a:lnTo>
                  <a:lnTo>
                    <a:pt x="620" y="332"/>
                  </a:lnTo>
                  <a:lnTo>
                    <a:pt x="616" y="332"/>
                  </a:lnTo>
                  <a:lnTo>
                    <a:pt x="620" y="332"/>
                  </a:lnTo>
                  <a:lnTo>
                    <a:pt x="620" y="328"/>
                  </a:lnTo>
                  <a:lnTo>
                    <a:pt x="616" y="328"/>
                  </a:lnTo>
                  <a:lnTo>
                    <a:pt x="616" y="324"/>
                  </a:lnTo>
                  <a:lnTo>
                    <a:pt x="616" y="318"/>
                  </a:lnTo>
                  <a:lnTo>
                    <a:pt x="612" y="314"/>
                  </a:lnTo>
                  <a:lnTo>
                    <a:pt x="612" y="310"/>
                  </a:lnTo>
                  <a:lnTo>
                    <a:pt x="612" y="314"/>
                  </a:lnTo>
                  <a:lnTo>
                    <a:pt x="616" y="314"/>
                  </a:lnTo>
                  <a:lnTo>
                    <a:pt x="616" y="318"/>
                  </a:lnTo>
                  <a:lnTo>
                    <a:pt x="616" y="314"/>
                  </a:lnTo>
                  <a:lnTo>
                    <a:pt x="620" y="314"/>
                  </a:lnTo>
                  <a:lnTo>
                    <a:pt x="620" y="318"/>
                  </a:lnTo>
                  <a:lnTo>
                    <a:pt x="622" y="318"/>
                  </a:lnTo>
                  <a:lnTo>
                    <a:pt x="622" y="322"/>
                  </a:lnTo>
                  <a:lnTo>
                    <a:pt x="626" y="324"/>
                  </a:lnTo>
                  <a:lnTo>
                    <a:pt x="626" y="328"/>
                  </a:lnTo>
                  <a:lnTo>
                    <a:pt x="626" y="324"/>
                  </a:lnTo>
                  <a:lnTo>
                    <a:pt x="622" y="324"/>
                  </a:lnTo>
                  <a:lnTo>
                    <a:pt x="622" y="322"/>
                  </a:lnTo>
                  <a:lnTo>
                    <a:pt x="622" y="318"/>
                  </a:lnTo>
                  <a:lnTo>
                    <a:pt x="620" y="318"/>
                  </a:lnTo>
                  <a:lnTo>
                    <a:pt x="620" y="322"/>
                  </a:lnTo>
                  <a:lnTo>
                    <a:pt x="622" y="322"/>
                  </a:lnTo>
                  <a:lnTo>
                    <a:pt x="622" y="324"/>
                  </a:lnTo>
                  <a:lnTo>
                    <a:pt x="622" y="328"/>
                  </a:lnTo>
                  <a:lnTo>
                    <a:pt x="626" y="328"/>
                  </a:lnTo>
                  <a:lnTo>
                    <a:pt x="626" y="332"/>
                  </a:lnTo>
                  <a:lnTo>
                    <a:pt x="626" y="332"/>
                  </a:lnTo>
                  <a:lnTo>
                    <a:pt x="626" y="332"/>
                  </a:lnTo>
                  <a:close/>
                  <a:moveTo>
                    <a:pt x="594" y="324"/>
                  </a:moveTo>
                  <a:lnTo>
                    <a:pt x="590" y="324"/>
                  </a:lnTo>
                  <a:lnTo>
                    <a:pt x="594" y="322"/>
                  </a:lnTo>
                  <a:lnTo>
                    <a:pt x="598" y="322"/>
                  </a:lnTo>
                  <a:lnTo>
                    <a:pt x="594" y="322"/>
                  </a:lnTo>
                  <a:lnTo>
                    <a:pt x="590" y="318"/>
                  </a:lnTo>
                  <a:lnTo>
                    <a:pt x="594" y="314"/>
                  </a:lnTo>
                  <a:lnTo>
                    <a:pt x="594" y="318"/>
                  </a:lnTo>
                  <a:lnTo>
                    <a:pt x="594" y="314"/>
                  </a:lnTo>
                  <a:lnTo>
                    <a:pt x="598" y="314"/>
                  </a:lnTo>
                  <a:lnTo>
                    <a:pt x="602" y="314"/>
                  </a:lnTo>
                  <a:lnTo>
                    <a:pt x="606" y="314"/>
                  </a:lnTo>
                  <a:lnTo>
                    <a:pt x="606" y="318"/>
                  </a:lnTo>
                  <a:lnTo>
                    <a:pt x="602" y="318"/>
                  </a:lnTo>
                  <a:lnTo>
                    <a:pt x="602" y="322"/>
                  </a:lnTo>
                  <a:lnTo>
                    <a:pt x="606" y="322"/>
                  </a:lnTo>
                  <a:lnTo>
                    <a:pt x="606" y="318"/>
                  </a:lnTo>
                  <a:lnTo>
                    <a:pt x="608" y="318"/>
                  </a:lnTo>
                  <a:lnTo>
                    <a:pt x="612" y="318"/>
                  </a:lnTo>
                  <a:lnTo>
                    <a:pt x="612" y="322"/>
                  </a:lnTo>
                  <a:lnTo>
                    <a:pt x="608" y="322"/>
                  </a:lnTo>
                  <a:lnTo>
                    <a:pt x="612" y="322"/>
                  </a:lnTo>
                  <a:lnTo>
                    <a:pt x="612" y="324"/>
                  </a:lnTo>
                  <a:lnTo>
                    <a:pt x="608" y="324"/>
                  </a:lnTo>
                  <a:lnTo>
                    <a:pt x="606" y="324"/>
                  </a:lnTo>
                  <a:lnTo>
                    <a:pt x="606" y="322"/>
                  </a:lnTo>
                  <a:lnTo>
                    <a:pt x="602" y="322"/>
                  </a:lnTo>
                  <a:lnTo>
                    <a:pt x="598" y="322"/>
                  </a:lnTo>
                  <a:lnTo>
                    <a:pt x="602" y="322"/>
                  </a:lnTo>
                  <a:lnTo>
                    <a:pt x="606" y="322"/>
                  </a:lnTo>
                  <a:lnTo>
                    <a:pt x="606" y="324"/>
                  </a:lnTo>
                  <a:lnTo>
                    <a:pt x="608" y="324"/>
                  </a:lnTo>
                  <a:lnTo>
                    <a:pt x="612" y="324"/>
                  </a:lnTo>
                  <a:lnTo>
                    <a:pt x="612" y="328"/>
                  </a:lnTo>
                  <a:lnTo>
                    <a:pt x="612" y="332"/>
                  </a:lnTo>
                  <a:lnTo>
                    <a:pt x="608" y="332"/>
                  </a:lnTo>
                  <a:lnTo>
                    <a:pt x="608" y="328"/>
                  </a:lnTo>
                  <a:lnTo>
                    <a:pt x="606" y="328"/>
                  </a:lnTo>
                  <a:lnTo>
                    <a:pt x="606" y="324"/>
                  </a:lnTo>
                  <a:lnTo>
                    <a:pt x="602" y="324"/>
                  </a:lnTo>
                  <a:lnTo>
                    <a:pt x="602" y="328"/>
                  </a:lnTo>
                  <a:lnTo>
                    <a:pt x="606" y="328"/>
                  </a:lnTo>
                  <a:lnTo>
                    <a:pt x="606" y="332"/>
                  </a:lnTo>
                  <a:lnTo>
                    <a:pt x="602" y="332"/>
                  </a:lnTo>
                  <a:lnTo>
                    <a:pt x="598" y="332"/>
                  </a:lnTo>
                  <a:lnTo>
                    <a:pt x="598" y="328"/>
                  </a:lnTo>
                  <a:lnTo>
                    <a:pt x="598" y="332"/>
                  </a:lnTo>
                  <a:lnTo>
                    <a:pt x="602" y="332"/>
                  </a:lnTo>
                  <a:lnTo>
                    <a:pt x="598" y="328"/>
                  </a:lnTo>
                  <a:lnTo>
                    <a:pt x="594" y="324"/>
                  </a:lnTo>
                  <a:lnTo>
                    <a:pt x="594" y="324"/>
                  </a:lnTo>
                  <a:lnTo>
                    <a:pt x="594" y="324"/>
                  </a:lnTo>
                  <a:close/>
                  <a:moveTo>
                    <a:pt x="350" y="318"/>
                  </a:moveTo>
                  <a:lnTo>
                    <a:pt x="354" y="318"/>
                  </a:lnTo>
                  <a:lnTo>
                    <a:pt x="358" y="318"/>
                  </a:lnTo>
                  <a:lnTo>
                    <a:pt x="358" y="322"/>
                  </a:lnTo>
                  <a:lnTo>
                    <a:pt x="354" y="322"/>
                  </a:lnTo>
                  <a:lnTo>
                    <a:pt x="354" y="318"/>
                  </a:lnTo>
                  <a:lnTo>
                    <a:pt x="350" y="318"/>
                  </a:lnTo>
                  <a:lnTo>
                    <a:pt x="350" y="318"/>
                  </a:lnTo>
                  <a:lnTo>
                    <a:pt x="350" y="318"/>
                  </a:lnTo>
                  <a:close/>
                  <a:moveTo>
                    <a:pt x="590" y="318"/>
                  </a:moveTo>
                  <a:lnTo>
                    <a:pt x="594" y="318"/>
                  </a:lnTo>
                  <a:lnTo>
                    <a:pt x="594" y="322"/>
                  </a:lnTo>
                  <a:lnTo>
                    <a:pt x="590" y="322"/>
                  </a:lnTo>
                  <a:lnTo>
                    <a:pt x="590" y="318"/>
                  </a:lnTo>
                  <a:lnTo>
                    <a:pt x="590" y="318"/>
                  </a:lnTo>
                  <a:lnTo>
                    <a:pt x="590" y="318"/>
                  </a:lnTo>
                  <a:close/>
                  <a:moveTo>
                    <a:pt x="348" y="328"/>
                  </a:moveTo>
                  <a:lnTo>
                    <a:pt x="348" y="324"/>
                  </a:lnTo>
                  <a:lnTo>
                    <a:pt x="344" y="324"/>
                  </a:lnTo>
                  <a:lnTo>
                    <a:pt x="348" y="322"/>
                  </a:lnTo>
                  <a:lnTo>
                    <a:pt x="348" y="324"/>
                  </a:lnTo>
                  <a:lnTo>
                    <a:pt x="348" y="328"/>
                  </a:lnTo>
                  <a:lnTo>
                    <a:pt x="350" y="324"/>
                  </a:lnTo>
                  <a:lnTo>
                    <a:pt x="350" y="322"/>
                  </a:lnTo>
                  <a:lnTo>
                    <a:pt x="354" y="324"/>
                  </a:lnTo>
                  <a:lnTo>
                    <a:pt x="354" y="322"/>
                  </a:lnTo>
                  <a:lnTo>
                    <a:pt x="354" y="324"/>
                  </a:lnTo>
                  <a:lnTo>
                    <a:pt x="354" y="322"/>
                  </a:lnTo>
                  <a:lnTo>
                    <a:pt x="350" y="322"/>
                  </a:lnTo>
                  <a:lnTo>
                    <a:pt x="354" y="322"/>
                  </a:lnTo>
                  <a:lnTo>
                    <a:pt x="358" y="322"/>
                  </a:lnTo>
                  <a:lnTo>
                    <a:pt x="358" y="324"/>
                  </a:lnTo>
                  <a:lnTo>
                    <a:pt x="358" y="322"/>
                  </a:lnTo>
                  <a:lnTo>
                    <a:pt x="362" y="322"/>
                  </a:lnTo>
                  <a:lnTo>
                    <a:pt x="366" y="322"/>
                  </a:lnTo>
                  <a:lnTo>
                    <a:pt x="366" y="324"/>
                  </a:lnTo>
                  <a:lnTo>
                    <a:pt x="362" y="324"/>
                  </a:lnTo>
                  <a:lnTo>
                    <a:pt x="366" y="328"/>
                  </a:lnTo>
                  <a:lnTo>
                    <a:pt x="370" y="328"/>
                  </a:lnTo>
                  <a:lnTo>
                    <a:pt x="366" y="328"/>
                  </a:lnTo>
                  <a:lnTo>
                    <a:pt x="366" y="332"/>
                  </a:lnTo>
                  <a:lnTo>
                    <a:pt x="362" y="332"/>
                  </a:lnTo>
                  <a:lnTo>
                    <a:pt x="358" y="328"/>
                  </a:lnTo>
                  <a:lnTo>
                    <a:pt x="354" y="332"/>
                  </a:lnTo>
                  <a:lnTo>
                    <a:pt x="358" y="332"/>
                  </a:lnTo>
                  <a:lnTo>
                    <a:pt x="362" y="332"/>
                  </a:lnTo>
                  <a:lnTo>
                    <a:pt x="362" y="336"/>
                  </a:lnTo>
                  <a:lnTo>
                    <a:pt x="358" y="336"/>
                  </a:lnTo>
                  <a:lnTo>
                    <a:pt x="354" y="332"/>
                  </a:lnTo>
                  <a:lnTo>
                    <a:pt x="354" y="336"/>
                  </a:lnTo>
                  <a:lnTo>
                    <a:pt x="358" y="336"/>
                  </a:lnTo>
                  <a:lnTo>
                    <a:pt x="354" y="336"/>
                  </a:lnTo>
                  <a:lnTo>
                    <a:pt x="350" y="336"/>
                  </a:lnTo>
                  <a:lnTo>
                    <a:pt x="350" y="340"/>
                  </a:lnTo>
                  <a:lnTo>
                    <a:pt x="348" y="340"/>
                  </a:lnTo>
                  <a:lnTo>
                    <a:pt x="348" y="344"/>
                  </a:lnTo>
                  <a:lnTo>
                    <a:pt x="344" y="344"/>
                  </a:lnTo>
                  <a:lnTo>
                    <a:pt x="344" y="348"/>
                  </a:lnTo>
                  <a:lnTo>
                    <a:pt x="340" y="348"/>
                  </a:lnTo>
                  <a:lnTo>
                    <a:pt x="340" y="344"/>
                  </a:lnTo>
                  <a:lnTo>
                    <a:pt x="344" y="344"/>
                  </a:lnTo>
                  <a:lnTo>
                    <a:pt x="344" y="340"/>
                  </a:lnTo>
                  <a:lnTo>
                    <a:pt x="344" y="344"/>
                  </a:lnTo>
                  <a:lnTo>
                    <a:pt x="344" y="340"/>
                  </a:lnTo>
                  <a:lnTo>
                    <a:pt x="348" y="340"/>
                  </a:lnTo>
                  <a:lnTo>
                    <a:pt x="344" y="340"/>
                  </a:lnTo>
                  <a:lnTo>
                    <a:pt x="340" y="340"/>
                  </a:lnTo>
                  <a:lnTo>
                    <a:pt x="340" y="344"/>
                  </a:lnTo>
                  <a:lnTo>
                    <a:pt x="340" y="340"/>
                  </a:lnTo>
                  <a:lnTo>
                    <a:pt x="344" y="340"/>
                  </a:lnTo>
                  <a:lnTo>
                    <a:pt x="340" y="340"/>
                  </a:lnTo>
                  <a:lnTo>
                    <a:pt x="336" y="340"/>
                  </a:lnTo>
                  <a:lnTo>
                    <a:pt x="340" y="340"/>
                  </a:lnTo>
                  <a:lnTo>
                    <a:pt x="340" y="344"/>
                  </a:lnTo>
                  <a:lnTo>
                    <a:pt x="336" y="344"/>
                  </a:lnTo>
                  <a:lnTo>
                    <a:pt x="336" y="340"/>
                  </a:lnTo>
                  <a:lnTo>
                    <a:pt x="336" y="336"/>
                  </a:lnTo>
                  <a:lnTo>
                    <a:pt x="332" y="336"/>
                  </a:lnTo>
                  <a:lnTo>
                    <a:pt x="332" y="332"/>
                  </a:lnTo>
                  <a:lnTo>
                    <a:pt x="332" y="328"/>
                  </a:lnTo>
                  <a:lnTo>
                    <a:pt x="336" y="328"/>
                  </a:lnTo>
                  <a:lnTo>
                    <a:pt x="340" y="328"/>
                  </a:lnTo>
                  <a:lnTo>
                    <a:pt x="344" y="328"/>
                  </a:lnTo>
                  <a:lnTo>
                    <a:pt x="344" y="332"/>
                  </a:lnTo>
                  <a:lnTo>
                    <a:pt x="344" y="336"/>
                  </a:lnTo>
                  <a:lnTo>
                    <a:pt x="348" y="336"/>
                  </a:lnTo>
                  <a:lnTo>
                    <a:pt x="344" y="332"/>
                  </a:lnTo>
                  <a:lnTo>
                    <a:pt x="344" y="328"/>
                  </a:lnTo>
                  <a:lnTo>
                    <a:pt x="348" y="328"/>
                  </a:lnTo>
                  <a:lnTo>
                    <a:pt x="348" y="328"/>
                  </a:lnTo>
                  <a:lnTo>
                    <a:pt x="348" y="328"/>
                  </a:lnTo>
                  <a:close/>
                  <a:moveTo>
                    <a:pt x="350" y="322"/>
                  </a:moveTo>
                  <a:lnTo>
                    <a:pt x="354" y="322"/>
                  </a:lnTo>
                  <a:lnTo>
                    <a:pt x="354" y="324"/>
                  </a:lnTo>
                  <a:lnTo>
                    <a:pt x="350" y="324"/>
                  </a:lnTo>
                  <a:lnTo>
                    <a:pt x="350" y="322"/>
                  </a:lnTo>
                  <a:lnTo>
                    <a:pt x="348" y="322"/>
                  </a:lnTo>
                  <a:lnTo>
                    <a:pt x="350" y="322"/>
                  </a:lnTo>
                  <a:lnTo>
                    <a:pt x="350" y="322"/>
                  </a:lnTo>
                  <a:lnTo>
                    <a:pt x="350" y="322"/>
                  </a:lnTo>
                  <a:close/>
                  <a:moveTo>
                    <a:pt x="616" y="350"/>
                  </a:moveTo>
                  <a:lnTo>
                    <a:pt x="616" y="354"/>
                  </a:lnTo>
                  <a:lnTo>
                    <a:pt x="616" y="358"/>
                  </a:lnTo>
                  <a:lnTo>
                    <a:pt x="612" y="354"/>
                  </a:lnTo>
                  <a:lnTo>
                    <a:pt x="612" y="350"/>
                  </a:lnTo>
                  <a:lnTo>
                    <a:pt x="612" y="348"/>
                  </a:lnTo>
                  <a:lnTo>
                    <a:pt x="608" y="350"/>
                  </a:lnTo>
                  <a:lnTo>
                    <a:pt x="608" y="348"/>
                  </a:lnTo>
                  <a:lnTo>
                    <a:pt x="606" y="344"/>
                  </a:lnTo>
                  <a:lnTo>
                    <a:pt x="606" y="340"/>
                  </a:lnTo>
                  <a:lnTo>
                    <a:pt x="606" y="336"/>
                  </a:lnTo>
                  <a:lnTo>
                    <a:pt x="602" y="336"/>
                  </a:lnTo>
                  <a:lnTo>
                    <a:pt x="602" y="332"/>
                  </a:lnTo>
                  <a:lnTo>
                    <a:pt x="606" y="332"/>
                  </a:lnTo>
                  <a:lnTo>
                    <a:pt x="606" y="328"/>
                  </a:lnTo>
                  <a:lnTo>
                    <a:pt x="608" y="332"/>
                  </a:lnTo>
                  <a:lnTo>
                    <a:pt x="612" y="332"/>
                  </a:lnTo>
                  <a:lnTo>
                    <a:pt x="612" y="336"/>
                  </a:lnTo>
                  <a:lnTo>
                    <a:pt x="616" y="340"/>
                  </a:lnTo>
                  <a:lnTo>
                    <a:pt x="616" y="344"/>
                  </a:lnTo>
                  <a:lnTo>
                    <a:pt x="616" y="348"/>
                  </a:lnTo>
                  <a:lnTo>
                    <a:pt x="616" y="350"/>
                  </a:lnTo>
                  <a:lnTo>
                    <a:pt x="616" y="350"/>
                  </a:lnTo>
                  <a:lnTo>
                    <a:pt x="616" y="350"/>
                  </a:lnTo>
                  <a:close/>
                  <a:moveTo>
                    <a:pt x="612" y="332"/>
                  </a:moveTo>
                  <a:lnTo>
                    <a:pt x="616" y="332"/>
                  </a:lnTo>
                  <a:lnTo>
                    <a:pt x="612" y="336"/>
                  </a:lnTo>
                  <a:lnTo>
                    <a:pt x="612" y="332"/>
                  </a:lnTo>
                  <a:lnTo>
                    <a:pt x="612" y="332"/>
                  </a:lnTo>
                  <a:lnTo>
                    <a:pt x="612" y="332"/>
                  </a:lnTo>
                  <a:close/>
                  <a:moveTo>
                    <a:pt x="602" y="336"/>
                  </a:moveTo>
                  <a:lnTo>
                    <a:pt x="606" y="336"/>
                  </a:lnTo>
                  <a:lnTo>
                    <a:pt x="606" y="340"/>
                  </a:lnTo>
                  <a:lnTo>
                    <a:pt x="602" y="340"/>
                  </a:lnTo>
                  <a:lnTo>
                    <a:pt x="602" y="344"/>
                  </a:lnTo>
                  <a:lnTo>
                    <a:pt x="602" y="340"/>
                  </a:lnTo>
                  <a:lnTo>
                    <a:pt x="602" y="336"/>
                  </a:lnTo>
                  <a:lnTo>
                    <a:pt x="598" y="336"/>
                  </a:lnTo>
                  <a:lnTo>
                    <a:pt x="602" y="336"/>
                  </a:lnTo>
                  <a:lnTo>
                    <a:pt x="602" y="336"/>
                  </a:lnTo>
                  <a:lnTo>
                    <a:pt x="602" y="336"/>
                  </a:lnTo>
                  <a:close/>
                  <a:moveTo>
                    <a:pt x="358" y="340"/>
                  </a:moveTo>
                  <a:lnTo>
                    <a:pt x="354" y="340"/>
                  </a:lnTo>
                  <a:lnTo>
                    <a:pt x="350" y="340"/>
                  </a:lnTo>
                  <a:lnTo>
                    <a:pt x="350" y="344"/>
                  </a:lnTo>
                  <a:lnTo>
                    <a:pt x="350" y="340"/>
                  </a:lnTo>
                  <a:lnTo>
                    <a:pt x="350" y="336"/>
                  </a:lnTo>
                  <a:lnTo>
                    <a:pt x="354" y="336"/>
                  </a:lnTo>
                  <a:lnTo>
                    <a:pt x="358" y="336"/>
                  </a:lnTo>
                  <a:lnTo>
                    <a:pt x="358" y="340"/>
                  </a:lnTo>
                  <a:lnTo>
                    <a:pt x="358" y="340"/>
                  </a:lnTo>
                  <a:lnTo>
                    <a:pt x="358" y="340"/>
                  </a:lnTo>
                  <a:close/>
                  <a:moveTo>
                    <a:pt x="638" y="344"/>
                  </a:moveTo>
                  <a:lnTo>
                    <a:pt x="642" y="344"/>
                  </a:lnTo>
                  <a:lnTo>
                    <a:pt x="638" y="348"/>
                  </a:lnTo>
                  <a:lnTo>
                    <a:pt x="642" y="350"/>
                  </a:lnTo>
                  <a:lnTo>
                    <a:pt x="638" y="350"/>
                  </a:lnTo>
                  <a:lnTo>
                    <a:pt x="638" y="348"/>
                  </a:lnTo>
                  <a:lnTo>
                    <a:pt x="634" y="348"/>
                  </a:lnTo>
                  <a:lnTo>
                    <a:pt x="634" y="344"/>
                  </a:lnTo>
                  <a:lnTo>
                    <a:pt x="634" y="348"/>
                  </a:lnTo>
                  <a:lnTo>
                    <a:pt x="638" y="350"/>
                  </a:lnTo>
                  <a:lnTo>
                    <a:pt x="638" y="354"/>
                  </a:lnTo>
                  <a:lnTo>
                    <a:pt x="634" y="354"/>
                  </a:lnTo>
                  <a:lnTo>
                    <a:pt x="630" y="354"/>
                  </a:lnTo>
                  <a:lnTo>
                    <a:pt x="630" y="350"/>
                  </a:lnTo>
                  <a:lnTo>
                    <a:pt x="630" y="348"/>
                  </a:lnTo>
                  <a:lnTo>
                    <a:pt x="626" y="348"/>
                  </a:lnTo>
                  <a:lnTo>
                    <a:pt x="626" y="344"/>
                  </a:lnTo>
                  <a:lnTo>
                    <a:pt x="622" y="340"/>
                  </a:lnTo>
                  <a:lnTo>
                    <a:pt x="626" y="340"/>
                  </a:lnTo>
                  <a:lnTo>
                    <a:pt x="630" y="340"/>
                  </a:lnTo>
                  <a:lnTo>
                    <a:pt x="634" y="340"/>
                  </a:lnTo>
                  <a:lnTo>
                    <a:pt x="634" y="344"/>
                  </a:lnTo>
                  <a:lnTo>
                    <a:pt x="638" y="340"/>
                  </a:lnTo>
                  <a:lnTo>
                    <a:pt x="638" y="344"/>
                  </a:lnTo>
                  <a:lnTo>
                    <a:pt x="638" y="344"/>
                  </a:lnTo>
                  <a:lnTo>
                    <a:pt x="638" y="344"/>
                  </a:lnTo>
                  <a:close/>
                  <a:moveTo>
                    <a:pt x="626" y="358"/>
                  </a:moveTo>
                  <a:lnTo>
                    <a:pt x="626" y="354"/>
                  </a:lnTo>
                  <a:lnTo>
                    <a:pt x="626" y="358"/>
                  </a:lnTo>
                  <a:lnTo>
                    <a:pt x="626" y="362"/>
                  </a:lnTo>
                  <a:lnTo>
                    <a:pt x="622" y="362"/>
                  </a:lnTo>
                  <a:lnTo>
                    <a:pt x="622" y="358"/>
                  </a:lnTo>
                  <a:lnTo>
                    <a:pt x="622" y="362"/>
                  </a:lnTo>
                  <a:lnTo>
                    <a:pt x="620" y="358"/>
                  </a:lnTo>
                  <a:lnTo>
                    <a:pt x="622" y="358"/>
                  </a:lnTo>
                  <a:lnTo>
                    <a:pt x="620" y="354"/>
                  </a:lnTo>
                  <a:lnTo>
                    <a:pt x="622" y="354"/>
                  </a:lnTo>
                  <a:lnTo>
                    <a:pt x="622" y="350"/>
                  </a:lnTo>
                  <a:lnTo>
                    <a:pt x="620" y="350"/>
                  </a:lnTo>
                  <a:lnTo>
                    <a:pt x="620" y="348"/>
                  </a:lnTo>
                  <a:lnTo>
                    <a:pt x="620" y="344"/>
                  </a:lnTo>
                  <a:lnTo>
                    <a:pt x="622" y="344"/>
                  </a:lnTo>
                  <a:lnTo>
                    <a:pt x="620" y="344"/>
                  </a:lnTo>
                  <a:lnTo>
                    <a:pt x="622" y="344"/>
                  </a:lnTo>
                  <a:lnTo>
                    <a:pt x="626" y="344"/>
                  </a:lnTo>
                  <a:lnTo>
                    <a:pt x="626" y="348"/>
                  </a:lnTo>
                  <a:lnTo>
                    <a:pt x="626" y="350"/>
                  </a:lnTo>
                  <a:lnTo>
                    <a:pt x="622" y="350"/>
                  </a:lnTo>
                  <a:lnTo>
                    <a:pt x="626" y="350"/>
                  </a:lnTo>
                  <a:lnTo>
                    <a:pt x="626" y="348"/>
                  </a:lnTo>
                  <a:lnTo>
                    <a:pt x="630" y="348"/>
                  </a:lnTo>
                  <a:lnTo>
                    <a:pt x="630" y="350"/>
                  </a:lnTo>
                  <a:lnTo>
                    <a:pt x="626" y="350"/>
                  </a:lnTo>
                  <a:lnTo>
                    <a:pt x="626" y="354"/>
                  </a:lnTo>
                  <a:lnTo>
                    <a:pt x="626" y="358"/>
                  </a:lnTo>
                  <a:lnTo>
                    <a:pt x="626" y="358"/>
                  </a:lnTo>
                  <a:lnTo>
                    <a:pt x="626" y="358"/>
                  </a:lnTo>
                  <a:close/>
                  <a:moveTo>
                    <a:pt x="642" y="348"/>
                  </a:moveTo>
                  <a:lnTo>
                    <a:pt x="646" y="348"/>
                  </a:lnTo>
                  <a:lnTo>
                    <a:pt x="646" y="350"/>
                  </a:lnTo>
                  <a:lnTo>
                    <a:pt x="642" y="350"/>
                  </a:lnTo>
                  <a:lnTo>
                    <a:pt x="638" y="350"/>
                  </a:lnTo>
                  <a:lnTo>
                    <a:pt x="642" y="350"/>
                  </a:lnTo>
                  <a:lnTo>
                    <a:pt x="642" y="348"/>
                  </a:lnTo>
                  <a:lnTo>
                    <a:pt x="642" y="348"/>
                  </a:lnTo>
                  <a:lnTo>
                    <a:pt x="642" y="348"/>
                  </a:lnTo>
                  <a:close/>
                  <a:moveTo>
                    <a:pt x="336" y="350"/>
                  </a:moveTo>
                  <a:lnTo>
                    <a:pt x="332" y="354"/>
                  </a:lnTo>
                  <a:lnTo>
                    <a:pt x="332" y="350"/>
                  </a:lnTo>
                  <a:lnTo>
                    <a:pt x="336" y="350"/>
                  </a:lnTo>
                  <a:lnTo>
                    <a:pt x="336" y="350"/>
                  </a:lnTo>
                  <a:lnTo>
                    <a:pt x="336" y="350"/>
                  </a:lnTo>
                  <a:close/>
                  <a:moveTo>
                    <a:pt x="294" y="350"/>
                  </a:moveTo>
                  <a:lnTo>
                    <a:pt x="298" y="350"/>
                  </a:lnTo>
                  <a:lnTo>
                    <a:pt x="294" y="350"/>
                  </a:lnTo>
                  <a:lnTo>
                    <a:pt x="294" y="350"/>
                  </a:lnTo>
                  <a:lnTo>
                    <a:pt x="294" y="350"/>
                  </a:lnTo>
                  <a:close/>
                  <a:moveTo>
                    <a:pt x="652" y="362"/>
                  </a:moveTo>
                  <a:lnTo>
                    <a:pt x="652" y="358"/>
                  </a:lnTo>
                  <a:lnTo>
                    <a:pt x="648" y="358"/>
                  </a:lnTo>
                  <a:lnTo>
                    <a:pt x="648" y="354"/>
                  </a:lnTo>
                  <a:lnTo>
                    <a:pt x="652" y="354"/>
                  </a:lnTo>
                  <a:lnTo>
                    <a:pt x="652" y="358"/>
                  </a:lnTo>
                  <a:lnTo>
                    <a:pt x="652" y="362"/>
                  </a:lnTo>
                  <a:lnTo>
                    <a:pt x="652" y="362"/>
                  </a:lnTo>
                  <a:lnTo>
                    <a:pt x="652" y="362"/>
                  </a:lnTo>
                  <a:close/>
                  <a:moveTo>
                    <a:pt x="642" y="358"/>
                  </a:moveTo>
                  <a:lnTo>
                    <a:pt x="638" y="354"/>
                  </a:lnTo>
                  <a:lnTo>
                    <a:pt x="642" y="354"/>
                  </a:lnTo>
                  <a:lnTo>
                    <a:pt x="646" y="354"/>
                  </a:lnTo>
                  <a:lnTo>
                    <a:pt x="646" y="358"/>
                  </a:lnTo>
                  <a:lnTo>
                    <a:pt x="642" y="358"/>
                  </a:lnTo>
                  <a:lnTo>
                    <a:pt x="642" y="358"/>
                  </a:lnTo>
                  <a:lnTo>
                    <a:pt x="642" y="358"/>
                  </a:lnTo>
                  <a:close/>
                  <a:moveTo>
                    <a:pt x="648" y="366"/>
                  </a:moveTo>
                  <a:lnTo>
                    <a:pt x="646" y="366"/>
                  </a:lnTo>
                  <a:lnTo>
                    <a:pt x="648" y="362"/>
                  </a:lnTo>
                  <a:lnTo>
                    <a:pt x="646" y="362"/>
                  </a:lnTo>
                  <a:lnTo>
                    <a:pt x="642" y="362"/>
                  </a:lnTo>
                  <a:lnTo>
                    <a:pt x="642" y="358"/>
                  </a:lnTo>
                  <a:lnTo>
                    <a:pt x="646" y="358"/>
                  </a:lnTo>
                  <a:lnTo>
                    <a:pt x="646" y="354"/>
                  </a:lnTo>
                  <a:lnTo>
                    <a:pt x="648" y="354"/>
                  </a:lnTo>
                  <a:lnTo>
                    <a:pt x="648" y="358"/>
                  </a:lnTo>
                  <a:lnTo>
                    <a:pt x="652" y="362"/>
                  </a:lnTo>
                  <a:lnTo>
                    <a:pt x="652" y="366"/>
                  </a:lnTo>
                  <a:lnTo>
                    <a:pt x="648" y="366"/>
                  </a:lnTo>
                  <a:lnTo>
                    <a:pt x="648" y="366"/>
                  </a:lnTo>
                  <a:lnTo>
                    <a:pt x="648" y="366"/>
                  </a:lnTo>
                  <a:close/>
                  <a:moveTo>
                    <a:pt x="648" y="378"/>
                  </a:moveTo>
                  <a:lnTo>
                    <a:pt x="648" y="374"/>
                  </a:lnTo>
                  <a:lnTo>
                    <a:pt x="646" y="374"/>
                  </a:lnTo>
                  <a:lnTo>
                    <a:pt x="648" y="378"/>
                  </a:lnTo>
                  <a:lnTo>
                    <a:pt x="652" y="380"/>
                  </a:lnTo>
                  <a:lnTo>
                    <a:pt x="648" y="380"/>
                  </a:lnTo>
                  <a:lnTo>
                    <a:pt x="652" y="380"/>
                  </a:lnTo>
                  <a:lnTo>
                    <a:pt x="652" y="384"/>
                  </a:lnTo>
                  <a:lnTo>
                    <a:pt x="648" y="384"/>
                  </a:lnTo>
                  <a:lnTo>
                    <a:pt x="652" y="384"/>
                  </a:lnTo>
                  <a:lnTo>
                    <a:pt x="652" y="388"/>
                  </a:lnTo>
                  <a:lnTo>
                    <a:pt x="652" y="392"/>
                  </a:lnTo>
                  <a:lnTo>
                    <a:pt x="648" y="392"/>
                  </a:lnTo>
                  <a:lnTo>
                    <a:pt x="648" y="388"/>
                  </a:lnTo>
                  <a:lnTo>
                    <a:pt x="646" y="384"/>
                  </a:lnTo>
                  <a:lnTo>
                    <a:pt x="646" y="388"/>
                  </a:lnTo>
                  <a:lnTo>
                    <a:pt x="646" y="384"/>
                  </a:lnTo>
                  <a:lnTo>
                    <a:pt x="646" y="380"/>
                  </a:lnTo>
                  <a:lnTo>
                    <a:pt x="642" y="380"/>
                  </a:lnTo>
                  <a:lnTo>
                    <a:pt x="638" y="380"/>
                  </a:lnTo>
                  <a:lnTo>
                    <a:pt x="642" y="380"/>
                  </a:lnTo>
                  <a:lnTo>
                    <a:pt x="638" y="380"/>
                  </a:lnTo>
                  <a:lnTo>
                    <a:pt x="634" y="380"/>
                  </a:lnTo>
                  <a:lnTo>
                    <a:pt x="634" y="378"/>
                  </a:lnTo>
                  <a:lnTo>
                    <a:pt x="638" y="378"/>
                  </a:lnTo>
                  <a:lnTo>
                    <a:pt x="642" y="378"/>
                  </a:lnTo>
                  <a:lnTo>
                    <a:pt x="638" y="378"/>
                  </a:lnTo>
                  <a:lnTo>
                    <a:pt x="638" y="374"/>
                  </a:lnTo>
                  <a:lnTo>
                    <a:pt x="642" y="374"/>
                  </a:lnTo>
                  <a:lnTo>
                    <a:pt x="638" y="374"/>
                  </a:lnTo>
                  <a:lnTo>
                    <a:pt x="634" y="374"/>
                  </a:lnTo>
                  <a:lnTo>
                    <a:pt x="634" y="370"/>
                  </a:lnTo>
                  <a:lnTo>
                    <a:pt x="638" y="366"/>
                  </a:lnTo>
                  <a:lnTo>
                    <a:pt x="634" y="366"/>
                  </a:lnTo>
                  <a:lnTo>
                    <a:pt x="634" y="358"/>
                  </a:lnTo>
                  <a:lnTo>
                    <a:pt x="630" y="358"/>
                  </a:lnTo>
                  <a:lnTo>
                    <a:pt x="630" y="354"/>
                  </a:lnTo>
                  <a:lnTo>
                    <a:pt x="634" y="354"/>
                  </a:lnTo>
                  <a:lnTo>
                    <a:pt x="638" y="354"/>
                  </a:lnTo>
                  <a:lnTo>
                    <a:pt x="638" y="358"/>
                  </a:lnTo>
                  <a:lnTo>
                    <a:pt x="638" y="362"/>
                  </a:lnTo>
                  <a:lnTo>
                    <a:pt x="642" y="362"/>
                  </a:lnTo>
                  <a:lnTo>
                    <a:pt x="646" y="366"/>
                  </a:lnTo>
                  <a:lnTo>
                    <a:pt x="646" y="370"/>
                  </a:lnTo>
                  <a:lnTo>
                    <a:pt x="648" y="370"/>
                  </a:lnTo>
                  <a:lnTo>
                    <a:pt x="648" y="374"/>
                  </a:lnTo>
                  <a:lnTo>
                    <a:pt x="652" y="374"/>
                  </a:lnTo>
                  <a:lnTo>
                    <a:pt x="652" y="378"/>
                  </a:lnTo>
                  <a:lnTo>
                    <a:pt x="648" y="378"/>
                  </a:lnTo>
                  <a:lnTo>
                    <a:pt x="648" y="378"/>
                  </a:lnTo>
                  <a:lnTo>
                    <a:pt x="648" y="378"/>
                  </a:lnTo>
                  <a:close/>
                  <a:moveTo>
                    <a:pt x="634" y="362"/>
                  </a:moveTo>
                  <a:lnTo>
                    <a:pt x="630" y="366"/>
                  </a:lnTo>
                  <a:lnTo>
                    <a:pt x="626" y="366"/>
                  </a:lnTo>
                  <a:lnTo>
                    <a:pt x="630" y="362"/>
                  </a:lnTo>
                  <a:lnTo>
                    <a:pt x="634" y="358"/>
                  </a:lnTo>
                  <a:lnTo>
                    <a:pt x="634" y="362"/>
                  </a:lnTo>
                  <a:lnTo>
                    <a:pt x="634" y="362"/>
                  </a:lnTo>
                  <a:lnTo>
                    <a:pt x="634" y="362"/>
                  </a:lnTo>
                  <a:close/>
                  <a:moveTo>
                    <a:pt x="660" y="380"/>
                  </a:moveTo>
                  <a:lnTo>
                    <a:pt x="660" y="378"/>
                  </a:lnTo>
                  <a:lnTo>
                    <a:pt x="664" y="378"/>
                  </a:lnTo>
                  <a:lnTo>
                    <a:pt x="664" y="374"/>
                  </a:lnTo>
                  <a:lnTo>
                    <a:pt x="664" y="370"/>
                  </a:lnTo>
                  <a:lnTo>
                    <a:pt x="660" y="374"/>
                  </a:lnTo>
                  <a:lnTo>
                    <a:pt x="664" y="374"/>
                  </a:lnTo>
                  <a:lnTo>
                    <a:pt x="664" y="378"/>
                  </a:lnTo>
                  <a:lnTo>
                    <a:pt x="660" y="378"/>
                  </a:lnTo>
                  <a:lnTo>
                    <a:pt x="660" y="374"/>
                  </a:lnTo>
                  <a:lnTo>
                    <a:pt x="660" y="378"/>
                  </a:lnTo>
                  <a:lnTo>
                    <a:pt x="660" y="380"/>
                  </a:lnTo>
                  <a:lnTo>
                    <a:pt x="656" y="378"/>
                  </a:lnTo>
                  <a:lnTo>
                    <a:pt x="656" y="374"/>
                  </a:lnTo>
                  <a:lnTo>
                    <a:pt x="656" y="370"/>
                  </a:lnTo>
                  <a:lnTo>
                    <a:pt x="660" y="370"/>
                  </a:lnTo>
                  <a:lnTo>
                    <a:pt x="656" y="370"/>
                  </a:lnTo>
                  <a:lnTo>
                    <a:pt x="656" y="366"/>
                  </a:lnTo>
                  <a:lnTo>
                    <a:pt x="660" y="366"/>
                  </a:lnTo>
                  <a:lnTo>
                    <a:pt x="664" y="366"/>
                  </a:lnTo>
                  <a:lnTo>
                    <a:pt x="668" y="366"/>
                  </a:lnTo>
                  <a:lnTo>
                    <a:pt x="668" y="370"/>
                  </a:lnTo>
                  <a:lnTo>
                    <a:pt x="668" y="374"/>
                  </a:lnTo>
                  <a:lnTo>
                    <a:pt x="668" y="378"/>
                  </a:lnTo>
                  <a:lnTo>
                    <a:pt x="668" y="380"/>
                  </a:lnTo>
                  <a:lnTo>
                    <a:pt x="664" y="380"/>
                  </a:lnTo>
                  <a:lnTo>
                    <a:pt x="664" y="378"/>
                  </a:lnTo>
                  <a:lnTo>
                    <a:pt x="664" y="380"/>
                  </a:lnTo>
                  <a:lnTo>
                    <a:pt x="660" y="380"/>
                  </a:lnTo>
                  <a:lnTo>
                    <a:pt x="660" y="380"/>
                  </a:lnTo>
                  <a:lnTo>
                    <a:pt x="660" y="380"/>
                  </a:lnTo>
                  <a:close/>
                  <a:moveTo>
                    <a:pt x="622" y="366"/>
                  </a:moveTo>
                  <a:lnTo>
                    <a:pt x="620" y="366"/>
                  </a:lnTo>
                  <a:lnTo>
                    <a:pt x="622" y="366"/>
                  </a:lnTo>
                  <a:lnTo>
                    <a:pt x="622" y="366"/>
                  </a:lnTo>
                  <a:lnTo>
                    <a:pt x="622" y="366"/>
                  </a:lnTo>
                  <a:close/>
                  <a:moveTo>
                    <a:pt x="274" y="366"/>
                  </a:moveTo>
                  <a:lnTo>
                    <a:pt x="278" y="366"/>
                  </a:lnTo>
                  <a:lnTo>
                    <a:pt x="274" y="370"/>
                  </a:lnTo>
                  <a:lnTo>
                    <a:pt x="274" y="366"/>
                  </a:lnTo>
                  <a:lnTo>
                    <a:pt x="274" y="366"/>
                  </a:lnTo>
                  <a:lnTo>
                    <a:pt x="274" y="366"/>
                  </a:lnTo>
                  <a:close/>
                  <a:moveTo>
                    <a:pt x="634" y="370"/>
                  </a:moveTo>
                  <a:lnTo>
                    <a:pt x="630" y="370"/>
                  </a:lnTo>
                  <a:lnTo>
                    <a:pt x="630" y="366"/>
                  </a:lnTo>
                  <a:lnTo>
                    <a:pt x="634" y="370"/>
                  </a:lnTo>
                  <a:lnTo>
                    <a:pt x="634" y="370"/>
                  </a:lnTo>
                  <a:lnTo>
                    <a:pt x="634" y="370"/>
                  </a:lnTo>
                  <a:close/>
                  <a:moveTo>
                    <a:pt x="634" y="374"/>
                  </a:moveTo>
                  <a:lnTo>
                    <a:pt x="634" y="378"/>
                  </a:lnTo>
                  <a:lnTo>
                    <a:pt x="634" y="374"/>
                  </a:lnTo>
                  <a:lnTo>
                    <a:pt x="634" y="374"/>
                  </a:lnTo>
                  <a:lnTo>
                    <a:pt x="634" y="374"/>
                  </a:lnTo>
                  <a:close/>
                  <a:moveTo>
                    <a:pt x="630" y="378"/>
                  </a:moveTo>
                  <a:lnTo>
                    <a:pt x="626" y="378"/>
                  </a:lnTo>
                  <a:lnTo>
                    <a:pt x="626" y="374"/>
                  </a:lnTo>
                  <a:lnTo>
                    <a:pt x="630" y="374"/>
                  </a:lnTo>
                  <a:lnTo>
                    <a:pt x="630" y="378"/>
                  </a:lnTo>
                  <a:lnTo>
                    <a:pt x="630" y="378"/>
                  </a:lnTo>
                  <a:lnTo>
                    <a:pt x="630" y="378"/>
                  </a:lnTo>
                  <a:close/>
                  <a:moveTo>
                    <a:pt x="630" y="374"/>
                  </a:moveTo>
                  <a:lnTo>
                    <a:pt x="634" y="374"/>
                  </a:lnTo>
                  <a:lnTo>
                    <a:pt x="634" y="378"/>
                  </a:lnTo>
                  <a:lnTo>
                    <a:pt x="630" y="378"/>
                  </a:lnTo>
                  <a:lnTo>
                    <a:pt x="630" y="374"/>
                  </a:lnTo>
                  <a:lnTo>
                    <a:pt x="630" y="374"/>
                  </a:lnTo>
                  <a:lnTo>
                    <a:pt x="630" y="374"/>
                  </a:lnTo>
                  <a:close/>
                  <a:moveTo>
                    <a:pt x="634" y="378"/>
                  </a:moveTo>
                  <a:lnTo>
                    <a:pt x="630" y="378"/>
                  </a:lnTo>
                  <a:lnTo>
                    <a:pt x="630" y="380"/>
                  </a:lnTo>
                  <a:lnTo>
                    <a:pt x="630" y="378"/>
                  </a:lnTo>
                  <a:lnTo>
                    <a:pt x="634" y="378"/>
                  </a:lnTo>
                  <a:lnTo>
                    <a:pt x="634" y="378"/>
                  </a:lnTo>
                  <a:lnTo>
                    <a:pt x="634" y="378"/>
                  </a:lnTo>
                  <a:close/>
                  <a:moveTo>
                    <a:pt x="656" y="378"/>
                  </a:moveTo>
                  <a:lnTo>
                    <a:pt x="660" y="380"/>
                  </a:lnTo>
                  <a:lnTo>
                    <a:pt x="656" y="380"/>
                  </a:lnTo>
                  <a:lnTo>
                    <a:pt x="656" y="378"/>
                  </a:lnTo>
                  <a:lnTo>
                    <a:pt x="656" y="378"/>
                  </a:lnTo>
                  <a:lnTo>
                    <a:pt x="656" y="378"/>
                  </a:lnTo>
                  <a:close/>
                  <a:moveTo>
                    <a:pt x="248" y="378"/>
                  </a:moveTo>
                  <a:lnTo>
                    <a:pt x="250" y="378"/>
                  </a:lnTo>
                  <a:lnTo>
                    <a:pt x="250" y="380"/>
                  </a:lnTo>
                  <a:lnTo>
                    <a:pt x="248" y="380"/>
                  </a:lnTo>
                  <a:lnTo>
                    <a:pt x="248" y="384"/>
                  </a:lnTo>
                  <a:lnTo>
                    <a:pt x="248" y="380"/>
                  </a:lnTo>
                  <a:lnTo>
                    <a:pt x="248" y="378"/>
                  </a:lnTo>
                  <a:lnTo>
                    <a:pt x="248" y="378"/>
                  </a:lnTo>
                  <a:lnTo>
                    <a:pt x="248" y="378"/>
                  </a:lnTo>
                  <a:close/>
                  <a:moveTo>
                    <a:pt x="254" y="378"/>
                  </a:moveTo>
                  <a:lnTo>
                    <a:pt x="254" y="380"/>
                  </a:lnTo>
                  <a:lnTo>
                    <a:pt x="250" y="380"/>
                  </a:lnTo>
                  <a:lnTo>
                    <a:pt x="250" y="378"/>
                  </a:lnTo>
                  <a:lnTo>
                    <a:pt x="254" y="378"/>
                  </a:lnTo>
                  <a:lnTo>
                    <a:pt x="254" y="378"/>
                  </a:lnTo>
                  <a:lnTo>
                    <a:pt x="254" y="378"/>
                  </a:lnTo>
                  <a:close/>
                  <a:moveTo>
                    <a:pt x="634" y="378"/>
                  </a:moveTo>
                  <a:lnTo>
                    <a:pt x="634" y="380"/>
                  </a:lnTo>
                  <a:lnTo>
                    <a:pt x="634" y="378"/>
                  </a:lnTo>
                  <a:lnTo>
                    <a:pt x="634" y="378"/>
                  </a:lnTo>
                  <a:lnTo>
                    <a:pt x="634" y="378"/>
                  </a:lnTo>
                  <a:close/>
                  <a:moveTo>
                    <a:pt x="258" y="380"/>
                  </a:moveTo>
                  <a:lnTo>
                    <a:pt x="258" y="384"/>
                  </a:lnTo>
                  <a:lnTo>
                    <a:pt x="254" y="384"/>
                  </a:lnTo>
                  <a:lnTo>
                    <a:pt x="254" y="388"/>
                  </a:lnTo>
                  <a:lnTo>
                    <a:pt x="254" y="384"/>
                  </a:lnTo>
                  <a:lnTo>
                    <a:pt x="254" y="380"/>
                  </a:lnTo>
                  <a:lnTo>
                    <a:pt x="258" y="380"/>
                  </a:lnTo>
                  <a:lnTo>
                    <a:pt x="258" y="384"/>
                  </a:lnTo>
                  <a:lnTo>
                    <a:pt x="258" y="380"/>
                  </a:lnTo>
                  <a:lnTo>
                    <a:pt x="258" y="380"/>
                  </a:lnTo>
                  <a:lnTo>
                    <a:pt x="258" y="380"/>
                  </a:lnTo>
                  <a:close/>
                  <a:moveTo>
                    <a:pt x="660" y="380"/>
                  </a:moveTo>
                  <a:lnTo>
                    <a:pt x="664" y="384"/>
                  </a:lnTo>
                  <a:lnTo>
                    <a:pt x="660" y="384"/>
                  </a:lnTo>
                  <a:lnTo>
                    <a:pt x="660" y="380"/>
                  </a:lnTo>
                  <a:lnTo>
                    <a:pt x="660" y="380"/>
                  </a:lnTo>
                  <a:lnTo>
                    <a:pt x="660" y="380"/>
                  </a:lnTo>
                  <a:close/>
                  <a:moveTo>
                    <a:pt x="638" y="380"/>
                  </a:moveTo>
                  <a:lnTo>
                    <a:pt x="638" y="384"/>
                  </a:lnTo>
                  <a:lnTo>
                    <a:pt x="642" y="388"/>
                  </a:lnTo>
                  <a:lnTo>
                    <a:pt x="642" y="392"/>
                  </a:lnTo>
                  <a:lnTo>
                    <a:pt x="646" y="392"/>
                  </a:lnTo>
                  <a:lnTo>
                    <a:pt x="642" y="392"/>
                  </a:lnTo>
                  <a:lnTo>
                    <a:pt x="642" y="388"/>
                  </a:lnTo>
                  <a:lnTo>
                    <a:pt x="638" y="388"/>
                  </a:lnTo>
                  <a:lnTo>
                    <a:pt x="638" y="384"/>
                  </a:lnTo>
                  <a:lnTo>
                    <a:pt x="634" y="384"/>
                  </a:lnTo>
                  <a:lnTo>
                    <a:pt x="638" y="380"/>
                  </a:lnTo>
                  <a:lnTo>
                    <a:pt x="638" y="380"/>
                  </a:lnTo>
                  <a:lnTo>
                    <a:pt x="638" y="380"/>
                  </a:lnTo>
                  <a:close/>
                  <a:moveTo>
                    <a:pt x="266" y="380"/>
                  </a:moveTo>
                  <a:lnTo>
                    <a:pt x="266" y="384"/>
                  </a:lnTo>
                  <a:lnTo>
                    <a:pt x="262" y="384"/>
                  </a:lnTo>
                  <a:lnTo>
                    <a:pt x="266" y="380"/>
                  </a:lnTo>
                  <a:lnTo>
                    <a:pt x="266" y="380"/>
                  </a:lnTo>
                  <a:lnTo>
                    <a:pt x="266" y="380"/>
                  </a:lnTo>
                  <a:close/>
                  <a:moveTo>
                    <a:pt x="642" y="380"/>
                  </a:moveTo>
                  <a:lnTo>
                    <a:pt x="642" y="384"/>
                  </a:lnTo>
                  <a:lnTo>
                    <a:pt x="646" y="384"/>
                  </a:lnTo>
                  <a:lnTo>
                    <a:pt x="642" y="384"/>
                  </a:lnTo>
                  <a:lnTo>
                    <a:pt x="642" y="380"/>
                  </a:lnTo>
                  <a:lnTo>
                    <a:pt x="642" y="380"/>
                  </a:lnTo>
                  <a:lnTo>
                    <a:pt x="642" y="380"/>
                  </a:lnTo>
                  <a:close/>
                  <a:moveTo>
                    <a:pt x="232" y="380"/>
                  </a:moveTo>
                  <a:lnTo>
                    <a:pt x="236" y="380"/>
                  </a:lnTo>
                  <a:lnTo>
                    <a:pt x="236" y="384"/>
                  </a:lnTo>
                  <a:lnTo>
                    <a:pt x="232" y="384"/>
                  </a:lnTo>
                  <a:lnTo>
                    <a:pt x="232" y="380"/>
                  </a:lnTo>
                  <a:lnTo>
                    <a:pt x="232" y="380"/>
                  </a:lnTo>
                  <a:lnTo>
                    <a:pt x="232" y="380"/>
                  </a:lnTo>
                  <a:close/>
                  <a:moveTo>
                    <a:pt x="266" y="384"/>
                  </a:moveTo>
                  <a:lnTo>
                    <a:pt x="266" y="388"/>
                  </a:lnTo>
                  <a:lnTo>
                    <a:pt x="266" y="384"/>
                  </a:lnTo>
                  <a:lnTo>
                    <a:pt x="266" y="384"/>
                  </a:lnTo>
                  <a:lnTo>
                    <a:pt x="266" y="384"/>
                  </a:lnTo>
                  <a:close/>
                  <a:moveTo>
                    <a:pt x="198" y="396"/>
                  </a:moveTo>
                  <a:lnTo>
                    <a:pt x="194" y="396"/>
                  </a:lnTo>
                  <a:lnTo>
                    <a:pt x="194" y="400"/>
                  </a:lnTo>
                  <a:lnTo>
                    <a:pt x="192" y="400"/>
                  </a:lnTo>
                  <a:lnTo>
                    <a:pt x="188" y="400"/>
                  </a:lnTo>
                  <a:lnTo>
                    <a:pt x="188" y="396"/>
                  </a:lnTo>
                  <a:lnTo>
                    <a:pt x="188" y="392"/>
                  </a:lnTo>
                  <a:lnTo>
                    <a:pt x="192" y="392"/>
                  </a:lnTo>
                  <a:lnTo>
                    <a:pt x="194" y="388"/>
                  </a:lnTo>
                  <a:lnTo>
                    <a:pt x="198" y="388"/>
                  </a:lnTo>
                  <a:lnTo>
                    <a:pt x="202" y="384"/>
                  </a:lnTo>
                  <a:lnTo>
                    <a:pt x="206" y="384"/>
                  </a:lnTo>
                  <a:lnTo>
                    <a:pt x="210" y="388"/>
                  </a:lnTo>
                  <a:lnTo>
                    <a:pt x="210" y="392"/>
                  </a:lnTo>
                  <a:lnTo>
                    <a:pt x="214" y="392"/>
                  </a:lnTo>
                  <a:lnTo>
                    <a:pt x="210" y="392"/>
                  </a:lnTo>
                  <a:lnTo>
                    <a:pt x="206" y="392"/>
                  </a:lnTo>
                  <a:lnTo>
                    <a:pt x="206" y="396"/>
                  </a:lnTo>
                  <a:lnTo>
                    <a:pt x="206" y="392"/>
                  </a:lnTo>
                  <a:lnTo>
                    <a:pt x="202" y="392"/>
                  </a:lnTo>
                  <a:lnTo>
                    <a:pt x="198" y="392"/>
                  </a:lnTo>
                  <a:lnTo>
                    <a:pt x="198" y="396"/>
                  </a:lnTo>
                  <a:lnTo>
                    <a:pt x="198" y="396"/>
                  </a:lnTo>
                  <a:lnTo>
                    <a:pt x="198" y="396"/>
                  </a:lnTo>
                  <a:close/>
                  <a:moveTo>
                    <a:pt x="664" y="384"/>
                  </a:moveTo>
                  <a:lnTo>
                    <a:pt x="664" y="388"/>
                  </a:lnTo>
                  <a:lnTo>
                    <a:pt x="660" y="388"/>
                  </a:lnTo>
                  <a:lnTo>
                    <a:pt x="664" y="384"/>
                  </a:lnTo>
                  <a:lnTo>
                    <a:pt x="664" y="384"/>
                  </a:lnTo>
                  <a:lnTo>
                    <a:pt x="664" y="384"/>
                  </a:lnTo>
                  <a:close/>
                  <a:moveTo>
                    <a:pt x="646" y="388"/>
                  </a:moveTo>
                  <a:lnTo>
                    <a:pt x="646" y="392"/>
                  </a:lnTo>
                  <a:lnTo>
                    <a:pt x="642" y="388"/>
                  </a:lnTo>
                  <a:lnTo>
                    <a:pt x="646" y="388"/>
                  </a:lnTo>
                  <a:lnTo>
                    <a:pt x="646" y="388"/>
                  </a:lnTo>
                  <a:lnTo>
                    <a:pt x="646" y="388"/>
                  </a:lnTo>
                  <a:close/>
                  <a:moveTo>
                    <a:pt x="218" y="396"/>
                  </a:moveTo>
                  <a:lnTo>
                    <a:pt x="222" y="396"/>
                  </a:lnTo>
                  <a:lnTo>
                    <a:pt x="222" y="400"/>
                  </a:lnTo>
                  <a:lnTo>
                    <a:pt x="218" y="400"/>
                  </a:lnTo>
                  <a:lnTo>
                    <a:pt x="218" y="396"/>
                  </a:lnTo>
                  <a:lnTo>
                    <a:pt x="218" y="396"/>
                  </a:lnTo>
                  <a:lnTo>
                    <a:pt x="218" y="396"/>
                  </a:lnTo>
                  <a:close/>
                  <a:moveTo>
                    <a:pt x="180" y="404"/>
                  </a:moveTo>
                  <a:lnTo>
                    <a:pt x="176" y="404"/>
                  </a:lnTo>
                  <a:lnTo>
                    <a:pt x="176" y="400"/>
                  </a:lnTo>
                  <a:lnTo>
                    <a:pt x="180" y="400"/>
                  </a:lnTo>
                  <a:lnTo>
                    <a:pt x="180" y="404"/>
                  </a:lnTo>
                  <a:lnTo>
                    <a:pt x="180" y="404"/>
                  </a:lnTo>
                  <a:lnTo>
                    <a:pt x="180" y="404"/>
                  </a:lnTo>
                  <a:close/>
                  <a:moveTo>
                    <a:pt x="172" y="408"/>
                  </a:moveTo>
                  <a:lnTo>
                    <a:pt x="172" y="404"/>
                  </a:lnTo>
                  <a:lnTo>
                    <a:pt x="176" y="404"/>
                  </a:lnTo>
                  <a:lnTo>
                    <a:pt x="176" y="408"/>
                  </a:lnTo>
                  <a:lnTo>
                    <a:pt x="172" y="408"/>
                  </a:lnTo>
                  <a:lnTo>
                    <a:pt x="172" y="408"/>
                  </a:lnTo>
                  <a:lnTo>
                    <a:pt x="172" y="408"/>
                  </a:lnTo>
                  <a:close/>
                  <a:moveTo>
                    <a:pt x="188" y="404"/>
                  </a:moveTo>
                  <a:lnTo>
                    <a:pt x="188" y="408"/>
                  </a:lnTo>
                  <a:lnTo>
                    <a:pt x="184" y="408"/>
                  </a:lnTo>
                  <a:lnTo>
                    <a:pt x="184" y="404"/>
                  </a:lnTo>
                  <a:lnTo>
                    <a:pt x="188" y="404"/>
                  </a:lnTo>
                  <a:lnTo>
                    <a:pt x="188" y="404"/>
                  </a:lnTo>
                  <a:lnTo>
                    <a:pt x="188" y="404"/>
                  </a:lnTo>
                  <a:close/>
                  <a:moveTo>
                    <a:pt x="158" y="414"/>
                  </a:moveTo>
                  <a:lnTo>
                    <a:pt x="162" y="414"/>
                  </a:lnTo>
                  <a:lnTo>
                    <a:pt x="158" y="410"/>
                  </a:lnTo>
                  <a:lnTo>
                    <a:pt x="158" y="408"/>
                  </a:lnTo>
                  <a:lnTo>
                    <a:pt x="162" y="408"/>
                  </a:lnTo>
                  <a:lnTo>
                    <a:pt x="166" y="408"/>
                  </a:lnTo>
                  <a:lnTo>
                    <a:pt x="166" y="410"/>
                  </a:lnTo>
                  <a:lnTo>
                    <a:pt x="166" y="408"/>
                  </a:lnTo>
                  <a:lnTo>
                    <a:pt x="168" y="408"/>
                  </a:lnTo>
                  <a:lnTo>
                    <a:pt x="168" y="410"/>
                  </a:lnTo>
                  <a:lnTo>
                    <a:pt x="166" y="410"/>
                  </a:lnTo>
                  <a:lnTo>
                    <a:pt x="166" y="414"/>
                  </a:lnTo>
                  <a:lnTo>
                    <a:pt x="166" y="410"/>
                  </a:lnTo>
                  <a:lnTo>
                    <a:pt x="168" y="410"/>
                  </a:lnTo>
                  <a:lnTo>
                    <a:pt x="168" y="414"/>
                  </a:lnTo>
                  <a:lnTo>
                    <a:pt x="166" y="414"/>
                  </a:lnTo>
                  <a:lnTo>
                    <a:pt x="166" y="418"/>
                  </a:lnTo>
                  <a:lnTo>
                    <a:pt x="162" y="418"/>
                  </a:lnTo>
                  <a:lnTo>
                    <a:pt x="158" y="418"/>
                  </a:lnTo>
                  <a:lnTo>
                    <a:pt x="154" y="422"/>
                  </a:lnTo>
                  <a:lnTo>
                    <a:pt x="150" y="422"/>
                  </a:lnTo>
                  <a:lnTo>
                    <a:pt x="146" y="422"/>
                  </a:lnTo>
                  <a:lnTo>
                    <a:pt x="150" y="422"/>
                  </a:lnTo>
                  <a:lnTo>
                    <a:pt x="150" y="418"/>
                  </a:lnTo>
                  <a:lnTo>
                    <a:pt x="154" y="418"/>
                  </a:lnTo>
                  <a:lnTo>
                    <a:pt x="158" y="418"/>
                  </a:lnTo>
                  <a:lnTo>
                    <a:pt x="158" y="414"/>
                  </a:lnTo>
                  <a:lnTo>
                    <a:pt x="158" y="414"/>
                  </a:lnTo>
                  <a:lnTo>
                    <a:pt x="158" y="414"/>
                  </a:lnTo>
                  <a:close/>
                  <a:moveTo>
                    <a:pt x="168" y="414"/>
                  </a:moveTo>
                  <a:lnTo>
                    <a:pt x="168" y="410"/>
                  </a:lnTo>
                  <a:lnTo>
                    <a:pt x="172" y="410"/>
                  </a:lnTo>
                  <a:lnTo>
                    <a:pt x="168" y="414"/>
                  </a:lnTo>
                  <a:lnTo>
                    <a:pt x="168" y="414"/>
                  </a:lnTo>
                  <a:lnTo>
                    <a:pt x="168" y="414"/>
                  </a:lnTo>
                  <a:close/>
                  <a:moveTo>
                    <a:pt x="146" y="418"/>
                  </a:moveTo>
                  <a:lnTo>
                    <a:pt x="146" y="422"/>
                  </a:lnTo>
                  <a:lnTo>
                    <a:pt x="142" y="422"/>
                  </a:lnTo>
                  <a:lnTo>
                    <a:pt x="138" y="422"/>
                  </a:lnTo>
                  <a:lnTo>
                    <a:pt x="138" y="426"/>
                  </a:lnTo>
                  <a:lnTo>
                    <a:pt x="138" y="430"/>
                  </a:lnTo>
                  <a:lnTo>
                    <a:pt x="136" y="430"/>
                  </a:lnTo>
                  <a:lnTo>
                    <a:pt x="132" y="430"/>
                  </a:lnTo>
                  <a:lnTo>
                    <a:pt x="132" y="434"/>
                  </a:lnTo>
                  <a:lnTo>
                    <a:pt x="128" y="434"/>
                  </a:lnTo>
                  <a:lnTo>
                    <a:pt x="132" y="430"/>
                  </a:lnTo>
                  <a:lnTo>
                    <a:pt x="136" y="426"/>
                  </a:lnTo>
                  <a:lnTo>
                    <a:pt x="132" y="426"/>
                  </a:lnTo>
                  <a:lnTo>
                    <a:pt x="136" y="426"/>
                  </a:lnTo>
                  <a:lnTo>
                    <a:pt x="136" y="422"/>
                  </a:lnTo>
                  <a:lnTo>
                    <a:pt x="138" y="422"/>
                  </a:lnTo>
                  <a:lnTo>
                    <a:pt x="138" y="418"/>
                  </a:lnTo>
                  <a:lnTo>
                    <a:pt x="142" y="418"/>
                  </a:lnTo>
                  <a:lnTo>
                    <a:pt x="146" y="418"/>
                  </a:lnTo>
                  <a:lnTo>
                    <a:pt x="146" y="418"/>
                  </a:lnTo>
                  <a:lnTo>
                    <a:pt x="146" y="418"/>
                  </a:lnTo>
                  <a:close/>
                  <a:moveTo>
                    <a:pt x="4964" y="434"/>
                  </a:moveTo>
                  <a:lnTo>
                    <a:pt x="4964" y="430"/>
                  </a:lnTo>
                  <a:lnTo>
                    <a:pt x="4960" y="434"/>
                  </a:lnTo>
                  <a:lnTo>
                    <a:pt x="4960" y="430"/>
                  </a:lnTo>
                  <a:lnTo>
                    <a:pt x="4964" y="430"/>
                  </a:lnTo>
                  <a:lnTo>
                    <a:pt x="4968" y="430"/>
                  </a:lnTo>
                  <a:lnTo>
                    <a:pt x="4972" y="430"/>
                  </a:lnTo>
                  <a:lnTo>
                    <a:pt x="4972" y="434"/>
                  </a:lnTo>
                  <a:lnTo>
                    <a:pt x="4968" y="434"/>
                  </a:lnTo>
                  <a:lnTo>
                    <a:pt x="4964" y="434"/>
                  </a:lnTo>
                  <a:lnTo>
                    <a:pt x="4964" y="434"/>
                  </a:lnTo>
                  <a:lnTo>
                    <a:pt x="4964" y="434"/>
                  </a:lnTo>
                  <a:close/>
                  <a:moveTo>
                    <a:pt x="116" y="434"/>
                  </a:moveTo>
                  <a:lnTo>
                    <a:pt x="120" y="430"/>
                  </a:lnTo>
                  <a:lnTo>
                    <a:pt x="120" y="434"/>
                  </a:lnTo>
                  <a:lnTo>
                    <a:pt x="116" y="434"/>
                  </a:lnTo>
                  <a:lnTo>
                    <a:pt x="116" y="434"/>
                  </a:lnTo>
                  <a:lnTo>
                    <a:pt x="116" y="434"/>
                  </a:lnTo>
                  <a:close/>
                  <a:moveTo>
                    <a:pt x="106" y="436"/>
                  </a:moveTo>
                  <a:lnTo>
                    <a:pt x="110" y="436"/>
                  </a:lnTo>
                  <a:lnTo>
                    <a:pt x="106" y="436"/>
                  </a:lnTo>
                  <a:lnTo>
                    <a:pt x="106" y="436"/>
                  </a:lnTo>
                  <a:lnTo>
                    <a:pt x="106" y="436"/>
                  </a:lnTo>
                  <a:close/>
                  <a:moveTo>
                    <a:pt x="4974" y="440"/>
                  </a:moveTo>
                  <a:lnTo>
                    <a:pt x="4972" y="440"/>
                  </a:lnTo>
                  <a:lnTo>
                    <a:pt x="4974" y="440"/>
                  </a:lnTo>
                  <a:lnTo>
                    <a:pt x="4974" y="440"/>
                  </a:lnTo>
                  <a:lnTo>
                    <a:pt x="4974" y="440"/>
                  </a:lnTo>
                  <a:close/>
                  <a:moveTo>
                    <a:pt x="46" y="448"/>
                  </a:moveTo>
                  <a:lnTo>
                    <a:pt x="50" y="448"/>
                  </a:lnTo>
                  <a:lnTo>
                    <a:pt x="52" y="448"/>
                  </a:lnTo>
                  <a:lnTo>
                    <a:pt x="52" y="444"/>
                  </a:lnTo>
                  <a:lnTo>
                    <a:pt x="56" y="444"/>
                  </a:lnTo>
                  <a:lnTo>
                    <a:pt x="52" y="444"/>
                  </a:lnTo>
                  <a:lnTo>
                    <a:pt x="52" y="440"/>
                  </a:lnTo>
                  <a:lnTo>
                    <a:pt x="56" y="440"/>
                  </a:lnTo>
                  <a:lnTo>
                    <a:pt x="60" y="440"/>
                  </a:lnTo>
                  <a:lnTo>
                    <a:pt x="60" y="444"/>
                  </a:lnTo>
                  <a:lnTo>
                    <a:pt x="56" y="448"/>
                  </a:lnTo>
                  <a:lnTo>
                    <a:pt x="52" y="448"/>
                  </a:lnTo>
                  <a:lnTo>
                    <a:pt x="50" y="448"/>
                  </a:lnTo>
                  <a:lnTo>
                    <a:pt x="46" y="448"/>
                  </a:lnTo>
                  <a:lnTo>
                    <a:pt x="42" y="448"/>
                  </a:lnTo>
                  <a:lnTo>
                    <a:pt x="46" y="448"/>
                  </a:lnTo>
                  <a:lnTo>
                    <a:pt x="46" y="448"/>
                  </a:lnTo>
                  <a:lnTo>
                    <a:pt x="46" y="448"/>
                  </a:lnTo>
                  <a:close/>
                  <a:moveTo>
                    <a:pt x="80" y="444"/>
                  </a:moveTo>
                  <a:lnTo>
                    <a:pt x="80" y="440"/>
                  </a:lnTo>
                  <a:lnTo>
                    <a:pt x="82" y="440"/>
                  </a:lnTo>
                  <a:lnTo>
                    <a:pt x="82" y="444"/>
                  </a:lnTo>
                  <a:lnTo>
                    <a:pt x="80" y="444"/>
                  </a:lnTo>
                  <a:lnTo>
                    <a:pt x="80" y="444"/>
                  </a:lnTo>
                  <a:lnTo>
                    <a:pt x="80" y="444"/>
                  </a:lnTo>
                  <a:close/>
                  <a:moveTo>
                    <a:pt x="68" y="448"/>
                  </a:moveTo>
                  <a:lnTo>
                    <a:pt x="64" y="448"/>
                  </a:lnTo>
                  <a:lnTo>
                    <a:pt x="60" y="448"/>
                  </a:lnTo>
                  <a:lnTo>
                    <a:pt x="56" y="448"/>
                  </a:lnTo>
                  <a:lnTo>
                    <a:pt x="60" y="448"/>
                  </a:lnTo>
                  <a:lnTo>
                    <a:pt x="64" y="448"/>
                  </a:lnTo>
                  <a:lnTo>
                    <a:pt x="68" y="448"/>
                  </a:lnTo>
                  <a:lnTo>
                    <a:pt x="72" y="448"/>
                  </a:lnTo>
                  <a:lnTo>
                    <a:pt x="76" y="448"/>
                  </a:lnTo>
                  <a:lnTo>
                    <a:pt x="72" y="448"/>
                  </a:lnTo>
                  <a:lnTo>
                    <a:pt x="68" y="448"/>
                  </a:lnTo>
                  <a:lnTo>
                    <a:pt x="68" y="448"/>
                  </a:lnTo>
                  <a:lnTo>
                    <a:pt x="68" y="448"/>
                  </a:lnTo>
                  <a:close/>
                  <a:moveTo>
                    <a:pt x="5028" y="452"/>
                  </a:moveTo>
                  <a:lnTo>
                    <a:pt x="5030" y="448"/>
                  </a:lnTo>
                  <a:lnTo>
                    <a:pt x="5030" y="452"/>
                  </a:lnTo>
                  <a:lnTo>
                    <a:pt x="5028" y="452"/>
                  </a:lnTo>
                  <a:lnTo>
                    <a:pt x="5028" y="452"/>
                  </a:lnTo>
                  <a:lnTo>
                    <a:pt x="5028" y="452"/>
                  </a:lnTo>
                  <a:close/>
                  <a:moveTo>
                    <a:pt x="30" y="452"/>
                  </a:moveTo>
                  <a:lnTo>
                    <a:pt x="26" y="452"/>
                  </a:lnTo>
                  <a:lnTo>
                    <a:pt x="26" y="448"/>
                  </a:lnTo>
                  <a:lnTo>
                    <a:pt x="30" y="448"/>
                  </a:lnTo>
                  <a:lnTo>
                    <a:pt x="30" y="452"/>
                  </a:lnTo>
                  <a:lnTo>
                    <a:pt x="30" y="452"/>
                  </a:lnTo>
                  <a:lnTo>
                    <a:pt x="30" y="452"/>
                  </a:lnTo>
                  <a:close/>
                  <a:moveTo>
                    <a:pt x="5060" y="452"/>
                  </a:moveTo>
                  <a:lnTo>
                    <a:pt x="5058" y="452"/>
                  </a:lnTo>
                  <a:lnTo>
                    <a:pt x="5060" y="448"/>
                  </a:lnTo>
                  <a:lnTo>
                    <a:pt x="5060" y="452"/>
                  </a:lnTo>
                  <a:lnTo>
                    <a:pt x="5060" y="452"/>
                  </a:lnTo>
                  <a:lnTo>
                    <a:pt x="5060" y="452"/>
                  </a:lnTo>
                  <a:close/>
                  <a:moveTo>
                    <a:pt x="5042" y="452"/>
                  </a:moveTo>
                  <a:lnTo>
                    <a:pt x="5046" y="452"/>
                  </a:lnTo>
                  <a:lnTo>
                    <a:pt x="5042" y="452"/>
                  </a:lnTo>
                  <a:lnTo>
                    <a:pt x="5042" y="452"/>
                  </a:lnTo>
                  <a:lnTo>
                    <a:pt x="5042" y="452"/>
                  </a:lnTo>
                  <a:close/>
                  <a:moveTo>
                    <a:pt x="20" y="460"/>
                  </a:moveTo>
                  <a:lnTo>
                    <a:pt x="16" y="460"/>
                  </a:lnTo>
                  <a:lnTo>
                    <a:pt x="16" y="456"/>
                  </a:lnTo>
                  <a:lnTo>
                    <a:pt x="20" y="456"/>
                  </a:lnTo>
                  <a:lnTo>
                    <a:pt x="20" y="452"/>
                  </a:lnTo>
                  <a:lnTo>
                    <a:pt x="24" y="452"/>
                  </a:lnTo>
                  <a:lnTo>
                    <a:pt x="26" y="456"/>
                  </a:lnTo>
                  <a:lnTo>
                    <a:pt x="24" y="456"/>
                  </a:lnTo>
                  <a:lnTo>
                    <a:pt x="20" y="456"/>
                  </a:lnTo>
                  <a:lnTo>
                    <a:pt x="20" y="460"/>
                  </a:lnTo>
                  <a:lnTo>
                    <a:pt x="20" y="460"/>
                  </a:lnTo>
                  <a:lnTo>
                    <a:pt x="20" y="460"/>
                  </a:lnTo>
                  <a:close/>
                  <a:moveTo>
                    <a:pt x="8" y="456"/>
                  </a:moveTo>
                  <a:lnTo>
                    <a:pt x="12" y="456"/>
                  </a:lnTo>
                  <a:lnTo>
                    <a:pt x="16" y="456"/>
                  </a:lnTo>
                  <a:lnTo>
                    <a:pt x="16" y="452"/>
                  </a:lnTo>
                  <a:lnTo>
                    <a:pt x="16" y="456"/>
                  </a:lnTo>
                  <a:lnTo>
                    <a:pt x="12" y="456"/>
                  </a:lnTo>
                  <a:lnTo>
                    <a:pt x="8" y="456"/>
                  </a:lnTo>
                  <a:lnTo>
                    <a:pt x="8" y="456"/>
                  </a:lnTo>
                  <a:lnTo>
                    <a:pt x="8" y="456"/>
                  </a:lnTo>
                  <a:close/>
                  <a:moveTo>
                    <a:pt x="4" y="460"/>
                  </a:moveTo>
                  <a:lnTo>
                    <a:pt x="0" y="456"/>
                  </a:lnTo>
                  <a:lnTo>
                    <a:pt x="4" y="456"/>
                  </a:lnTo>
                  <a:lnTo>
                    <a:pt x="0" y="456"/>
                  </a:lnTo>
                  <a:lnTo>
                    <a:pt x="0" y="452"/>
                  </a:lnTo>
                  <a:lnTo>
                    <a:pt x="4" y="452"/>
                  </a:lnTo>
                  <a:lnTo>
                    <a:pt x="4" y="456"/>
                  </a:lnTo>
                  <a:lnTo>
                    <a:pt x="4" y="460"/>
                  </a:lnTo>
                  <a:lnTo>
                    <a:pt x="4" y="460"/>
                  </a:lnTo>
                  <a:lnTo>
                    <a:pt x="4" y="460"/>
                  </a:lnTo>
                  <a:close/>
                  <a:moveTo>
                    <a:pt x="30" y="456"/>
                  </a:moveTo>
                  <a:lnTo>
                    <a:pt x="26" y="456"/>
                  </a:lnTo>
                  <a:lnTo>
                    <a:pt x="26" y="452"/>
                  </a:lnTo>
                  <a:lnTo>
                    <a:pt x="30" y="452"/>
                  </a:lnTo>
                  <a:lnTo>
                    <a:pt x="30" y="456"/>
                  </a:lnTo>
                  <a:lnTo>
                    <a:pt x="30" y="452"/>
                  </a:lnTo>
                  <a:lnTo>
                    <a:pt x="30" y="456"/>
                  </a:lnTo>
                  <a:lnTo>
                    <a:pt x="30" y="456"/>
                  </a:lnTo>
                  <a:lnTo>
                    <a:pt x="30" y="456"/>
                  </a:lnTo>
                  <a:close/>
                  <a:moveTo>
                    <a:pt x="26" y="456"/>
                  </a:moveTo>
                  <a:lnTo>
                    <a:pt x="26" y="452"/>
                  </a:lnTo>
                  <a:lnTo>
                    <a:pt x="26" y="456"/>
                  </a:lnTo>
                  <a:lnTo>
                    <a:pt x="26" y="456"/>
                  </a:lnTo>
                  <a:lnTo>
                    <a:pt x="26" y="456"/>
                  </a:lnTo>
                  <a:close/>
                  <a:moveTo>
                    <a:pt x="5054" y="464"/>
                  </a:moveTo>
                  <a:lnTo>
                    <a:pt x="5050" y="460"/>
                  </a:lnTo>
                  <a:lnTo>
                    <a:pt x="5046" y="460"/>
                  </a:lnTo>
                  <a:lnTo>
                    <a:pt x="5046" y="456"/>
                  </a:lnTo>
                  <a:lnTo>
                    <a:pt x="5046" y="460"/>
                  </a:lnTo>
                  <a:lnTo>
                    <a:pt x="5050" y="460"/>
                  </a:lnTo>
                  <a:lnTo>
                    <a:pt x="5054" y="460"/>
                  </a:lnTo>
                  <a:lnTo>
                    <a:pt x="5054" y="464"/>
                  </a:lnTo>
                  <a:lnTo>
                    <a:pt x="5058" y="464"/>
                  </a:lnTo>
                  <a:lnTo>
                    <a:pt x="5054" y="464"/>
                  </a:lnTo>
                  <a:lnTo>
                    <a:pt x="5054" y="464"/>
                  </a:lnTo>
                  <a:lnTo>
                    <a:pt x="5054" y="464"/>
                  </a:lnTo>
                  <a:close/>
                  <a:moveTo>
                    <a:pt x="784" y="520"/>
                  </a:moveTo>
                  <a:lnTo>
                    <a:pt x="784" y="522"/>
                  </a:lnTo>
                  <a:lnTo>
                    <a:pt x="780" y="520"/>
                  </a:lnTo>
                  <a:lnTo>
                    <a:pt x="784" y="520"/>
                  </a:lnTo>
                  <a:lnTo>
                    <a:pt x="784" y="520"/>
                  </a:lnTo>
                  <a:lnTo>
                    <a:pt x="784" y="520"/>
                  </a:lnTo>
                  <a:close/>
                  <a:moveTo>
                    <a:pt x="784" y="522"/>
                  </a:moveTo>
                  <a:lnTo>
                    <a:pt x="784" y="526"/>
                  </a:lnTo>
                  <a:lnTo>
                    <a:pt x="784" y="522"/>
                  </a:lnTo>
                  <a:lnTo>
                    <a:pt x="780" y="522"/>
                  </a:lnTo>
                  <a:lnTo>
                    <a:pt x="784" y="522"/>
                  </a:lnTo>
                  <a:lnTo>
                    <a:pt x="784" y="522"/>
                  </a:lnTo>
                  <a:lnTo>
                    <a:pt x="784" y="522"/>
                  </a:lnTo>
                  <a:close/>
                  <a:moveTo>
                    <a:pt x="788" y="526"/>
                  </a:moveTo>
                  <a:lnTo>
                    <a:pt x="788" y="530"/>
                  </a:lnTo>
                  <a:lnTo>
                    <a:pt x="790" y="534"/>
                  </a:lnTo>
                  <a:lnTo>
                    <a:pt x="788" y="534"/>
                  </a:lnTo>
                  <a:lnTo>
                    <a:pt x="788" y="530"/>
                  </a:lnTo>
                  <a:lnTo>
                    <a:pt x="784" y="530"/>
                  </a:lnTo>
                  <a:lnTo>
                    <a:pt x="784" y="526"/>
                  </a:lnTo>
                  <a:lnTo>
                    <a:pt x="788" y="526"/>
                  </a:lnTo>
                  <a:lnTo>
                    <a:pt x="788" y="526"/>
                  </a:lnTo>
                  <a:lnTo>
                    <a:pt x="788" y="526"/>
                  </a:lnTo>
                  <a:close/>
                  <a:moveTo>
                    <a:pt x="790" y="546"/>
                  </a:moveTo>
                  <a:lnTo>
                    <a:pt x="788" y="546"/>
                  </a:lnTo>
                  <a:lnTo>
                    <a:pt x="788" y="542"/>
                  </a:lnTo>
                  <a:lnTo>
                    <a:pt x="788" y="546"/>
                  </a:lnTo>
                  <a:lnTo>
                    <a:pt x="790" y="546"/>
                  </a:lnTo>
                  <a:lnTo>
                    <a:pt x="790" y="546"/>
                  </a:lnTo>
                  <a:lnTo>
                    <a:pt x="790" y="546"/>
                  </a:lnTo>
                  <a:close/>
                  <a:moveTo>
                    <a:pt x="1556" y="606"/>
                  </a:moveTo>
                  <a:lnTo>
                    <a:pt x="1556" y="608"/>
                  </a:lnTo>
                  <a:lnTo>
                    <a:pt x="1552" y="608"/>
                  </a:lnTo>
                  <a:lnTo>
                    <a:pt x="1552" y="606"/>
                  </a:lnTo>
                  <a:lnTo>
                    <a:pt x="1556" y="606"/>
                  </a:lnTo>
                  <a:lnTo>
                    <a:pt x="1556" y="606"/>
                  </a:lnTo>
                  <a:lnTo>
                    <a:pt x="1556" y="606"/>
                  </a:lnTo>
                  <a:close/>
                  <a:moveTo>
                    <a:pt x="1552" y="608"/>
                  </a:moveTo>
                  <a:lnTo>
                    <a:pt x="1548" y="612"/>
                  </a:lnTo>
                  <a:lnTo>
                    <a:pt x="1548" y="608"/>
                  </a:lnTo>
                  <a:lnTo>
                    <a:pt x="1552" y="608"/>
                  </a:lnTo>
                  <a:lnTo>
                    <a:pt x="1552" y="608"/>
                  </a:lnTo>
                  <a:lnTo>
                    <a:pt x="1552" y="608"/>
                  </a:lnTo>
                  <a:close/>
                  <a:moveTo>
                    <a:pt x="1514" y="660"/>
                  </a:moveTo>
                  <a:lnTo>
                    <a:pt x="1514" y="664"/>
                  </a:lnTo>
                  <a:lnTo>
                    <a:pt x="1510" y="664"/>
                  </a:lnTo>
                  <a:lnTo>
                    <a:pt x="1510" y="660"/>
                  </a:lnTo>
                  <a:lnTo>
                    <a:pt x="1514" y="660"/>
                  </a:lnTo>
                  <a:lnTo>
                    <a:pt x="1514" y="660"/>
                  </a:lnTo>
                  <a:lnTo>
                    <a:pt x="1514" y="660"/>
                  </a:lnTo>
                  <a:close/>
                  <a:moveTo>
                    <a:pt x="1522" y="664"/>
                  </a:moveTo>
                  <a:lnTo>
                    <a:pt x="1522" y="668"/>
                  </a:lnTo>
                  <a:lnTo>
                    <a:pt x="1518" y="668"/>
                  </a:lnTo>
                  <a:lnTo>
                    <a:pt x="1518" y="664"/>
                  </a:lnTo>
                  <a:lnTo>
                    <a:pt x="1522" y="664"/>
                  </a:lnTo>
                  <a:lnTo>
                    <a:pt x="1522" y="664"/>
                  </a:lnTo>
                  <a:lnTo>
                    <a:pt x="1522" y="664"/>
                  </a:lnTo>
                  <a:close/>
                  <a:moveTo>
                    <a:pt x="1528" y="664"/>
                  </a:moveTo>
                  <a:lnTo>
                    <a:pt x="1528" y="668"/>
                  </a:lnTo>
                  <a:lnTo>
                    <a:pt x="1532" y="668"/>
                  </a:lnTo>
                  <a:lnTo>
                    <a:pt x="1528" y="668"/>
                  </a:lnTo>
                  <a:lnTo>
                    <a:pt x="1526" y="668"/>
                  </a:lnTo>
                  <a:lnTo>
                    <a:pt x="1528" y="668"/>
                  </a:lnTo>
                  <a:lnTo>
                    <a:pt x="1528" y="664"/>
                  </a:lnTo>
                  <a:lnTo>
                    <a:pt x="1528" y="664"/>
                  </a:lnTo>
                  <a:lnTo>
                    <a:pt x="1528" y="664"/>
                  </a:lnTo>
                  <a:close/>
                  <a:moveTo>
                    <a:pt x="1488" y="678"/>
                  </a:moveTo>
                  <a:lnTo>
                    <a:pt x="1488" y="676"/>
                  </a:lnTo>
                  <a:lnTo>
                    <a:pt x="1488" y="678"/>
                  </a:lnTo>
                  <a:lnTo>
                    <a:pt x="1484" y="678"/>
                  </a:lnTo>
                  <a:lnTo>
                    <a:pt x="1480" y="678"/>
                  </a:lnTo>
                  <a:lnTo>
                    <a:pt x="1476" y="678"/>
                  </a:lnTo>
                  <a:lnTo>
                    <a:pt x="1472" y="678"/>
                  </a:lnTo>
                  <a:lnTo>
                    <a:pt x="1472" y="676"/>
                  </a:lnTo>
                  <a:lnTo>
                    <a:pt x="1476" y="676"/>
                  </a:lnTo>
                  <a:lnTo>
                    <a:pt x="1480" y="676"/>
                  </a:lnTo>
                  <a:lnTo>
                    <a:pt x="1484" y="676"/>
                  </a:lnTo>
                  <a:lnTo>
                    <a:pt x="1488" y="672"/>
                  </a:lnTo>
                  <a:lnTo>
                    <a:pt x="1492" y="672"/>
                  </a:lnTo>
                  <a:lnTo>
                    <a:pt x="1496" y="672"/>
                  </a:lnTo>
                  <a:lnTo>
                    <a:pt x="1498" y="668"/>
                  </a:lnTo>
                  <a:lnTo>
                    <a:pt x="1498" y="672"/>
                  </a:lnTo>
                  <a:lnTo>
                    <a:pt x="1496" y="672"/>
                  </a:lnTo>
                  <a:lnTo>
                    <a:pt x="1492" y="676"/>
                  </a:lnTo>
                  <a:lnTo>
                    <a:pt x="1496" y="676"/>
                  </a:lnTo>
                  <a:lnTo>
                    <a:pt x="1496" y="672"/>
                  </a:lnTo>
                  <a:lnTo>
                    <a:pt x="1498" y="672"/>
                  </a:lnTo>
                  <a:lnTo>
                    <a:pt x="1502" y="672"/>
                  </a:lnTo>
                  <a:lnTo>
                    <a:pt x="1498" y="672"/>
                  </a:lnTo>
                  <a:lnTo>
                    <a:pt x="1496" y="676"/>
                  </a:lnTo>
                  <a:lnTo>
                    <a:pt x="1492" y="676"/>
                  </a:lnTo>
                  <a:lnTo>
                    <a:pt x="1488" y="678"/>
                  </a:lnTo>
                  <a:lnTo>
                    <a:pt x="1488" y="678"/>
                  </a:lnTo>
                  <a:lnTo>
                    <a:pt x="1488" y="678"/>
                  </a:lnTo>
                  <a:close/>
                  <a:moveTo>
                    <a:pt x="824" y="806"/>
                  </a:moveTo>
                  <a:lnTo>
                    <a:pt x="820" y="806"/>
                  </a:lnTo>
                  <a:lnTo>
                    <a:pt x="824" y="806"/>
                  </a:lnTo>
                  <a:lnTo>
                    <a:pt x="824" y="806"/>
                  </a:lnTo>
                  <a:lnTo>
                    <a:pt x="824" y="806"/>
                  </a:lnTo>
                  <a:close/>
                  <a:moveTo>
                    <a:pt x="844" y="818"/>
                  </a:moveTo>
                  <a:lnTo>
                    <a:pt x="846" y="818"/>
                  </a:lnTo>
                  <a:lnTo>
                    <a:pt x="844" y="818"/>
                  </a:lnTo>
                  <a:lnTo>
                    <a:pt x="844" y="818"/>
                  </a:lnTo>
                  <a:lnTo>
                    <a:pt x="844" y="818"/>
                  </a:lnTo>
                  <a:close/>
                  <a:moveTo>
                    <a:pt x="844" y="824"/>
                  </a:moveTo>
                  <a:lnTo>
                    <a:pt x="846" y="828"/>
                  </a:lnTo>
                  <a:lnTo>
                    <a:pt x="844" y="828"/>
                  </a:lnTo>
                  <a:lnTo>
                    <a:pt x="844" y="824"/>
                  </a:lnTo>
                  <a:lnTo>
                    <a:pt x="844" y="824"/>
                  </a:lnTo>
                  <a:lnTo>
                    <a:pt x="844" y="824"/>
                  </a:lnTo>
                  <a:close/>
                  <a:moveTo>
                    <a:pt x="1298" y="874"/>
                  </a:moveTo>
                  <a:lnTo>
                    <a:pt x="1294" y="874"/>
                  </a:lnTo>
                  <a:lnTo>
                    <a:pt x="1290" y="874"/>
                  </a:lnTo>
                  <a:lnTo>
                    <a:pt x="1286" y="874"/>
                  </a:lnTo>
                  <a:lnTo>
                    <a:pt x="1290" y="874"/>
                  </a:lnTo>
                  <a:lnTo>
                    <a:pt x="1294" y="874"/>
                  </a:lnTo>
                  <a:lnTo>
                    <a:pt x="1298" y="874"/>
                  </a:lnTo>
                  <a:lnTo>
                    <a:pt x="1298" y="874"/>
                  </a:lnTo>
                  <a:lnTo>
                    <a:pt x="1298" y="874"/>
                  </a:lnTo>
                  <a:close/>
                  <a:moveTo>
                    <a:pt x="1224" y="888"/>
                  </a:moveTo>
                  <a:lnTo>
                    <a:pt x="1220" y="888"/>
                  </a:lnTo>
                  <a:lnTo>
                    <a:pt x="1224" y="888"/>
                  </a:lnTo>
                  <a:lnTo>
                    <a:pt x="1224" y="888"/>
                  </a:lnTo>
                  <a:lnTo>
                    <a:pt x="1224" y="888"/>
                  </a:lnTo>
                  <a:close/>
                  <a:moveTo>
                    <a:pt x="1178" y="892"/>
                  </a:moveTo>
                  <a:lnTo>
                    <a:pt x="1178" y="896"/>
                  </a:lnTo>
                  <a:lnTo>
                    <a:pt x="1174" y="896"/>
                  </a:lnTo>
                  <a:lnTo>
                    <a:pt x="1178" y="896"/>
                  </a:lnTo>
                  <a:lnTo>
                    <a:pt x="1178" y="892"/>
                  </a:lnTo>
                  <a:lnTo>
                    <a:pt x="1178" y="892"/>
                  </a:lnTo>
                  <a:lnTo>
                    <a:pt x="1178" y="892"/>
                  </a:lnTo>
                  <a:close/>
                  <a:moveTo>
                    <a:pt x="1152" y="914"/>
                  </a:moveTo>
                  <a:lnTo>
                    <a:pt x="1152" y="910"/>
                  </a:lnTo>
                  <a:lnTo>
                    <a:pt x="1156" y="910"/>
                  </a:lnTo>
                  <a:lnTo>
                    <a:pt x="1152" y="914"/>
                  </a:lnTo>
                  <a:lnTo>
                    <a:pt x="1152" y="914"/>
                  </a:lnTo>
                  <a:lnTo>
                    <a:pt x="1152" y="914"/>
                  </a:lnTo>
                  <a:close/>
                  <a:moveTo>
                    <a:pt x="1152" y="914"/>
                  </a:moveTo>
                  <a:lnTo>
                    <a:pt x="1148" y="914"/>
                  </a:lnTo>
                  <a:lnTo>
                    <a:pt x="1148" y="918"/>
                  </a:lnTo>
                  <a:lnTo>
                    <a:pt x="1148" y="914"/>
                  </a:lnTo>
                  <a:lnTo>
                    <a:pt x="1152" y="914"/>
                  </a:lnTo>
                  <a:lnTo>
                    <a:pt x="1152" y="914"/>
                  </a:lnTo>
                  <a:lnTo>
                    <a:pt x="1152" y="914"/>
                  </a:lnTo>
                  <a:close/>
                  <a:moveTo>
                    <a:pt x="1384" y="966"/>
                  </a:moveTo>
                  <a:lnTo>
                    <a:pt x="1384" y="962"/>
                  </a:lnTo>
                  <a:lnTo>
                    <a:pt x="1384" y="966"/>
                  </a:lnTo>
                  <a:lnTo>
                    <a:pt x="1380" y="970"/>
                  </a:lnTo>
                  <a:lnTo>
                    <a:pt x="1384" y="970"/>
                  </a:lnTo>
                  <a:lnTo>
                    <a:pt x="1384" y="966"/>
                  </a:lnTo>
                  <a:lnTo>
                    <a:pt x="1384" y="966"/>
                  </a:lnTo>
                  <a:lnTo>
                    <a:pt x="1384" y="966"/>
                  </a:lnTo>
                  <a:close/>
                  <a:moveTo>
                    <a:pt x="266" y="1026"/>
                  </a:moveTo>
                  <a:lnTo>
                    <a:pt x="262" y="1026"/>
                  </a:lnTo>
                  <a:lnTo>
                    <a:pt x="262" y="1022"/>
                  </a:lnTo>
                  <a:lnTo>
                    <a:pt x="262" y="1018"/>
                  </a:lnTo>
                  <a:lnTo>
                    <a:pt x="266" y="1018"/>
                  </a:lnTo>
                  <a:lnTo>
                    <a:pt x="266" y="1022"/>
                  </a:lnTo>
                  <a:lnTo>
                    <a:pt x="270" y="1022"/>
                  </a:lnTo>
                  <a:lnTo>
                    <a:pt x="266" y="1026"/>
                  </a:lnTo>
                  <a:lnTo>
                    <a:pt x="266" y="1026"/>
                  </a:lnTo>
                  <a:lnTo>
                    <a:pt x="266" y="1026"/>
                  </a:lnTo>
                  <a:close/>
                  <a:moveTo>
                    <a:pt x="254" y="1026"/>
                  </a:moveTo>
                  <a:lnTo>
                    <a:pt x="254" y="1022"/>
                  </a:lnTo>
                  <a:lnTo>
                    <a:pt x="258" y="1022"/>
                  </a:lnTo>
                  <a:lnTo>
                    <a:pt x="258" y="1026"/>
                  </a:lnTo>
                  <a:lnTo>
                    <a:pt x="254" y="1026"/>
                  </a:lnTo>
                  <a:lnTo>
                    <a:pt x="254" y="1026"/>
                  </a:lnTo>
                  <a:lnTo>
                    <a:pt x="254" y="1026"/>
                  </a:lnTo>
                  <a:close/>
                  <a:moveTo>
                    <a:pt x="288" y="1038"/>
                  </a:moveTo>
                  <a:lnTo>
                    <a:pt x="284" y="1038"/>
                  </a:lnTo>
                  <a:lnTo>
                    <a:pt x="284" y="1034"/>
                  </a:lnTo>
                  <a:lnTo>
                    <a:pt x="280" y="1030"/>
                  </a:lnTo>
                  <a:lnTo>
                    <a:pt x="284" y="1030"/>
                  </a:lnTo>
                  <a:lnTo>
                    <a:pt x="288" y="1030"/>
                  </a:lnTo>
                  <a:lnTo>
                    <a:pt x="288" y="1034"/>
                  </a:lnTo>
                  <a:lnTo>
                    <a:pt x="292" y="1038"/>
                  </a:lnTo>
                  <a:lnTo>
                    <a:pt x="288" y="1038"/>
                  </a:lnTo>
                  <a:lnTo>
                    <a:pt x="288" y="1038"/>
                  </a:lnTo>
                  <a:lnTo>
                    <a:pt x="288" y="1038"/>
                  </a:lnTo>
                  <a:close/>
                  <a:moveTo>
                    <a:pt x="302" y="1042"/>
                  </a:moveTo>
                  <a:lnTo>
                    <a:pt x="298" y="1042"/>
                  </a:lnTo>
                  <a:lnTo>
                    <a:pt x="294" y="1042"/>
                  </a:lnTo>
                  <a:lnTo>
                    <a:pt x="294" y="1038"/>
                  </a:lnTo>
                  <a:lnTo>
                    <a:pt x="298" y="1038"/>
                  </a:lnTo>
                  <a:lnTo>
                    <a:pt x="302" y="1038"/>
                  </a:lnTo>
                  <a:lnTo>
                    <a:pt x="302" y="1042"/>
                  </a:lnTo>
                  <a:lnTo>
                    <a:pt x="302" y="1042"/>
                  </a:lnTo>
                  <a:lnTo>
                    <a:pt x="302" y="1042"/>
                  </a:lnTo>
                  <a:close/>
                  <a:moveTo>
                    <a:pt x="310" y="1048"/>
                  </a:moveTo>
                  <a:lnTo>
                    <a:pt x="306" y="1048"/>
                  </a:lnTo>
                  <a:lnTo>
                    <a:pt x="306" y="1046"/>
                  </a:lnTo>
                  <a:lnTo>
                    <a:pt x="302" y="1046"/>
                  </a:lnTo>
                  <a:lnTo>
                    <a:pt x="302" y="1042"/>
                  </a:lnTo>
                  <a:lnTo>
                    <a:pt x="306" y="1042"/>
                  </a:lnTo>
                  <a:lnTo>
                    <a:pt x="306" y="1046"/>
                  </a:lnTo>
                  <a:lnTo>
                    <a:pt x="310" y="1046"/>
                  </a:lnTo>
                  <a:lnTo>
                    <a:pt x="310" y="1042"/>
                  </a:lnTo>
                  <a:lnTo>
                    <a:pt x="310" y="1046"/>
                  </a:lnTo>
                  <a:lnTo>
                    <a:pt x="314" y="1046"/>
                  </a:lnTo>
                  <a:lnTo>
                    <a:pt x="314" y="1048"/>
                  </a:lnTo>
                  <a:lnTo>
                    <a:pt x="310" y="1048"/>
                  </a:lnTo>
                  <a:lnTo>
                    <a:pt x="310" y="1048"/>
                  </a:lnTo>
                  <a:lnTo>
                    <a:pt x="310" y="1048"/>
                  </a:lnTo>
                  <a:close/>
                  <a:moveTo>
                    <a:pt x="302" y="1046"/>
                  </a:moveTo>
                  <a:lnTo>
                    <a:pt x="298" y="1046"/>
                  </a:lnTo>
                  <a:lnTo>
                    <a:pt x="302" y="1046"/>
                  </a:lnTo>
                  <a:lnTo>
                    <a:pt x="302" y="1046"/>
                  </a:lnTo>
                  <a:lnTo>
                    <a:pt x="302" y="1046"/>
                  </a:lnTo>
                  <a:close/>
                  <a:moveTo>
                    <a:pt x="318" y="1056"/>
                  </a:moveTo>
                  <a:lnTo>
                    <a:pt x="322" y="1056"/>
                  </a:lnTo>
                  <a:lnTo>
                    <a:pt x="324" y="1060"/>
                  </a:lnTo>
                  <a:lnTo>
                    <a:pt x="324" y="1062"/>
                  </a:lnTo>
                  <a:lnTo>
                    <a:pt x="328" y="1062"/>
                  </a:lnTo>
                  <a:lnTo>
                    <a:pt x="328" y="1066"/>
                  </a:lnTo>
                  <a:lnTo>
                    <a:pt x="332" y="1066"/>
                  </a:lnTo>
                  <a:lnTo>
                    <a:pt x="328" y="1070"/>
                  </a:lnTo>
                  <a:lnTo>
                    <a:pt x="324" y="1070"/>
                  </a:lnTo>
                  <a:lnTo>
                    <a:pt x="322" y="1074"/>
                  </a:lnTo>
                  <a:lnTo>
                    <a:pt x="322" y="1078"/>
                  </a:lnTo>
                  <a:lnTo>
                    <a:pt x="318" y="1078"/>
                  </a:lnTo>
                  <a:lnTo>
                    <a:pt x="314" y="1074"/>
                  </a:lnTo>
                  <a:lnTo>
                    <a:pt x="314" y="1070"/>
                  </a:lnTo>
                  <a:lnTo>
                    <a:pt x="314" y="1066"/>
                  </a:lnTo>
                  <a:lnTo>
                    <a:pt x="314" y="1062"/>
                  </a:lnTo>
                  <a:lnTo>
                    <a:pt x="318" y="1060"/>
                  </a:lnTo>
                  <a:lnTo>
                    <a:pt x="314" y="1056"/>
                  </a:lnTo>
                  <a:lnTo>
                    <a:pt x="318" y="1056"/>
                  </a:lnTo>
                  <a:lnTo>
                    <a:pt x="318" y="1056"/>
                  </a:lnTo>
                  <a:lnTo>
                    <a:pt x="318" y="1056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25F43839-C254-059D-4EBA-88FD112D5F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5078" y="983211"/>
              <a:ext cx="4710796" cy="1806316"/>
            </a:xfrm>
            <a:custGeom>
              <a:avLst/>
              <a:gdLst>
                <a:gd name="T0" fmla="*/ 946 w 2418"/>
                <a:gd name="T1" fmla="*/ 206 h 958"/>
                <a:gd name="T2" fmla="*/ 1986 w 2418"/>
                <a:gd name="T3" fmla="*/ 336 h 958"/>
                <a:gd name="T4" fmla="*/ 1570 w 2418"/>
                <a:gd name="T5" fmla="*/ 302 h 958"/>
                <a:gd name="T6" fmla="*/ 1320 w 2418"/>
                <a:gd name="T7" fmla="*/ 174 h 958"/>
                <a:gd name="T8" fmla="*/ 860 w 2418"/>
                <a:gd name="T9" fmla="*/ 248 h 958"/>
                <a:gd name="T10" fmla="*/ 822 w 2418"/>
                <a:gd name="T11" fmla="*/ 350 h 958"/>
                <a:gd name="T12" fmla="*/ 692 w 2418"/>
                <a:gd name="T13" fmla="*/ 356 h 958"/>
                <a:gd name="T14" fmla="*/ 344 w 2418"/>
                <a:gd name="T15" fmla="*/ 422 h 958"/>
                <a:gd name="T16" fmla="*/ 204 w 2418"/>
                <a:gd name="T17" fmla="*/ 342 h 958"/>
                <a:gd name="T18" fmla="*/ 114 w 2418"/>
                <a:gd name="T19" fmla="*/ 632 h 958"/>
                <a:gd name="T20" fmla="*/ 302 w 2418"/>
                <a:gd name="T21" fmla="*/ 920 h 958"/>
                <a:gd name="T22" fmla="*/ 536 w 2418"/>
                <a:gd name="T23" fmla="*/ 764 h 958"/>
                <a:gd name="T24" fmla="*/ 886 w 2418"/>
                <a:gd name="T25" fmla="*/ 770 h 958"/>
                <a:gd name="T26" fmla="*/ 1412 w 2418"/>
                <a:gd name="T27" fmla="*/ 764 h 958"/>
                <a:gd name="T28" fmla="*/ 1672 w 2418"/>
                <a:gd name="T29" fmla="*/ 856 h 958"/>
                <a:gd name="T30" fmla="*/ 1814 w 2418"/>
                <a:gd name="T31" fmla="*/ 584 h 958"/>
                <a:gd name="T32" fmla="*/ 1982 w 2418"/>
                <a:gd name="T33" fmla="*/ 584 h 958"/>
                <a:gd name="T34" fmla="*/ 2052 w 2418"/>
                <a:gd name="T35" fmla="*/ 574 h 958"/>
                <a:gd name="T36" fmla="*/ 2326 w 2418"/>
                <a:gd name="T37" fmla="*/ 456 h 958"/>
                <a:gd name="T38" fmla="*/ 2284 w 2418"/>
                <a:gd name="T39" fmla="*/ 296 h 958"/>
                <a:gd name="T40" fmla="*/ 1466 w 2418"/>
                <a:gd name="T41" fmla="*/ 248 h 958"/>
                <a:gd name="T42" fmla="*/ 1530 w 2418"/>
                <a:gd name="T43" fmla="*/ 260 h 958"/>
                <a:gd name="T44" fmla="*/ 4 w 2418"/>
                <a:gd name="T45" fmla="*/ 682 h 958"/>
                <a:gd name="T46" fmla="*/ 536 w 2418"/>
                <a:gd name="T47" fmla="*/ 16 h 958"/>
                <a:gd name="T48" fmla="*/ 536 w 2418"/>
                <a:gd name="T49" fmla="*/ 26 h 958"/>
                <a:gd name="T50" fmla="*/ 524 w 2418"/>
                <a:gd name="T51" fmla="*/ 32 h 958"/>
                <a:gd name="T52" fmla="*/ 512 w 2418"/>
                <a:gd name="T53" fmla="*/ 42 h 958"/>
                <a:gd name="T54" fmla="*/ 442 w 2418"/>
                <a:gd name="T55" fmla="*/ 54 h 958"/>
                <a:gd name="T56" fmla="*/ 1710 w 2418"/>
                <a:gd name="T57" fmla="*/ 174 h 958"/>
                <a:gd name="T58" fmla="*/ 800 w 2418"/>
                <a:gd name="T59" fmla="*/ 242 h 958"/>
                <a:gd name="T60" fmla="*/ 1516 w 2418"/>
                <a:gd name="T61" fmla="*/ 270 h 958"/>
                <a:gd name="T62" fmla="*/ 710 w 2418"/>
                <a:gd name="T63" fmla="*/ 406 h 958"/>
                <a:gd name="T64" fmla="*/ 546 w 2418"/>
                <a:gd name="T65" fmla="*/ 12 h 958"/>
                <a:gd name="T66" fmla="*/ 1034 w 2418"/>
                <a:gd name="T67" fmla="*/ 38 h 958"/>
                <a:gd name="T68" fmla="*/ 604 w 2418"/>
                <a:gd name="T69" fmla="*/ 26 h 958"/>
                <a:gd name="T70" fmla="*/ 454 w 2418"/>
                <a:gd name="T71" fmla="*/ 32 h 958"/>
                <a:gd name="T72" fmla="*/ 362 w 2418"/>
                <a:gd name="T73" fmla="*/ 38 h 958"/>
                <a:gd name="T74" fmla="*/ 512 w 2418"/>
                <a:gd name="T75" fmla="*/ 48 h 958"/>
                <a:gd name="T76" fmla="*/ 1104 w 2418"/>
                <a:gd name="T77" fmla="*/ 86 h 958"/>
                <a:gd name="T78" fmla="*/ 806 w 2418"/>
                <a:gd name="T79" fmla="*/ 70 h 958"/>
                <a:gd name="T80" fmla="*/ 1174 w 2418"/>
                <a:gd name="T81" fmla="*/ 86 h 958"/>
                <a:gd name="T82" fmla="*/ 1240 w 2418"/>
                <a:gd name="T83" fmla="*/ 128 h 958"/>
                <a:gd name="T84" fmla="*/ 664 w 2418"/>
                <a:gd name="T85" fmla="*/ 140 h 958"/>
                <a:gd name="T86" fmla="*/ 546 w 2418"/>
                <a:gd name="T87" fmla="*/ 216 h 958"/>
                <a:gd name="T88" fmla="*/ 508 w 2418"/>
                <a:gd name="T89" fmla="*/ 216 h 958"/>
                <a:gd name="T90" fmla="*/ 1104 w 2418"/>
                <a:gd name="T91" fmla="*/ 146 h 958"/>
                <a:gd name="T92" fmla="*/ 1078 w 2418"/>
                <a:gd name="T93" fmla="*/ 162 h 958"/>
                <a:gd name="T94" fmla="*/ 1672 w 2418"/>
                <a:gd name="T95" fmla="*/ 168 h 958"/>
                <a:gd name="T96" fmla="*/ 1748 w 2418"/>
                <a:gd name="T97" fmla="*/ 194 h 958"/>
                <a:gd name="T98" fmla="*/ 1808 w 2418"/>
                <a:gd name="T99" fmla="*/ 180 h 958"/>
                <a:gd name="T100" fmla="*/ 952 w 2418"/>
                <a:gd name="T101" fmla="*/ 194 h 958"/>
                <a:gd name="T102" fmla="*/ 1716 w 2418"/>
                <a:gd name="T103" fmla="*/ 216 h 958"/>
                <a:gd name="T104" fmla="*/ 1728 w 2418"/>
                <a:gd name="T105" fmla="*/ 238 h 958"/>
                <a:gd name="T106" fmla="*/ 464 w 2418"/>
                <a:gd name="T107" fmla="*/ 288 h 958"/>
                <a:gd name="T108" fmla="*/ 502 w 2418"/>
                <a:gd name="T109" fmla="*/ 276 h 958"/>
                <a:gd name="T110" fmla="*/ 838 w 2418"/>
                <a:gd name="T111" fmla="*/ 248 h 958"/>
                <a:gd name="T112" fmla="*/ 2008 w 2418"/>
                <a:gd name="T113" fmla="*/ 308 h 958"/>
                <a:gd name="T114" fmla="*/ 2004 w 2418"/>
                <a:gd name="T115" fmla="*/ 342 h 958"/>
                <a:gd name="T116" fmla="*/ 324 w 2418"/>
                <a:gd name="T117" fmla="*/ 406 h 958"/>
                <a:gd name="T118" fmla="*/ 1662 w 2418"/>
                <a:gd name="T119" fmla="*/ 682 h 958"/>
                <a:gd name="T120" fmla="*/ 1736 w 2418"/>
                <a:gd name="T121" fmla="*/ 704 h 958"/>
                <a:gd name="T122" fmla="*/ 1754 w 2418"/>
                <a:gd name="T123" fmla="*/ 850 h 958"/>
                <a:gd name="T124" fmla="*/ 1842 w 2418"/>
                <a:gd name="T125" fmla="*/ 866 h 9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18" h="958">
                  <a:moveTo>
                    <a:pt x="758" y="710"/>
                  </a:moveTo>
                  <a:lnTo>
                    <a:pt x="764" y="710"/>
                  </a:lnTo>
                  <a:lnTo>
                    <a:pt x="766" y="704"/>
                  </a:lnTo>
                  <a:lnTo>
                    <a:pt x="758" y="704"/>
                  </a:lnTo>
                  <a:lnTo>
                    <a:pt x="758" y="710"/>
                  </a:lnTo>
                  <a:lnTo>
                    <a:pt x="758" y="710"/>
                  </a:lnTo>
                  <a:lnTo>
                    <a:pt x="758" y="710"/>
                  </a:lnTo>
                  <a:close/>
                  <a:moveTo>
                    <a:pt x="1682" y="698"/>
                  </a:moveTo>
                  <a:lnTo>
                    <a:pt x="1678" y="704"/>
                  </a:lnTo>
                  <a:lnTo>
                    <a:pt x="1682" y="704"/>
                  </a:lnTo>
                  <a:lnTo>
                    <a:pt x="1682" y="698"/>
                  </a:lnTo>
                  <a:lnTo>
                    <a:pt x="1682" y="698"/>
                  </a:lnTo>
                  <a:lnTo>
                    <a:pt x="1682" y="698"/>
                  </a:lnTo>
                  <a:close/>
                  <a:moveTo>
                    <a:pt x="242" y="878"/>
                  </a:moveTo>
                  <a:lnTo>
                    <a:pt x="242" y="884"/>
                  </a:lnTo>
                  <a:lnTo>
                    <a:pt x="248" y="884"/>
                  </a:lnTo>
                  <a:lnTo>
                    <a:pt x="248" y="878"/>
                  </a:lnTo>
                  <a:lnTo>
                    <a:pt x="242" y="878"/>
                  </a:lnTo>
                  <a:lnTo>
                    <a:pt x="242" y="878"/>
                  </a:lnTo>
                  <a:lnTo>
                    <a:pt x="242" y="878"/>
                  </a:lnTo>
                  <a:close/>
                  <a:moveTo>
                    <a:pt x="122" y="548"/>
                  </a:moveTo>
                  <a:lnTo>
                    <a:pt x="118" y="548"/>
                  </a:lnTo>
                  <a:lnTo>
                    <a:pt x="118" y="552"/>
                  </a:lnTo>
                  <a:lnTo>
                    <a:pt x="122" y="552"/>
                  </a:lnTo>
                  <a:lnTo>
                    <a:pt x="122" y="548"/>
                  </a:lnTo>
                  <a:lnTo>
                    <a:pt x="122" y="548"/>
                  </a:lnTo>
                  <a:lnTo>
                    <a:pt x="122" y="548"/>
                  </a:lnTo>
                  <a:close/>
                  <a:moveTo>
                    <a:pt x="492" y="774"/>
                  </a:moveTo>
                  <a:lnTo>
                    <a:pt x="496" y="770"/>
                  </a:lnTo>
                  <a:lnTo>
                    <a:pt x="492" y="770"/>
                  </a:lnTo>
                  <a:lnTo>
                    <a:pt x="492" y="774"/>
                  </a:lnTo>
                  <a:lnTo>
                    <a:pt x="492" y="774"/>
                  </a:lnTo>
                  <a:lnTo>
                    <a:pt x="492" y="774"/>
                  </a:lnTo>
                  <a:close/>
                  <a:moveTo>
                    <a:pt x="1554" y="276"/>
                  </a:moveTo>
                  <a:lnTo>
                    <a:pt x="1548" y="276"/>
                  </a:lnTo>
                  <a:lnTo>
                    <a:pt x="1548" y="282"/>
                  </a:lnTo>
                  <a:lnTo>
                    <a:pt x="1554" y="282"/>
                  </a:lnTo>
                  <a:lnTo>
                    <a:pt x="1554" y="276"/>
                  </a:lnTo>
                  <a:lnTo>
                    <a:pt x="1554" y="276"/>
                  </a:lnTo>
                  <a:lnTo>
                    <a:pt x="1554" y="276"/>
                  </a:lnTo>
                  <a:close/>
                  <a:moveTo>
                    <a:pt x="176" y="324"/>
                  </a:moveTo>
                  <a:lnTo>
                    <a:pt x="172" y="324"/>
                  </a:lnTo>
                  <a:lnTo>
                    <a:pt x="172" y="330"/>
                  </a:lnTo>
                  <a:lnTo>
                    <a:pt x="176" y="330"/>
                  </a:lnTo>
                  <a:lnTo>
                    <a:pt x="176" y="324"/>
                  </a:lnTo>
                  <a:lnTo>
                    <a:pt x="176" y="324"/>
                  </a:lnTo>
                  <a:lnTo>
                    <a:pt x="176" y="324"/>
                  </a:lnTo>
                  <a:close/>
                  <a:moveTo>
                    <a:pt x="1982" y="542"/>
                  </a:moveTo>
                  <a:lnTo>
                    <a:pt x="1982" y="548"/>
                  </a:lnTo>
                  <a:lnTo>
                    <a:pt x="1986" y="548"/>
                  </a:lnTo>
                  <a:lnTo>
                    <a:pt x="1986" y="542"/>
                  </a:lnTo>
                  <a:lnTo>
                    <a:pt x="1982" y="542"/>
                  </a:lnTo>
                  <a:lnTo>
                    <a:pt x="1982" y="542"/>
                  </a:lnTo>
                  <a:lnTo>
                    <a:pt x="1982" y="542"/>
                  </a:lnTo>
                  <a:close/>
                  <a:moveTo>
                    <a:pt x="1672" y="698"/>
                  </a:moveTo>
                  <a:lnTo>
                    <a:pt x="1662" y="698"/>
                  </a:lnTo>
                  <a:lnTo>
                    <a:pt x="1662" y="704"/>
                  </a:lnTo>
                  <a:lnTo>
                    <a:pt x="1672" y="704"/>
                  </a:lnTo>
                  <a:lnTo>
                    <a:pt x="1672" y="698"/>
                  </a:lnTo>
                  <a:lnTo>
                    <a:pt x="1672" y="698"/>
                  </a:lnTo>
                  <a:lnTo>
                    <a:pt x="1672" y="698"/>
                  </a:lnTo>
                  <a:close/>
                  <a:moveTo>
                    <a:pt x="596" y="710"/>
                  </a:moveTo>
                  <a:lnTo>
                    <a:pt x="596" y="704"/>
                  </a:lnTo>
                  <a:lnTo>
                    <a:pt x="590" y="704"/>
                  </a:lnTo>
                  <a:lnTo>
                    <a:pt x="590" y="710"/>
                  </a:lnTo>
                  <a:lnTo>
                    <a:pt x="596" y="710"/>
                  </a:lnTo>
                  <a:lnTo>
                    <a:pt x="596" y="710"/>
                  </a:lnTo>
                  <a:lnTo>
                    <a:pt x="596" y="710"/>
                  </a:lnTo>
                  <a:close/>
                  <a:moveTo>
                    <a:pt x="936" y="216"/>
                  </a:moveTo>
                  <a:lnTo>
                    <a:pt x="940" y="216"/>
                  </a:lnTo>
                  <a:lnTo>
                    <a:pt x="940" y="210"/>
                  </a:lnTo>
                  <a:lnTo>
                    <a:pt x="936" y="210"/>
                  </a:lnTo>
                  <a:lnTo>
                    <a:pt x="936" y="216"/>
                  </a:lnTo>
                  <a:lnTo>
                    <a:pt x="936" y="216"/>
                  </a:lnTo>
                  <a:lnTo>
                    <a:pt x="936" y="216"/>
                  </a:lnTo>
                  <a:close/>
                  <a:moveTo>
                    <a:pt x="336" y="356"/>
                  </a:moveTo>
                  <a:lnTo>
                    <a:pt x="336" y="362"/>
                  </a:lnTo>
                  <a:lnTo>
                    <a:pt x="340" y="362"/>
                  </a:lnTo>
                  <a:lnTo>
                    <a:pt x="340" y="356"/>
                  </a:lnTo>
                  <a:lnTo>
                    <a:pt x="336" y="356"/>
                  </a:lnTo>
                  <a:lnTo>
                    <a:pt x="336" y="356"/>
                  </a:lnTo>
                  <a:lnTo>
                    <a:pt x="336" y="356"/>
                  </a:lnTo>
                  <a:close/>
                  <a:moveTo>
                    <a:pt x="940" y="200"/>
                  </a:moveTo>
                  <a:lnTo>
                    <a:pt x="940" y="206"/>
                  </a:lnTo>
                  <a:lnTo>
                    <a:pt x="946" y="206"/>
                  </a:lnTo>
                  <a:lnTo>
                    <a:pt x="946" y="200"/>
                  </a:lnTo>
                  <a:lnTo>
                    <a:pt x="940" y="200"/>
                  </a:lnTo>
                  <a:lnTo>
                    <a:pt x="940" y="200"/>
                  </a:lnTo>
                  <a:lnTo>
                    <a:pt x="940" y="200"/>
                  </a:lnTo>
                  <a:close/>
                  <a:moveTo>
                    <a:pt x="2338" y="390"/>
                  </a:moveTo>
                  <a:lnTo>
                    <a:pt x="2338" y="396"/>
                  </a:lnTo>
                  <a:lnTo>
                    <a:pt x="2344" y="396"/>
                  </a:lnTo>
                  <a:lnTo>
                    <a:pt x="2338" y="390"/>
                  </a:lnTo>
                  <a:lnTo>
                    <a:pt x="2338" y="390"/>
                  </a:lnTo>
                  <a:lnTo>
                    <a:pt x="2338" y="390"/>
                  </a:lnTo>
                  <a:close/>
                  <a:moveTo>
                    <a:pt x="2398" y="410"/>
                  </a:moveTo>
                  <a:lnTo>
                    <a:pt x="2392" y="410"/>
                  </a:lnTo>
                  <a:lnTo>
                    <a:pt x="2392" y="406"/>
                  </a:lnTo>
                  <a:lnTo>
                    <a:pt x="2380" y="406"/>
                  </a:lnTo>
                  <a:lnTo>
                    <a:pt x="2380" y="402"/>
                  </a:lnTo>
                  <a:lnTo>
                    <a:pt x="2378" y="402"/>
                  </a:lnTo>
                  <a:lnTo>
                    <a:pt x="2372" y="406"/>
                  </a:lnTo>
                  <a:lnTo>
                    <a:pt x="2360" y="406"/>
                  </a:lnTo>
                  <a:lnTo>
                    <a:pt x="2360" y="396"/>
                  </a:lnTo>
                  <a:lnTo>
                    <a:pt x="2344" y="396"/>
                  </a:lnTo>
                  <a:lnTo>
                    <a:pt x="2344" y="402"/>
                  </a:lnTo>
                  <a:lnTo>
                    <a:pt x="2350" y="402"/>
                  </a:lnTo>
                  <a:lnTo>
                    <a:pt x="2354" y="406"/>
                  </a:lnTo>
                  <a:lnTo>
                    <a:pt x="2350" y="406"/>
                  </a:lnTo>
                  <a:lnTo>
                    <a:pt x="2350" y="416"/>
                  </a:lnTo>
                  <a:lnTo>
                    <a:pt x="2344" y="416"/>
                  </a:lnTo>
                  <a:lnTo>
                    <a:pt x="2344" y="410"/>
                  </a:lnTo>
                  <a:lnTo>
                    <a:pt x="2338" y="410"/>
                  </a:lnTo>
                  <a:lnTo>
                    <a:pt x="2338" y="406"/>
                  </a:lnTo>
                  <a:lnTo>
                    <a:pt x="2344" y="406"/>
                  </a:lnTo>
                  <a:lnTo>
                    <a:pt x="2344" y="402"/>
                  </a:lnTo>
                  <a:lnTo>
                    <a:pt x="2338" y="402"/>
                  </a:lnTo>
                  <a:lnTo>
                    <a:pt x="2338" y="396"/>
                  </a:lnTo>
                  <a:lnTo>
                    <a:pt x="2332" y="396"/>
                  </a:lnTo>
                  <a:lnTo>
                    <a:pt x="2332" y="384"/>
                  </a:lnTo>
                  <a:lnTo>
                    <a:pt x="2324" y="378"/>
                  </a:lnTo>
                  <a:lnTo>
                    <a:pt x="2318" y="378"/>
                  </a:lnTo>
                  <a:lnTo>
                    <a:pt x="2318" y="374"/>
                  </a:lnTo>
                  <a:lnTo>
                    <a:pt x="2306" y="374"/>
                  </a:lnTo>
                  <a:lnTo>
                    <a:pt x="2306" y="368"/>
                  </a:lnTo>
                  <a:lnTo>
                    <a:pt x="2296" y="368"/>
                  </a:lnTo>
                  <a:lnTo>
                    <a:pt x="2296" y="362"/>
                  </a:lnTo>
                  <a:lnTo>
                    <a:pt x="2284" y="362"/>
                  </a:lnTo>
                  <a:lnTo>
                    <a:pt x="2284" y="356"/>
                  </a:lnTo>
                  <a:lnTo>
                    <a:pt x="2272" y="356"/>
                  </a:lnTo>
                  <a:lnTo>
                    <a:pt x="2272" y="350"/>
                  </a:lnTo>
                  <a:lnTo>
                    <a:pt x="2268" y="350"/>
                  </a:lnTo>
                  <a:lnTo>
                    <a:pt x="2264" y="348"/>
                  </a:lnTo>
                  <a:lnTo>
                    <a:pt x="2258" y="348"/>
                  </a:lnTo>
                  <a:lnTo>
                    <a:pt x="2252" y="342"/>
                  </a:lnTo>
                  <a:lnTo>
                    <a:pt x="2252" y="348"/>
                  </a:lnTo>
                  <a:lnTo>
                    <a:pt x="2246" y="348"/>
                  </a:lnTo>
                  <a:lnTo>
                    <a:pt x="2246" y="342"/>
                  </a:lnTo>
                  <a:lnTo>
                    <a:pt x="2240" y="342"/>
                  </a:lnTo>
                  <a:lnTo>
                    <a:pt x="2236" y="336"/>
                  </a:lnTo>
                  <a:lnTo>
                    <a:pt x="2214" y="336"/>
                  </a:lnTo>
                  <a:lnTo>
                    <a:pt x="2214" y="330"/>
                  </a:lnTo>
                  <a:lnTo>
                    <a:pt x="2176" y="330"/>
                  </a:lnTo>
                  <a:lnTo>
                    <a:pt x="2176" y="324"/>
                  </a:lnTo>
                  <a:lnTo>
                    <a:pt x="2170" y="324"/>
                  </a:lnTo>
                  <a:lnTo>
                    <a:pt x="2170" y="330"/>
                  </a:lnTo>
                  <a:lnTo>
                    <a:pt x="2164" y="330"/>
                  </a:lnTo>
                  <a:lnTo>
                    <a:pt x="2164" y="324"/>
                  </a:lnTo>
                  <a:lnTo>
                    <a:pt x="2144" y="324"/>
                  </a:lnTo>
                  <a:lnTo>
                    <a:pt x="2144" y="320"/>
                  </a:lnTo>
                  <a:lnTo>
                    <a:pt x="2132" y="320"/>
                  </a:lnTo>
                  <a:lnTo>
                    <a:pt x="2132" y="336"/>
                  </a:lnTo>
                  <a:lnTo>
                    <a:pt x="2138" y="336"/>
                  </a:lnTo>
                  <a:lnTo>
                    <a:pt x="2138" y="350"/>
                  </a:lnTo>
                  <a:lnTo>
                    <a:pt x="2132" y="350"/>
                  </a:lnTo>
                  <a:lnTo>
                    <a:pt x="2132" y="356"/>
                  </a:lnTo>
                  <a:lnTo>
                    <a:pt x="2116" y="356"/>
                  </a:lnTo>
                  <a:lnTo>
                    <a:pt x="2116" y="348"/>
                  </a:lnTo>
                  <a:lnTo>
                    <a:pt x="2100" y="348"/>
                  </a:lnTo>
                  <a:lnTo>
                    <a:pt x="2100" y="336"/>
                  </a:lnTo>
                  <a:lnTo>
                    <a:pt x="2008" y="336"/>
                  </a:lnTo>
                  <a:lnTo>
                    <a:pt x="2008" y="356"/>
                  </a:lnTo>
                  <a:lnTo>
                    <a:pt x="2004" y="356"/>
                  </a:lnTo>
                  <a:lnTo>
                    <a:pt x="2004" y="362"/>
                  </a:lnTo>
                  <a:lnTo>
                    <a:pt x="1998" y="362"/>
                  </a:lnTo>
                  <a:lnTo>
                    <a:pt x="2004" y="356"/>
                  </a:lnTo>
                  <a:lnTo>
                    <a:pt x="2004" y="348"/>
                  </a:lnTo>
                  <a:lnTo>
                    <a:pt x="1998" y="348"/>
                  </a:lnTo>
                  <a:lnTo>
                    <a:pt x="1998" y="336"/>
                  </a:lnTo>
                  <a:lnTo>
                    <a:pt x="1986" y="336"/>
                  </a:lnTo>
                  <a:lnTo>
                    <a:pt x="1982" y="330"/>
                  </a:lnTo>
                  <a:lnTo>
                    <a:pt x="1982" y="324"/>
                  </a:lnTo>
                  <a:lnTo>
                    <a:pt x="1986" y="320"/>
                  </a:lnTo>
                  <a:lnTo>
                    <a:pt x="1986" y="308"/>
                  </a:lnTo>
                  <a:lnTo>
                    <a:pt x="1976" y="308"/>
                  </a:lnTo>
                  <a:lnTo>
                    <a:pt x="1970" y="302"/>
                  </a:lnTo>
                  <a:lnTo>
                    <a:pt x="1964" y="302"/>
                  </a:lnTo>
                  <a:lnTo>
                    <a:pt x="1958" y="296"/>
                  </a:lnTo>
                  <a:lnTo>
                    <a:pt x="1898" y="296"/>
                  </a:lnTo>
                  <a:lnTo>
                    <a:pt x="1898" y="302"/>
                  </a:lnTo>
                  <a:lnTo>
                    <a:pt x="1872" y="302"/>
                  </a:lnTo>
                  <a:lnTo>
                    <a:pt x="1872" y="296"/>
                  </a:lnTo>
                  <a:lnTo>
                    <a:pt x="1868" y="296"/>
                  </a:lnTo>
                  <a:lnTo>
                    <a:pt x="1868" y="292"/>
                  </a:lnTo>
                  <a:lnTo>
                    <a:pt x="1862" y="292"/>
                  </a:lnTo>
                  <a:lnTo>
                    <a:pt x="1856" y="288"/>
                  </a:lnTo>
                  <a:lnTo>
                    <a:pt x="1850" y="292"/>
                  </a:lnTo>
                  <a:lnTo>
                    <a:pt x="1850" y="288"/>
                  </a:lnTo>
                  <a:lnTo>
                    <a:pt x="1836" y="288"/>
                  </a:lnTo>
                  <a:lnTo>
                    <a:pt x="1836" y="282"/>
                  </a:lnTo>
                  <a:lnTo>
                    <a:pt x="1830" y="282"/>
                  </a:lnTo>
                  <a:lnTo>
                    <a:pt x="1830" y="276"/>
                  </a:lnTo>
                  <a:lnTo>
                    <a:pt x="1836" y="276"/>
                  </a:lnTo>
                  <a:lnTo>
                    <a:pt x="1842" y="282"/>
                  </a:lnTo>
                  <a:lnTo>
                    <a:pt x="1842" y="270"/>
                  </a:lnTo>
                  <a:lnTo>
                    <a:pt x="1830" y="270"/>
                  </a:lnTo>
                  <a:lnTo>
                    <a:pt x="1830" y="266"/>
                  </a:lnTo>
                  <a:lnTo>
                    <a:pt x="1802" y="266"/>
                  </a:lnTo>
                  <a:lnTo>
                    <a:pt x="1796" y="270"/>
                  </a:lnTo>
                  <a:lnTo>
                    <a:pt x="1786" y="282"/>
                  </a:lnTo>
                  <a:lnTo>
                    <a:pt x="1782" y="282"/>
                  </a:lnTo>
                  <a:lnTo>
                    <a:pt x="1776" y="288"/>
                  </a:lnTo>
                  <a:lnTo>
                    <a:pt x="1776" y="282"/>
                  </a:lnTo>
                  <a:lnTo>
                    <a:pt x="1770" y="282"/>
                  </a:lnTo>
                  <a:lnTo>
                    <a:pt x="1776" y="276"/>
                  </a:lnTo>
                  <a:lnTo>
                    <a:pt x="1782" y="276"/>
                  </a:lnTo>
                  <a:lnTo>
                    <a:pt x="1782" y="270"/>
                  </a:lnTo>
                  <a:lnTo>
                    <a:pt x="1796" y="270"/>
                  </a:lnTo>
                  <a:lnTo>
                    <a:pt x="1796" y="266"/>
                  </a:lnTo>
                  <a:lnTo>
                    <a:pt x="1790" y="260"/>
                  </a:lnTo>
                  <a:lnTo>
                    <a:pt x="1776" y="260"/>
                  </a:lnTo>
                  <a:lnTo>
                    <a:pt x="1776" y="266"/>
                  </a:lnTo>
                  <a:lnTo>
                    <a:pt x="1770" y="266"/>
                  </a:lnTo>
                  <a:lnTo>
                    <a:pt x="1770" y="270"/>
                  </a:lnTo>
                  <a:lnTo>
                    <a:pt x="1764" y="270"/>
                  </a:lnTo>
                  <a:lnTo>
                    <a:pt x="1758" y="270"/>
                  </a:lnTo>
                  <a:lnTo>
                    <a:pt x="1758" y="266"/>
                  </a:lnTo>
                  <a:lnTo>
                    <a:pt x="1764" y="266"/>
                  </a:lnTo>
                  <a:lnTo>
                    <a:pt x="1764" y="270"/>
                  </a:lnTo>
                  <a:lnTo>
                    <a:pt x="1770" y="266"/>
                  </a:lnTo>
                  <a:lnTo>
                    <a:pt x="1770" y="260"/>
                  </a:lnTo>
                  <a:lnTo>
                    <a:pt x="1758" y="260"/>
                  </a:lnTo>
                  <a:lnTo>
                    <a:pt x="1754" y="254"/>
                  </a:lnTo>
                  <a:lnTo>
                    <a:pt x="1722" y="254"/>
                  </a:lnTo>
                  <a:lnTo>
                    <a:pt x="1722" y="248"/>
                  </a:lnTo>
                  <a:lnTo>
                    <a:pt x="1710" y="248"/>
                  </a:lnTo>
                  <a:lnTo>
                    <a:pt x="1710" y="254"/>
                  </a:lnTo>
                  <a:lnTo>
                    <a:pt x="1716" y="254"/>
                  </a:lnTo>
                  <a:lnTo>
                    <a:pt x="1716" y="260"/>
                  </a:lnTo>
                  <a:lnTo>
                    <a:pt x="1694" y="260"/>
                  </a:lnTo>
                  <a:lnTo>
                    <a:pt x="1688" y="266"/>
                  </a:lnTo>
                  <a:lnTo>
                    <a:pt x="1688" y="270"/>
                  </a:lnTo>
                  <a:lnTo>
                    <a:pt x="1694" y="270"/>
                  </a:lnTo>
                  <a:lnTo>
                    <a:pt x="1700" y="266"/>
                  </a:lnTo>
                  <a:lnTo>
                    <a:pt x="1704" y="270"/>
                  </a:lnTo>
                  <a:lnTo>
                    <a:pt x="1700" y="270"/>
                  </a:lnTo>
                  <a:lnTo>
                    <a:pt x="1700" y="288"/>
                  </a:lnTo>
                  <a:lnTo>
                    <a:pt x="1672" y="288"/>
                  </a:lnTo>
                  <a:lnTo>
                    <a:pt x="1672" y="296"/>
                  </a:lnTo>
                  <a:lnTo>
                    <a:pt x="1668" y="292"/>
                  </a:lnTo>
                  <a:lnTo>
                    <a:pt x="1662" y="288"/>
                  </a:lnTo>
                  <a:lnTo>
                    <a:pt x="1624" y="288"/>
                  </a:lnTo>
                  <a:lnTo>
                    <a:pt x="1624" y="292"/>
                  </a:lnTo>
                  <a:lnTo>
                    <a:pt x="1618" y="288"/>
                  </a:lnTo>
                  <a:lnTo>
                    <a:pt x="1602" y="288"/>
                  </a:lnTo>
                  <a:lnTo>
                    <a:pt x="1602" y="276"/>
                  </a:lnTo>
                  <a:lnTo>
                    <a:pt x="1596" y="276"/>
                  </a:lnTo>
                  <a:lnTo>
                    <a:pt x="1590" y="282"/>
                  </a:lnTo>
                  <a:lnTo>
                    <a:pt x="1590" y="296"/>
                  </a:lnTo>
                  <a:lnTo>
                    <a:pt x="1586" y="296"/>
                  </a:lnTo>
                  <a:lnTo>
                    <a:pt x="1580" y="302"/>
                  </a:lnTo>
                  <a:lnTo>
                    <a:pt x="1574" y="308"/>
                  </a:lnTo>
                  <a:lnTo>
                    <a:pt x="1574" y="302"/>
                  </a:lnTo>
                  <a:lnTo>
                    <a:pt x="1570" y="296"/>
                  </a:lnTo>
                  <a:lnTo>
                    <a:pt x="1570" y="302"/>
                  </a:lnTo>
                  <a:lnTo>
                    <a:pt x="1564" y="302"/>
                  </a:lnTo>
                  <a:lnTo>
                    <a:pt x="1564" y="296"/>
                  </a:lnTo>
                  <a:lnTo>
                    <a:pt x="1554" y="296"/>
                  </a:lnTo>
                  <a:lnTo>
                    <a:pt x="1554" y="288"/>
                  </a:lnTo>
                  <a:lnTo>
                    <a:pt x="1542" y="288"/>
                  </a:lnTo>
                  <a:lnTo>
                    <a:pt x="1542" y="276"/>
                  </a:lnTo>
                  <a:lnTo>
                    <a:pt x="1536" y="276"/>
                  </a:lnTo>
                  <a:lnTo>
                    <a:pt x="1536" y="270"/>
                  </a:lnTo>
                  <a:lnTo>
                    <a:pt x="1530" y="270"/>
                  </a:lnTo>
                  <a:lnTo>
                    <a:pt x="1530" y="266"/>
                  </a:lnTo>
                  <a:lnTo>
                    <a:pt x="1520" y="266"/>
                  </a:lnTo>
                  <a:lnTo>
                    <a:pt x="1520" y="260"/>
                  </a:lnTo>
                  <a:lnTo>
                    <a:pt x="1516" y="260"/>
                  </a:lnTo>
                  <a:lnTo>
                    <a:pt x="1516" y="270"/>
                  </a:lnTo>
                  <a:lnTo>
                    <a:pt x="1510" y="266"/>
                  </a:lnTo>
                  <a:lnTo>
                    <a:pt x="1494" y="266"/>
                  </a:lnTo>
                  <a:lnTo>
                    <a:pt x="1494" y="260"/>
                  </a:lnTo>
                  <a:lnTo>
                    <a:pt x="1482" y="260"/>
                  </a:lnTo>
                  <a:lnTo>
                    <a:pt x="1476" y="254"/>
                  </a:lnTo>
                  <a:lnTo>
                    <a:pt x="1456" y="254"/>
                  </a:lnTo>
                  <a:lnTo>
                    <a:pt x="1456" y="248"/>
                  </a:lnTo>
                  <a:lnTo>
                    <a:pt x="1412" y="248"/>
                  </a:lnTo>
                  <a:lnTo>
                    <a:pt x="1408" y="242"/>
                  </a:lnTo>
                  <a:lnTo>
                    <a:pt x="1402" y="242"/>
                  </a:lnTo>
                  <a:lnTo>
                    <a:pt x="1396" y="238"/>
                  </a:lnTo>
                  <a:lnTo>
                    <a:pt x="1408" y="238"/>
                  </a:lnTo>
                  <a:lnTo>
                    <a:pt x="1402" y="234"/>
                  </a:lnTo>
                  <a:lnTo>
                    <a:pt x="1374" y="234"/>
                  </a:lnTo>
                  <a:lnTo>
                    <a:pt x="1374" y="228"/>
                  </a:lnTo>
                  <a:lnTo>
                    <a:pt x="1348" y="228"/>
                  </a:lnTo>
                  <a:lnTo>
                    <a:pt x="1348" y="234"/>
                  </a:lnTo>
                  <a:lnTo>
                    <a:pt x="1326" y="234"/>
                  </a:lnTo>
                  <a:lnTo>
                    <a:pt x="1326" y="238"/>
                  </a:lnTo>
                  <a:lnTo>
                    <a:pt x="1320" y="238"/>
                  </a:lnTo>
                  <a:lnTo>
                    <a:pt x="1326" y="234"/>
                  </a:lnTo>
                  <a:lnTo>
                    <a:pt x="1326" y="228"/>
                  </a:lnTo>
                  <a:lnTo>
                    <a:pt x="1294" y="228"/>
                  </a:lnTo>
                  <a:lnTo>
                    <a:pt x="1288" y="222"/>
                  </a:lnTo>
                  <a:lnTo>
                    <a:pt x="1276" y="222"/>
                  </a:lnTo>
                  <a:lnTo>
                    <a:pt x="1276" y="228"/>
                  </a:lnTo>
                  <a:lnTo>
                    <a:pt x="1282" y="228"/>
                  </a:lnTo>
                  <a:lnTo>
                    <a:pt x="1282" y="234"/>
                  </a:lnTo>
                  <a:lnTo>
                    <a:pt x="1276" y="234"/>
                  </a:lnTo>
                  <a:lnTo>
                    <a:pt x="1276" y="238"/>
                  </a:lnTo>
                  <a:lnTo>
                    <a:pt x="1250" y="238"/>
                  </a:lnTo>
                  <a:lnTo>
                    <a:pt x="1250" y="242"/>
                  </a:lnTo>
                  <a:lnTo>
                    <a:pt x="1222" y="242"/>
                  </a:lnTo>
                  <a:lnTo>
                    <a:pt x="1222" y="248"/>
                  </a:lnTo>
                  <a:lnTo>
                    <a:pt x="1218" y="248"/>
                  </a:lnTo>
                  <a:lnTo>
                    <a:pt x="1212" y="254"/>
                  </a:lnTo>
                  <a:lnTo>
                    <a:pt x="1206" y="254"/>
                  </a:lnTo>
                  <a:lnTo>
                    <a:pt x="1212" y="248"/>
                  </a:lnTo>
                  <a:lnTo>
                    <a:pt x="1218" y="248"/>
                  </a:lnTo>
                  <a:lnTo>
                    <a:pt x="1218" y="238"/>
                  </a:lnTo>
                  <a:lnTo>
                    <a:pt x="1234" y="238"/>
                  </a:lnTo>
                  <a:lnTo>
                    <a:pt x="1240" y="234"/>
                  </a:lnTo>
                  <a:lnTo>
                    <a:pt x="1246" y="234"/>
                  </a:lnTo>
                  <a:lnTo>
                    <a:pt x="1250" y="228"/>
                  </a:lnTo>
                  <a:lnTo>
                    <a:pt x="1260" y="228"/>
                  </a:lnTo>
                  <a:lnTo>
                    <a:pt x="1260" y="222"/>
                  </a:lnTo>
                  <a:lnTo>
                    <a:pt x="1266" y="222"/>
                  </a:lnTo>
                  <a:lnTo>
                    <a:pt x="1266" y="216"/>
                  </a:lnTo>
                  <a:lnTo>
                    <a:pt x="1276" y="216"/>
                  </a:lnTo>
                  <a:lnTo>
                    <a:pt x="1276" y="210"/>
                  </a:lnTo>
                  <a:lnTo>
                    <a:pt x="1288" y="210"/>
                  </a:lnTo>
                  <a:lnTo>
                    <a:pt x="1288" y="206"/>
                  </a:lnTo>
                  <a:lnTo>
                    <a:pt x="1294" y="206"/>
                  </a:lnTo>
                  <a:lnTo>
                    <a:pt x="1294" y="200"/>
                  </a:lnTo>
                  <a:lnTo>
                    <a:pt x="1308" y="200"/>
                  </a:lnTo>
                  <a:lnTo>
                    <a:pt x="1308" y="194"/>
                  </a:lnTo>
                  <a:lnTo>
                    <a:pt x="1314" y="194"/>
                  </a:lnTo>
                  <a:lnTo>
                    <a:pt x="1320" y="188"/>
                  </a:lnTo>
                  <a:lnTo>
                    <a:pt x="1326" y="188"/>
                  </a:lnTo>
                  <a:lnTo>
                    <a:pt x="1326" y="182"/>
                  </a:lnTo>
                  <a:lnTo>
                    <a:pt x="1332" y="182"/>
                  </a:lnTo>
                  <a:lnTo>
                    <a:pt x="1326" y="180"/>
                  </a:lnTo>
                  <a:lnTo>
                    <a:pt x="1332" y="180"/>
                  </a:lnTo>
                  <a:lnTo>
                    <a:pt x="1332" y="168"/>
                  </a:lnTo>
                  <a:lnTo>
                    <a:pt x="1326" y="168"/>
                  </a:lnTo>
                  <a:lnTo>
                    <a:pt x="1326" y="156"/>
                  </a:lnTo>
                  <a:lnTo>
                    <a:pt x="1320" y="162"/>
                  </a:lnTo>
                  <a:lnTo>
                    <a:pt x="1320" y="168"/>
                  </a:lnTo>
                  <a:lnTo>
                    <a:pt x="1314" y="168"/>
                  </a:lnTo>
                  <a:lnTo>
                    <a:pt x="1314" y="174"/>
                  </a:lnTo>
                  <a:lnTo>
                    <a:pt x="1320" y="174"/>
                  </a:lnTo>
                  <a:lnTo>
                    <a:pt x="1320" y="180"/>
                  </a:lnTo>
                  <a:lnTo>
                    <a:pt x="1314" y="180"/>
                  </a:lnTo>
                  <a:lnTo>
                    <a:pt x="1314" y="174"/>
                  </a:lnTo>
                  <a:lnTo>
                    <a:pt x="1308" y="174"/>
                  </a:lnTo>
                  <a:lnTo>
                    <a:pt x="1308" y="168"/>
                  </a:lnTo>
                  <a:lnTo>
                    <a:pt x="1314" y="168"/>
                  </a:lnTo>
                  <a:lnTo>
                    <a:pt x="1314" y="156"/>
                  </a:lnTo>
                  <a:lnTo>
                    <a:pt x="1308" y="152"/>
                  </a:lnTo>
                  <a:lnTo>
                    <a:pt x="1300" y="152"/>
                  </a:lnTo>
                  <a:lnTo>
                    <a:pt x="1300" y="146"/>
                  </a:lnTo>
                  <a:lnTo>
                    <a:pt x="1250" y="146"/>
                  </a:lnTo>
                  <a:lnTo>
                    <a:pt x="1250" y="152"/>
                  </a:lnTo>
                  <a:lnTo>
                    <a:pt x="1234" y="152"/>
                  </a:lnTo>
                  <a:lnTo>
                    <a:pt x="1234" y="140"/>
                  </a:lnTo>
                  <a:lnTo>
                    <a:pt x="1218" y="140"/>
                  </a:lnTo>
                  <a:lnTo>
                    <a:pt x="1218" y="134"/>
                  </a:lnTo>
                  <a:lnTo>
                    <a:pt x="1206" y="134"/>
                  </a:lnTo>
                  <a:lnTo>
                    <a:pt x="1206" y="128"/>
                  </a:lnTo>
                  <a:lnTo>
                    <a:pt x="1218" y="128"/>
                  </a:lnTo>
                  <a:lnTo>
                    <a:pt x="1218" y="124"/>
                  </a:lnTo>
                  <a:lnTo>
                    <a:pt x="1206" y="124"/>
                  </a:lnTo>
                  <a:lnTo>
                    <a:pt x="1206" y="120"/>
                  </a:lnTo>
                  <a:lnTo>
                    <a:pt x="1180" y="120"/>
                  </a:lnTo>
                  <a:lnTo>
                    <a:pt x="1180" y="124"/>
                  </a:lnTo>
                  <a:lnTo>
                    <a:pt x="1168" y="124"/>
                  </a:lnTo>
                  <a:lnTo>
                    <a:pt x="1168" y="128"/>
                  </a:lnTo>
                  <a:lnTo>
                    <a:pt x="1162" y="128"/>
                  </a:lnTo>
                  <a:lnTo>
                    <a:pt x="1158" y="134"/>
                  </a:lnTo>
                  <a:lnTo>
                    <a:pt x="1152" y="134"/>
                  </a:lnTo>
                  <a:lnTo>
                    <a:pt x="1152" y="140"/>
                  </a:lnTo>
                  <a:lnTo>
                    <a:pt x="1146" y="140"/>
                  </a:lnTo>
                  <a:lnTo>
                    <a:pt x="1146" y="146"/>
                  </a:lnTo>
                  <a:lnTo>
                    <a:pt x="1152" y="146"/>
                  </a:lnTo>
                  <a:lnTo>
                    <a:pt x="1152" y="152"/>
                  </a:lnTo>
                  <a:lnTo>
                    <a:pt x="1120" y="152"/>
                  </a:lnTo>
                  <a:lnTo>
                    <a:pt x="1120" y="156"/>
                  </a:lnTo>
                  <a:lnTo>
                    <a:pt x="1132" y="156"/>
                  </a:lnTo>
                  <a:lnTo>
                    <a:pt x="1132" y="162"/>
                  </a:lnTo>
                  <a:lnTo>
                    <a:pt x="1136" y="162"/>
                  </a:lnTo>
                  <a:lnTo>
                    <a:pt x="1136" y="168"/>
                  </a:lnTo>
                  <a:lnTo>
                    <a:pt x="1132" y="174"/>
                  </a:lnTo>
                  <a:lnTo>
                    <a:pt x="1132" y="162"/>
                  </a:lnTo>
                  <a:lnTo>
                    <a:pt x="1120" y="162"/>
                  </a:lnTo>
                  <a:lnTo>
                    <a:pt x="1120" y="156"/>
                  </a:lnTo>
                  <a:lnTo>
                    <a:pt x="1114" y="162"/>
                  </a:lnTo>
                  <a:lnTo>
                    <a:pt x="1108" y="162"/>
                  </a:lnTo>
                  <a:lnTo>
                    <a:pt x="1108" y="168"/>
                  </a:lnTo>
                  <a:lnTo>
                    <a:pt x="1082" y="168"/>
                  </a:lnTo>
                  <a:lnTo>
                    <a:pt x="1078" y="162"/>
                  </a:lnTo>
                  <a:lnTo>
                    <a:pt x="1060" y="162"/>
                  </a:lnTo>
                  <a:lnTo>
                    <a:pt x="1066" y="168"/>
                  </a:lnTo>
                  <a:lnTo>
                    <a:pt x="1054" y="168"/>
                  </a:lnTo>
                  <a:lnTo>
                    <a:pt x="1050" y="162"/>
                  </a:lnTo>
                  <a:lnTo>
                    <a:pt x="1044" y="162"/>
                  </a:lnTo>
                  <a:lnTo>
                    <a:pt x="1044" y="174"/>
                  </a:lnTo>
                  <a:lnTo>
                    <a:pt x="1018" y="174"/>
                  </a:lnTo>
                  <a:lnTo>
                    <a:pt x="1018" y="180"/>
                  </a:lnTo>
                  <a:lnTo>
                    <a:pt x="990" y="180"/>
                  </a:lnTo>
                  <a:lnTo>
                    <a:pt x="984" y="182"/>
                  </a:lnTo>
                  <a:lnTo>
                    <a:pt x="984" y="180"/>
                  </a:lnTo>
                  <a:lnTo>
                    <a:pt x="980" y="180"/>
                  </a:lnTo>
                  <a:lnTo>
                    <a:pt x="980" y="182"/>
                  </a:lnTo>
                  <a:lnTo>
                    <a:pt x="974" y="182"/>
                  </a:lnTo>
                  <a:lnTo>
                    <a:pt x="968" y="188"/>
                  </a:lnTo>
                  <a:lnTo>
                    <a:pt x="964" y="188"/>
                  </a:lnTo>
                  <a:lnTo>
                    <a:pt x="964" y="194"/>
                  </a:lnTo>
                  <a:lnTo>
                    <a:pt x="958" y="194"/>
                  </a:lnTo>
                  <a:lnTo>
                    <a:pt x="958" y="200"/>
                  </a:lnTo>
                  <a:lnTo>
                    <a:pt x="952" y="200"/>
                  </a:lnTo>
                  <a:lnTo>
                    <a:pt x="952" y="206"/>
                  </a:lnTo>
                  <a:lnTo>
                    <a:pt x="946" y="206"/>
                  </a:lnTo>
                  <a:lnTo>
                    <a:pt x="946" y="210"/>
                  </a:lnTo>
                  <a:lnTo>
                    <a:pt x="940" y="210"/>
                  </a:lnTo>
                  <a:lnTo>
                    <a:pt x="946" y="216"/>
                  </a:lnTo>
                  <a:lnTo>
                    <a:pt x="952" y="210"/>
                  </a:lnTo>
                  <a:lnTo>
                    <a:pt x="958" y="210"/>
                  </a:lnTo>
                  <a:lnTo>
                    <a:pt x="952" y="216"/>
                  </a:lnTo>
                  <a:lnTo>
                    <a:pt x="958" y="216"/>
                  </a:lnTo>
                  <a:lnTo>
                    <a:pt x="958" y="234"/>
                  </a:lnTo>
                  <a:lnTo>
                    <a:pt x="946" y="234"/>
                  </a:lnTo>
                  <a:lnTo>
                    <a:pt x="946" y="228"/>
                  </a:lnTo>
                  <a:lnTo>
                    <a:pt x="876" y="228"/>
                  </a:lnTo>
                  <a:lnTo>
                    <a:pt x="872" y="234"/>
                  </a:lnTo>
                  <a:lnTo>
                    <a:pt x="860" y="234"/>
                  </a:lnTo>
                  <a:lnTo>
                    <a:pt x="860" y="248"/>
                  </a:lnTo>
                  <a:lnTo>
                    <a:pt x="866" y="248"/>
                  </a:lnTo>
                  <a:lnTo>
                    <a:pt x="860" y="254"/>
                  </a:lnTo>
                  <a:lnTo>
                    <a:pt x="860" y="260"/>
                  </a:lnTo>
                  <a:lnTo>
                    <a:pt x="872" y="260"/>
                  </a:lnTo>
                  <a:lnTo>
                    <a:pt x="872" y="266"/>
                  </a:lnTo>
                  <a:lnTo>
                    <a:pt x="880" y="266"/>
                  </a:lnTo>
                  <a:lnTo>
                    <a:pt x="880" y="276"/>
                  </a:lnTo>
                  <a:lnTo>
                    <a:pt x="904" y="276"/>
                  </a:lnTo>
                  <a:lnTo>
                    <a:pt x="904" y="288"/>
                  </a:lnTo>
                  <a:lnTo>
                    <a:pt x="898" y="288"/>
                  </a:lnTo>
                  <a:lnTo>
                    <a:pt x="898" y="296"/>
                  </a:lnTo>
                  <a:lnTo>
                    <a:pt x="904" y="302"/>
                  </a:lnTo>
                  <a:lnTo>
                    <a:pt x="904" y="308"/>
                  </a:lnTo>
                  <a:lnTo>
                    <a:pt x="908" y="308"/>
                  </a:lnTo>
                  <a:lnTo>
                    <a:pt x="908" y="314"/>
                  </a:lnTo>
                  <a:lnTo>
                    <a:pt x="904" y="314"/>
                  </a:lnTo>
                  <a:lnTo>
                    <a:pt x="904" y="320"/>
                  </a:lnTo>
                  <a:lnTo>
                    <a:pt x="892" y="320"/>
                  </a:lnTo>
                  <a:lnTo>
                    <a:pt x="898" y="314"/>
                  </a:lnTo>
                  <a:lnTo>
                    <a:pt x="898" y="296"/>
                  </a:lnTo>
                  <a:lnTo>
                    <a:pt x="892" y="296"/>
                  </a:lnTo>
                  <a:lnTo>
                    <a:pt x="886" y="302"/>
                  </a:lnTo>
                  <a:lnTo>
                    <a:pt x="886" y="308"/>
                  </a:lnTo>
                  <a:lnTo>
                    <a:pt x="880" y="302"/>
                  </a:lnTo>
                  <a:lnTo>
                    <a:pt x="880" y="292"/>
                  </a:lnTo>
                  <a:lnTo>
                    <a:pt x="892" y="292"/>
                  </a:lnTo>
                  <a:lnTo>
                    <a:pt x="892" y="288"/>
                  </a:lnTo>
                  <a:lnTo>
                    <a:pt x="898" y="288"/>
                  </a:lnTo>
                  <a:lnTo>
                    <a:pt x="898" y="282"/>
                  </a:lnTo>
                  <a:lnTo>
                    <a:pt x="872" y="282"/>
                  </a:lnTo>
                  <a:lnTo>
                    <a:pt x="872" y="276"/>
                  </a:lnTo>
                  <a:lnTo>
                    <a:pt x="866" y="276"/>
                  </a:lnTo>
                  <a:lnTo>
                    <a:pt x="866" y="270"/>
                  </a:lnTo>
                  <a:lnTo>
                    <a:pt x="854" y="270"/>
                  </a:lnTo>
                  <a:lnTo>
                    <a:pt x="850" y="266"/>
                  </a:lnTo>
                  <a:lnTo>
                    <a:pt x="844" y="260"/>
                  </a:lnTo>
                  <a:lnTo>
                    <a:pt x="826" y="260"/>
                  </a:lnTo>
                  <a:lnTo>
                    <a:pt x="826" y="266"/>
                  </a:lnTo>
                  <a:lnTo>
                    <a:pt x="822" y="266"/>
                  </a:lnTo>
                  <a:lnTo>
                    <a:pt x="822" y="270"/>
                  </a:lnTo>
                  <a:lnTo>
                    <a:pt x="818" y="270"/>
                  </a:lnTo>
                  <a:lnTo>
                    <a:pt x="818" y="276"/>
                  </a:lnTo>
                  <a:lnTo>
                    <a:pt x="800" y="276"/>
                  </a:lnTo>
                  <a:lnTo>
                    <a:pt x="800" y="288"/>
                  </a:lnTo>
                  <a:lnTo>
                    <a:pt x="812" y="288"/>
                  </a:lnTo>
                  <a:lnTo>
                    <a:pt x="812" y="292"/>
                  </a:lnTo>
                  <a:lnTo>
                    <a:pt x="826" y="292"/>
                  </a:lnTo>
                  <a:lnTo>
                    <a:pt x="826" y="296"/>
                  </a:lnTo>
                  <a:lnTo>
                    <a:pt x="832" y="296"/>
                  </a:lnTo>
                  <a:lnTo>
                    <a:pt x="838" y="302"/>
                  </a:lnTo>
                  <a:lnTo>
                    <a:pt x="826" y="302"/>
                  </a:lnTo>
                  <a:lnTo>
                    <a:pt x="822" y="296"/>
                  </a:lnTo>
                  <a:lnTo>
                    <a:pt x="800" y="296"/>
                  </a:lnTo>
                  <a:lnTo>
                    <a:pt x="794" y="292"/>
                  </a:lnTo>
                  <a:lnTo>
                    <a:pt x="790" y="292"/>
                  </a:lnTo>
                  <a:lnTo>
                    <a:pt x="790" y="282"/>
                  </a:lnTo>
                  <a:lnTo>
                    <a:pt x="784" y="282"/>
                  </a:lnTo>
                  <a:lnTo>
                    <a:pt x="784" y="276"/>
                  </a:lnTo>
                  <a:lnTo>
                    <a:pt x="790" y="276"/>
                  </a:lnTo>
                  <a:lnTo>
                    <a:pt x="790" y="248"/>
                  </a:lnTo>
                  <a:lnTo>
                    <a:pt x="778" y="248"/>
                  </a:lnTo>
                  <a:lnTo>
                    <a:pt x="778" y="254"/>
                  </a:lnTo>
                  <a:lnTo>
                    <a:pt x="784" y="254"/>
                  </a:lnTo>
                  <a:lnTo>
                    <a:pt x="784" y="270"/>
                  </a:lnTo>
                  <a:lnTo>
                    <a:pt x="778" y="270"/>
                  </a:lnTo>
                  <a:lnTo>
                    <a:pt x="778" y="276"/>
                  </a:lnTo>
                  <a:lnTo>
                    <a:pt x="764" y="276"/>
                  </a:lnTo>
                  <a:lnTo>
                    <a:pt x="764" y="288"/>
                  </a:lnTo>
                  <a:lnTo>
                    <a:pt x="758" y="288"/>
                  </a:lnTo>
                  <a:lnTo>
                    <a:pt x="758" y="292"/>
                  </a:lnTo>
                  <a:lnTo>
                    <a:pt x="764" y="292"/>
                  </a:lnTo>
                  <a:lnTo>
                    <a:pt x="764" y="296"/>
                  </a:lnTo>
                  <a:lnTo>
                    <a:pt x="766" y="296"/>
                  </a:lnTo>
                  <a:lnTo>
                    <a:pt x="766" y="308"/>
                  </a:lnTo>
                  <a:lnTo>
                    <a:pt x="772" y="308"/>
                  </a:lnTo>
                  <a:lnTo>
                    <a:pt x="772" y="314"/>
                  </a:lnTo>
                  <a:lnTo>
                    <a:pt x="766" y="314"/>
                  </a:lnTo>
                  <a:lnTo>
                    <a:pt x="766" y="320"/>
                  </a:lnTo>
                  <a:lnTo>
                    <a:pt x="764" y="330"/>
                  </a:lnTo>
                  <a:lnTo>
                    <a:pt x="764" y="336"/>
                  </a:lnTo>
                  <a:lnTo>
                    <a:pt x="766" y="336"/>
                  </a:lnTo>
                  <a:lnTo>
                    <a:pt x="766" y="348"/>
                  </a:lnTo>
                  <a:lnTo>
                    <a:pt x="812" y="348"/>
                  </a:lnTo>
                  <a:lnTo>
                    <a:pt x="812" y="350"/>
                  </a:lnTo>
                  <a:lnTo>
                    <a:pt x="822" y="350"/>
                  </a:lnTo>
                  <a:lnTo>
                    <a:pt x="822" y="368"/>
                  </a:lnTo>
                  <a:lnTo>
                    <a:pt x="818" y="368"/>
                  </a:lnTo>
                  <a:lnTo>
                    <a:pt x="818" y="384"/>
                  </a:lnTo>
                  <a:lnTo>
                    <a:pt x="812" y="384"/>
                  </a:lnTo>
                  <a:lnTo>
                    <a:pt x="812" y="356"/>
                  </a:lnTo>
                  <a:lnTo>
                    <a:pt x="806" y="356"/>
                  </a:lnTo>
                  <a:lnTo>
                    <a:pt x="806" y="350"/>
                  </a:lnTo>
                  <a:lnTo>
                    <a:pt x="790" y="350"/>
                  </a:lnTo>
                  <a:lnTo>
                    <a:pt x="784" y="356"/>
                  </a:lnTo>
                  <a:lnTo>
                    <a:pt x="772" y="356"/>
                  </a:lnTo>
                  <a:lnTo>
                    <a:pt x="772" y="368"/>
                  </a:lnTo>
                  <a:lnTo>
                    <a:pt x="778" y="368"/>
                  </a:lnTo>
                  <a:lnTo>
                    <a:pt x="778" y="384"/>
                  </a:lnTo>
                  <a:lnTo>
                    <a:pt x="772" y="384"/>
                  </a:lnTo>
                  <a:lnTo>
                    <a:pt x="772" y="390"/>
                  </a:lnTo>
                  <a:lnTo>
                    <a:pt x="766" y="390"/>
                  </a:lnTo>
                  <a:lnTo>
                    <a:pt x="766" y="402"/>
                  </a:lnTo>
                  <a:lnTo>
                    <a:pt x="764" y="406"/>
                  </a:lnTo>
                  <a:lnTo>
                    <a:pt x="752" y="406"/>
                  </a:lnTo>
                  <a:lnTo>
                    <a:pt x="752" y="410"/>
                  </a:lnTo>
                  <a:lnTo>
                    <a:pt x="746" y="410"/>
                  </a:lnTo>
                  <a:lnTo>
                    <a:pt x="746" y="416"/>
                  </a:lnTo>
                  <a:lnTo>
                    <a:pt x="710" y="416"/>
                  </a:lnTo>
                  <a:lnTo>
                    <a:pt x="710" y="410"/>
                  </a:lnTo>
                  <a:lnTo>
                    <a:pt x="698" y="410"/>
                  </a:lnTo>
                  <a:lnTo>
                    <a:pt x="698" y="406"/>
                  </a:lnTo>
                  <a:lnTo>
                    <a:pt x="718" y="406"/>
                  </a:lnTo>
                  <a:lnTo>
                    <a:pt x="718" y="410"/>
                  </a:lnTo>
                  <a:lnTo>
                    <a:pt x="730" y="410"/>
                  </a:lnTo>
                  <a:lnTo>
                    <a:pt x="730" y="402"/>
                  </a:lnTo>
                  <a:lnTo>
                    <a:pt x="736" y="406"/>
                  </a:lnTo>
                  <a:lnTo>
                    <a:pt x="736" y="402"/>
                  </a:lnTo>
                  <a:lnTo>
                    <a:pt x="740" y="402"/>
                  </a:lnTo>
                  <a:lnTo>
                    <a:pt x="740" y="396"/>
                  </a:lnTo>
                  <a:lnTo>
                    <a:pt x="746" y="396"/>
                  </a:lnTo>
                  <a:lnTo>
                    <a:pt x="746" y="384"/>
                  </a:lnTo>
                  <a:lnTo>
                    <a:pt x="758" y="384"/>
                  </a:lnTo>
                  <a:lnTo>
                    <a:pt x="758" y="368"/>
                  </a:lnTo>
                  <a:lnTo>
                    <a:pt x="764" y="368"/>
                  </a:lnTo>
                  <a:lnTo>
                    <a:pt x="764" y="356"/>
                  </a:lnTo>
                  <a:lnTo>
                    <a:pt x="752" y="356"/>
                  </a:lnTo>
                  <a:lnTo>
                    <a:pt x="752" y="350"/>
                  </a:lnTo>
                  <a:lnTo>
                    <a:pt x="746" y="350"/>
                  </a:lnTo>
                  <a:lnTo>
                    <a:pt x="746" y="348"/>
                  </a:lnTo>
                  <a:lnTo>
                    <a:pt x="752" y="342"/>
                  </a:lnTo>
                  <a:lnTo>
                    <a:pt x="752" y="330"/>
                  </a:lnTo>
                  <a:lnTo>
                    <a:pt x="746" y="324"/>
                  </a:lnTo>
                  <a:lnTo>
                    <a:pt x="746" y="314"/>
                  </a:lnTo>
                  <a:lnTo>
                    <a:pt x="752" y="314"/>
                  </a:lnTo>
                  <a:lnTo>
                    <a:pt x="752" y="296"/>
                  </a:lnTo>
                  <a:lnTo>
                    <a:pt x="746" y="296"/>
                  </a:lnTo>
                  <a:lnTo>
                    <a:pt x="740" y="292"/>
                  </a:lnTo>
                  <a:lnTo>
                    <a:pt x="740" y="288"/>
                  </a:lnTo>
                  <a:lnTo>
                    <a:pt x="746" y="282"/>
                  </a:lnTo>
                  <a:lnTo>
                    <a:pt x="740" y="282"/>
                  </a:lnTo>
                  <a:lnTo>
                    <a:pt x="740" y="276"/>
                  </a:lnTo>
                  <a:lnTo>
                    <a:pt x="746" y="276"/>
                  </a:lnTo>
                  <a:lnTo>
                    <a:pt x="752" y="270"/>
                  </a:lnTo>
                  <a:lnTo>
                    <a:pt x="752" y="254"/>
                  </a:lnTo>
                  <a:lnTo>
                    <a:pt x="746" y="254"/>
                  </a:lnTo>
                  <a:lnTo>
                    <a:pt x="740" y="248"/>
                  </a:lnTo>
                  <a:lnTo>
                    <a:pt x="704" y="248"/>
                  </a:lnTo>
                  <a:lnTo>
                    <a:pt x="704" y="254"/>
                  </a:lnTo>
                  <a:lnTo>
                    <a:pt x="698" y="254"/>
                  </a:lnTo>
                  <a:lnTo>
                    <a:pt x="698" y="260"/>
                  </a:lnTo>
                  <a:lnTo>
                    <a:pt x="692" y="266"/>
                  </a:lnTo>
                  <a:lnTo>
                    <a:pt x="692" y="276"/>
                  </a:lnTo>
                  <a:lnTo>
                    <a:pt x="686" y="282"/>
                  </a:lnTo>
                  <a:lnTo>
                    <a:pt x="686" y="288"/>
                  </a:lnTo>
                  <a:lnTo>
                    <a:pt x="676" y="288"/>
                  </a:lnTo>
                  <a:lnTo>
                    <a:pt x="676" y="292"/>
                  </a:lnTo>
                  <a:lnTo>
                    <a:pt x="670" y="292"/>
                  </a:lnTo>
                  <a:lnTo>
                    <a:pt x="670" y="296"/>
                  </a:lnTo>
                  <a:lnTo>
                    <a:pt x="664" y="296"/>
                  </a:lnTo>
                  <a:lnTo>
                    <a:pt x="664" y="308"/>
                  </a:lnTo>
                  <a:lnTo>
                    <a:pt x="670" y="302"/>
                  </a:lnTo>
                  <a:lnTo>
                    <a:pt x="670" y="324"/>
                  </a:lnTo>
                  <a:lnTo>
                    <a:pt x="664" y="336"/>
                  </a:lnTo>
                  <a:lnTo>
                    <a:pt x="680" y="336"/>
                  </a:lnTo>
                  <a:lnTo>
                    <a:pt x="680" y="348"/>
                  </a:lnTo>
                  <a:lnTo>
                    <a:pt x="692" y="348"/>
                  </a:lnTo>
                  <a:lnTo>
                    <a:pt x="692" y="350"/>
                  </a:lnTo>
                  <a:lnTo>
                    <a:pt x="698" y="350"/>
                  </a:lnTo>
                  <a:lnTo>
                    <a:pt x="698" y="356"/>
                  </a:lnTo>
                  <a:lnTo>
                    <a:pt x="692" y="356"/>
                  </a:lnTo>
                  <a:lnTo>
                    <a:pt x="692" y="368"/>
                  </a:lnTo>
                  <a:lnTo>
                    <a:pt x="680" y="368"/>
                  </a:lnTo>
                  <a:lnTo>
                    <a:pt x="680" y="362"/>
                  </a:lnTo>
                  <a:lnTo>
                    <a:pt x="676" y="356"/>
                  </a:lnTo>
                  <a:lnTo>
                    <a:pt x="670" y="356"/>
                  </a:lnTo>
                  <a:lnTo>
                    <a:pt x="670" y="350"/>
                  </a:lnTo>
                  <a:lnTo>
                    <a:pt x="658" y="350"/>
                  </a:lnTo>
                  <a:lnTo>
                    <a:pt x="658" y="348"/>
                  </a:lnTo>
                  <a:lnTo>
                    <a:pt x="644" y="348"/>
                  </a:lnTo>
                  <a:lnTo>
                    <a:pt x="638" y="342"/>
                  </a:lnTo>
                  <a:lnTo>
                    <a:pt x="632" y="342"/>
                  </a:lnTo>
                  <a:lnTo>
                    <a:pt x="632" y="336"/>
                  </a:lnTo>
                  <a:lnTo>
                    <a:pt x="596" y="336"/>
                  </a:lnTo>
                  <a:lnTo>
                    <a:pt x="596" y="330"/>
                  </a:lnTo>
                  <a:lnTo>
                    <a:pt x="578" y="330"/>
                  </a:lnTo>
                  <a:lnTo>
                    <a:pt x="578" y="336"/>
                  </a:lnTo>
                  <a:lnTo>
                    <a:pt x="572" y="336"/>
                  </a:lnTo>
                  <a:lnTo>
                    <a:pt x="572" y="342"/>
                  </a:lnTo>
                  <a:lnTo>
                    <a:pt x="578" y="348"/>
                  </a:lnTo>
                  <a:lnTo>
                    <a:pt x="584" y="348"/>
                  </a:lnTo>
                  <a:lnTo>
                    <a:pt x="584" y="356"/>
                  </a:lnTo>
                  <a:lnTo>
                    <a:pt x="568" y="356"/>
                  </a:lnTo>
                  <a:lnTo>
                    <a:pt x="568" y="362"/>
                  </a:lnTo>
                  <a:lnTo>
                    <a:pt x="572" y="362"/>
                  </a:lnTo>
                  <a:lnTo>
                    <a:pt x="568" y="368"/>
                  </a:lnTo>
                  <a:lnTo>
                    <a:pt x="556" y="368"/>
                  </a:lnTo>
                  <a:lnTo>
                    <a:pt x="556" y="356"/>
                  </a:lnTo>
                  <a:lnTo>
                    <a:pt x="562" y="356"/>
                  </a:lnTo>
                  <a:lnTo>
                    <a:pt x="556" y="350"/>
                  </a:lnTo>
                  <a:lnTo>
                    <a:pt x="546" y="350"/>
                  </a:lnTo>
                  <a:lnTo>
                    <a:pt x="546" y="356"/>
                  </a:lnTo>
                  <a:lnTo>
                    <a:pt x="536" y="356"/>
                  </a:lnTo>
                  <a:lnTo>
                    <a:pt x="536" y="362"/>
                  </a:lnTo>
                  <a:lnTo>
                    <a:pt x="524" y="362"/>
                  </a:lnTo>
                  <a:lnTo>
                    <a:pt x="524" y="356"/>
                  </a:lnTo>
                  <a:lnTo>
                    <a:pt x="512" y="356"/>
                  </a:lnTo>
                  <a:lnTo>
                    <a:pt x="508" y="362"/>
                  </a:lnTo>
                  <a:lnTo>
                    <a:pt x="502" y="362"/>
                  </a:lnTo>
                  <a:lnTo>
                    <a:pt x="502" y="368"/>
                  </a:lnTo>
                  <a:lnTo>
                    <a:pt x="486" y="368"/>
                  </a:lnTo>
                  <a:lnTo>
                    <a:pt x="486" y="362"/>
                  </a:lnTo>
                  <a:lnTo>
                    <a:pt x="482" y="362"/>
                  </a:lnTo>
                  <a:lnTo>
                    <a:pt x="482" y="356"/>
                  </a:lnTo>
                  <a:lnTo>
                    <a:pt x="458" y="356"/>
                  </a:lnTo>
                  <a:lnTo>
                    <a:pt x="464" y="362"/>
                  </a:lnTo>
                  <a:lnTo>
                    <a:pt x="464" y="368"/>
                  </a:lnTo>
                  <a:lnTo>
                    <a:pt x="458" y="368"/>
                  </a:lnTo>
                  <a:lnTo>
                    <a:pt x="464" y="362"/>
                  </a:lnTo>
                  <a:lnTo>
                    <a:pt x="454" y="362"/>
                  </a:lnTo>
                  <a:lnTo>
                    <a:pt x="454" y="368"/>
                  </a:lnTo>
                  <a:lnTo>
                    <a:pt x="432" y="368"/>
                  </a:lnTo>
                  <a:lnTo>
                    <a:pt x="432" y="374"/>
                  </a:lnTo>
                  <a:lnTo>
                    <a:pt x="426" y="374"/>
                  </a:lnTo>
                  <a:lnTo>
                    <a:pt x="422" y="378"/>
                  </a:lnTo>
                  <a:lnTo>
                    <a:pt x="410" y="378"/>
                  </a:lnTo>
                  <a:lnTo>
                    <a:pt x="410" y="384"/>
                  </a:lnTo>
                  <a:lnTo>
                    <a:pt x="394" y="384"/>
                  </a:lnTo>
                  <a:lnTo>
                    <a:pt x="398" y="390"/>
                  </a:lnTo>
                  <a:lnTo>
                    <a:pt x="398" y="396"/>
                  </a:lnTo>
                  <a:lnTo>
                    <a:pt x="394" y="396"/>
                  </a:lnTo>
                  <a:lnTo>
                    <a:pt x="394" y="406"/>
                  </a:lnTo>
                  <a:lnTo>
                    <a:pt x="372" y="406"/>
                  </a:lnTo>
                  <a:lnTo>
                    <a:pt x="368" y="402"/>
                  </a:lnTo>
                  <a:lnTo>
                    <a:pt x="368" y="396"/>
                  </a:lnTo>
                  <a:lnTo>
                    <a:pt x="356" y="396"/>
                  </a:lnTo>
                  <a:lnTo>
                    <a:pt x="356" y="390"/>
                  </a:lnTo>
                  <a:lnTo>
                    <a:pt x="362" y="390"/>
                  </a:lnTo>
                  <a:lnTo>
                    <a:pt x="362" y="384"/>
                  </a:lnTo>
                  <a:lnTo>
                    <a:pt x="384" y="384"/>
                  </a:lnTo>
                  <a:lnTo>
                    <a:pt x="384" y="374"/>
                  </a:lnTo>
                  <a:lnTo>
                    <a:pt x="378" y="368"/>
                  </a:lnTo>
                  <a:lnTo>
                    <a:pt x="372" y="368"/>
                  </a:lnTo>
                  <a:lnTo>
                    <a:pt x="372" y="362"/>
                  </a:lnTo>
                  <a:lnTo>
                    <a:pt x="340" y="362"/>
                  </a:lnTo>
                  <a:lnTo>
                    <a:pt x="340" y="368"/>
                  </a:lnTo>
                  <a:lnTo>
                    <a:pt x="344" y="368"/>
                  </a:lnTo>
                  <a:lnTo>
                    <a:pt x="344" y="384"/>
                  </a:lnTo>
                  <a:lnTo>
                    <a:pt x="340" y="390"/>
                  </a:lnTo>
                  <a:lnTo>
                    <a:pt x="340" y="396"/>
                  </a:lnTo>
                  <a:lnTo>
                    <a:pt x="344" y="396"/>
                  </a:lnTo>
                  <a:lnTo>
                    <a:pt x="344" y="402"/>
                  </a:lnTo>
                  <a:lnTo>
                    <a:pt x="350" y="402"/>
                  </a:lnTo>
                  <a:lnTo>
                    <a:pt x="350" y="406"/>
                  </a:lnTo>
                  <a:lnTo>
                    <a:pt x="344" y="410"/>
                  </a:lnTo>
                  <a:lnTo>
                    <a:pt x="344" y="422"/>
                  </a:lnTo>
                  <a:lnTo>
                    <a:pt x="340" y="416"/>
                  </a:lnTo>
                  <a:lnTo>
                    <a:pt x="336" y="422"/>
                  </a:lnTo>
                  <a:lnTo>
                    <a:pt x="336" y="416"/>
                  </a:lnTo>
                  <a:lnTo>
                    <a:pt x="324" y="416"/>
                  </a:lnTo>
                  <a:lnTo>
                    <a:pt x="324" y="410"/>
                  </a:lnTo>
                  <a:lnTo>
                    <a:pt x="318" y="410"/>
                  </a:lnTo>
                  <a:lnTo>
                    <a:pt x="318" y="416"/>
                  </a:lnTo>
                  <a:lnTo>
                    <a:pt x="312" y="416"/>
                  </a:lnTo>
                  <a:lnTo>
                    <a:pt x="308" y="422"/>
                  </a:lnTo>
                  <a:lnTo>
                    <a:pt x="302" y="422"/>
                  </a:lnTo>
                  <a:lnTo>
                    <a:pt x="302" y="428"/>
                  </a:lnTo>
                  <a:lnTo>
                    <a:pt x="296" y="428"/>
                  </a:lnTo>
                  <a:lnTo>
                    <a:pt x="296" y="434"/>
                  </a:lnTo>
                  <a:lnTo>
                    <a:pt x="284" y="434"/>
                  </a:lnTo>
                  <a:lnTo>
                    <a:pt x="284" y="450"/>
                  </a:lnTo>
                  <a:lnTo>
                    <a:pt x="290" y="450"/>
                  </a:lnTo>
                  <a:lnTo>
                    <a:pt x="290" y="456"/>
                  </a:lnTo>
                  <a:lnTo>
                    <a:pt x="296" y="456"/>
                  </a:lnTo>
                  <a:lnTo>
                    <a:pt x="296" y="460"/>
                  </a:lnTo>
                  <a:lnTo>
                    <a:pt x="276" y="460"/>
                  </a:lnTo>
                  <a:lnTo>
                    <a:pt x="276" y="456"/>
                  </a:lnTo>
                  <a:lnTo>
                    <a:pt x="258" y="456"/>
                  </a:lnTo>
                  <a:lnTo>
                    <a:pt x="254" y="450"/>
                  </a:lnTo>
                  <a:lnTo>
                    <a:pt x="254" y="444"/>
                  </a:lnTo>
                  <a:lnTo>
                    <a:pt x="242" y="444"/>
                  </a:lnTo>
                  <a:lnTo>
                    <a:pt x="242" y="450"/>
                  </a:lnTo>
                  <a:lnTo>
                    <a:pt x="236" y="456"/>
                  </a:lnTo>
                  <a:lnTo>
                    <a:pt x="242" y="460"/>
                  </a:lnTo>
                  <a:lnTo>
                    <a:pt x="248" y="464"/>
                  </a:lnTo>
                  <a:lnTo>
                    <a:pt x="258" y="464"/>
                  </a:lnTo>
                  <a:lnTo>
                    <a:pt x="258" y="476"/>
                  </a:lnTo>
                  <a:lnTo>
                    <a:pt x="236" y="476"/>
                  </a:lnTo>
                  <a:lnTo>
                    <a:pt x="236" y="470"/>
                  </a:lnTo>
                  <a:lnTo>
                    <a:pt x="230" y="464"/>
                  </a:lnTo>
                  <a:lnTo>
                    <a:pt x="216" y="464"/>
                  </a:lnTo>
                  <a:lnTo>
                    <a:pt x="216" y="444"/>
                  </a:lnTo>
                  <a:lnTo>
                    <a:pt x="204" y="444"/>
                  </a:lnTo>
                  <a:lnTo>
                    <a:pt x="210" y="438"/>
                  </a:lnTo>
                  <a:lnTo>
                    <a:pt x="216" y="438"/>
                  </a:lnTo>
                  <a:lnTo>
                    <a:pt x="216" y="428"/>
                  </a:lnTo>
                  <a:lnTo>
                    <a:pt x="210" y="422"/>
                  </a:lnTo>
                  <a:lnTo>
                    <a:pt x="204" y="422"/>
                  </a:lnTo>
                  <a:lnTo>
                    <a:pt x="204" y="416"/>
                  </a:lnTo>
                  <a:lnTo>
                    <a:pt x="200" y="416"/>
                  </a:lnTo>
                  <a:lnTo>
                    <a:pt x="200" y="410"/>
                  </a:lnTo>
                  <a:lnTo>
                    <a:pt x="194" y="410"/>
                  </a:lnTo>
                  <a:lnTo>
                    <a:pt x="194" y="416"/>
                  </a:lnTo>
                  <a:lnTo>
                    <a:pt x="188" y="410"/>
                  </a:lnTo>
                  <a:lnTo>
                    <a:pt x="188" y="406"/>
                  </a:lnTo>
                  <a:lnTo>
                    <a:pt x="176" y="406"/>
                  </a:lnTo>
                  <a:lnTo>
                    <a:pt x="176" y="396"/>
                  </a:lnTo>
                  <a:lnTo>
                    <a:pt x="182" y="396"/>
                  </a:lnTo>
                  <a:lnTo>
                    <a:pt x="182" y="402"/>
                  </a:lnTo>
                  <a:lnTo>
                    <a:pt x="188" y="402"/>
                  </a:lnTo>
                  <a:lnTo>
                    <a:pt x="188" y="406"/>
                  </a:lnTo>
                  <a:lnTo>
                    <a:pt x="204" y="406"/>
                  </a:lnTo>
                  <a:lnTo>
                    <a:pt x="204" y="410"/>
                  </a:lnTo>
                  <a:lnTo>
                    <a:pt x="216" y="410"/>
                  </a:lnTo>
                  <a:lnTo>
                    <a:pt x="222" y="416"/>
                  </a:lnTo>
                  <a:lnTo>
                    <a:pt x="254" y="416"/>
                  </a:lnTo>
                  <a:lnTo>
                    <a:pt x="254" y="422"/>
                  </a:lnTo>
                  <a:lnTo>
                    <a:pt x="276" y="422"/>
                  </a:lnTo>
                  <a:lnTo>
                    <a:pt x="282" y="416"/>
                  </a:lnTo>
                  <a:lnTo>
                    <a:pt x="296" y="416"/>
                  </a:lnTo>
                  <a:lnTo>
                    <a:pt x="302" y="410"/>
                  </a:lnTo>
                  <a:lnTo>
                    <a:pt x="302" y="406"/>
                  </a:lnTo>
                  <a:lnTo>
                    <a:pt x="308" y="406"/>
                  </a:lnTo>
                  <a:lnTo>
                    <a:pt x="308" y="396"/>
                  </a:lnTo>
                  <a:lnTo>
                    <a:pt x="302" y="396"/>
                  </a:lnTo>
                  <a:lnTo>
                    <a:pt x="302" y="384"/>
                  </a:lnTo>
                  <a:lnTo>
                    <a:pt x="290" y="384"/>
                  </a:lnTo>
                  <a:lnTo>
                    <a:pt x="290" y="378"/>
                  </a:lnTo>
                  <a:lnTo>
                    <a:pt x="284" y="378"/>
                  </a:lnTo>
                  <a:lnTo>
                    <a:pt x="284" y="374"/>
                  </a:lnTo>
                  <a:lnTo>
                    <a:pt x="282" y="374"/>
                  </a:lnTo>
                  <a:lnTo>
                    <a:pt x="276" y="368"/>
                  </a:lnTo>
                  <a:lnTo>
                    <a:pt x="264" y="368"/>
                  </a:lnTo>
                  <a:lnTo>
                    <a:pt x="258" y="362"/>
                  </a:lnTo>
                  <a:lnTo>
                    <a:pt x="258" y="356"/>
                  </a:lnTo>
                  <a:lnTo>
                    <a:pt x="248" y="356"/>
                  </a:lnTo>
                  <a:lnTo>
                    <a:pt x="242" y="350"/>
                  </a:lnTo>
                  <a:lnTo>
                    <a:pt x="236" y="350"/>
                  </a:lnTo>
                  <a:lnTo>
                    <a:pt x="236" y="348"/>
                  </a:lnTo>
                  <a:lnTo>
                    <a:pt x="204" y="348"/>
                  </a:lnTo>
                  <a:lnTo>
                    <a:pt x="204" y="342"/>
                  </a:lnTo>
                  <a:lnTo>
                    <a:pt x="200" y="342"/>
                  </a:lnTo>
                  <a:lnTo>
                    <a:pt x="200" y="348"/>
                  </a:lnTo>
                  <a:lnTo>
                    <a:pt x="194" y="348"/>
                  </a:lnTo>
                  <a:lnTo>
                    <a:pt x="194" y="342"/>
                  </a:lnTo>
                  <a:lnTo>
                    <a:pt x="188" y="342"/>
                  </a:lnTo>
                  <a:lnTo>
                    <a:pt x="188" y="348"/>
                  </a:lnTo>
                  <a:lnTo>
                    <a:pt x="182" y="348"/>
                  </a:lnTo>
                  <a:lnTo>
                    <a:pt x="188" y="342"/>
                  </a:lnTo>
                  <a:lnTo>
                    <a:pt x="188" y="330"/>
                  </a:lnTo>
                  <a:lnTo>
                    <a:pt x="176" y="330"/>
                  </a:lnTo>
                  <a:lnTo>
                    <a:pt x="176" y="336"/>
                  </a:lnTo>
                  <a:lnTo>
                    <a:pt x="172" y="330"/>
                  </a:lnTo>
                  <a:lnTo>
                    <a:pt x="168" y="330"/>
                  </a:lnTo>
                  <a:lnTo>
                    <a:pt x="168" y="336"/>
                  </a:lnTo>
                  <a:lnTo>
                    <a:pt x="156" y="330"/>
                  </a:lnTo>
                  <a:lnTo>
                    <a:pt x="156" y="336"/>
                  </a:lnTo>
                  <a:lnTo>
                    <a:pt x="144" y="336"/>
                  </a:lnTo>
                  <a:lnTo>
                    <a:pt x="144" y="342"/>
                  </a:lnTo>
                  <a:lnTo>
                    <a:pt x="140" y="342"/>
                  </a:lnTo>
                  <a:lnTo>
                    <a:pt x="134" y="348"/>
                  </a:lnTo>
                  <a:lnTo>
                    <a:pt x="128" y="348"/>
                  </a:lnTo>
                  <a:lnTo>
                    <a:pt x="128" y="350"/>
                  </a:lnTo>
                  <a:lnTo>
                    <a:pt x="122" y="350"/>
                  </a:lnTo>
                  <a:lnTo>
                    <a:pt x="122" y="356"/>
                  </a:lnTo>
                  <a:lnTo>
                    <a:pt x="128" y="356"/>
                  </a:lnTo>
                  <a:lnTo>
                    <a:pt x="122" y="362"/>
                  </a:lnTo>
                  <a:lnTo>
                    <a:pt x="122" y="368"/>
                  </a:lnTo>
                  <a:lnTo>
                    <a:pt x="128" y="368"/>
                  </a:lnTo>
                  <a:lnTo>
                    <a:pt x="134" y="374"/>
                  </a:lnTo>
                  <a:lnTo>
                    <a:pt x="140" y="374"/>
                  </a:lnTo>
                  <a:lnTo>
                    <a:pt x="140" y="378"/>
                  </a:lnTo>
                  <a:lnTo>
                    <a:pt x="144" y="384"/>
                  </a:lnTo>
                  <a:lnTo>
                    <a:pt x="144" y="390"/>
                  </a:lnTo>
                  <a:lnTo>
                    <a:pt x="140" y="396"/>
                  </a:lnTo>
                  <a:lnTo>
                    <a:pt x="134" y="402"/>
                  </a:lnTo>
                  <a:lnTo>
                    <a:pt x="128" y="402"/>
                  </a:lnTo>
                  <a:lnTo>
                    <a:pt x="128" y="406"/>
                  </a:lnTo>
                  <a:lnTo>
                    <a:pt x="134" y="406"/>
                  </a:lnTo>
                  <a:lnTo>
                    <a:pt x="140" y="410"/>
                  </a:lnTo>
                  <a:lnTo>
                    <a:pt x="140" y="416"/>
                  </a:lnTo>
                  <a:lnTo>
                    <a:pt x="144" y="416"/>
                  </a:lnTo>
                  <a:lnTo>
                    <a:pt x="144" y="450"/>
                  </a:lnTo>
                  <a:lnTo>
                    <a:pt x="140" y="450"/>
                  </a:lnTo>
                  <a:lnTo>
                    <a:pt x="140" y="456"/>
                  </a:lnTo>
                  <a:lnTo>
                    <a:pt x="150" y="456"/>
                  </a:lnTo>
                  <a:lnTo>
                    <a:pt x="144" y="460"/>
                  </a:lnTo>
                  <a:lnTo>
                    <a:pt x="144" y="464"/>
                  </a:lnTo>
                  <a:lnTo>
                    <a:pt x="156" y="464"/>
                  </a:lnTo>
                  <a:lnTo>
                    <a:pt x="156" y="476"/>
                  </a:lnTo>
                  <a:lnTo>
                    <a:pt x="144" y="476"/>
                  </a:lnTo>
                  <a:lnTo>
                    <a:pt x="156" y="488"/>
                  </a:lnTo>
                  <a:lnTo>
                    <a:pt x="156" y="492"/>
                  </a:lnTo>
                  <a:lnTo>
                    <a:pt x="168" y="492"/>
                  </a:lnTo>
                  <a:lnTo>
                    <a:pt x="168" y="510"/>
                  </a:lnTo>
                  <a:lnTo>
                    <a:pt x="162" y="514"/>
                  </a:lnTo>
                  <a:lnTo>
                    <a:pt x="156" y="514"/>
                  </a:lnTo>
                  <a:lnTo>
                    <a:pt x="150" y="520"/>
                  </a:lnTo>
                  <a:lnTo>
                    <a:pt x="150" y="524"/>
                  </a:lnTo>
                  <a:lnTo>
                    <a:pt x="144" y="524"/>
                  </a:lnTo>
                  <a:lnTo>
                    <a:pt x="144" y="530"/>
                  </a:lnTo>
                  <a:lnTo>
                    <a:pt x="140" y="536"/>
                  </a:lnTo>
                  <a:lnTo>
                    <a:pt x="128" y="536"/>
                  </a:lnTo>
                  <a:lnTo>
                    <a:pt x="128" y="558"/>
                  </a:lnTo>
                  <a:lnTo>
                    <a:pt x="144" y="558"/>
                  </a:lnTo>
                  <a:lnTo>
                    <a:pt x="144" y="564"/>
                  </a:lnTo>
                  <a:lnTo>
                    <a:pt x="150" y="568"/>
                  </a:lnTo>
                  <a:lnTo>
                    <a:pt x="140" y="568"/>
                  </a:lnTo>
                  <a:lnTo>
                    <a:pt x="134" y="564"/>
                  </a:lnTo>
                  <a:lnTo>
                    <a:pt x="128" y="568"/>
                  </a:lnTo>
                  <a:lnTo>
                    <a:pt x="128" y="574"/>
                  </a:lnTo>
                  <a:lnTo>
                    <a:pt x="122" y="568"/>
                  </a:lnTo>
                  <a:lnTo>
                    <a:pt x="122" y="574"/>
                  </a:lnTo>
                  <a:lnTo>
                    <a:pt x="118" y="574"/>
                  </a:lnTo>
                  <a:lnTo>
                    <a:pt x="118" y="584"/>
                  </a:lnTo>
                  <a:lnTo>
                    <a:pt x="114" y="584"/>
                  </a:lnTo>
                  <a:lnTo>
                    <a:pt x="114" y="590"/>
                  </a:lnTo>
                  <a:lnTo>
                    <a:pt x="108" y="590"/>
                  </a:lnTo>
                  <a:lnTo>
                    <a:pt x="108" y="606"/>
                  </a:lnTo>
                  <a:lnTo>
                    <a:pt x="114" y="606"/>
                  </a:lnTo>
                  <a:lnTo>
                    <a:pt x="114" y="618"/>
                  </a:lnTo>
                  <a:lnTo>
                    <a:pt x="108" y="618"/>
                  </a:lnTo>
                  <a:lnTo>
                    <a:pt x="108" y="622"/>
                  </a:lnTo>
                  <a:lnTo>
                    <a:pt x="114" y="622"/>
                  </a:lnTo>
                  <a:lnTo>
                    <a:pt x="118" y="628"/>
                  </a:lnTo>
                  <a:lnTo>
                    <a:pt x="114" y="632"/>
                  </a:lnTo>
                  <a:lnTo>
                    <a:pt x="118" y="632"/>
                  </a:lnTo>
                  <a:lnTo>
                    <a:pt x="118" y="656"/>
                  </a:lnTo>
                  <a:lnTo>
                    <a:pt x="140" y="656"/>
                  </a:lnTo>
                  <a:lnTo>
                    <a:pt x="134" y="660"/>
                  </a:lnTo>
                  <a:lnTo>
                    <a:pt x="144" y="660"/>
                  </a:lnTo>
                  <a:lnTo>
                    <a:pt x="144" y="656"/>
                  </a:lnTo>
                  <a:lnTo>
                    <a:pt x="150" y="656"/>
                  </a:lnTo>
                  <a:lnTo>
                    <a:pt x="156" y="660"/>
                  </a:lnTo>
                  <a:lnTo>
                    <a:pt x="156" y="672"/>
                  </a:lnTo>
                  <a:lnTo>
                    <a:pt x="162" y="672"/>
                  </a:lnTo>
                  <a:lnTo>
                    <a:pt x="162" y="676"/>
                  </a:lnTo>
                  <a:lnTo>
                    <a:pt x="156" y="676"/>
                  </a:lnTo>
                  <a:lnTo>
                    <a:pt x="156" y="682"/>
                  </a:lnTo>
                  <a:lnTo>
                    <a:pt x="162" y="682"/>
                  </a:lnTo>
                  <a:lnTo>
                    <a:pt x="162" y="688"/>
                  </a:lnTo>
                  <a:lnTo>
                    <a:pt x="168" y="688"/>
                  </a:lnTo>
                  <a:lnTo>
                    <a:pt x="168" y="692"/>
                  </a:lnTo>
                  <a:lnTo>
                    <a:pt x="172" y="692"/>
                  </a:lnTo>
                  <a:lnTo>
                    <a:pt x="172" y="704"/>
                  </a:lnTo>
                  <a:lnTo>
                    <a:pt x="176" y="704"/>
                  </a:lnTo>
                  <a:lnTo>
                    <a:pt x="176" y="710"/>
                  </a:lnTo>
                  <a:lnTo>
                    <a:pt x="182" y="710"/>
                  </a:lnTo>
                  <a:lnTo>
                    <a:pt x="182" y="716"/>
                  </a:lnTo>
                  <a:lnTo>
                    <a:pt x="168" y="716"/>
                  </a:lnTo>
                  <a:lnTo>
                    <a:pt x="168" y="736"/>
                  </a:lnTo>
                  <a:lnTo>
                    <a:pt x="172" y="736"/>
                  </a:lnTo>
                  <a:lnTo>
                    <a:pt x="172" y="742"/>
                  </a:lnTo>
                  <a:lnTo>
                    <a:pt x="176" y="742"/>
                  </a:lnTo>
                  <a:lnTo>
                    <a:pt x="176" y="736"/>
                  </a:lnTo>
                  <a:lnTo>
                    <a:pt x="188" y="736"/>
                  </a:lnTo>
                  <a:lnTo>
                    <a:pt x="188" y="730"/>
                  </a:lnTo>
                  <a:lnTo>
                    <a:pt x="194" y="730"/>
                  </a:lnTo>
                  <a:lnTo>
                    <a:pt x="194" y="736"/>
                  </a:lnTo>
                  <a:lnTo>
                    <a:pt x="200" y="736"/>
                  </a:lnTo>
                  <a:lnTo>
                    <a:pt x="200" y="730"/>
                  </a:lnTo>
                  <a:lnTo>
                    <a:pt x="204" y="736"/>
                  </a:lnTo>
                  <a:lnTo>
                    <a:pt x="204" y="742"/>
                  </a:lnTo>
                  <a:lnTo>
                    <a:pt x="210" y="746"/>
                  </a:lnTo>
                  <a:lnTo>
                    <a:pt x="204" y="746"/>
                  </a:lnTo>
                  <a:lnTo>
                    <a:pt x="204" y="758"/>
                  </a:lnTo>
                  <a:lnTo>
                    <a:pt x="216" y="758"/>
                  </a:lnTo>
                  <a:lnTo>
                    <a:pt x="216" y="764"/>
                  </a:lnTo>
                  <a:lnTo>
                    <a:pt x="228" y="764"/>
                  </a:lnTo>
                  <a:lnTo>
                    <a:pt x="228" y="770"/>
                  </a:lnTo>
                  <a:lnTo>
                    <a:pt x="222" y="770"/>
                  </a:lnTo>
                  <a:lnTo>
                    <a:pt x="222" y="774"/>
                  </a:lnTo>
                  <a:lnTo>
                    <a:pt x="254" y="774"/>
                  </a:lnTo>
                  <a:lnTo>
                    <a:pt x="254" y="780"/>
                  </a:lnTo>
                  <a:lnTo>
                    <a:pt x="258" y="780"/>
                  </a:lnTo>
                  <a:lnTo>
                    <a:pt x="258" y="784"/>
                  </a:lnTo>
                  <a:lnTo>
                    <a:pt x="276" y="784"/>
                  </a:lnTo>
                  <a:lnTo>
                    <a:pt x="276" y="790"/>
                  </a:lnTo>
                  <a:lnTo>
                    <a:pt x="284" y="790"/>
                  </a:lnTo>
                  <a:lnTo>
                    <a:pt x="284" y="830"/>
                  </a:lnTo>
                  <a:lnTo>
                    <a:pt x="270" y="830"/>
                  </a:lnTo>
                  <a:lnTo>
                    <a:pt x="270" y="834"/>
                  </a:lnTo>
                  <a:lnTo>
                    <a:pt x="264" y="834"/>
                  </a:lnTo>
                  <a:lnTo>
                    <a:pt x="264" y="844"/>
                  </a:lnTo>
                  <a:lnTo>
                    <a:pt x="270" y="844"/>
                  </a:lnTo>
                  <a:lnTo>
                    <a:pt x="270" y="838"/>
                  </a:lnTo>
                  <a:lnTo>
                    <a:pt x="276" y="838"/>
                  </a:lnTo>
                  <a:lnTo>
                    <a:pt x="276" y="850"/>
                  </a:lnTo>
                  <a:lnTo>
                    <a:pt x="254" y="850"/>
                  </a:lnTo>
                  <a:lnTo>
                    <a:pt x="258" y="856"/>
                  </a:lnTo>
                  <a:lnTo>
                    <a:pt x="258" y="866"/>
                  </a:lnTo>
                  <a:lnTo>
                    <a:pt x="264" y="860"/>
                  </a:lnTo>
                  <a:lnTo>
                    <a:pt x="264" y="866"/>
                  </a:lnTo>
                  <a:lnTo>
                    <a:pt x="258" y="866"/>
                  </a:lnTo>
                  <a:lnTo>
                    <a:pt x="258" y="872"/>
                  </a:lnTo>
                  <a:lnTo>
                    <a:pt x="254" y="872"/>
                  </a:lnTo>
                  <a:lnTo>
                    <a:pt x="254" y="878"/>
                  </a:lnTo>
                  <a:lnTo>
                    <a:pt x="248" y="878"/>
                  </a:lnTo>
                  <a:lnTo>
                    <a:pt x="254" y="884"/>
                  </a:lnTo>
                  <a:lnTo>
                    <a:pt x="248" y="884"/>
                  </a:lnTo>
                  <a:lnTo>
                    <a:pt x="254" y="888"/>
                  </a:lnTo>
                  <a:lnTo>
                    <a:pt x="254" y="892"/>
                  </a:lnTo>
                  <a:lnTo>
                    <a:pt x="258" y="892"/>
                  </a:lnTo>
                  <a:lnTo>
                    <a:pt x="264" y="898"/>
                  </a:lnTo>
                  <a:lnTo>
                    <a:pt x="270" y="898"/>
                  </a:lnTo>
                  <a:lnTo>
                    <a:pt x="276" y="904"/>
                  </a:lnTo>
                  <a:lnTo>
                    <a:pt x="276" y="910"/>
                  </a:lnTo>
                  <a:lnTo>
                    <a:pt x="282" y="910"/>
                  </a:lnTo>
                  <a:lnTo>
                    <a:pt x="284" y="914"/>
                  </a:lnTo>
                  <a:lnTo>
                    <a:pt x="302" y="914"/>
                  </a:lnTo>
                  <a:lnTo>
                    <a:pt x="302" y="920"/>
                  </a:lnTo>
                  <a:lnTo>
                    <a:pt x="330" y="920"/>
                  </a:lnTo>
                  <a:lnTo>
                    <a:pt x="336" y="926"/>
                  </a:lnTo>
                  <a:lnTo>
                    <a:pt x="336" y="932"/>
                  </a:lnTo>
                  <a:lnTo>
                    <a:pt x="372" y="932"/>
                  </a:lnTo>
                  <a:lnTo>
                    <a:pt x="372" y="938"/>
                  </a:lnTo>
                  <a:lnTo>
                    <a:pt x="368" y="938"/>
                  </a:lnTo>
                  <a:lnTo>
                    <a:pt x="368" y="942"/>
                  </a:lnTo>
                  <a:lnTo>
                    <a:pt x="378" y="942"/>
                  </a:lnTo>
                  <a:lnTo>
                    <a:pt x="378" y="946"/>
                  </a:lnTo>
                  <a:lnTo>
                    <a:pt x="384" y="946"/>
                  </a:lnTo>
                  <a:lnTo>
                    <a:pt x="384" y="952"/>
                  </a:lnTo>
                  <a:lnTo>
                    <a:pt x="390" y="952"/>
                  </a:lnTo>
                  <a:lnTo>
                    <a:pt x="390" y="958"/>
                  </a:lnTo>
                  <a:lnTo>
                    <a:pt x="398" y="958"/>
                  </a:lnTo>
                  <a:lnTo>
                    <a:pt x="398" y="952"/>
                  </a:lnTo>
                  <a:lnTo>
                    <a:pt x="410" y="952"/>
                  </a:lnTo>
                  <a:lnTo>
                    <a:pt x="410" y="942"/>
                  </a:lnTo>
                  <a:lnTo>
                    <a:pt x="416" y="942"/>
                  </a:lnTo>
                  <a:lnTo>
                    <a:pt x="422" y="938"/>
                  </a:lnTo>
                  <a:lnTo>
                    <a:pt x="426" y="932"/>
                  </a:lnTo>
                  <a:lnTo>
                    <a:pt x="422" y="926"/>
                  </a:lnTo>
                  <a:lnTo>
                    <a:pt x="422" y="914"/>
                  </a:lnTo>
                  <a:lnTo>
                    <a:pt x="416" y="910"/>
                  </a:lnTo>
                  <a:lnTo>
                    <a:pt x="416" y="898"/>
                  </a:lnTo>
                  <a:lnTo>
                    <a:pt x="410" y="892"/>
                  </a:lnTo>
                  <a:lnTo>
                    <a:pt x="410" y="884"/>
                  </a:lnTo>
                  <a:lnTo>
                    <a:pt x="416" y="884"/>
                  </a:lnTo>
                  <a:lnTo>
                    <a:pt x="422" y="878"/>
                  </a:lnTo>
                  <a:lnTo>
                    <a:pt x="422" y="872"/>
                  </a:lnTo>
                  <a:lnTo>
                    <a:pt x="432" y="872"/>
                  </a:lnTo>
                  <a:lnTo>
                    <a:pt x="432" y="866"/>
                  </a:lnTo>
                  <a:lnTo>
                    <a:pt x="426" y="866"/>
                  </a:lnTo>
                  <a:lnTo>
                    <a:pt x="416" y="856"/>
                  </a:lnTo>
                  <a:lnTo>
                    <a:pt x="410" y="856"/>
                  </a:lnTo>
                  <a:lnTo>
                    <a:pt x="410" y="850"/>
                  </a:lnTo>
                  <a:lnTo>
                    <a:pt x="416" y="850"/>
                  </a:lnTo>
                  <a:lnTo>
                    <a:pt x="410" y="844"/>
                  </a:lnTo>
                  <a:lnTo>
                    <a:pt x="410" y="838"/>
                  </a:lnTo>
                  <a:lnTo>
                    <a:pt x="404" y="834"/>
                  </a:lnTo>
                  <a:lnTo>
                    <a:pt x="404" y="830"/>
                  </a:lnTo>
                  <a:lnTo>
                    <a:pt x="390" y="830"/>
                  </a:lnTo>
                  <a:lnTo>
                    <a:pt x="390" y="818"/>
                  </a:lnTo>
                  <a:lnTo>
                    <a:pt x="384" y="818"/>
                  </a:lnTo>
                  <a:lnTo>
                    <a:pt x="378" y="812"/>
                  </a:lnTo>
                  <a:lnTo>
                    <a:pt x="384" y="812"/>
                  </a:lnTo>
                  <a:lnTo>
                    <a:pt x="384" y="784"/>
                  </a:lnTo>
                  <a:lnTo>
                    <a:pt x="394" y="784"/>
                  </a:lnTo>
                  <a:lnTo>
                    <a:pt x="394" y="780"/>
                  </a:lnTo>
                  <a:lnTo>
                    <a:pt x="390" y="780"/>
                  </a:lnTo>
                  <a:lnTo>
                    <a:pt x="394" y="774"/>
                  </a:lnTo>
                  <a:lnTo>
                    <a:pt x="398" y="774"/>
                  </a:lnTo>
                  <a:lnTo>
                    <a:pt x="398" y="780"/>
                  </a:lnTo>
                  <a:lnTo>
                    <a:pt x="404" y="780"/>
                  </a:lnTo>
                  <a:lnTo>
                    <a:pt x="404" y="784"/>
                  </a:lnTo>
                  <a:lnTo>
                    <a:pt x="410" y="790"/>
                  </a:lnTo>
                  <a:lnTo>
                    <a:pt x="410" y="784"/>
                  </a:lnTo>
                  <a:lnTo>
                    <a:pt x="416" y="784"/>
                  </a:lnTo>
                  <a:lnTo>
                    <a:pt x="416" y="780"/>
                  </a:lnTo>
                  <a:lnTo>
                    <a:pt x="410" y="780"/>
                  </a:lnTo>
                  <a:lnTo>
                    <a:pt x="410" y="770"/>
                  </a:lnTo>
                  <a:lnTo>
                    <a:pt x="416" y="770"/>
                  </a:lnTo>
                  <a:lnTo>
                    <a:pt x="416" y="764"/>
                  </a:lnTo>
                  <a:lnTo>
                    <a:pt x="422" y="764"/>
                  </a:lnTo>
                  <a:lnTo>
                    <a:pt x="426" y="758"/>
                  </a:lnTo>
                  <a:lnTo>
                    <a:pt x="432" y="758"/>
                  </a:lnTo>
                  <a:lnTo>
                    <a:pt x="432" y="752"/>
                  </a:lnTo>
                  <a:lnTo>
                    <a:pt x="442" y="752"/>
                  </a:lnTo>
                  <a:lnTo>
                    <a:pt x="442" y="746"/>
                  </a:lnTo>
                  <a:lnTo>
                    <a:pt x="448" y="746"/>
                  </a:lnTo>
                  <a:lnTo>
                    <a:pt x="448" y="752"/>
                  </a:lnTo>
                  <a:lnTo>
                    <a:pt x="454" y="752"/>
                  </a:lnTo>
                  <a:lnTo>
                    <a:pt x="454" y="746"/>
                  </a:lnTo>
                  <a:lnTo>
                    <a:pt x="464" y="746"/>
                  </a:lnTo>
                  <a:lnTo>
                    <a:pt x="464" y="752"/>
                  </a:lnTo>
                  <a:lnTo>
                    <a:pt x="476" y="752"/>
                  </a:lnTo>
                  <a:lnTo>
                    <a:pt x="482" y="758"/>
                  </a:lnTo>
                  <a:lnTo>
                    <a:pt x="486" y="758"/>
                  </a:lnTo>
                  <a:lnTo>
                    <a:pt x="486" y="764"/>
                  </a:lnTo>
                  <a:lnTo>
                    <a:pt x="502" y="764"/>
                  </a:lnTo>
                  <a:lnTo>
                    <a:pt x="502" y="770"/>
                  </a:lnTo>
                  <a:lnTo>
                    <a:pt x="508" y="770"/>
                  </a:lnTo>
                  <a:lnTo>
                    <a:pt x="508" y="774"/>
                  </a:lnTo>
                  <a:lnTo>
                    <a:pt x="512" y="770"/>
                  </a:lnTo>
                  <a:lnTo>
                    <a:pt x="512" y="764"/>
                  </a:lnTo>
                  <a:lnTo>
                    <a:pt x="536" y="764"/>
                  </a:lnTo>
                  <a:lnTo>
                    <a:pt x="536" y="758"/>
                  </a:lnTo>
                  <a:lnTo>
                    <a:pt x="540" y="764"/>
                  </a:lnTo>
                  <a:lnTo>
                    <a:pt x="546" y="764"/>
                  </a:lnTo>
                  <a:lnTo>
                    <a:pt x="546" y="758"/>
                  </a:lnTo>
                  <a:lnTo>
                    <a:pt x="550" y="758"/>
                  </a:lnTo>
                  <a:lnTo>
                    <a:pt x="550" y="764"/>
                  </a:lnTo>
                  <a:lnTo>
                    <a:pt x="556" y="770"/>
                  </a:lnTo>
                  <a:lnTo>
                    <a:pt x="562" y="770"/>
                  </a:lnTo>
                  <a:lnTo>
                    <a:pt x="562" y="774"/>
                  </a:lnTo>
                  <a:lnTo>
                    <a:pt x="568" y="774"/>
                  </a:lnTo>
                  <a:lnTo>
                    <a:pt x="568" y="764"/>
                  </a:lnTo>
                  <a:lnTo>
                    <a:pt x="572" y="764"/>
                  </a:lnTo>
                  <a:lnTo>
                    <a:pt x="572" y="770"/>
                  </a:lnTo>
                  <a:lnTo>
                    <a:pt x="584" y="770"/>
                  </a:lnTo>
                  <a:lnTo>
                    <a:pt x="590" y="764"/>
                  </a:lnTo>
                  <a:lnTo>
                    <a:pt x="596" y="758"/>
                  </a:lnTo>
                  <a:lnTo>
                    <a:pt x="596" y="752"/>
                  </a:lnTo>
                  <a:lnTo>
                    <a:pt x="578" y="752"/>
                  </a:lnTo>
                  <a:lnTo>
                    <a:pt x="572" y="746"/>
                  </a:lnTo>
                  <a:lnTo>
                    <a:pt x="572" y="742"/>
                  </a:lnTo>
                  <a:lnTo>
                    <a:pt x="578" y="742"/>
                  </a:lnTo>
                  <a:lnTo>
                    <a:pt x="584" y="736"/>
                  </a:lnTo>
                  <a:lnTo>
                    <a:pt x="584" y="720"/>
                  </a:lnTo>
                  <a:lnTo>
                    <a:pt x="600" y="720"/>
                  </a:lnTo>
                  <a:lnTo>
                    <a:pt x="600" y="716"/>
                  </a:lnTo>
                  <a:lnTo>
                    <a:pt x="584" y="716"/>
                  </a:lnTo>
                  <a:lnTo>
                    <a:pt x="584" y="698"/>
                  </a:lnTo>
                  <a:lnTo>
                    <a:pt x="610" y="698"/>
                  </a:lnTo>
                  <a:lnTo>
                    <a:pt x="610" y="692"/>
                  </a:lnTo>
                  <a:lnTo>
                    <a:pt x="644" y="692"/>
                  </a:lnTo>
                  <a:lnTo>
                    <a:pt x="644" y="682"/>
                  </a:lnTo>
                  <a:lnTo>
                    <a:pt x="650" y="682"/>
                  </a:lnTo>
                  <a:lnTo>
                    <a:pt x="650" y="688"/>
                  </a:lnTo>
                  <a:lnTo>
                    <a:pt x="654" y="688"/>
                  </a:lnTo>
                  <a:lnTo>
                    <a:pt x="654" y="682"/>
                  </a:lnTo>
                  <a:lnTo>
                    <a:pt x="680" y="682"/>
                  </a:lnTo>
                  <a:lnTo>
                    <a:pt x="686" y="676"/>
                  </a:lnTo>
                  <a:lnTo>
                    <a:pt x="686" y="672"/>
                  </a:lnTo>
                  <a:lnTo>
                    <a:pt x="692" y="672"/>
                  </a:lnTo>
                  <a:lnTo>
                    <a:pt x="692" y="666"/>
                  </a:lnTo>
                  <a:lnTo>
                    <a:pt x="698" y="672"/>
                  </a:lnTo>
                  <a:lnTo>
                    <a:pt x="698" y="666"/>
                  </a:lnTo>
                  <a:lnTo>
                    <a:pt x="710" y="666"/>
                  </a:lnTo>
                  <a:lnTo>
                    <a:pt x="710" y="672"/>
                  </a:lnTo>
                  <a:lnTo>
                    <a:pt x="718" y="672"/>
                  </a:lnTo>
                  <a:lnTo>
                    <a:pt x="718" y="666"/>
                  </a:lnTo>
                  <a:lnTo>
                    <a:pt x="724" y="666"/>
                  </a:lnTo>
                  <a:lnTo>
                    <a:pt x="724" y="682"/>
                  </a:lnTo>
                  <a:lnTo>
                    <a:pt x="730" y="682"/>
                  </a:lnTo>
                  <a:lnTo>
                    <a:pt x="730" y="692"/>
                  </a:lnTo>
                  <a:lnTo>
                    <a:pt x="758" y="692"/>
                  </a:lnTo>
                  <a:lnTo>
                    <a:pt x="758" y="698"/>
                  </a:lnTo>
                  <a:lnTo>
                    <a:pt x="766" y="698"/>
                  </a:lnTo>
                  <a:lnTo>
                    <a:pt x="766" y="704"/>
                  </a:lnTo>
                  <a:lnTo>
                    <a:pt x="772" y="704"/>
                  </a:lnTo>
                  <a:lnTo>
                    <a:pt x="772" y="710"/>
                  </a:lnTo>
                  <a:lnTo>
                    <a:pt x="778" y="704"/>
                  </a:lnTo>
                  <a:lnTo>
                    <a:pt x="784" y="704"/>
                  </a:lnTo>
                  <a:lnTo>
                    <a:pt x="790" y="698"/>
                  </a:lnTo>
                  <a:lnTo>
                    <a:pt x="790" y="692"/>
                  </a:lnTo>
                  <a:lnTo>
                    <a:pt x="800" y="692"/>
                  </a:lnTo>
                  <a:lnTo>
                    <a:pt x="800" y="698"/>
                  </a:lnTo>
                  <a:lnTo>
                    <a:pt x="806" y="704"/>
                  </a:lnTo>
                  <a:lnTo>
                    <a:pt x="812" y="704"/>
                  </a:lnTo>
                  <a:lnTo>
                    <a:pt x="818" y="710"/>
                  </a:lnTo>
                  <a:lnTo>
                    <a:pt x="822" y="716"/>
                  </a:lnTo>
                  <a:lnTo>
                    <a:pt x="826" y="726"/>
                  </a:lnTo>
                  <a:lnTo>
                    <a:pt x="832" y="726"/>
                  </a:lnTo>
                  <a:lnTo>
                    <a:pt x="832" y="730"/>
                  </a:lnTo>
                  <a:lnTo>
                    <a:pt x="838" y="730"/>
                  </a:lnTo>
                  <a:lnTo>
                    <a:pt x="838" y="736"/>
                  </a:lnTo>
                  <a:lnTo>
                    <a:pt x="844" y="746"/>
                  </a:lnTo>
                  <a:lnTo>
                    <a:pt x="850" y="752"/>
                  </a:lnTo>
                  <a:lnTo>
                    <a:pt x="850" y="764"/>
                  </a:lnTo>
                  <a:lnTo>
                    <a:pt x="860" y="764"/>
                  </a:lnTo>
                  <a:lnTo>
                    <a:pt x="860" y="752"/>
                  </a:lnTo>
                  <a:lnTo>
                    <a:pt x="866" y="758"/>
                  </a:lnTo>
                  <a:lnTo>
                    <a:pt x="872" y="758"/>
                  </a:lnTo>
                  <a:lnTo>
                    <a:pt x="872" y="770"/>
                  </a:lnTo>
                  <a:lnTo>
                    <a:pt x="876" y="770"/>
                  </a:lnTo>
                  <a:lnTo>
                    <a:pt x="876" y="764"/>
                  </a:lnTo>
                  <a:lnTo>
                    <a:pt x="880" y="764"/>
                  </a:lnTo>
                  <a:lnTo>
                    <a:pt x="880" y="770"/>
                  </a:lnTo>
                  <a:lnTo>
                    <a:pt x="886" y="764"/>
                  </a:lnTo>
                  <a:lnTo>
                    <a:pt x="886" y="770"/>
                  </a:lnTo>
                  <a:lnTo>
                    <a:pt x="892" y="764"/>
                  </a:lnTo>
                  <a:lnTo>
                    <a:pt x="908" y="764"/>
                  </a:lnTo>
                  <a:lnTo>
                    <a:pt x="908" y="770"/>
                  </a:lnTo>
                  <a:lnTo>
                    <a:pt x="914" y="774"/>
                  </a:lnTo>
                  <a:lnTo>
                    <a:pt x="914" y="780"/>
                  </a:lnTo>
                  <a:lnTo>
                    <a:pt x="926" y="780"/>
                  </a:lnTo>
                  <a:lnTo>
                    <a:pt x="926" y="790"/>
                  </a:lnTo>
                  <a:lnTo>
                    <a:pt x="936" y="790"/>
                  </a:lnTo>
                  <a:lnTo>
                    <a:pt x="940" y="796"/>
                  </a:lnTo>
                  <a:lnTo>
                    <a:pt x="940" y="790"/>
                  </a:lnTo>
                  <a:lnTo>
                    <a:pt x="952" y="790"/>
                  </a:lnTo>
                  <a:lnTo>
                    <a:pt x="952" y="802"/>
                  </a:lnTo>
                  <a:lnTo>
                    <a:pt x="968" y="802"/>
                  </a:lnTo>
                  <a:lnTo>
                    <a:pt x="968" y="796"/>
                  </a:lnTo>
                  <a:lnTo>
                    <a:pt x="980" y="796"/>
                  </a:lnTo>
                  <a:lnTo>
                    <a:pt x="980" y="790"/>
                  </a:lnTo>
                  <a:lnTo>
                    <a:pt x="990" y="790"/>
                  </a:lnTo>
                  <a:lnTo>
                    <a:pt x="990" y="784"/>
                  </a:lnTo>
                  <a:lnTo>
                    <a:pt x="994" y="784"/>
                  </a:lnTo>
                  <a:lnTo>
                    <a:pt x="994" y="780"/>
                  </a:lnTo>
                  <a:lnTo>
                    <a:pt x="1000" y="780"/>
                  </a:lnTo>
                  <a:lnTo>
                    <a:pt x="1000" y="774"/>
                  </a:lnTo>
                  <a:lnTo>
                    <a:pt x="1018" y="774"/>
                  </a:lnTo>
                  <a:lnTo>
                    <a:pt x="1018" y="770"/>
                  </a:lnTo>
                  <a:lnTo>
                    <a:pt x="1028" y="770"/>
                  </a:lnTo>
                  <a:lnTo>
                    <a:pt x="1028" y="764"/>
                  </a:lnTo>
                  <a:lnTo>
                    <a:pt x="1034" y="770"/>
                  </a:lnTo>
                  <a:lnTo>
                    <a:pt x="1034" y="764"/>
                  </a:lnTo>
                  <a:lnTo>
                    <a:pt x="1038" y="764"/>
                  </a:lnTo>
                  <a:lnTo>
                    <a:pt x="1038" y="770"/>
                  </a:lnTo>
                  <a:lnTo>
                    <a:pt x="1054" y="770"/>
                  </a:lnTo>
                  <a:lnTo>
                    <a:pt x="1054" y="780"/>
                  </a:lnTo>
                  <a:lnTo>
                    <a:pt x="1060" y="780"/>
                  </a:lnTo>
                  <a:lnTo>
                    <a:pt x="1060" y="784"/>
                  </a:lnTo>
                  <a:lnTo>
                    <a:pt x="1066" y="780"/>
                  </a:lnTo>
                  <a:lnTo>
                    <a:pt x="1066" y="784"/>
                  </a:lnTo>
                  <a:lnTo>
                    <a:pt x="1092" y="784"/>
                  </a:lnTo>
                  <a:lnTo>
                    <a:pt x="1098" y="790"/>
                  </a:lnTo>
                  <a:lnTo>
                    <a:pt x="1104" y="790"/>
                  </a:lnTo>
                  <a:lnTo>
                    <a:pt x="1104" y="784"/>
                  </a:lnTo>
                  <a:lnTo>
                    <a:pt x="1108" y="784"/>
                  </a:lnTo>
                  <a:lnTo>
                    <a:pt x="1108" y="764"/>
                  </a:lnTo>
                  <a:lnTo>
                    <a:pt x="1104" y="764"/>
                  </a:lnTo>
                  <a:lnTo>
                    <a:pt x="1108" y="758"/>
                  </a:lnTo>
                  <a:lnTo>
                    <a:pt x="1108" y="746"/>
                  </a:lnTo>
                  <a:lnTo>
                    <a:pt x="1120" y="746"/>
                  </a:lnTo>
                  <a:lnTo>
                    <a:pt x="1120" y="742"/>
                  </a:lnTo>
                  <a:lnTo>
                    <a:pt x="1136" y="742"/>
                  </a:lnTo>
                  <a:lnTo>
                    <a:pt x="1136" y="746"/>
                  </a:lnTo>
                  <a:lnTo>
                    <a:pt x="1146" y="746"/>
                  </a:lnTo>
                  <a:lnTo>
                    <a:pt x="1146" y="752"/>
                  </a:lnTo>
                  <a:lnTo>
                    <a:pt x="1168" y="752"/>
                  </a:lnTo>
                  <a:lnTo>
                    <a:pt x="1168" y="774"/>
                  </a:lnTo>
                  <a:lnTo>
                    <a:pt x="1186" y="774"/>
                  </a:lnTo>
                  <a:lnTo>
                    <a:pt x="1186" y="780"/>
                  </a:lnTo>
                  <a:lnTo>
                    <a:pt x="1196" y="780"/>
                  </a:lnTo>
                  <a:lnTo>
                    <a:pt x="1196" y="774"/>
                  </a:lnTo>
                  <a:lnTo>
                    <a:pt x="1234" y="774"/>
                  </a:lnTo>
                  <a:lnTo>
                    <a:pt x="1234" y="780"/>
                  </a:lnTo>
                  <a:lnTo>
                    <a:pt x="1240" y="784"/>
                  </a:lnTo>
                  <a:lnTo>
                    <a:pt x="1250" y="784"/>
                  </a:lnTo>
                  <a:lnTo>
                    <a:pt x="1250" y="790"/>
                  </a:lnTo>
                  <a:lnTo>
                    <a:pt x="1254" y="796"/>
                  </a:lnTo>
                  <a:lnTo>
                    <a:pt x="1266" y="796"/>
                  </a:lnTo>
                  <a:lnTo>
                    <a:pt x="1272" y="802"/>
                  </a:lnTo>
                  <a:lnTo>
                    <a:pt x="1294" y="802"/>
                  </a:lnTo>
                  <a:lnTo>
                    <a:pt x="1294" y="796"/>
                  </a:lnTo>
                  <a:lnTo>
                    <a:pt x="1308" y="796"/>
                  </a:lnTo>
                  <a:lnTo>
                    <a:pt x="1314" y="790"/>
                  </a:lnTo>
                  <a:lnTo>
                    <a:pt x="1326" y="790"/>
                  </a:lnTo>
                  <a:lnTo>
                    <a:pt x="1326" y="784"/>
                  </a:lnTo>
                  <a:lnTo>
                    <a:pt x="1332" y="780"/>
                  </a:lnTo>
                  <a:lnTo>
                    <a:pt x="1336" y="780"/>
                  </a:lnTo>
                  <a:lnTo>
                    <a:pt x="1336" y="774"/>
                  </a:lnTo>
                  <a:lnTo>
                    <a:pt x="1348" y="774"/>
                  </a:lnTo>
                  <a:lnTo>
                    <a:pt x="1348" y="780"/>
                  </a:lnTo>
                  <a:lnTo>
                    <a:pt x="1354" y="780"/>
                  </a:lnTo>
                  <a:lnTo>
                    <a:pt x="1354" y="784"/>
                  </a:lnTo>
                  <a:lnTo>
                    <a:pt x="1374" y="784"/>
                  </a:lnTo>
                  <a:lnTo>
                    <a:pt x="1374" y="790"/>
                  </a:lnTo>
                  <a:lnTo>
                    <a:pt x="1402" y="790"/>
                  </a:lnTo>
                  <a:lnTo>
                    <a:pt x="1402" y="784"/>
                  </a:lnTo>
                  <a:lnTo>
                    <a:pt x="1408" y="784"/>
                  </a:lnTo>
                  <a:lnTo>
                    <a:pt x="1412" y="780"/>
                  </a:lnTo>
                  <a:lnTo>
                    <a:pt x="1412" y="764"/>
                  </a:lnTo>
                  <a:lnTo>
                    <a:pt x="1418" y="758"/>
                  </a:lnTo>
                  <a:lnTo>
                    <a:pt x="1418" y="752"/>
                  </a:lnTo>
                  <a:lnTo>
                    <a:pt x="1422" y="752"/>
                  </a:lnTo>
                  <a:lnTo>
                    <a:pt x="1422" y="742"/>
                  </a:lnTo>
                  <a:lnTo>
                    <a:pt x="1428" y="742"/>
                  </a:lnTo>
                  <a:lnTo>
                    <a:pt x="1428" y="726"/>
                  </a:lnTo>
                  <a:lnTo>
                    <a:pt x="1422" y="726"/>
                  </a:lnTo>
                  <a:lnTo>
                    <a:pt x="1422" y="720"/>
                  </a:lnTo>
                  <a:lnTo>
                    <a:pt x="1428" y="716"/>
                  </a:lnTo>
                  <a:lnTo>
                    <a:pt x="1446" y="716"/>
                  </a:lnTo>
                  <a:lnTo>
                    <a:pt x="1446" y="710"/>
                  </a:lnTo>
                  <a:lnTo>
                    <a:pt x="1476" y="710"/>
                  </a:lnTo>
                  <a:lnTo>
                    <a:pt x="1476" y="716"/>
                  </a:lnTo>
                  <a:lnTo>
                    <a:pt x="1500" y="716"/>
                  </a:lnTo>
                  <a:lnTo>
                    <a:pt x="1500" y="720"/>
                  </a:lnTo>
                  <a:lnTo>
                    <a:pt x="1504" y="726"/>
                  </a:lnTo>
                  <a:lnTo>
                    <a:pt x="1504" y="736"/>
                  </a:lnTo>
                  <a:lnTo>
                    <a:pt x="1510" y="736"/>
                  </a:lnTo>
                  <a:lnTo>
                    <a:pt x="1510" y="746"/>
                  </a:lnTo>
                  <a:lnTo>
                    <a:pt x="1516" y="746"/>
                  </a:lnTo>
                  <a:lnTo>
                    <a:pt x="1516" y="764"/>
                  </a:lnTo>
                  <a:lnTo>
                    <a:pt x="1520" y="764"/>
                  </a:lnTo>
                  <a:lnTo>
                    <a:pt x="1520" y="774"/>
                  </a:lnTo>
                  <a:lnTo>
                    <a:pt x="1526" y="774"/>
                  </a:lnTo>
                  <a:lnTo>
                    <a:pt x="1526" y="790"/>
                  </a:lnTo>
                  <a:lnTo>
                    <a:pt x="1542" y="790"/>
                  </a:lnTo>
                  <a:lnTo>
                    <a:pt x="1542" y="796"/>
                  </a:lnTo>
                  <a:lnTo>
                    <a:pt x="1554" y="796"/>
                  </a:lnTo>
                  <a:lnTo>
                    <a:pt x="1554" y="802"/>
                  </a:lnTo>
                  <a:lnTo>
                    <a:pt x="1560" y="802"/>
                  </a:lnTo>
                  <a:lnTo>
                    <a:pt x="1564" y="806"/>
                  </a:lnTo>
                  <a:lnTo>
                    <a:pt x="1570" y="806"/>
                  </a:lnTo>
                  <a:lnTo>
                    <a:pt x="1570" y="824"/>
                  </a:lnTo>
                  <a:lnTo>
                    <a:pt x="1574" y="824"/>
                  </a:lnTo>
                  <a:lnTo>
                    <a:pt x="1574" y="830"/>
                  </a:lnTo>
                  <a:lnTo>
                    <a:pt x="1580" y="830"/>
                  </a:lnTo>
                  <a:lnTo>
                    <a:pt x="1580" y="834"/>
                  </a:lnTo>
                  <a:lnTo>
                    <a:pt x="1590" y="834"/>
                  </a:lnTo>
                  <a:lnTo>
                    <a:pt x="1590" y="830"/>
                  </a:lnTo>
                  <a:lnTo>
                    <a:pt x="1596" y="830"/>
                  </a:lnTo>
                  <a:lnTo>
                    <a:pt x="1596" y="824"/>
                  </a:lnTo>
                  <a:lnTo>
                    <a:pt x="1614" y="824"/>
                  </a:lnTo>
                  <a:lnTo>
                    <a:pt x="1614" y="818"/>
                  </a:lnTo>
                  <a:lnTo>
                    <a:pt x="1624" y="818"/>
                  </a:lnTo>
                  <a:lnTo>
                    <a:pt x="1624" y="838"/>
                  </a:lnTo>
                  <a:lnTo>
                    <a:pt x="1618" y="838"/>
                  </a:lnTo>
                  <a:lnTo>
                    <a:pt x="1618" y="850"/>
                  </a:lnTo>
                  <a:lnTo>
                    <a:pt x="1614" y="850"/>
                  </a:lnTo>
                  <a:lnTo>
                    <a:pt x="1614" y="872"/>
                  </a:lnTo>
                  <a:lnTo>
                    <a:pt x="1602" y="872"/>
                  </a:lnTo>
                  <a:lnTo>
                    <a:pt x="1602" y="884"/>
                  </a:lnTo>
                  <a:lnTo>
                    <a:pt x="1590" y="884"/>
                  </a:lnTo>
                  <a:lnTo>
                    <a:pt x="1590" y="878"/>
                  </a:lnTo>
                  <a:lnTo>
                    <a:pt x="1586" y="878"/>
                  </a:lnTo>
                  <a:lnTo>
                    <a:pt x="1586" y="884"/>
                  </a:lnTo>
                  <a:lnTo>
                    <a:pt x="1574" y="884"/>
                  </a:lnTo>
                  <a:lnTo>
                    <a:pt x="1574" y="926"/>
                  </a:lnTo>
                  <a:lnTo>
                    <a:pt x="1570" y="926"/>
                  </a:lnTo>
                  <a:lnTo>
                    <a:pt x="1570" y="938"/>
                  </a:lnTo>
                  <a:lnTo>
                    <a:pt x="1574" y="932"/>
                  </a:lnTo>
                  <a:lnTo>
                    <a:pt x="1580" y="926"/>
                  </a:lnTo>
                  <a:lnTo>
                    <a:pt x="1580" y="920"/>
                  </a:lnTo>
                  <a:lnTo>
                    <a:pt x="1590" y="920"/>
                  </a:lnTo>
                  <a:lnTo>
                    <a:pt x="1590" y="926"/>
                  </a:lnTo>
                  <a:lnTo>
                    <a:pt x="1596" y="926"/>
                  </a:lnTo>
                  <a:lnTo>
                    <a:pt x="1596" y="932"/>
                  </a:lnTo>
                  <a:lnTo>
                    <a:pt x="1602" y="926"/>
                  </a:lnTo>
                  <a:lnTo>
                    <a:pt x="1602" y="932"/>
                  </a:lnTo>
                  <a:lnTo>
                    <a:pt x="1614" y="932"/>
                  </a:lnTo>
                  <a:lnTo>
                    <a:pt x="1614" y="926"/>
                  </a:lnTo>
                  <a:lnTo>
                    <a:pt x="1618" y="926"/>
                  </a:lnTo>
                  <a:lnTo>
                    <a:pt x="1618" y="920"/>
                  </a:lnTo>
                  <a:lnTo>
                    <a:pt x="1628" y="920"/>
                  </a:lnTo>
                  <a:lnTo>
                    <a:pt x="1628" y="914"/>
                  </a:lnTo>
                  <a:lnTo>
                    <a:pt x="1634" y="914"/>
                  </a:lnTo>
                  <a:lnTo>
                    <a:pt x="1634" y="910"/>
                  </a:lnTo>
                  <a:lnTo>
                    <a:pt x="1640" y="910"/>
                  </a:lnTo>
                  <a:lnTo>
                    <a:pt x="1640" y="898"/>
                  </a:lnTo>
                  <a:lnTo>
                    <a:pt x="1650" y="898"/>
                  </a:lnTo>
                  <a:lnTo>
                    <a:pt x="1650" y="884"/>
                  </a:lnTo>
                  <a:lnTo>
                    <a:pt x="1656" y="884"/>
                  </a:lnTo>
                  <a:lnTo>
                    <a:pt x="1662" y="878"/>
                  </a:lnTo>
                  <a:lnTo>
                    <a:pt x="1662" y="872"/>
                  </a:lnTo>
                  <a:lnTo>
                    <a:pt x="1672" y="872"/>
                  </a:lnTo>
                  <a:lnTo>
                    <a:pt x="1672" y="856"/>
                  </a:lnTo>
                  <a:lnTo>
                    <a:pt x="1678" y="856"/>
                  </a:lnTo>
                  <a:lnTo>
                    <a:pt x="1678" y="850"/>
                  </a:lnTo>
                  <a:lnTo>
                    <a:pt x="1682" y="844"/>
                  </a:lnTo>
                  <a:lnTo>
                    <a:pt x="1682" y="838"/>
                  </a:lnTo>
                  <a:lnTo>
                    <a:pt x="1688" y="838"/>
                  </a:lnTo>
                  <a:lnTo>
                    <a:pt x="1688" y="830"/>
                  </a:lnTo>
                  <a:lnTo>
                    <a:pt x="1694" y="830"/>
                  </a:lnTo>
                  <a:lnTo>
                    <a:pt x="1694" y="824"/>
                  </a:lnTo>
                  <a:lnTo>
                    <a:pt x="1700" y="824"/>
                  </a:lnTo>
                  <a:lnTo>
                    <a:pt x="1700" y="818"/>
                  </a:lnTo>
                  <a:lnTo>
                    <a:pt x="1704" y="812"/>
                  </a:lnTo>
                  <a:lnTo>
                    <a:pt x="1704" y="806"/>
                  </a:lnTo>
                  <a:lnTo>
                    <a:pt x="1710" y="806"/>
                  </a:lnTo>
                  <a:lnTo>
                    <a:pt x="1710" y="752"/>
                  </a:lnTo>
                  <a:lnTo>
                    <a:pt x="1716" y="752"/>
                  </a:lnTo>
                  <a:lnTo>
                    <a:pt x="1716" y="746"/>
                  </a:lnTo>
                  <a:lnTo>
                    <a:pt x="1722" y="746"/>
                  </a:lnTo>
                  <a:lnTo>
                    <a:pt x="1722" y="726"/>
                  </a:lnTo>
                  <a:lnTo>
                    <a:pt x="1716" y="720"/>
                  </a:lnTo>
                  <a:lnTo>
                    <a:pt x="1710" y="716"/>
                  </a:lnTo>
                  <a:lnTo>
                    <a:pt x="1716" y="716"/>
                  </a:lnTo>
                  <a:lnTo>
                    <a:pt x="1722" y="720"/>
                  </a:lnTo>
                  <a:lnTo>
                    <a:pt x="1722" y="716"/>
                  </a:lnTo>
                  <a:lnTo>
                    <a:pt x="1716" y="710"/>
                  </a:lnTo>
                  <a:lnTo>
                    <a:pt x="1710" y="710"/>
                  </a:lnTo>
                  <a:lnTo>
                    <a:pt x="1710" y="704"/>
                  </a:lnTo>
                  <a:lnTo>
                    <a:pt x="1704" y="704"/>
                  </a:lnTo>
                  <a:lnTo>
                    <a:pt x="1704" y="692"/>
                  </a:lnTo>
                  <a:lnTo>
                    <a:pt x="1688" y="692"/>
                  </a:lnTo>
                  <a:lnTo>
                    <a:pt x="1688" y="698"/>
                  </a:lnTo>
                  <a:lnTo>
                    <a:pt x="1682" y="704"/>
                  </a:lnTo>
                  <a:lnTo>
                    <a:pt x="1682" y="710"/>
                  </a:lnTo>
                  <a:lnTo>
                    <a:pt x="1678" y="710"/>
                  </a:lnTo>
                  <a:lnTo>
                    <a:pt x="1678" y="704"/>
                  </a:lnTo>
                  <a:lnTo>
                    <a:pt x="1672" y="704"/>
                  </a:lnTo>
                  <a:lnTo>
                    <a:pt x="1672" y="710"/>
                  </a:lnTo>
                  <a:lnTo>
                    <a:pt x="1662" y="710"/>
                  </a:lnTo>
                  <a:lnTo>
                    <a:pt x="1662" y="704"/>
                  </a:lnTo>
                  <a:lnTo>
                    <a:pt x="1656" y="704"/>
                  </a:lnTo>
                  <a:lnTo>
                    <a:pt x="1656" y="682"/>
                  </a:lnTo>
                  <a:lnTo>
                    <a:pt x="1650" y="688"/>
                  </a:lnTo>
                  <a:lnTo>
                    <a:pt x="1650" y="682"/>
                  </a:lnTo>
                  <a:lnTo>
                    <a:pt x="1644" y="688"/>
                  </a:lnTo>
                  <a:lnTo>
                    <a:pt x="1640" y="688"/>
                  </a:lnTo>
                  <a:lnTo>
                    <a:pt x="1640" y="682"/>
                  </a:lnTo>
                  <a:lnTo>
                    <a:pt x="1634" y="682"/>
                  </a:lnTo>
                  <a:lnTo>
                    <a:pt x="1634" y="676"/>
                  </a:lnTo>
                  <a:lnTo>
                    <a:pt x="1640" y="676"/>
                  </a:lnTo>
                  <a:lnTo>
                    <a:pt x="1640" y="672"/>
                  </a:lnTo>
                  <a:lnTo>
                    <a:pt x="1644" y="672"/>
                  </a:lnTo>
                  <a:lnTo>
                    <a:pt x="1644" y="666"/>
                  </a:lnTo>
                  <a:lnTo>
                    <a:pt x="1650" y="666"/>
                  </a:lnTo>
                  <a:lnTo>
                    <a:pt x="1656" y="660"/>
                  </a:lnTo>
                  <a:lnTo>
                    <a:pt x="1662" y="660"/>
                  </a:lnTo>
                  <a:lnTo>
                    <a:pt x="1662" y="656"/>
                  </a:lnTo>
                  <a:lnTo>
                    <a:pt x="1668" y="656"/>
                  </a:lnTo>
                  <a:lnTo>
                    <a:pt x="1672" y="650"/>
                  </a:lnTo>
                  <a:lnTo>
                    <a:pt x="1672" y="644"/>
                  </a:lnTo>
                  <a:lnTo>
                    <a:pt x="1678" y="644"/>
                  </a:lnTo>
                  <a:lnTo>
                    <a:pt x="1678" y="638"/>
                  </a:lnTo>
                  <a:lnTo>
                    <a:pt x="1682" y="632"/>
                  </a:lnTo>
                  <a:lnTo>
                    <a:pt x="1688" y="632"/>
                  </a:lnTo>
                  <a:lnTo>
                    <a:pt x="1688" y="628"/>
                  </a:lnTo>
                  <a:lnTo>
                    <a:pt x="1694" y="628"/>
                  </a:lnTo>
                  <a:lnTo>
                    <a:pt x="1694" y="622"/>
                  </a:lnTo>
                  <a:lnTo>
                    <a:pt x="1700" y="622"/>
                  </a:lnTo>
                  <a:lnTo>
                    <a:pt x="1700" y="618"/>
                  </a:lnTo>
                  <a:lnTo>
                    <a:pt x="1710" y="618"/>
                  </a:lnTo>
                  <a:lnTo>
                    <a:pt x="1710" y="606"/>
                  </a:lnTo>
                  <a:lnTo>
                    <a:pt x="1716" y="602"/>
                  </a:lnTo>
                  <a:lnTo>
                    <a:pt x="1722" y="602"/>
                  </a:lnTo>
                  <a:lnTo>
                    <a:pt x="1722" y="596"/>
                  </a:lnTo>
                  <a:lnTo>
                    <a:pt x="1728" y="596"/>
                  </a:lnTo>
                  <a:lnTo>
                    <a:pt x="1728" y="590"/>
                  </a:lnTo>
                  <a:lnTo>
                    <a:pt x="1732" y="590"/>
                  </a:lnTo>
                  <a:lnTo>
                    <a:pt x="1732" y="584"/>
                  </a:lnTo>
                  <a:lnTo>
                    <a:pt x="1748" y="584"/>
                  </a:lnTo>
                  <a:lnTo>
                    <a:pt x="1748" y="578"/>
                  </a:lnTo>
                  <a:lnTo>
                    <a:pt x="1786" y="578"/>
                  </a:lnTo>
                  <a:lnTo>
                    <a:pt x="1782" y="584"/>
                  </a:lnTo>
                  <a:lnTo>
                    <a:pt x="1790" y="584"/>
                  </a:lnTo>
                  <a:lnTo>
                    <a:pt x="1790" y="578"/>
                  </a:lnTo>
                  <a:lnTo>
                    <a:pt x="1802" y="578"/>
                  </a:lnTo>
                  <a:lnTo>
                    <a:pt x="1802" y="584"/>
                  </a:lnTo>
                  <a:lnTo>
                    <a:pt x="1814" y="584"/>
                  </a:lnTo>
                  <a:lnTo>
                    <a:pt x="1814" y="578"/>
                  </a:lnTo>
                  <a:lnTo>
                    <a:pt x="1818" y="578"/>
                  </a:lnTo>
                  <a:lnTo>
                    <a:pt x="1818" y="584"/>
                  </a:lnTo>
                  <a:lnTo>
                    <a:pt x="1830" y="584"/>
                  </a:lnTo>
                  <a:lnTo>
                    <a:pt x="1830" y="578"/>
                  </a:lnTo>
                  <a:lnTo>
                    <a:pt x="1824" y="578"/>
                  </a:lnTo>
                  <a:lnTo>
                    <a:pt x="1830" y="574"/>
                  </a:lnTo>
                  <a:lnTo>
                    <a:pt x="1850" y="574"/>
                  </a:lnTo>
                  <a:lnTo>
                    <a:pt x="1850" y="578"/>
                  </a:lnTo>
                  <a:lnTo>
                    <a:pt x="1856" y="578"/>
                  </a:lnTo>
                  <a:lnTo>
                    <a:pt x="1856" y="574"/>
                  </a:lnTo>
                  <a:lnTo>
                    <a:pt x="1862" y="574"/>
                  </a:lnTo>
                  <a:lnTo>
                    <a:pt x="1862" y="578"/>
                  </a:lnTo>
                  <a:lnTo>
                    <a:pt x="1868" y="578"/>
                  </a:lnTo>
                  <a:lnTo>
                    <a:pt x="1868" y="584"/>
                  </a:lnTo>
                  <a:lnTo>
                    <a:pt x="1862" y="584"/>
                  </a:lnTo>
                  <a:lnTo>
                    <a:pt x="1862" y="590"/>
                  </a:lnTo>
                  <a:lnTo>
                    <a:pt x="1872" y="590"/>
                  </a:lnTo>
                  <a:lnTo>
                    <a:pt x="1878" y="584"/>
                  </a:lnTo>
                  <a:lnTo>
                    <a:pt x="1878" y="590"/>
                  </a:lnTo>
                  <a:lnTo>
                    <a:pt x="1884" y="590"/>
                  </a:lnTo>
                  <a:lnTo>
                    <a:pt x="1890" y="584"/>
                  </a:lnTo>
                  <a:lnTo>
                    <a:pt x="1916" y="584"/>
                  </a:lnTo>
                  <a:lnTo>
                    <a:pt x="1916" y="578"/>
                  </a:lnTo>
                  <a:lnTo>
                    <a:pt x="1910" y="578"/>
                  </a:lnTo>
                  <a:lnTo>
                    <a:pt x="1910" y="574"/>
                  </a:lnTo>
                  <a:lnTo>
                    <a:pt x="1904" y="574"/>
                  </a:lnTo>
                  <a:lnTo>
                    <a:pt x="1904" y="578"/>
                  </a:lnTo>
                  <a:lnTo>
                    <a:pt x="1898" y="578"/>
                  </a:lnTo>
                  <a:lnTo>
                    <a:pt x="1898" y="568"/>
                  </a:lnTo>
                  <a:lnTo>
                    <a:pt x="1904" y="568"/>
                  </a:lnTo>
                  <a:lnTo>
                    <a:pt x="1904" y="564"/>
                  </a:lnTo>
                  <a:lnTo>
                    <a:pt x="1910" y="564"/>
                  </a:lnTo>
                  <a:lnTo>
                    <a:pt x="1910" y="558"/>
                  </a:lnTo>
                  <a:lnTo>
                    <a:pt x="1916" y="558"/>
                  </a:lnTo>
                  <a:lnTo>
                    <a:pt x="1922" y="552"/>
                  </a:lnTo>
                  <a:lnTo>
                    <a:pt x="1922" y="548"/>
                  </a:lnTo>
                  <a:lnTo>
                    <a:pt x="1928" y="548"/>
                  </a:lnTo>
                  <a:lnTo>
                    <a:pt x="1928" y="542"/>
                  </a:lnTo>
                  <a:lnTo>
                    <a:pt x="1932" y="536"/>
                  </a:lnTo>
                  <a:lnTo>
                    <a:pt x="1938" y="536"/>
                  </a:lnTo>
                  <a:lnTo>
                    <a:pt x="1938" y="530"/>
                  </a:lnTo>
                  <a:lnTo>
                    <a:pt x="1944" y="530"/>
                  </a:lnTo>
                  <a:lnTo>
                    <a:pt x="1944" y="524"/>
                  </a:lnTo>
                  <a:lnTo>
                    <a:pt x="1986" y="524"/>
                  </a:lnTo>
                  <a:lnTo>
                    <a:pt x="1986" y="520"/>
                  </a:lnTo>
                  <a:lnTo>
                    <a:pt x="1992" y="520"/>
                  </a:lnTo>
                  <a:lnTo>
                    <a:pt x="1992" y="524"/>
                  </a:lnTo>
                  <a:lnTo>
                    <a:pt x="1986" y="530"/>
                  </a:lnTo>
                  <a:lnTo>
                    <a:pt x="1986" y="542"/>
                  </a:lnTo>
                  <a:lnTo>
                    <a:pt x="1992" y="542"/>
                  </a:lnTo>
                  <a:lnTo>
                    <a:pt x="1986" y="548"/>
                  </a:lnTo>
                  <a:lnTo>
                    <a:pt x="1998" y="548"/>
                  </a:lnTo>
                  <a:lnTo>
                    <a:pt x="1998" y="542"/>
                  </a:lnTo>
                  <a:lnTo>
                    <a:pt x="2004" y="542"/>
                  </a:lnTo>
                  <a:lnTo>
                    <a:pt x="2008" y="536"/>
                  </a:lnTo>
                  <a:lnTo>
                    <a:pt x="2012" y="536"/>
                  </a:lnTo>
                  <a:lnTo>
                    <a:pt x="2018" y="530"/>
                  </a:lnTo>
                  <a:lnTo>
                    <a:pt x="2030" y="530"/>
                  </a:lnTo>
                  <a:lnTo>
                    <a:pt x="2030" y="524"/>
                  </a:lnTo>
                  <a:lnTo>
                    <a:pt x="2024" y="524"/>
                  </a:lnTo>
                  <a:lnTo>
                    <a:pt x="2030" y="520"/>
                  </a:lnTo>
                  <a:lnTo>
                    <a:pt x="2030" y="510"/>
                  </a:lnTo>
                  <a:lnTo>
                    <a:pt x="2036" y="510"/>
                  </a:lnTo>
                  <a:lnTo>
                    <a:pt x="2036" y="504"/>
                  </a:lnTo>
                  <a:lnTo>
                    <a:pt x="2052" y="504"/>
                  </a:lnTo>
                  <a:lnTo>
                    <a:pt x="2052" y="510"/>
                  </a:lnTo>
                  <a:lnTo>
                    <a:pt x="2046" y="510"/>
                  </a:lnTo>
                  <a:lnTo>
                    <a:pt x="2046" y="524"/>
                  </a:lnTo>
                  <a:lnTo>
                    <a:pt x="2040" y="524"/>
                  </a:lnTo>
                  <a:lnTo>
                    <a:pt x="2036" y="536"/>
                  </a:lnTo>
                  <a:lnTo>
                    <a:pt x="2036" y="548"/>
                  </a:lnTo>
                  <a:lnTo>
                    <a:pt x="2024" y="548"/>
                  </a:lnTo>
                  <a:lnTo>
                    <a:pt x="2018" y="552"/>
                  </a:lnTo>
                  <a:lnTo>
                    <a:pt x="2012" y="552"/>
                  </a:lnTo>
                  <a:lnTo>
                    <a:pt x="2012" y="558"/>
                  </a:lnTo>
                  <a:lnTo>
                    <a:pt x="2008" y="558"/>
                  </a:lnTo>
                  <a:lnTo>
                    <a:pt x="2008" y="564"/>
                  </a:lnTo>
                  <a:lnTo>
                    <a:pt x="2004" y="568"/>
                  </a:lnTo>
                  <a:lnTo>
                    <a:pt x="1998" y="574"/>
                  </a:lnTo>
                  <a:lnTo>
                    <a:pt x="1992" y="574"/>
                  </a:lnTo>
                  <a:lnTo>
                    <a:pt x="1992" y="578"/>
                  </a:lnTo>
                  <a:lnTo>
                    <a:pt x="1986" y="578"/>
                  </a:lnTo>
                  <a:lnTo>
                    <a:pt x="1986" y="584"/>
                  </a:lnTo>
                  <a:lnTo>
                    <a:pt x="1982" y="584"/>
                  </a:lnTo>
                  <a:lnTo>
                    <a:pt x="1982" y="590"/>
                  </a:lnTo>
                  <a:lnTo>
                    <a:pt x="1976" y="596"/>
                  </a:lnTo>
                  <a:lnTo>
                    <a:pt x="1970" y="596"/>
                  </a:lnTo>
                  <a:lnTo>
                    <a:pt x="1970" y="602"/>
                  </a:lnTo>
                  <a:lnTo>
                    <a:pt x="1964" y="606"/>
                  </a:lnTo>
                  <a:lnTo>
                    <a:pt x="1958" y="606"/>
                  </a:lnTo>
                  <a:lnTo>
                    <a:pt x="1958" y="612"/>
                  </a:lnTo>
                  <a:lnTo>
                    <a:pt x="1950" y="612"/>
                  </a:lnTo>
                  <a:lnTo>
                    <a:pt x="1950" y="618"/>
                  </a:lnTo>
                  <a:lnTo>
                    <a:pt x="1944" y="618"/>
                  </a:lnTo>
                  <a:lnTo>
                    <a:pt x="1944" y="612"/>
                  </a:lnTo>
                  <a:lnTo>
                    <a:pt x="1938" y="618"/>
                  </a:lnTo>
                  <a:lnTo>
                    <a:pt x="1938" y="622"/>
                  </a:lnTo>
                  <a:lnTo>
                    <a:pt x="1944" y="622"/>
                  </a:lnTo>
                  <a:lnTo>
                    <a:pt x="1938" y="628"/>
                  </a:lnTo>
                  <a:lnTo>
                    <a:pt x="1938" y="632"/>
                  </a:lnTo>
                  <a:lnTo>
                    <a:pt x="1932" y="632"/>
                  </a:lnTo>
                  <a:lnTo>
                    <a:pt x="1932" y="638"/>
                  </a:lnTo>
                  <a:lnTo>
                    <a:pt x="1928" y="638"/>
                  </a:lnTo>
                  <a:lnTo>
                    <a:pt x="1928" y="644"/>
                  </a:lnTo>
                  <a:lnTo>
                    <a:pt x="1922" y="644"/>
                  </a:lnTo>
                  <a:lnTo>
                    <a:pt x="1922" y="698"/>
                  </a:lnTo>
                  <a:lnTo>
                    <a:pt x="1928" y="698"/>
                  </a:lnTo>
                  <a:lnTo>
                    <a:pt x="1928" y="726"/>
                  </a:lnTo>
                  <a:lnTo>
                    <a:pt x="1932" y="726"/>
                  </a:lnTo>
                  <a:lnTo>
                    <a:pt x="1932" y="730"/>
                  </a:lnTo>
                  <a:lnTo>
                    <a:pt x="1938" y="726"/>
                  </a:lnTo>
                  <a:lnTo>
                    <a:pt x="1938" y="730"/>
                  </a:lnTo>
                  <a:lnTo>
                    <a:pt x="1932" y="730"/>
                  </a:lnTo>
                  <a:lnTo>
                    <a:pt x="1938" y="736"/>
                  </a:lnTo>
                  <a:lnTo>
                    <a:pt x="1938" y="764"/>
                  </a:lnTo>
                  <a:lnTo>
                    <a:pt x="1944" y="758"/>
                  </a:lnTo>
                  <a:lnTo>
                    <a:pt x="1950" y="758"/>
                  </a:lnTo>
                  <a:lnTo>
                    <a:pt x="1950" y="752"/>
                  </a:lnTo>
                  <a:lnTo>
                    <a:pt x="1954" y="752"/>
                  </a:lnTo>
                  <a:lnTo>
                    <a:pt x="1954" y="746"/>
                  </a:lnTo>
                  <a:lnTo>
                    <a:pt x="1958" y="742"/>
                  </a:lnTo>
                  <a:lnTo>
                    <a:pt x="1958" y="736"/>
                  </a:lnTo>
                  <a:lnTo>
                    <a:pt x="1964" y="736"/>
                  </a:lnTo>
                  <a:lnTo>
                    <a:pt x="1964" y="720"/>
                  </a:lnTo>
                  <a:lnTo>
                    <a:pt x="1958" y="720"/>
                  </a:lnTo>
                  <a:lnTo>
                    <a:pt x="1964" y="716"/>
                  </a:lnTo>
                  <a:lnTo>
                    <a:pt x="1964" y="720"/>
                  </a:lnTo>
                  <a:lnTo>
                    <a:pt x="1970" y="720"/>
                  </a:lnTo>
                  <a:lnTo>
                    <a:pt x="1970" y="716"/>
                  </a:lnTo>
                  <a:lnTo>
                    <a:pt x="1986" y="716"/>
                  </a:lnTo>
                  <a:lnTo>
                    <a:pt x="1986" y="692"/>
                  </a:lnTo>
                  <a:lnTo>
                    <a:pt x="1992" y="692"/>
                  </a:lnTo>
                  <a:lnTo>
                    <a:pt x="1992" y="688"/>
                  </a:lnTo>
                  <a:lnTo>
                    <a:pt x="2008" y="688"/>
                  </a:lnTo>
                  <a:lnTo>
                    <a:pt x="2008" y="682"/>
                  </a:lnTo>
                  <a:lnTo>
                    <a:pt x="2012" y="682"/>
                  </a:lnTo>
                  <a:lnTo>
                    <a:pt x="2012" y="676"/>
                  </a:lnTo>
                  <a:lnTo>
                    <a:pt x="2008" y="676"/>
                  </a:lnTo>
                  <a:lnTo>
                    <a:pt x="2008" y="656"/>
                  </a:lnTo>
                  <a:lnTo>
                    <a:pt x="2012" y="656"/>
                  </a:lnTo>
                  <a:lnTo>
                    <a:pt x="2018" y="650"/>
                  </a:lnTo>
                  <a:lnTo>
                    <a:pt x="2024" y="656"/>
                  </a:lnTo>
                  <a:lnTo>
                    <a:pt x="2030" y="656"/>
                  </a:lnTo>
                  <a:lnTo>
                    <a:pt x="2036" y="650"/>
                  </a:lnTo>
                  <a:lnTo>
                    <a:pt x="2036" y="644"/>
                  </a:lnTo>
                  <a:lnTo>
                    <a:pt x="2030" y="644"/>
                  </a:lnTo>
                  <a:lnTo>
                    <a:pt x="2036" y="638"/>
                  </a:lnTo>
                  <a:lnTo>
                    <a:pt x="2024" y="638"/>
                  </a:lnTo>
                  <a:lnTo>
                    <a:pt x="2024" y="622"/>
                  </a:lnTo>
                  <a:lnTo>
                    <a:pt x="2030" y="622"/>
                  </a:lnTo>
                  <a:lnTo>
                    <a:pt x="2036" y="618"/>
                  </a:lnTo>
                  <a:lnTo>
                    <a:pt x="2030" y="612"/>
                  </a:lnTo>
                  <a:lnTo>
                    <a:pt x="2018" y="612"/>
                  </a:lnTo>
                  <a:lnTo>
                    <a:pt x="2018" y="618"/>
                  </a:lnTo>
                  <a:lnTo>
                    <a:pt x="2012" y="612"/>
                  </a:lnTo>
                  <a:lnTo>
                    <a:pt x="2012" y="602"/>
                  </a:lnTo>
                  <a:lnTo>
                    <a:pt x="2018" y="596"/>
                  </a:lnTo>
                  <a:lnTo>
                    <a:pt x="2024" y="596"/>
                  </a:lnTo>
                  <a:lnTo>
                    <a:pt x="2024" y="590"/>
                  </a:lnTo>
                  <a:lnTo>
                    <a:pt x="2030" y="590"/>
                  </a:lnTo>
                  <a:lnTo>
                    <a:pt x="2030" y="584"/>
                  </a:lnTo>
                  <a:lnTo>
                    <a:pt x="2036" y="584"/>
                  </a:lnTo>
                  <a:lnTo>
                    <a:pt x="2036" y="578"/>
                  </a:lnTo>
                  <a:lnTo>
                    <a:pt x="2030" y="578"/>
                  </a:lnTo>
                  <a:lnTo>
                    <a:pt x="2030" y="574"/>
                  </a:lnTo>
                  <a:lnTo>
                    <a:pt x="2036" y="574"/>
                  </a:lnTo>
                  <a:lnTo>
                    <a:pt x="2036" y="564"/>
                  </a:lnTo>
                  <a:lnTo>
                    <a:pt x="2052" y="564"/>
                  </a:lnTo>
                  <a:lnTo>
                    <a:pt x="2052" y="574"/>
                  </a:lnTo>
                  <a:lnTo>
                    <a:pt x="2058" y="568"/>
                  </a:lnTo>
                  <a:lnTo>
                    <a:pt x="2058" y="564"/>
                  </a:lnTo>
                  <a:lnTo>
                    <a:pt x="2062" y="558"/>
                  </a:lnTo>
                  <a:lnTo>
                    <a:pt x="2068" y="558"/>
                  </a:lnTo>
                  <a:lnTo>
                    <a:pt x="2072" y="552"/>
                  </a:lnTo>
                  <a:lnTo>
                    <a:pt x="2072" y="564"/>
                  </a:lnTo>
                  <a:lnTo>
                    <a:pt x="2068" y="564"/>
                  </a:lnTo>
                  <a:lnTo>
                    <a:pt x="2068" y="574"/>
                  </a:lnTo>
                  <a:lnTo>
                    <a:pt x="2072" y="574"/>
                  </a:lnTo>
                  <a:lnTo>
                    <a:pt x="2072" y="568"/>
                  </a:lnTo>
                  <a:lnTo>
                    <a:pt x="2078" y="568"/>
                  </a:lnTo>
                  <a:lnTo>
                    <a:pt x="2078" y="558"/>
                  </a:lnTo>
                  <a:lnTo>
                    <a:pt x="2096" y="558"/>
                  </a:lnTo>
                  <a:lnTo>
                    <a:pt x="2096" y="552"/>
                  </a:lnTo>
                  <a:lnTo>
                    <a:pt x="2116" y="552"/>
                  </a:lnTo>
                  <a:lnTo>
                    <a:pt x="2116" y="558"/>
                  </a:lnTo>
                  <a:lnTo>
                    <a:pt x="2122" y="558"/>
                  </a:lnTo>
                  <a:lnTo>
                    <a:pt x="2126" y="564"/>
                  </a:lnTo>
                  <a:lnTo>
                    <a:pt x="2126" y="568"/>
                  </a:lnTo>
                  <a:lnTo>
                    <a:pt x="2132" y="568"/>
                  </a:lnTo>
                  <a:lnTo>
                    <a:pt x="2132" y="558"/>
                  </a:lnTo>
                  <a:lnTo>
                    <a:pt x="2138" y="558"/>
                  </a:lnTo>
                  <a:lnTo>
                    <a:pt x="2138" y="552"/>
                  </a:lnTo>
                  <a:lnTo>
                    <a:pt x="2144" y="552"/>
                  </a:lnTo>
                  <a:lnTo>
                    <a:pt x="2144" y="548"/>
                  </a:lnTo>
                  <a:lnTo>
                    <a:pt x="2154" y="548"/>
                  </a:lnTo>
                  <a:lnTo>
                    <a:pt x="2154" y="542"/>
                  </a:lnTo>
                  <a:lnTo>
                    <a:pt x="2160" y="542"/>
                  </a:lnTo>
                  <a:lnTo>
                    <a:pt x="2160" y="536"/>
                  </a:lnTo>
                  <a:lnTo>
                    <a:pt x="2164" y="530"/>
                  </a:lnTo>
                  <a:lnTo>
                    <a:pt x="2164" y="536"/>
                  </a:lnTo>
                  <a:lnTo>
                    <a:pt x="2170" y="536"/>
                  </a:lnTo>
                  <a:lnTo>
                    <a:pt x="2176" y="530"/>
                  </a:lnTo>
                  <a:lnTo>
                    <a:pt x="2176" y="524"/>
                  </a:lnTo>
                  <a:lnTo>
                    <a:pt x="2192" y="524"/>
                  </a:lnTo>
                  <a:lnTo>
                    <a:pt x="2192" y="520"/>
                  </a:lnTo>
                  <a:lnTo>
                    <a:pt x="2198" y="520"/>
                  </a:lnTo>
                  <a:lnTo>
                    <a:pt x="2198" y="514"/>
                  </a:lnTo>
                  <a:lnTo>
                    <a:pt x="2214" y="514"/>
                  </a:lnTo>
                  <a:lnTo>
                    <a:pt x="2218" y="510"/>
                  </a:lnTo>
                  <a:lnTo>
                    <a:pt x="2246" y="510"/>
                  </a:lnTo>
                  <a:lnTo>
                    <a:pt x="2246" y="514"/>
                  </a:lnTo>
                  <a:lnTo>
                    <a:pt x="2258" y="514"/>
                  </a:lnTo>
                  <a:lnTo>
                    <a:pt x="2258" y="492"/>
                  </a:lnTo>
                  <a:lnTo>
                    <a:pt x="2252" y="492"/>
                  </a:lnTo>
                  <a:lnTo>
                    <a:pt x="2252" y="488"/>
                  </a:lnTo>
                  <a:lnTo>
                    <a:pt x="2246" y="482"/>
                  </a:lnTo>
                  <a:lnTo>
                    <a:pt x="2246" y="488"/>
                  </a:lnTo>
                  <a:lnTo>
                    <a:pt x="2240" y="482"/>
                  </a:lnTo>
                  <a:lnTo>
                    <a:pt x="2246" y="482"/>
                  </a:lnTo>
                  <a:lnTo>
                    <a:pt x="2246" y="464"/>
                  </a:lnTo>
                  <a:lnTo>
                    <a:pt x="2230" y="464"/>
                  </a:lnTo>
                  <a:lnTo>
                    <a:pt x="2230" y="456"/>
                  </a:lnTo>
                  <a:lnTo>
                    <a:pt x="2224" y="450"/>
                  </a:lnTo>
                  <a:lnTo>
                    <a:pt x="2230" y="450"/>
                  </a:lnTo>
                  <a:lnTo>
                    <a:pt x="2230" y="456"/>
                  </a:lnTo>
                  <a:lnTo>
                    <a:pt x="2246" y="456"/>
                  </a:lnTo>
                  <a:lnTo>
                    <a:pt x="2246" y="460"/>
                  </a:lnTo>
                  <a:lnTo>
                    <a:pt x="2252" y="456"/>
                  </a:lnTo>
                  <a:lnTo>
                    <a:pt x="2264" y="456"/>
                  </a:lnTo>
                  <a:lnTo>
                    <a:pt x="2264" y="450"/>
                  </a:lnTo>
                  <a:lnTo>
                    <a:pt x="2268" y="450"/>
                  </a:lnTo>
                  <a:lnTo>
                    <a:pt x="2268" y="444"/>
                  </a:lnTo>
                  <a:lnTo>
                    <a:pt x="2272" y="444"/>
                  </a:lnTo>
                  <a:lnTo>
                    <a:pt x="2272" y="438"/>
                  </a:lnTo>
                  <a:lnTo>
                    <a:pt x="2278" y="438"/>
                  </a:lnTo>
                  <a:lnTo>
                    <a:pt x="2272" y="434"/>
                  </a:lnTo>
                  <a:lnTo>
                    <a:pt x="2268" y="434"/>
                  </a:lnTo>
                  <a:lnTo>
                    <a:pt x="2268" y="416"/>
                  </a:lnTo>
                  <a:lnTo>
                    <a:pt x="2272" y="422"/>
                  </a:lnTo>
                  <a:lnTo>
                    <a:pt x="2278" y="422"/>
                  </a:lnTo>
                  <a:lnTo>
                    <a:pt x="2278" y="416"/>
                  </a:lnTo>
                  <a:lnTo>
                    <a:pt x="2290" y="416"/>
                  </a:lnTo>
                  <a:lnTo>
                    <a:pt x="2284" y="422"/>
                  </a:lnTo>
                  <a:lnTo>
                    <a:pt x="2284" y="434"/>
                  </a:lnTo>
                  <a:lnTo>
                    <a:pt x="2290" y="434"/>
                  </a:lnTo>
                  <a:lnTo>
                    <a:pt x="2284" y="438"/>
                  </a:lnTo>
                  <a:lnTo>
                    <a:pt x="2306" y="438"/>
                  </a:lnTo>
                  <a:lnTo>
                    <a:pt x="2306" y="434"/>
                  </a:lnTo>
                  <a:lnTo>
                    <a:pt x="2318" y="434"/>
                  </a:lnTo>
                  <a:lnTo>
                    <a:pt x="2318" y="438"/>
                  </a:lnTo>
                  <a:lnTo>
                    <a:pt x="2324" y="438"/>
                  </a:lnTo>
                  <a:lnTo>
                    <a:pt x="2324" y="444"/>
                  </a:lnTo>
                  <a:lnTo>
                    <a:pt x="2326" y="444"/>
                  </a:lnTo>
                  <a:lnTo>
                    <a:pt x="2326" y="456"/>
                  </a:lnTo>
                  <a:lnTo>
                    <a:pt x="2344" y="456"/>
                  </a:lnTo>
                  <a:lnTo>
                    <a:pt x="2350" y="460"/>
                  </a:lnTo>
                  <a:lnTo>
                    <a:pt x="2350" y="464"/>
                  </a:lnTo>
                  <a:lnTo>
                    <a:pt x="2378" y="464"/>
                  </a:lnTo>
                  <a:lnTo>
                    <a:pt x="2378" y="460"/>
                  </a:lnTo>
                  <a:lnTo>
                    <a:pt x="2366" y="460"/>
                  </a:lnTo>
                  <a:lnTo>
                    <a:pt x="2366" y="456"/>
                  </a:lnTo>
                  <a:lnTo>
                    <a:pt x="2378" y="456"/>
                  </a:lnTo>
                  <a:lnTo>
                    <a:pt x="2378" y="438"/>
                  </a:lnTo>
                  <a:lnTo>
                    <a:pt x="2392" y="438"/>
                  </a:lnTo>
                  <a:lnTo>
                    <a:pt x="2392" y="434"/>
                  </a:lnTo>
                  <a:lnTo>
                    <a:pt x="2404" y="434"/>
                  </a:lnTo>
                  <a:lnTo>
                    <a:pt x="2404" y="416"/>
                  </a:lnTo>
                  <a:lnTo>
                    <a:pt x="2398" y="416"/>
                  </a:lnTo>
                  <a:lnTo>
                    <a:pt x="2398" y="410"/>
                  </a:lnTo>
                  <a:lnTo>
                    <a:pt x="2398" y="410"/>
                  </a:lnTo>
                  <a:lnTo>
                    <a:pt x="2398" y="410"/>
                  </a:lnTo>
                  <a:close/>
                  <a:moveTo>
                    <a:pt x="806" y="692"/>
                  </a:moveTo>
                  <a:lnTo>
                    <a:pt x="806" y="688"/>
                  </a:lnTo>
                  <a:lnTo>
                    <a:pt x="812" y="692"/>
                  </a:lnTo>
                  <a:lnTo>
                    <a:pt x="806" y="692"/>
                  </a:lnTo>
                  <a:lnTo>
                    <a:pt x="806" y="692"/>
                  </a:lnTo>
                  <a:lnTo>
                    <a:pt x="806" y="692"/>
                  </a:lnTo>
                  <a:close/>
                  <a:moveTo>
                    <a:pt x="936" y="238"/>
                  </a:moveTo>
                  <a:lnTo>
                    <a:pt x="936" y="234"/>
                  </a:lnTo>
                  <a:lnTo>
                    <a:pt x="940" y="234"/>
                  </a:lnTo>
                  <a:lnTo>
                    <a:pt x="936" y="238"/>
                  </a:lnTo>
                  <a:lnTo>
                    <a:pt x="936" y="238"/>
                  </a:lnTo>
                  <a:lnTo>
                    <a:pt x="936" y="238"/>
                  </a:lnTo>
                  <a:close/>
                  <a:moveTo>
                    <a:pt x="946" y="242"/>
                  </a:moveTo>
                  <a:lnTo>
                    <a:pt x="940" y="242"/>
                  </a:lnTo>
                  <a:lnTo>
                    <a:pt x="940" y="238"/>
                  </a:lnTo>
                  <a:lnTo>
                    <a:pt x="946" y="238"/>
                  </a:lnTo>
                  <a:lnTo>
                    <a:pt x="946" y="242"/>
                  </a:lnTo>
                  <a:lnTo>
                    <a:pt x="946" y="242"/>
                  </a:lnTo>
                  <a:lnTo>
                    <a:pt x="946" y="242"/>
                  </a:lnTo>
                  <a:close/>
                  <a:moveTo>
                    <a:pt x="1126" y="180"/>
                  </a:moveTo>
                  <a:lnTo>
                    <a:pt x="1120" y="180"/>
                  </a:lnTo>
                  <a:lnTo>
                    <a:pt x="1126" y="174"/>
                  </a:lnTo>
                  <a:lnTo>
                    <a:pt x="1126" y="180"/>
                  </a:lnTo>
                  <a:lnTo>
                    <a:pt x="1126" y="180"/>
                  </a:lnTo>
                  <a:lnTo>
                    <a:pt x="1126" y="180"/>
                  </a:lnTo>
                  <a:close/>
                  <a:moveTo>
                    <a:pt x="1136" y="182"/>
                  </a:moveTo>
                  <a:lnTo>
                    <a:pt x="1132" y="182"/>
                  </a:lnTo>
                  <a:lnTo>
                    <a:pt x="1132" y="180"/>
                  </a:lnTo>
                  <a:lnTo>
                    <a:pt x="1136" y="180"/>
                  </a:lnTo>
                  <a:lnTo>
                    <a:pt x="1136" y="182"/>
                  </a:lnTo>
                  <a:lnTo>
                    <a:pt x="1136" y="182"/>
                  </a:lnTo>
                  <a:lnTo>
                    <a:pt x="1136" y="182"/>
                  </a:lnTo>
                  <a:close/>
                  <a:moveTo>
                    <a:pt x="1168" y="156"/>
                  </a:moveTo>
                  <a:lnTo>
                    <a:pt x="1162" y="152"/>
                  </a:lnTo>
                  <a:lnTo>
                    <a:pt x="1168" y="152"/>
                  </a:lnTo>
                  <a:lnTo>
                    <a:pt x="1168" y="156"/>
                  </a:lnTo>
                  <a:lnTo>
                    <a:pt x="1168" y="156"/>
                  </a:lnTo>
                  <a:lnTo>
                    <a:pt x="1168" y="156"/>
                  </a:lnTo>
                  <a:close/>
                  <a:moveTo>
                    <a:pt x="1520" y="288"/>
                  </a:moveTo>
                  <a:lnTo>
                    <a:pt x="1516" y="282"/>
                  </a:lnTo>
                  <a:lnTo>
                    <a:pt x="1516" y="276"/>
                  </a:lnTo>
                  <a:lnTo>
                    <a:pt x="1520" y="276"/>
                  </a:lnTo>
                  <a:lnTo>
                    <a:pt x="1520" y="288"/>
                  </a:lnTo>
                  <a:lnTo>
                    <a:pt x="1520" y="288"/>
                  </a:lnTo>
                  <a:lnTo>
                    <a:pt x="1520" y="288"/>
                  </a:lnTo>
                  <a:close/>
                  <a:moveTo>
                    <a:pt x="1844" y="296"/>
                  </a:moveTo>
                  <a:lnTo>
                    <a:pt x="1842" y="296"/>
                  </a:lnTo>
                  <a:lnTo>
                    <a:pt x="1844" y="292"/>
                  </a:lnTo>
                  <a:lnTo>
                    <a:pt x="1844" y="296"/>
                  </a:lnTo>
                  <a:lnTo>
                    <a:pt x="1844" y="296"/>
                  </a:lnTo>
                  <a:lnTo>
                    <a:pt x="1844" y="296"/>
                  </a:lnTo>
                  <a:close/>
                  <a:moveTo>
                    <a:pt x="2214" y="460"/>
                  </a:moveTo>
                  <a:lnTo>
                    <a:pt x="2210" y="460"/>
                  </a:lnTo>
                  <a:lnTo>
                    <a:pt x="2210" y="450"/>
                  </a:lnTo>
                  <a:lnTo>
                    <a:pt x="2214" y="456"/>
                  </a:lnTo>
                  <a:lnTo>
                    <a:pt x="2214" y="460"/>
                  </a:lnTo>
                  <a:lnTo>
                    <a:pt x="2214" y="460"/>
                  </a:lnTo>
                  <a:lnTo>
                    <a:pt x="2214" y="460"/>
                  </a:lnTo>
                  <a:close/>
                  <a:moveTo>
                    <a:pt x="2408" y="416"/>
                  </a:moveTo>
                  <a:lnTo>
                    <a:pt x="2408" y="428"/>
                  </a:lnTo>
                  <a:lnTo>
                    <a:pt x="2414" y="428"/>
                  </a:lnTo>
                  <a:lnTo>
                    <a:pt x="2414" y="422"/>
                  </a:lnTo>
                  <a:lnTo>
                    <a:pt x="2408" y="416"/>
                  </a:lnTo>
                  <a:lnTo>
                    <a:pt x="2408" y="416"/>
                  </a:lnTo>
                  <a:lnTo>
                    <a:pt x="2408" y="416"/>
                  </a:lnTo>
                  <a:close/>
                  <a:moveTo>
                    <a:pt x="2306" y="292"/>
                  </a:moveTo>
                  <a:lnTo>
                    <a:pt x="2300" y="296"/>
                  </a:lnTo>
                  <a:lnTo>
                    <a:pt x="2284" y="296"/>
                  </a:lnTo>
                  <a:lnTo>
                    <a:pt x="2278" y="302"/>
                  </a:lnTo>
                  <a:lnTo>
                    <a:pt x="2272" y="302"/>
                  </a:lnTo>
                  <a:lnTo>
                    <a:pt x="2268" y="296"/>
                  </a:lnTo>
                  <a:lnTo>
                    <a:pt x="2264" y="296"/>
                  </a:lnTo>
                  <a:lnTo>
                    <a:pt x="2264" y="302"/>
                  </a:lnTo>
                  <a:lnTo>
                    <a:pt x="2246" y="302"/>
                  </a:lnTo>
                  <a:lnTo>
                    <a:pt x="2246" y="296"/>
                  </a:lnTo>
                  <a:lnTo>
                    <a:pt x="2252" y="296"/>
                  </a:lnTo>
                  <a:lnTo>
                    <a:pt x="2252" y="292"/>
                  </a:lnTo>
                  <a:lnTo>
                    <a:pt x="2258" y="292"/>
                  </a:lnTo>
                  <a:lnTo>
                    <a:pt x="2258" y="288"/>
                  </a:lnTo>
                  <a:lnTo>
                    <a:pt x="2296" y="288"/>
                  </a:lnTo>
                  <a:lnTo>
                    <a:pt x="2296" y="292"/>
                  </a:lnTo>
                  <a:lnTo>
                    <a:pt x="2306" y="292"/>
                  </a:lnTo>
                  <a:lnTo>
                    <a:pt x="2306" y="292"/>
                  </a:lnTo>
                  <a:lnTo>
                    <a:pt x="2306" y="292"/>
                  </a:lnTo>
                  <a:close/>
                  <a:moveTo>
                    <a:pt x="1314" y="152"/>
                  </a:moveTo>
                  <a:lnTo>
                    <a:pt x="1308" y="152"/>
                  </a:lnTo>
                  <a:lnTo>
                    <a:pt x="1308" y="152"/>
                  </a:lnTo>
                  <a:lnTo>
                    <a:pt x="1304" y="152"/>
                  </a:lnTo>
                  <a:lnTo>
                    <a:pt x="1308" y="152"/>
                  </a:lnTo>
                  <a:lnTo>
                    <a:pt x="1314" y="152"/>
                  </a:lnTo>
                  <a:lnTo>
                    <a:pt x="1314" y="152"/>
                  </a:lnTo>
                  <a:lnTo>
                    <a:pt x="1314" y="152"/>
                  </a:lnTo>
                  <a:lnTo>
                    <a:pt x="1314" y="152"/>
                  </a:lnTo>
                  <a:lnTo>
                    <a:pt x="1314" y="152"/>
                  </a:lnTo>
                  <a:lnTo>
                    <a:pt x="1314" y="152"/>
                  </a:lnTo>
                  <a:lnTo>
                    <a:pt x="1314" y="152"/>
                  </a:lnTo>
                  <a:close/>
                  <a:moveTo>
                    <a:pt x="1466" y="242"/>
                  </a:moveTo>
                  <a:lnTo>
                    <a:pt x="1466" y="238"/>
                  </a:lnTo>
                  <a:lnTo>
                    <a:pt x="1466" y="238"/>
                  </a:lnTo>
                  <a:lnTo>
                    <a:pt x="1466" y="234"/>
                  </a:lnTo>
                  <a:lnTo>
                    <a:pt x="1466" y="228"/>
                  </a:lnTo>
                  <a:lnTo>
                    <a:pt x="1466" y="228"/>
                  </a:lnTo>
                  <a:lnTo>
                    <a:pt x="1466" y="234"/>
                  </a:lnTo>
                  <a:lnTo>
                    <a:pt x="1472" y="234"/>
                  </a:lnTo>
                  <a:lnTo>
                    <a:pt x="1476" y="234"/>
                  </a:lnTo>
                  <a:lnTo>
                    <a:pt x="1472" y="228"/>
                  </a:lnTo>
                  <a:lnTo>
                    <a:pt x="1476" y="228"/>
                  </a:lnTo>
                  <a:lnTo>
                    <a:pt x="1482" y="228"/>
                  </a:lnTo>
                  <a:lnTo>
                    <a:pt x="1482" y="228"/>
                  </a:lnTo>
                  <a:lnTo>
                    <a:pt x="1482" y="228"/>
                  </a:lnTo>
                  <a:lnTo>
                    <a:pt x="1488" y="228"/>
                  </a:lnTo>
                  <a:lnTo>
                    <a:pt x="1488" y="234"/>
                  </a:lnTo>
                  <a:lnTo>
                    <a:pt x="1494" y="228"/>
                  </a:lnTo>
                  <a:lnTo>
                    <a:pt x="1494" y="234"/>
                  </a:lnTo>
                  <a:lnTo>
                    <a:pt x="1494" y="234"/>
                  </a:lnTo>
                  <a:lnTo>
                    <a:pt x="1500" y="234"/>
                  </a:lnTo>
                  <a:lnTo>
                    <a:pt x="1500" y="238"/>
                  </a:lnTo>
                  <a:lnTo>
                    <a:pt x="1494" y="238"/>
                  </a:lnTo>
                  <a:lnTo>
                    <a:pt x="1500" y="238"/>
                  </a:lnTo>
                  <a:lnTo>
                    <a:pt x="1504" y="238"/>
                  </a:lnTo>
                  <a:lnTo>
                    <a:pt x="1504" y="234"/>
                  </a:lnTo>
                  <a:lnTo>
                    <a:pt x="1504" y="234"/>
                  </a:lnTo>
                  <a:lnTo>
                    <a:pt x="1510" y="234"/>
                  </a:lnTo>
                  <a:lnTo>
                    <a:pt x="1504" y="238"/>
                  </a:lnTo>
                  <a:lnTo>
                    <a:pt x="1510" y="238"/>
                  </a:lnTo>
                  <a:lnTo>
                    <a:pt x="1510" y="238"/>
                  </a:lnTo>
                  <a:lnTo>
                    <a:pt x="1510" y="242"/>
                  </a:lnTo>
                  <a:lnTo>
                    <a:pt x="1516" y="242"/>
                  </a:lnTo>
                  <a:lnTo>
                    <a:pt x="1516" y="248"/>
                  </a:lnTo>
                  <a:lnTo>
                    <a:pt x="1510" y="248"/>
                  </a:lnTo>
                  <a:lnTo>
                    <a:pt x="1510" y="248"/>
                  </a:lnTo>
                  <a:lnTo>
                    <a:pt x="1504" y="248"/>
                  </a:lnTo>
                  <a:lnTo>
                    <a:pt x="1510" y="248"/>
                  </a:lnTo>
                  <a:lnTo>
                    <a:pt x="1510" y="254"/>
                  </a:lnTo>
                  <a:lnTo>
                    <a:pt x="1504" y="254"/>
                  </a:lnTo>
                  <a:lnTo>
                    <a:pt x="1504" y="260"/>
                  </a:lnTo>
                  <a:lnTo>
                    <a:pt x="1504" y="260"/>
                  </a:lnTo>
                  <a:lnTo>
                    <a:pt x="1504" y="266"/>
                  </a:lnTo>
                  <a:lnTo>
                    <a:pt x="1504" y="266"/>
                  </a:lnTo>
                  <a:lnTo>
                    <a:pt x="1500" y="266"/>
                  </a:lnTo>
                  <a:lnTo>
                    <a:pt x="1500" y="260"/>
                  </a:lnTo>
                  <a:lnTo>
                    <a:pt x="1494" y="260"/>
                  </a:lnTo>
                  <a:lnTo>
                    <a:pt x="1494" y="260"/>
                  </a:lnTo>
                  <a:lnTo>
                    <a:pt x="1494" y="260"/>
                  </a:lnTo>
                  <a:lnTo>
                    <a:pt x="1488" y="260"/>
                  </a:lnTo>
                  <a:lnTo>
                    <a:pt x="1488" y="254"/>
                  </a:lnTo>
                  <a:lnTo>
                    <a:pt x="1482" y="254"/>
                  </a:lnTo>
                  <a:lnTo>
                    <a:pt x="1482" y="254"/>
                  </a:lnTo>
                  <a:lnTo>
                    <a:pt x="1476" y="254"/>
                  </a:lnTo>
                  <a:lnTo>
                    <a:pt x="1472" y="254"/>
                  </a:lnTo>
                  <a:lnTo>
                    <a:pt x="1466" y="254"/>
                  </a:lnTo>
                  <a:lnTo>
                    <a:pt x="1466" y="248"/>
                  </a:lnTo>
                  <a:lnTo>
                    <a:pt x="1466" y="248"/>
                  </a:lnTo>
                  <a:lnTo>
                    <a:pt x="1462" y="248"/>
                  </a:lnTo>
                  <a:lnTo>
                    <a:pt x="1456" y="248"/>
                  </a:lnTo>
                  <a:lnTo>
                    <a:pt x="1456" y="248"/>
                  </a:lnTo>
                  <a:lnTo>
                    <a:pt x="1456" y="248"/>
                  </a:lnTo>
                  <a:lnTo>
                    <a:pt x="1456" y="248"/>
                  </a:lnTo>
                  <a:lnTo>
                    <a:pt x="1462" y="248"/>
                  </a:lnTo>
                  <a:lnTo>
                    <a:pt x="1466" y="248"/>
                  </a:lnTo>
                  <a:lnTo>
                    <a:pt x="1466" y="248"/>
                  </a:lnTo>
                  <a:lnTo>
                    <a:pt x="1466" y="242"/>
                  </a:lnTo>
                  <a:lnTo>
                    <a:pt x="1466" y="242"/>
                  </a:lnTo>
                  <a:lnTo>
                    <a:pt x="1466" y="242"/>
                  </a:lnTo>
                  <a:lnTo>
                    <a:pt x="1466" y="242"/>
                  </a:lnTo>
                  <a:lnTo>
                    <a:pt x="1466" y="242"/>
                  </a:lnTo>
                  <a:close/>
                  <a:moveTo>
                    <a:pt x="1516" y="248"/>
                  </a:moveTo>
                  <a:lnTo>
                    <a:pt x="1516" y="242"/>
                  </a:lnTo>
                  <a:lnTo>
                    <a:pt x="1510" y="238"/>
                  </a:lnTo>
                  <a:lnTo>
                    <a:pt x="1516" y="238"/>
                  </a:lnTo>
                  <a:lnTo>
                    <a:pt x="1516" y="238"/>
                  </a:lnTo>
                  <a:lnTo>
                    <a:pt x="1516" y="234"/>
                  </a:lnTo>
                  <a:lnTo>
                    <a:pt x="1516" y="234"/>
                  </a:lnTo>
                  <a:lnTo>
                    <a:pt x="1516" y="234"/>
                  </a:lnTo>
                  <a:lnTo>
                    <a:pt x="1520" y="234"/>
                  </a:lnTo>
                  <a:lnTo>
                    <a:pt x="1526" y="238"/>
                  </a:lnTo>
                  <a:lnTo>
                    <a:pt x="1530" y="238"/>
                  </a:lnTo>
                  <a:lnTo>
                    <a:pt x="1530" y="238"/>
                  </a:lnTo>
                  <a:lnTo>
                    <a:pt x="1530" y="238"/>
                  </a:lnTo>
                  <a:lnTo>
                    <a:pt x="1536" y="238"/>
                  </a:lnTo>
                  <a:lnTo>
                    <a:pt x="1542" y="238"/>
                  </a:lnTo>
                  <a:lnTo>
                    <a:pt x="1542" y="238"/>
                  </a:lnTo>
                  <a:lnTo>
                    <a:pt x="1542" y="242"/>
                  </a:lnTo>
                  <a:lnTo>
                    <a:pt x="1542" y="248"/>
                  </a:lnTo>
                  <a:lnTo>
                    <a:pt x="1542" y="242"/>
                  </a:lnTo>
                  <a:lnTo>
                    <a:pt x="1548" y="242"/>
                  </a:lnTo>
                  <a:lnTo>
                    <a:pt x="1548" y="248"/>
                  </a:lnTo>
                  <a:lnTo>
                    <a:pt x="1542" y="248"/>
                  </a:lnTo>
                  <a:lnTo>
                    <a:pt x="1542" y="248"/>
                  </a:lnTo>
                  <a:lnTo>
                    <a:pt x="1536" y="248"/>
                  </a:lnTo>
                  <a:lnTo>
                    <a:pt x="1530" y="248"/>
                  </a:lnTo>
                  <a:lnTo>
                    <a:pt x="1530" y="254"/>
                  </a:lnTo>
                  <a:lnTo>
                    <a:pt x="1530" y="254"/>
                  </a:lnTo>
                  <a:lnTo>
                    <a:pt x="1526" y="254"/>
                  </a:lnTo>
                  <a:lnTo>
                    <a:pt x="1520" y="254"/>
                  </a:lnTo>
                  <a:lnTo>
                    <a:pt x="1516" y="260"/>
                  </a:lnTo>
                  <a:lnTo>
                    <a:pt x="1516" y="260"/>
                  </a:lnTo>
                  <a:lnTo>
                    <a:pt x="1510" y="260"/>
                  </a:lnTo>
                  <a:lnTo>
                    <a:pt x="1510" y="260"/>
                  </a:lnTo>
                  <a:lnTo>
                    <a:pt x="1504" y="260"/>
                  </a:lnTo>
                  <a:lnTo>
                    <a:pt x="1504" y="254"/>
                  </a:lnTo>
                  <a:lnTo>
                    <a:pt x="1510" y="254"/>
                  </a:lnTo>
                  <a:lnTo>
                    <a:pt x="1510" y="248"/>
                  </a:lnTo>
                  <a:lnTo>
                    <a:pt x="1504" y="248"/>
                  </a:lnTo>
                  <a:lnTo>
                    <a:pt x="1510" y="248"/>
                  </a:lnTo>
                  <a:lnTo>
                    <a:pt x="1510" y="248"/>
                  </a:lnTo>
                  <a:lnTo>
                    <a:pt x="1516" y="248"/>
                  </a:lnTo>
                  <a:lnTo>
                    <a:pt x="1516" y="248"/>
                  </a:lnTo>
                  <a:lnTo>
                    <a:pt x="1516" y="248"/>
                  </a:lnTo>
                  <a:lnTo>
                    <a:pt x="1516" y="248"/>
                  </a:lnTo>
                  <a:close/>
                  <a:moveTo>
                    <a:pt x="1520" y="260"/>
                  </a:moveTo>
                  <a:lnTo>
                    <a:pt x="1520" y="254"/>
                  </a:lnTo>
                  <a:lnTo>
                    <a:pt x="1526" y="254"/>
                  </a:lnTo>
                  <a:lnTo>
                    <a:pt x="1530" y="254"/>
                  </a:lnTo>
                  <a:lnTo>
                    <a:pt x="1530" y="254"/>
                  </a:lnTo>
                  <a:lnTo>
                    <a:pt x="1536" y="254"/>
                  </a:lnTo>
                  <a:lnTo>
                    <a:pt x="1542" y="254"/>
                  </a:lnTo>
                  <a:lnTo>
                    <a:pt x="1542" y="254"/>
                  </a:lnTo>
                  <a:lnTo>
                    <a:pt x="1548" y="254"/>
                  </a:lnTo>
                  <a:lnTo>
                    <a:pt x="1554" y="254"/>
                  </a:lnTo>
                  <a:lnTo>
                    <a:pt x="1548" y="260"/>
                  </a:lnTo>
                  <a:lnTo>
                    <a:pt x="1542" y="254"/>
                  </a:lnTo>
                  <a:lnTo>
                    <a:pt x="1542" y="254"/>
                  </a:lnTo>
                  <a:lnTo>
                    <a:pt x="1536" y="254"/>
                  </a:lnTo>
                  <a:lnTo>
                    <a:pt x="1530" y="260"/>
                  </a:lnTo>
                  <a:lnTo>
                    <a:pt x="1530" y="254"/>
                  </a:lnTo>
                  <a:lnTo>
                    <a:pt x="1526" y="260"/>
                  </a:lnTo>
                  <a:lnTo>
                    <a:pt x="1520" y="260"/>
                  </a:lnTo>
                  <a:lnTo>
                    <a:pt x="1520" y="260"/>
                  </a:lnTo>
                  <a:lnTo>
                    <a:pt x="1520" y="260"/>
                  </a:lnTo>
                  <a:lnTo>
                    <a:pt x="1520" y="260"/>
                  </a:lnTo>
                  <a:close/>
                  <a:moveTo>
                    <a:pt x="1516" y="260"/>
                  </a:moveTo>
                  <a:lnTo>
                    <a:pt x="1516" y="260"/>
                  </a:lnTo>
                  <a:lnTo>
                    <a:pt x="1516" y="260"/>
                  </a:lnTo>
                  <a:lnTo>
                    <a:pt x="1520" y="260"/>
                  </a:lnTo>
                  <a:lnTo>
                    <a:pt x="1526" y="260"/>
                  </a:lnTo>
                  <a:lnTo>
                    <a:pt x="1530" y="260"/>
                  </a:lnTo>
                  <a:lnTo>
                    <a:pt x="1530" y="260"/>
                  </a:lnTo>
                  <a:lnTo>
                    <a:pt x="1542" y="260"/>
                  </a:lnTo>
                  <a:lnTo>
                    <a:pt x="1542" y="260"/>
                  </a:lnTo>
                  <a:lnTo>
                    <a:pt x="1548" y="260"/>
                  </a:lnTo>
                  <a:lnTo>
                    <a:pt x="1554" y="260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54" y="270"/>
                  </a:lnTo>
                  <a:lnTo>
                    <a:pt x="1554" y="270"/>
                  </a:lnTo>
                  <a:lnTo>
                    <a:pt x="1548" y="270"/>
                  </a:lnTo>
                  <a:lnTo>
                    <a:pt x="1554" y="270"/>
                  </a:lnTo>
                  <a:lnTo>
                    <a:pt x="1548" y="276"/>
                  </a:lnTo>
                  <a:lnTo>
                    <a:pt x="1542" y="276"/>
                  </a:lnTo>
                  <a:lnTo>
                    <a:pt x="1542" y="276"/>
                  </a:lnTo>
                  <a:lnTo>
                    <a:pt x="1542" y="270"/>
                  </a:lnTo>
                  <a:lnTo>
                    <a:pt x="1536" y="270"/>
                  </a:lnTo>
                  <a:lnTo>
                    <a:pt x="1536" y="266"/>
                  </a:lnTo>
                  <a:lnTo>
                    <a:pt x="1530" y="266"/>
                  </a:lnTo>
                  <a:lnTo>
                    <a:pt x="1530" y="266"/>
                  </a:lnTo>
                  <a:lnTo>
                    <a:pt x="1530" y="260"/>
                  </a:lnTo>
                  <a:lnTo>
                    <a:pt x="1526" y="260"/>
                  </a:lnTo>
                  <a:lnTo>
                    <a:pt x="1520" y="260"/>
                  </a:lnTo>
                  <a:lnTo>
                    <a:pt x="1516" y="260"/>
                  </a:lnTo>
                  <a:lnTo>
                    <a:pt x="1516" y="260"/>
                  </a:lnTo>
                  <a:lnTo>
                    <a:pt x="1516" y="260"/>
                  </a:lnTo>
                  <a:lnTo>
                    <a:pt x="1516" y="260"/>
                  </a:lnTo>
                  <a:lnTo>
                    <a:pt x="1516" y="260"/>
                  </a:lnTo>
                  <a:close/>
                  <a:moveTo>
                    <a:pt x="1998" y="302"/>
                  </a:moveTo>
                  <a:lnTo>
                    <a:pt x="1992" y="302"/>
                  </a:lnTo>
                  <a:lnTo>
                    <a:pt x="1998" y="302"/>
                  </a:lnTo>
                  <a:lnTo>
                    <a:pt x="1998" y="302"/>
                  </a:lnTo>
                  <a:lnTo>
                    <a:pt x="1998" y="302"/>
                  </a:lnTo>
                  <a:lnTo>
                    <a:pt x="1998" y="302"/>
                  </a:lnTo>
                  <a:close/>
                  <a:moveTo>
                    <a:pt x="562" y="348"/>
                  </a:moveTo>
                  <a:lnTo>
                    <a:pt x="556" y="348"/>
                  </a:lnTo>
                  <a:lnTo>
                    <a:pt x="550" y="348"/>
                  </a:lnTo>
                  <a:lnTo>
                    <a:pt x="550" y="342"/>
                  </a:lnTo>
                  <a:lnTo>
                    <a:pt x="550" y="348"/>
                  </a:lnTo>
                  <a:lnTo>
                    <a:pt x="556" y="348"/>
                  </a:lnTo>
                  <a:lnTo>
                    <a:pt x="562" y="348"/>
                  </a:lnTo>
                  <a:lnTo>
                    <a:pt x="562" y="348"/>
                  </a:lnTo>
                  <a:lnTo>
                    <a:pt x="562" y="348"/>
                  </a:lnTo>
                  <a:lnTo>
                    <a:pt x="562" y="348"/>
                  </a:lnTo>
                  <a:lnTo>
                    <a:pt x="562" y="348"/>
                  </a:lnTo>
                  <a:close/>
                  <a:moveTo>
                    <a:pt x="14" y="672"/>
                  </a:moveTo>
                  <a:lnTo>
                    <a:pt x="20" y="672"/>
                  </a:lnTo>
                  <a:lnTo>
                    <a:pt x="14" y="672"/>
                  </a:lnTo>
                  <a:lnTo>
                    <a:pt x="14" y="676"/>
                  </a:lnTo>
                  <a:lnTo>
                    <a:pt x="14" y="676"/>
                  </a:lnTo>
                  <a:lnTo>
                    <a:pt x="14" y="682"/>
                  </a:lnTo>
                  <a:lnTo>
                    <a:pt x="14" y="682"/>
                  </a:lnTo>
                  <a:lnTo>
                    <a:pt x="20" y="682"/>
                  </a:lnTo>
                  <a:lnTo>
                    <a:pt x="26" y="682"/>
                  </a:lnTo>
                  <a:lnTo>
                    <a:pt x="26" y="676"/>
                  </a:lnTo>
                  <a:lnTo>
                    <a:pt x="20" y="672"/>
                  </a:lnTo>
                  <a:lnTo>
                    <a:pt x="26" y="672"/>
                  </a:lnTo>
                  <a:lnTo>
                    <a:pt x="26" y="672"/>
                  </a:lnTo>
                  <a:lnTo>
                    <a:pt x="36" y="676"/>
                  </a:lnTo>
                  <a:lnTo>
                    <a:pt x="36" y="676"/>
                  </a:lnTo>
                  <a:lnTo>
                    <a:pt x="42" y="676"/>
                  </a:lnTo>
                  <a:lnTo>
                    <a:pt x="48" y="682"/>
                  </a:lnTo>
                  <a:lnTo>
                    <a:pt x="48" y="682"/>
                  </a:lnTo>
                  <a:lnTo>
                    <a:pt x="42" y="682"/>
                  </a:lnTo>
                  <a:lnTo>
                    <a:pt x="42" y="688"/>
                  </a:lnTo>
                  <a:lnTo>
                    <a:pt x="42" y="692"/>
                  </a:lnTo>
                  <a:lnTo>
                    <a:pt x="36" y="692"/>
                  </a:lnTo>
                  <a:lnTo>
                    <a:pt x="36" y="692"/>
                  </a:lnTo>
                  <a:lnTo>
                    <a:pt x="30" y="692"/>
                  </a:lnTo>
                  <a:lnTo>
                    <a:pt x="26" y="692"/>
                  </a:lnTo>
                  <a:lnTo>
                    <a:pt x="26" y="692"/>
                  </a:lnTo>
                  <a:lnTo>
                    <a:pt x="20" y="692"/>
                  </a:lnTo>
                  <a:lnTo>
                    <a:pt x="14" y="692"/>
                  </a:lnTo>
                  <a:lnTo>
                    <a:pt x="14" y="692"/>
                  </a:lnTo>
                  <a:lnTo>
                    <a:pt x="10" y="692"/>
                  </a:lnTo>
                  <a:lnTo>
                    <a:pt x="4" y="692"/>
                  </a:lnTo>
                  <a:lnTo>
                    <a:pt x="0" y="692"/>
                  </a:lnTo>
                  <a:lnTo>
                    <a:pt x="0" y="688"/>
                  </a:lnTo>
                  <a:lnTo>
                    <a:pt x="4" y="688"/>
                  </a:lnTo>
                  <a:lnTo>
                    <a:pt x="10" y="688"/>
                  </a:lnTo>
                  <a:lnTo>
                    <a:pt x="10" y="682"/>
                  </a:lnTo>
                  <a:lnTo>
                    <a:pt x="4" y="682"/>
                  </a:lnTo>
                  <a:lnTo>
                    <a:pt x="0" y="682"/>
                  </a:lnTo>
                  <a:lnTo>
                    <a:pt x="4" y="682"/>
                  </a:lnTo>
                  <a:lnTo>
                    <a:pt x="4" y="682"/>
                  </a:lnTo>
                  <a:lnTo>
                    <a:pt x="4" y="676"/>
                  </a:lnTo>
                  <a:lnTo>
                    <a:pt x="4" y="682"/>
                  </a:lnTo>
                  <a:lnTo>
                    <a:pt x="10" y="682"/>
                  </a:lnTo>
                  <a:lnTo>
                    <a:pt x="14" y="682"/>
                  </a:lnTo>
                  <a:lnTo>
                    <a:pt x="14" y="676"/>
                  </a:lnTo>
                  <a:lnTo>
                    <a:pt x="14" y="676"/>
                  </a:lnTo>
                  <a:lnTo>
                    <a:pt x="14" y="672"/>
                  </a:lnTo>
                  <a:lnTo>
                    <a:pt x="14" y="672"/>
                  </a:lnTo>
                  <a:lnTo>
                    <a:pt x="14" y="672"/>
                  </a:lnTo>
                  <a:lnTo>
                    <a:pt x="14" y="672"/>
                  </a:lnTo>
                  <a:close/>
                  <a:moveTo>
                    <a:pt x="0" y="688"/>
                  </a:moveTo>
                  <a:lnTo>
                    <a:pt x="0" y="688"/>
                  </a:lnTo>
                  <a:lnTo>
                    <a:pt x="0" y="688"/>
                  </a:lnTo>
                  <a:lnTo>
                    <a:pt x="0" y="688"/>
                  </a:lnTo>
                  <a:lnTo>
                    <a:pt x="0" y="688"/>
                  </a:lnTo>
                  <a:lnTo>
                    <a:pt x="0" y="688"/>
                  </a:lnTo>
                  <a:close/>
                  <a:moveTo>
                    <a:pt x="600" y="6"/>
                  </a:moveTo>
                  <a:lnTo>
                    <a:pt x="604" y="6"/>
                  </a:lnTo>
                  <a:lnTo>
                    <a:pt x="610" y="0"/>
                  </a:lnTo>
                  <a:lnTo>
                    <a:pt x="610" y="6"/>
                  </a:lnTo>
                  <a:lnTo>
                    <a:pt x="610" y="6"/>
                  </a:lnTo>
                  <a:lnTo>
                    <a:pt x="610" y="0"/>
                  </a:lnTo>
                  <a:lnTo>
                    <a:pt x="616" y="0"/>
                  </a:lnTo>
                  <a:lnTo>
                    <a:pt x="622" y="0"/>
                  </a:lnTo>
                  <a:lnTo>
                    <a:pt x="622" y="6"/>
                  </a:lnTo>
                  <a:lnTo>
                    <a:pt x="622" y="6"/>
                  </a:lnTo>
                  <a:lnTo>
                    <a:pt x="622" y="12"/>
                  </a:lnTo>
                  <a:lnTo>
                    <a:pt x="616" y="6"/>
                  </a:lnTo>
                  <a:lnTo>
                    <a:pt x="610" y="6"/>
                  </a:lnTo>
                  <a:lnTo>
                    <a:pt x="610" y="6"/>
                  </a:lnTo>
                  <a:lnTo>
                    <a:pt x="604" y="6"/>
                  </a:lnTo>
                  <a:lnTo>
                    <a:pt x="600" y="6"/>
                  </a:lnTo>
                  <a:lnTo>
                    <a:pt x="600" y="6"/>
                  </a:lnTo>
                  <a:lnTo>
                    <a:pt x="600" y="6"/>
                  </a:lnTo>
                  <a:lnTo>
                    <a:pt x="600" y="6"/>
                  </a:lnTo>
                  <a:close/>
                  <a:moveTo>
                    <a:pt x="546" y="6"/>
                  </a:moveTo>
                  <a:lnTo>
                    <a:pt x="550" y="6"/>
                  </a:lnTo>
                  <a:lnTo>
                    <a:pt x="550" y="6"/>
                  </a:lnTo>
                  <a:lnTo>
                    <a:pt x="550" y="12"/>
                  </a:lnTo>
                  <a:lnTo>
                    <a:pt x="550" y="12"/>
                  </a:lnTo>
                  <a:lnTo>
                    <a:pt x="546" y="12"/>
                  </a:lnTo>
                  <a:lnTo>
                    <a:pt x="546" y="6"/>
                  </a:lnTo>
                  <a:lnTo>
                    <a:pt x="546" y="6"/>
                  </a:lnTo>
                  <a:lnTo>
                    <a:pt x="546" y="6"/>
                  </a:lnTo>
                  <a:lnTo>
                    <a:pt x="546" y="6"/>
                  </a:lnTo>
                  <a:close/>
                  <a:moveTo>
                    <a:pt x="596" y="6"/>
                  </a:moveTo>
                  <a:lnTo>
                    <a:pt x="600" y="6"/>
                  </a:lnTo>
                  <a:lnTo>
                    <a:pt x="600" y="12"/>
                  </a:lnTo>
                  <a:lnTo>
                    <a:pt x="600" y="12"/>
                  </a:lnTo>
                  <a:lnTo>
                    <a:pt x="596" y="6"/>
                  </a:lnTo>
                  <a:lnTo>
                    <a:pt x="596" y="6"/>
                  </a:lnTo>
                  <a:lnTo>
                    <a:pt x="596" y="6"/>
                  </a:lnTo>
                  <a:lnTo>
                    <a:pt x="596" y="6"/>
                  </a:lnTo>
                  <a:close/>
                  <a:moveTo>
                    <a:pt x="550" y="12"/>
                  </a:moveTo>
                  <a:lnTo>
                    <a:pt x="550" y="12"/>
                  </a:lnTo>
                  <a:lnTo>
                    <a:pt x="556" y="12"/>
                  </a:lnTo>
                  <a:lnTo>
                    <a:pt x="562" y="12"/>
                  </a:lnTo>
                  <a:lnTo>
                    <a:pt x="562" y="16"/>
                  </a:lnTo>
                  <a:lnTo>
                    <a:pt x="556" y="16"/>
                  </a:lnTo>
                  <a:lnTo>
                    <a:pt x="550" y="16"/>
                  </a:lnTo>
                  <a:lnTo>
                    <a:pt x="550" y="16"/>
                  </a:lnTo>
                  <a:lnTo>
                    <a:pt x="550" y="12"/>
                  </a:lnTo>
                  <a:lnTo>
                    <a:pt x="550" y="12"/>
                  </a:lnTo>
                  <a:lnTo>
                    <a:pt x="550" y="12"/>
                  </a:lnTo>
                  <a:lnTo>
                    <a:pt x="550" y="12"/>
                  </a:lnTo>
                  <a:close/>
                  <a:moveTo>
                    <a:pt x="492" y="16"/>
                  </a:moveTo>
                  <a:lnTo>
                    <a:pt x="486" y="12"/>
                  </a:lnTo>
                  <a:lnTo>
                    <a:pt x="492" y="12"/>
                  </a:lnTo>
                  <a:lnTo>
                    <a:pt x="492" y="16"/>
                  </a:lnTo>
                  <a:lnTo>
                    <a:pt x="492" y="16"/>
                  </a:lnTo>
                  <a:lnTo>
                    <a:pt x="492" y="16"/>
                  </a:lnTo>
                  <a:lnTo>
                    <a:pt x="492" y="16"/>
                  </a:lnTo>
                  <a:lnTo>
                    <a:pt x="492" y="16"/>
                  </a:lnTo>
                  <a:lnTo>
                    <a:pt x="492" y="16"/>
                  </a:lnTo>
                  <a:close/>
                  <a:moveTo>
                    <a:pt x="568" y="16"/>
                  </a:moveTo>
                  <a:lnTo>
                    <a:pt x="572" y="16"/>
                  </a:lnTo>
                  <a:lnTo>
                    <a:pt x="572" y="16"/>
                  </a:lnTo>
                  <a:lnTo>
                    <a:pt x="578" y="16"/>
                  </a:lnTo>
                  <a:lnTo>
                    <a:pt x="572" y="16"/>
                  </a:lnTo>
                  <a:lnTo>
                    <a:pt x="572" y="16"/>
                  </a:lnTo>
                  <a:lnTo>
                    <a:pt x="568" y="16"/>
                  </a:lnTo>
                  <a:lnTo>
                    <a:pt x="568" y="16"/>
                  </a:lnTo>
                  <a:lnTo>
                    <a:pt x="568" y="16"/>
                  </a:lnTo>
                  <a:lnTo>
                    <a:pt x="568" y="16"/>
                  </a:lnTo>
                  <a:close/>
                  <a:moveTo>
                    <a:pt x="530" y="20"/>
                  </a:moveTo>
                  <a:lnTo>
                    <a:pt x="536" y="16"/>
                  </a:lnTo>
                  <a:lnTo>
                    <a:pt x="536" y="16"/>
                  </a:lnTo>
                  <a:lnTo>
                    <a:pt x="540" y="16"/>
                  </a:lnTo>
                  <a:lnTo>
                    <a:pt x="540" y="20"/>
                  </a:lnTo>
                  <a:lnTo>
                    <a:pt x="536" y="20"/>
                  </a:lnTo>
                  <a:lnTo>
                    <a:pt x="536" y="20"/>
                  </a:lnTo>
                  <a:lnTo>
                    <a:pt x="530" y="20"/>
                  </a:lnTo>
                  <a:lnTo>
                    <a:pt x="524" y="20"/>
                  </a:lnTo>
                  <a:lnTo>
                    <a:pt x="530" y="20"/>
                  </a:lnTo>
                  <a:lnTo>
                    <a:pt x="530" y="20"/>
                  </a:lnTo>
                  <a:lnTo>
                    <a:pt x="530" y="20"/>
                  </a:lnTo>
                  <a:lnTo>
                    <a:pt x="530" y="20"/>
                  </a:lnTo>
                  <a:close/>
                  <a:moveTo>
                    <a:pt x="1006" y="26"/>
                  </a:moveTo>
                  <a:lnTo>
                    <a:pt x="1006" y="26"/>
                  </a:lnTo>
                  <a:lnTo>
                    <a:pt x="994" y="20"/>
                  </a:lnTo>
                  <a:lnTo>
                    <a:pt x="990" y="20"/>
                  </a:lnTo>
                  <a:lnTo>
                    <a:pt x="994" y="20"/>
                  </a:lnTo>
                  <a:lnTo>
                    <a:pt x="994" y="16"/>
                  </a:lnTo>
                  <a:lnTo>
                    <a:pt x="1000" y="16"/>
                  </a:lnTo>
                  <a:lnTo>
                    <a:pt x="1006" y="16"/>
                  </a:lnTo>
                  <a:lnTo>
                    <a:pt x="1006" y="16"/>
                  </a:lnTo>
                  <a:lnTo>
                    <a:pt x="1012" y="16"/>
                  </a:lnTo>
                  <a:lnTo>
                    <a:pt x="1018" y="20"/>
                  </a:lnTo>
                  <a:lnTo>
                    <a:pt x="1018" y="20"/>
                  </a:lnTo>
                  <a:lnTo>
                    <a:pt x="1018" y="20"/>
                  </a:lnTo>
                  <a:lnTo>
                    <a:pt x="1018" y="26"/>
                  </a:lnTo>
                  <a:lnTo>
                    <a:pt x="1012" y="26"/>
                  </a:lnTo>
                  <a:lnTo>
                    <a:pt x="1006" y="26"/>
                  </a:lnTo>
                  <a:lnTo>
                    <a:pt x="1006" y="26"/>
                  </a:lnTo>
                  <a:lnTo>
                    <a:pt x="1006" y="26"/>
                  </a:lnTo>
                  <a:lnTo>
                    <a:pt x="1006" y="26"/>
                  </a:lnTo>
                  <a:close/>
                  <a:moveTo>
                    <a:pt x="556" y="16"/>
                  </a:moveTo>
                  <a:lnTo>
                    <a:pt x="562" y="16"/>
                  </a:lnTo>
                  <a:lnTo>
                    <a:pt x="562" y="16"/>
                  </a:lnTo>
                  <a:lnTo>
                    <a:pt x="562" y="20"/>
                  </a:lnTo>
                  <a:lnTo>
                    <a:pt x="568" y="20"/>
                  </a:lnTo>
                  <a:lnTo>
                    <a:pt x="562" y="20"/>
                  </a:lnTo>
                  <a:lnTo>
                    <a:pt x="556" y="20"/>
                  </a:lnTo>
                  <a:lnTo>
                    <a:pt x="556" y="16"/>
                  </a:lnTo>
                  <a:lnTo>
                    <a:pt x="556" y="16"/>
                  </a:lnTo>
                  <a:lnTo>
                    <a:pt x="556" y="16"/>
                  </a:lnTo>
                  <a:lnTo>
                    <a:pt x="556" y="16"/>
                  </a:lnTo>
                  <a:close/>
                  <a:moveTo>
                    <a:pt x="432" y="26"/>
                  </a:moveTo>
                  <a:lnTo>
                    <a:pt x="438" y="26"/>
                  </a:lnTo>
                  <a:lnTo>
                    <a:pt x="432" y="26"/>
                  </a:lnTo>
                  <a:lnTo>
                    <a:pt x="432" y="20"/>
                  </a:lnTo>
                  <a:lnTo>
                    <a:pt x="438" y="20"/>
                  </a:lnTo>
                  <a:lnTo>
                    <a:pt x="442" y="20"/>
                  </a:lnTo>
                  <a:lnTo>
                    <a:pt x="442" y="26"/>
                  </a:lnTo>
                  <a:lnTo>
                    <a:pt x="438" y="26"/>
                  </a:lnTo>
                  <a:lnTo>
                    <a:pt x="432" y="26"/>
                  </a:lnTo>
                  <a:lnTo>
                    <a:pt x="432" y="26"/>
                  </a:lnTo>
                  <a:lnTo>
                    <a:pt x="432" y="26"/>
                  </a:lnTo>
                  <a:lnTo>
                    <a:pt x="432" y="26"/>
                  </a:lnTo>
                  <a:close/>
                  <a:moveTo>
                    <a:pt x="546" y="20"/>
                  </a:moveTo>
                  <a:lnTo>
                    <a:pt x="550" y="20"/>
                  </a:lnTo>
                  <a:lnTo>
                    <a:pt x="550" y="20"/>
                  </a:lnTo>
                  <a:lnTo>
                    <a:pt x="550" y="20"/>
                  </a:lnTo>
                  <a:lnTo>
                    <a:pt x="546" y="20"/>
                  </a:lnTo>
                  <a:lnTo>
                    <a:pt x="546" y="20"/>
                  </a:lnTo>
                  <a:lnTo>
                    <a:pt x="546" y="20"/>
                  </a:lnTo>
                  <a:lnTo>
                    <a:pt x="546" y="20"/>
                  </a:lnTo>
                  <a:close/>
                  <a:moveTo>
                    <a:pt x="572" y="26"/>
                  </a:moveTo>
                  <a:lnTo>
                    <a:pt x="572" y="26"/>
                  </a:lnTo>
                  <a:lnTo>
                    <a:pt x="578" y="20"/>
                  </a:lnTo>
                  <a:lnTo>
                    <a:pt x="584" y="20"/>
                  </a:lnTo>
                  <a:lnTo>
                    <a:pt x="584" y="20"/>
                  </a:lnTo>
                  <a:lnTo>
                    <a:pt x="590" y="20"/>
                  </a:lnTo>
                  <a:lnTo>
                    <a:pt x="596" y="20"/>
                  </a:lnTo>
                  <a:lnTo>
                    <a:pt x="596" y="26"/>
                  </a:lnTo>
                  <a:lnTo>
                    <a:pt x="590" y="26"/>
                  </a:lnTo>
                  <a:lnTo>
                    <a:pt x="584" y="26"/>
                  </a:lnTo>
                  <a:lnTo>
                    <a:pt x="584" y="26"/>
                  </a:lnTo>
                  <a:lnTo>
                    <a:pt x="578" y="26"/>
                  </a:lnTo>
                  <a:lnTo>
                    <a:pt x="572" y="26"/>
                  </a:lnTo>
                  <a:lnTo>
                    <a:pt x="572" y="26"/>
                  </a:lnTo>
                  <a:lnTo>
                    <a:pt x="572" y="26"/>
                  </a:lnTo>
                  <a:lnTo>
                    <a:pt x="572" y="26"/>
                  </a:lnTo>
                  <a:lnTo>
                    <a:pt x="572" y="26"/>
                  </a:lnTo>
                  <a:close/>
                  <a:moveTo>
                    <a:pt x="512" y="20"/>
                  </a:moveTo>
                  <a:lnTo>
                    <a:pt x="518" y="20"/>
                  </a:lnTo>
                  <a:lnTo>
                    <a:pt x="524" y="20"/>
                  </a:lnTo>
                  <a:lnTo>
                    <a:pt x="524" y="20"/>
                  </a:lnTo>
                  <a:lnTo>
                    <a:pt x="524" y="26"/>
                  </a:lnTo>
                  <a:lnTo>
                    <a:pt x="530" y="26"/>
                  </a:lnTo>
                  <a:lnTo>
                    <a:pt x="536" y="26"/>
                  </a:lnTo>
                  <a:lnTo>
                    <a:pt x="536" y="26"/>
                  </a:lnTo>
                  <a:lnTo>
                    <a:pt x="540" y="26"/>
                  </a:lnTo>
                  <a:lnTo>
                    <a:pt x="546" y="26"/>
                  </a:lnTo>
                  <a:lnTo>
                    <a:pt x="540" y="26"/>
                  </a:lnTo>
                  <a:lnTo>
                    <a:pt x="536" y="26"/>
                  </a:lnTo>
                  <a:lnTo>
                    <a:pt x="536" y="26"/>
                  </a:lnTo>
                  <a:lnTo>
                    <a:pt x="530" y="26"/>
                  </a:lnTo>
                  <a:lnTo>
                    <a:pt x="524" y="26"/>
                  </a:lnTo>
                  <a:lnTo>
                    <a:pt x="524" y="26"/>
                  </a:lnTo>
                  <a:lnTo>
                    <a:pt x="518" y="26"/>
                  </a:lnTo>
                  <a:lnTo>
                    <a:pt x="512" y="26"/>
                  </a:lnTo>
                  <a:lnTo>
                    <a:pt x="512" y="20"/>
                  </a:lnTo>
                  <a:lnTo>
                    <a:pt x="512" y="20"/>
                  </a:lnTo>
                  <a:lnTo>
                    <a:pt x="512" y="20"/>
                  </a:lnTo>
                  <a:lnTo>
                    <a:pt x="512" y="20"/>
                  </a:lnTo>
                  <a:close/>
                  <a:moveTo>
                    <a:pt x="540" y="26"/>
                  </a:moveTo>
                  <a:lnTo>
                    <a:pt x="536" y="26"/>
                  </a:lnTo>
                  <a:lnTo>
                    <a:pt x="540" y="20"/>
                  </a:lnTo>
                  <a:lnTo>
                    <a:pt x="546" y="20"/>
                  </a:lnTo>
                  <a:lnTo>
                    <a:pt x="550" y="20"/>
                  </a:lnTo>
                  <a:lnTo>
                    <a:pt x="550" y="26"/>
                  </a:lnTo>
                  <a:lnTo>
                    <a:pt x="550" y="26"/>
                  </a:lnTo>
                  <a:lnTo>
                    <a:pt x="550" y="26"/>
                  </a:lnTo>
                  <a:lnTo>
                    <a:pt x="546" y="26"/>
                  </a:lnTo>
                  <a:lnTo>
                    <a:pt x="546" y="26"/>
                  </a:lnTo>
                  <a:lnTo>
                    <a:pt x="540" y="26"/>
                  </a:lnTo>
                  <a:lnTo>
                    <a:pt x="540" y="26"/>
                  </a:lnTo>
                  <a:lnTo>
                    <a:pt x="540" y="26"/>
                  </a:lnTo>
                  <a:lnTo>
                    <a:pt x="540" y="26"/>
                  </a:lnTo>
                  <a:close/>
                  <a:moveTo>
                    <a:pt x="844" y="26"/>
                  </a:moveTo>
                  <a:lnTo>
                    <a:pt x="850" y="26"/>
                  </a:lnTo>
                  <a:lnTo>
                    <a:pt x="850" y="26"/>
                  </a:lnTo>
                  <a:lnTo>
                    <a:pt x="850" y="26"/>
                  </a:lnTo>
                  <a:lnTo>
                    <a:pt x="850" y="26"/>
                  </a:lnTo>
                  <a:lnTo>
                    <a:pt x="854" y="26"/>
                  </a:lnTo>
                  <a:lnTo>
                    <a:pt x="860" y="26"/>
                  </a:lnTo>
                  <a:lnTo>
                    <a:pt x="854" y="32"/>
                  </a:lnTo>
                  <a:lnTo>
                    <a:pt x="850" y="32"/>
                  </a:lnTo>
                  <a:lnTo>
                    <a:pt x="844" y="32"/>
                  </a:lnTo>
                  <a:lnTo>
                    <a:pt x="838" y="32"/>
                  </a:lnTo>
                  <a:lnTo>
                    <a:pt x="838" y="26"/>
                  </a:lnTo>
                  <a:lnTo>
                    <a:pt x="844" y="26"/>
                  </a:lnTo>
                  <a:lnTo>
                    <a:pt x="844" y="26"/>
                  </a:lnTo>
                  <a:lnTo>
                    <a:pt x="844" y="26"/>
                  </a:lnTo>
                  <a:lnTo>
                    <a:pt x="844" y="26"/>
                  </a:lnTo>
                  <a:close/>
                  <a:moveTo>
                    <a:pt x="540" y="32"/>
                  </a:moveTo>
                  <a:lnTo>
                    <a:pt x="540" y="26"/>
                  </a:lnTo>
                  <a:lnTo>
                    <a:pt x="546" y="26"/>
                  </a:lnTo>
                  <a:lnTo>
                    <a:pt x="550" y="26"/>
                  </a:lnTo>
                  <a:lnTo>
                    <a:pt x="550" y="26"/>
                  </a:lnTo>
                  <a:lnTo>
                    <a:pt x="556" y="26"/>
                  </a:lnTo>
                  <a:lnTo>
                    <a:pt x="556" y="32"/>
                  </a:lnTo>
                  <a:lnTo>
                    <a:pt x="550" y="32"/>
                  </a:lnTo>
                  <a:lnTo>
                    <a:pt x="550" y="32"/>
                  </a:lnTo>
                  <a:lnTo>
                    <a:pt x="546" y="32"/>
                  </a:lnTo>
                  <a:lnTo>
                    <a:pt x="540" y="32"/>
                  </a:lnTo>
                  <a:lnTo>
                    <a:pt x="536" y="32"/>
                  </a:lnTo>
                  <a:lnTo>
                    <a:pt x="540" y="32"/>
                  </a:lnTo>
                  <a:lnTo>
                    <a:pt x="540" y="32"/>
                  </a:lnTo>
                  <a:lnTo>
                    <a:pt x="540" y="32"/>
                  </a:lnTo>
                  <a:lnTo>
                    <a:pt x="540" y="32"/>
                  </a:lnTo>
                  <a:close/>
                  <a:moveTo>
                    <a:pt x="486" y="32"/>
                  </a:moveTo>
                  <a:lnTo>
                    <a:pt x="486" y="26"/>
                  </a:lnTo>
                  <a:lnTo>
                    <a:pt x="492" y="26"/>
                  </a:lnTo>
                  <a:lnTo>
                    <a:pt x="492" y="26"/>
                  </a:lnTo>
                  <a:lnTo>
                    <a:pt x="496" y="26"/>
                  </a:lnTo>
                  <a:lnTo>
                    <a:pt x="502" y="26"/>
                  </a:lnTo>
                  <a:lnTo>
                    <a:pt x="502" y="26"/>
                  </a:lnTo>
                  <a:lnTo>
                    <a:pt x="508" y="32"/>
                  </a:lnTo>
                  <a:lnTo>
                    <a:pt x="512" y="32"/>
                  </a:lnTo>
                  <a:lnTo>
                    <a:pt x="508" y="32"/>
                  </a:lnTo>
                  <a:lnTo>
                    <a:pt x="502" y="32"/>
                  </a:lnTo>
                  <a:lnTo>
                    <a:pt x="502" y="32"/>
                  </a:lnTo>
                  <a:lnTo>
                    <a:pt x="496" y="32"/>
                  </a:lnTo>
                  <a:lnTo>
                    <a:pt x="492" y="32"/>
                  </a:lnTo>
                  <a:lnTo>
                    <a:pt x="496" y="32"/>
                  </a:lnTo>
                  <a:lnTo>
                    <a:pt x="492" y="32"/>
                  </a:lnTo>
                  <a:lnTo>
                    <a:pt x="492" y="32"/>
                  </a:lnTo>
                  <a:lnTo>
                    <a:pt x="486" y="32"/>
                  </a:lnTo>
                  <a:lnTo>
                    <a:pt x="486" y="32"/>
                  </a:lnTo>
                  <a:lnTo>
                    <a:pt x="486" y="32"/>
                  </a:lnTo>
                  <a:lnTo>
                    <a:pt x="486" y="32"/>
                  </a:lnTo>
                  <a:close/>
                  <a:moveTo>
                    <a:pt x="508" y="32"/>
                  </a:moveTo>
                  <a:lnTo>
                    <a:pt x="512" y="32"/>
                  </a:lnTo>
                  <a:lnTo>
                    <a:pt x="518" y="32"/>
                  </a:lnTo>
                  <a:lnTo>
                    <a:pt x="524" y="32"/>
                  </a:lnTo>
                  <a:lnTo>
                    <a:pt x="524" y="38"/>
                  </a:lnTo>
                  <a:lnTo>
                    <a:pt x="524" y="38"/>
                  </a:lnTo>
                  <a:lnTo>
                    <a:pt x="518" y="38"/>
                  </a:lnTo>
                  <a:lnTo>
                    <a:pt x="512" y="38"/>
                  </a:lnTo>
                  <a:lnTo>
                    <a:pt x="512" y="38"/>
                  </a:lnTo>
                  <a:lnTo>
                    <a:pt x="508" y="38"/>
                  </a:lnTo>
                  <a:lnTo>
                    <a:pt x="502" y="38"/>
                  </a:lnTo>
                  <a:lnTo>
                    <a:pt x="502" y="32"/>
                  </a:lnTo>
                  <a:lnTo>
                    <a:pt x="508" y="32"/>
                  </a:lnTo>
                  <a:lnTo>
                    <a:pt x="508" y="32"/>
                  </a:lnTo>
                  <a:lnTo>
                    <a:pt x="508" y="32"/>
                  </a:lnTo>
                  <a:lnTo>
                    <a:pt x="508" y="32"/>
                  </a:lnTo>
                  <a:close/>
                  <a:moveTo>
                    <a:pt x="476" y="38"/>
                  </a:moveTo>
                  <a:lnTo>
                    <a:pt x="476" y="38"/>
                  </a:lnTo>
                  <a:lnTo>
                    <a:pt x="476" y="38"/>
                  </a:lnTo>
                  <a:lnTo>
                    <a:pt x="476" y="38"/>
                  </a:lnTo>
                  <a:lnTo>
                    <a:pt x="476" y="38"/>
                  </a:lnTo>
                  <a:lnTo>
                    <a:pt x="476" y="38"/>
                  </a:lnTo>
                  <a:lnTo>
                    <a:pt x="476" y="38"/>
                  </a:lnTo>
                  <a:lnTo>
                    <a:pt x="476" y="38"/>
                  </a:lnTo>
                  <a:close/>
                  <a:moveTo>
                    <a:pt x="550" y="38"/>
                  </a:moveTo>
                  <a:lnTo>
                    <a:pt x="550" y="38"/>
                  </a:lnTo>
                  <a:lnTo>
                    <a:pt x="550" y="38"/>
                  </a:lnTo>
                  <a:lnTo>
                    <a:pt x="550" y="38"/>
                  </a:lnTo>
                  <a:lnTo>
                    <a:pt x="550" y="38"/>
                  </a:lnTo>
                  <a:lnTo>
                    <a:pt x="550" y="38"/>
                  </a:lnTo>
                  <a:close/>
                  <a:moveTo>
                    <a:pt x="530" y="38"/>
                  </a:moveTo>
                  <a:lnTo>
                    <a:pt x="536" y="38"/>
                  </a:lnTo>
                  <a:lnTo>
                    <a:pt x="536" y="38"/>
                  </a:lnTo>
                  <a:lnTo>
                    <a:pt x="540" y="38"/>
                  </a:lnTo>
                  <a:lnTo>
                    <a:pt x="540" y="38"/>
                  </a:lnTo>
                  <a:lnTo>
                    <a:pt x="536" y="38"/>
                  </a:lnTo>
                  <a:lnTo>
                    <a:pt x="536" y="38"/>
                  </a:lnTo>
                  <a:lnTo>
                    <a:pt x="530" y="38"/>
                  </a:lnTo>
                  <a:lnTo>
                    <a:pt x="530" y="38"/>
                  </a:lnTo>
                  <a:lnTo>
                    <a:pt x="530" y="38"/>
                  </a:lnTo>
                  <a:lnTo>
                    <a:pt x="530" y="38"/>
                  </a:lnTo>
                  <a:close/>
                  <a:moveTo>
                    <a:pt x="482" y="38"/>
                  </a:moveTo>
                  <a:lnTo>
                    <a:pt x="486" y="38"/>
                  </a:lnTo>
                  <a:lnTo>
                    <a:pt x="482" y="38"/>
                  </a:lnTo>
                  <a:lnTo>
                    <a:pt x="482" y="38"/>
                  </a:lnTo>
                  <a:lnTo>
                    <a:pt x="486" y="38"/>
                  </a:lnTo>
                  <a:lnTo>
                    <a:pt x="492" y="38"/>
                  </a:lnTo>
                  <a:lnTo>
                    <a:pt x="492" y="38"/>
                  </a:lnTo>
                  <a:lnTo>
                    <a:pt x="486" y="38"/>
                  </a:lnTo>
                  <a:lnTo>
                    <a:pt x="492" y="38"/>
                  </a:lnTo>
                  <a:lnTo>
                    <a:pt x="492" y="38"/>
                  </a:lnTo>
                  <a:lnTo>
                    <a:pt x="492" y="42"/>
                  </a:lnTo>
                  <a:lnTo>
                    <a:pt x="486" y="42"/>
                  </a:lnTo>
                  <a:lnTo>
                    <a:pt x="486" y="38"/>
                  </a:lnTo>
                  <a:lnTo>
                    <a:pt x="482" y="38"/>
                  </a:lnTo>
                  <a:lnTo>
                    <a:pt x="482" y="38"/>
                  </a:lnTo>
                  <a:lnTo>
                    <a:pt x="482" y="38"/>
                  </a:lnTo>
                  <a:lnTo>
                    <a:pt x="482" y="38"/>
                  </a:lnTo>
                  <a:close/>
                  <a:moveTo>
                    <a:pt x="492" y="38"/>
                  </a:moveTo>
                  <a:lnTo>
                    <a:pt x="496" y="38"/>
                  </a:lnTo>
                  <a:lnTo>
                    <a:pt x="502" y="38"/>
                  </a:lnTo>
                  <a:lnTo>
                    <a:pt x="496" y="38"/>
                  </a:lnTo>
                  <a:lnTo>
                    <a:pt x="492" y="38"/>
                  </a:lnTo>
                  <a:lnTo>
                    <a:pt x="492" y="38"/>
                  </a:lnTo>
                  <a:lnTo>
                    <a:pt x="492" y="38"/>
                  </a:lnTo>
                  <a:lnTo>
                    <a:pt x="492" y="38"/>
                  </a:lnTo>
                  <a:close/>
                  <a:moveTo>
                    <a:pt x="492" y="42"/>
                  </a:moveTo>
                  <a:lnTo>
                    <a:pt x="492" y="38"/>
                  </a:lnTo>
                  <a:lnTo>
                    <a:pt x="496" y="38"/>
                  </a:lnTo>
                  <a:lnTo>
                    <a:pt x="496" y="42"/>
                  </a:lnTo>
                  <a:lnTo>
                    <a:pt x="492" y="42"/>
                  </a:lnTo>
                  <a:lnTo>
                    <a:pt x="492" y="42"/>
                  </a:lnTo>
                  <a:lnTo>
                    <a:pt x="492" y="42"/>
                  </a:lnTo>
                  <a:lnTo>
                    <a:pt x="492" y="42"/>
                  </a:lnTo>
                  <a:lnTo>
                    <a:pt x="492" y="42"/>
                  </a:lnTo>
                  <a:lnTo>
                    <a:pt x="492" y="42"/>
                  </a:lnTo>
                  <a:close/>
                  <a:moveTo>
                    <a:pt x="502" y="42"/>
                  </a:moveTo>
                  <a:lnTo>
                    <a:pt x="502" y="42"/>
                  </a:lnTo>
                  <a:lnTo>
                    <a:pt x="502" y="42"/>
                  </a:lnTo>
                  <a:lnTo>
                    <a:pt x="502" y="42"/>
                  </a:lnTo>
                  <a:lnTo>
                    <a:pt x="502" y="42"/>
                  </a:lnTo>
                  <a:lnTo>
                    <a:pt x="502" y="42"/>
                  </a:lnTo>
                  <a:close/>
                  <a:moveTo>
                    <a:pt x="512" y="42"/>
                  </a:moveTo>
                  <a:lnTo>
                    <a:pt x="512" y="42"/>
                  </a:lnTo>
                  <a:lnTo>
                    <a:pt x="518" y="42"/>
                  </a:lnTo>
                  <a:lnTo>
                    <a:pt x="512" y="42"/>
                  </a:lnTo>
                  <a:lnTo>
                    <a:pt x="512" y="42"/>
                  </a:lnTo>
                  <a:lnTo>
                    <a:pt x="512" y="42"/>
                  </a:lnTo>
                  <a:lnTo>
                    <a:pt x="512" y="42"/>
                  </a:lnTo>
                  <a:lnTo>
                    <a:pt x="512" y="42"/>
                  </a:lnTo>
                  <a:close/>
                  <a:moveTo>
                    <a:pt x="464" y="48"/>
                  </a:moveTo>
                  <a:lnTo>
                    <a:pt x="458" y="48"/>
                  </a:lnTo>
                  <a:lnTo>
                    <a:pt x="464" y="48"/>
                  </a:lnTo>
                  <a:lnTo>
                    <a:pt x="464" y="48"/>
                  </a:lnTo>
                  <a:lnTo>
                    <a:pt x="464" y="42"/>
                  </a:lnTo>
                  <a:lnTo>
                    <a:pt x="470" y="42"/>
                  </a:lnTo>
                  <a:lnTo>
                    <a:pt x="476" y="42"/>
                  </a:lnTo>
                  <a:lnTo>
                    <a:pt x="476" y="42"/>
                  </a:lnTo>
                  <a:lnTo>
                    <a:pt x="476" y="48"/>
                  </a:lnTo>
                  <a:lnTo>
                    <a:pt x="482" y="48"/>
                  </a:lnTo>
                  <a:lnTo>
                    <a:pt x="476" y="48"/>
                  </a:lnTo>
                  <a:lnTo>
                    <a:pt x="476" y="48"/>
                  </a:lnTo>
                  <a:lnTo>
                    <a:pt x="476" y="48"/>
                  </a:lnTo>
                  <a:lnTo>
                    <a:pt x="470" y="48"/>
                  </a:lnTo>
                  <a:lnTo>
                    <a:pt x="464" y="48"/>
                  </a:lnTo>
                  <a:lnTo>
                    <a:pt x="464" y="48"/>
                  </a:lnTo>
                  <a:lnTo>
                    <a:pt x="464" y="48"/>
                  </a:lnTo>
                  <a:lnTo>
                    <a:pt x="464" y="48"/>
                  </a:lnTo>
                  <a:lnTo>
                    <a:pt x="464" y="48"/>
                  </a:lnTo>
                  <a:lnTo>
                    <a:pt x="464" y="48"/>
                  </a:lnTo>
                  <a:lnTo>
                    <a:pt x="464" y="48"/>
                  </a:lnTo>
                  <a:close/>
                  <a:moveTo>
                    <a:pt x="496" y="48"/>
                  </a:moveTo>
                  <a:lnTo>
                    <a:pt x="502" y="48"/>
                  </a:lnTo>
                  <a:lnTo>
                    <a:pt x="502" y="42"/>
                  </a:lnTo>
                  <a:lnTo>
                    <a:pt x="508" y="48"/>
                  </a:lnTo>
                  <a:lnTo>
                    <a:pt x="502" y="48"/>
                  </a:lnTo>
                  <a:lnTo>
                    <a:pt x="502" y="48"/>
                  </a:lnTo>
                  <a:lnTo>
                    <a:pt x="496" y="48"/>
                  </a:lnTo>
                  <a:lnTo>
                    <a:pt x="496" y="48"/>
                  </a:lnTo>
                  <a:lnTo>
                    <a:pt x="496" y="48"/>
                  </a:lnTo>
                  <a:lnTo>
                    <a:pt x="496" y="48"/>
                  </a:lnTo>
                  <a:close/>
                  <a:moveTo>
                    <a:pt x="492" y="48"/>
                  </a:moveTo>
                  <a:lnTo>
                    <a:pt x="486" y="48"/>
                  </a:lnTo>
                  <a:lnTo>
                    <a:pt x="492" y="48"/>
                  </a:lnTo>
                  <a:lnTo>
                    <a:pt x="492" y="42"/>
                  </a:lnTo>
                  <a:lnTo>
                    <a:pt x="492" y="48"/>
                  </a:lnTo>
                  <a:lnTo>
                    <a:pt x="492" y="48"/>
                  </a:lnTo>
                  <a:lnTo>
                    <a:pt x="492" y="48"/>
                  </a:lnTo>
                  <a:lnTo>
                    <a:pt x="492" y="48"/>
                  </a:lnTo>
                  <a:lnTo>
                    <a:pt x="492" y="48"/>
                  </a:lnTo>
                  <a:lnTo>
                    <a:pt x="492" y="48"/>
                  </a:lnTo>
                  <a:close/>
                  <a:moveTo>
                    <a:pt x="426" y="54"/>
                  </a:moveTo>
                  <a:lnTo>
                    <a:pt x="426" y="48"/>
                  </a:lnTo>
                  <a:lnTo>
                    <a:pt x="422" y="48"/>
                  </a:lnTo>
                  <a:lnTo>
                    <a:pt x="426" y="48"/>
                  </a:lnTo>
                  <a:lnTo>
                    <a:pt x="432" y="48"/>
                  </a:lnTo>
                  <a:lnTo>
                    <a:pt x="432" y="48"/>
                  </a:lnTo>
                  <a:lnTo>
                    <a:pt x="432" y="48"/>
                  </a:lnTo>
                  <a:lnTo>
                    <a:pt x="432" y="48"/>
                  </a:lnTo>
                  <a:lnTo>
                    <a:pt x="432" y="54"/>
                  </a:lnTo>
                  <a:lnTo>
                    <a:pt x="426" y="54"/>
                  </a:lnTo>
                  <a:lnTo>
                    <a:pt x="426" y="54"/>
                  </a:lnTo>
                  <a:lnTo>
                    <a:pt x="426" y="54"/>
                  </a:lnTo>
                  <a:lnTo>
                    <a:pt x="426" y="54"/>
                  </a:lnTo>
                  <a:close/>
                  <a:moveTo>
                    <a:pt x="568" y="48"/>
                  </a:moveTo>
                  <a:lnTo>
                    <a:pt x="568" y="48"/>
                  </a:lnTo>
                  <a:lnTo>
                    <a:pt x="572" y="48"/>
                  </a:lnTo>
                  <a:lnTo>
                    <a:pt x="572" y="48"/>
                  </a:lnTo>
                  <a:lnTo>
                    <a:pt x="572" y="48"/>
                  </a:lnTo>
                  <a:lnTo>
                    <a:pt x="572" y="48"/>
                  </a:lnTo>
                  <a:lnTo>
                    <a:pt x="568" y="48"/>
                  </a:lnTo>
                  <a:lnTo>
                    <a:pt x="568" y="48"/>
                  </a:lnTo>
                  <a:lnTo>
                    <a:pt x="568" y="48"/>
                  </a:lnTo>
                  <a:lnTo>
                    <a:pt x="568" y="48"/>
                  </a:lnTo>
                  <a:close/>
                  <a:moveTo>
                    <a:pt x="550" y="54"/>
                  </a:moveTo>
                  <a:lnTo>
                    <a:pt x="556" y="54"/>
                  </a:lnTo>
                  <a:lnTo>
                    <a:pt x="556" y="48"/>
                  </a:lnTo>
                  <a:lnTo>
                    <a:pt x="562" y="48"/>
                  </a:lnTo>
                  <a:lnTo>
                    <a:pt x="562" y="48"/>
                  </a:lnTo>
                  <a:lnTo>
                    <a:pt x="568" y="48"/>
                  </a:lnTo>
                  <a:lnTo>
                    <a:pt x="568" y="54"/>
                  </a:lnTo>
                  <a:lnTo>
                    <a:pt x="562" y="54"/>
                  </a:lnTo>
                  <a:lnTo>
                    <a:pt x="562" y="60"/>
                  </a:lnTo>
                  <a:lnTo>
                    <a:pt x="562" y="60"/>
                  </a:lnTo>
                  <a:lnTo>
                    <a:pt x="562" y="54"/>
                  </a:lnTo>
                  <a:lnTo>
                    <a:pt x="556" y="54"/>
                  </a:lnTo>
                  <a:lnTo>
                    <a:pt x="550" y="54"/>
                  </a:lnTo>
                  <a:lnTo>
                    <a:pt x="550" y="54"/>
                  </a:lnTo>
                  <a:lnTo>
                    <a:pt x="550" y="54"/>
                  </a:lnTo>
                  <a:lnTo>
                    <a:pt x="550" y="54"/>
                  </a:lnTo>
                  <a:close/>
                  <a:moveTo>
                    <a:pt x="432" y="54"/>
                  </a:moveTo>
                  <a:lnTo>
                    <a:pt x="432" y="54"/>
                  </a:lnTo>
                  <a:lnTo>
                    <a:pt x="438" y="54"/>
                  </a:lnTo>
                  <a:lnTo>
                    <a:pt x="442" y="54"/>
                  </a:lnTo>
                  <a:lnTo>
                    <a:pt x="442" y="48"/>
                  </a:lnTo>
                  <a:lnTo>
                    <a:pt x="442" y="48"/>
                  </a:lnTo>
                  <a:lnTo>
                    <a:pt x="442" y="54"/>
                  </a:lnTo>
                  <a:lnTo>
                    <a:pt x="448" y="54"/>
                  </a:lnTo>
                  <a:lnTo>
                    <a:pt x="448" y="60"/>
                  </a:lnTo>
                  <a:lnTo>
                    <a:pt x="442" y="60"/>
                  </a:lnTo>
                  <a:lnTo>
                    <a:pt x="442" y="60"/>
                  </a:lnTo>
                  <a:lnTo>
                    <a:pt x="442" y="54"/>
                  </a:lnTo>
                  <a:lnTo>
                    <a:pt x="438" y="54"/>
                  </a:lnTo>
                  <a:lnTo>
                    <a:pt x="438" y="60"/>
                  </a:lnTo>
                  <a:lnTo>
                    <a:pt x="432" y="54"/>
                  </a:lnTo>
                  <a:lnTo>
                    <a:pt x="432" y="54"/>
                  </a:lnTo>
                  <a:lnTo>
                    <a:pt x="432" y="54"/>
                  </a:lnTo>
                  <a:lnTo>
                    <a:pt x="432" y="54"/>
                  </a:lnTo>
                  <a:lnTo>
                    <a:pt x="432" y="54"/>
                  </a:lnTo>
                  <a:close/>
                  <a:moveTo>
                    <a:pt x="422" y="54"/>
                  </a:moveTo>
                  <a:lnTo>
                    <a:pt x="422" y="48"/>
                  </a:lnTo>
                  <a:lnTo>
                    <a:pt x="426" y="54"/>
                  </a:lnTo>
                  <a:lnTo>
                    <a:pt x="422" y="54"/>
                  </a:lnTo>
                  <a:lnTo>
                    <a:pt x="422" y="54"/>
                  </a:lnTo>
                  <a:lnTo>
                    <a:pt x="422" y="54"/>
                  </a:lnTo>
                  <a:lnTo>
                    <a:pt x="422" y="54"/>
                  </a:lnTo>
                  <a:lnTo>
                    <a:pt x="422" y="54"/>
                  </a:lnTo>
                  <a:close/>
                  <a:moveTo>
                    <a:pt x="1054" y="54"/>
                  </a:moveTo>
                  <a:lnTo>
                    <a:pt x="1054" y="54"/>
                  </a:lnTo>
                  <a:lnTo>
                    <a:pt x="1054" y="54"/>
                  </a:lnTo>
                  <a:lnTo>
                    <a:pt x="1050" y="54"/>
                  </a:lnTo>
                  <a:lnTo>
                    <a:pt x="1054" y="54"/>
                  </a:lnTo>
                  <a:lnTo>
                    <a:pt x="1054" y="54"/>
                  </a:lnTo>
                  <a:lnTo>
                    <a:pt x="1054" y="54"/>
                  </a:lnTo>
                  <a:lnTo>
                    <a:pt x="1054" y="54"/>
                  </a:lnTo>
                  <a:close/>
                  <a:moveTo>
                    <a:pt x="546" y="60"/>
                  </a:moveTo>
                  <a:lnTo>
                    <a:pt x="550" y="60"/>
                  </a:lnTo>
                  <a:lnTo>
                    <a:pt x="550" y="54"/>
                  </a:lnTo>
                  <a:lnTo>
                    <a:pt x="550" y="54"/>
                  </a:lnTo>
                  <a:lnTo>
                    <a:pt x="550" y="60"/>
                  </a:lnTo>
                  <a:lnTo>
                    <a:pt x="556" y="60"/>
                  </a:lnTo>
                  <a:lnTo>
                    <a:pt x="550" y="60"/>
                  </a:lnTo>
                  <a:lnTo>
                    <a:pt x="550" y="60"/>
                  </a:lnTo>
                  <a:lnTo>
                    <a:pt x="546" y="60"/>
                  </a:lnTo>
                  <a:lnTo>
                    <a:pt x="546" y="60"/>
                  </a:lnTo>
                  <a:lnTo>
                    <a:pt x="546" y="60"/>
                  </a:lnTo>
                  <a:lnTo>
                    <a:pt x="546" y="60"/>
                  </a:lnTo>
                  <a:close/>
                  <a:moveTo>
                    <a:pt x="1018" y="66"/>
                  </a:moveTo>
                  <a:lnTo>
                    <a:pt x="1018" y="66"/>
                  </a:lnTo>
                  <a:lnTo>
                    <a:pt x="1012" y="60"/>
                  </a:lnTo>
                  <a:lnTo>
                    <a:pt x="1018" y="60"/>
                  </a:lnTo>
                  <a:lnTo>
                    <a:pt x="1018" y="60"/>
                  </a:lnTo>
                  <a:lnTo>
                    <a:pt x="1022" y="66"/>
                  </a:lnTo>
                  <a:lnTo>
                    <a:pt x="1018" y="66"/>
                  </a:lnTo>
                  <a:lnTo>
                    <a:pt x="1018" y="66"/>
                  </a:lnTo>
                  <a:lnTo>
                    <a:pt x="1018" y="66"/>
                  </a:lnTo>
                  <a:lnTo>
                    <a:pt x="1018" y="66"/>
                  </a:lnTo>
                  <a:close/>
                  <a:moveTo>
                    <a:pt x="1078" y="146"/>
                  </a:moveTo>
                  <a:lnTo>
                    <a:pt x="1078" y="146"/>
                  </a:lnTo>
                  <a:lnTo>
                    <a:pt x="1078" y="152"/>
                  </a:lnTo>
                  <a:lnTo>
                    <a:pt x="1072" y="152"/>
                  </a:lnTo>
                  <a:lnTo>
                    <a:pt x="1072" y="146"/>
                  </a:lnTo>
                  <a:lnTo>
                    <a:pt x="1078" y="146"/>
                  </a:lnTo>
                  <a:lnTo>
                    <a:pt x="1078" y="146"/>
                  </a:lnTo>
                  <a:lnTo>
                    <a:pt x="1078" y="146"/>
                  </a:lnTo>
                  <a:lnTo>
                    <a:pt x="1078" y="146"/>
                  </a:lnTo>
                  <a:close/>
                  <a:moveTo>
                    <a:pt x="568" y="162"/>
                  </a:moveTo>
                  <a:lnTo>
                    <a:pt x="572" y="162"/>
                  </a:lnTo>
                  <a:lnTo>
                    <a:pt x="572" y="162"/>
                  </a:lnTo>
                  <a:lnTo>
                    <a:pt x="578" y="162"/>
                  </a:lnTo>
                  <a:lnTo>
                    <a:pt x="572" y="162"/>
                  </a:lnTo>
                  <a:lnTo>
                    <a:pt x="572" y="168"/>
                  </a:lnTo>
                  <a:lnTo>
                    <a:pt x="572" y="168"/>
                  </a:lnTo>
                  <a:lnTo>
                    <a:pt x="568" y="168"/>
                  </a:lnTo>
                  <a:lnTo>
                    <a:pt x="568" y="162"/>
                  </a:lnTo>
                  <a:lnTo>
                    <a:pt x="568" y="162"/>
                  </a:lnTo>
                  <a:lnTo>
                    <a:pt x="568" y="162"/>
                  </a:lnTo>
                  <a:lnTo>
                    <a:pt x="568" y="162"/>
                  </a:lnTo>
                  <a:close/>
                  <a:moveTo>
                    <a:pt x="550" y="168"/>
                  </a:moveTo>
                  <a:lnTo>
                    <a:pt x="562" y="168"/>
                  </a:lnTo>
                  <a:lnTo>
                    <a:pt x="562" y="168"/>
                  </a:lnTo>
                  <a:lnTo>
                    <a:pt x="562" y="168"/>
                  </a:lnTo>
                  <a:lnTo>
                    <a:pt x="550" y="168"/>
                  </a:lnTo>
                  <a:lnTo>
                    <a:pt x="550" y="168"/>
                  </a:lnTo>
                  <a:lnTo>
                    <a:pt x="550" y="168"/>
                  </a:lnTo>
                  <a:lnTo>
                    <a:pt x="550" y="168"/>
                  </a:lnTo>
                  <a:close/>
                  <a:moveTo>
                    <a:pt x="1710" y="180"/>
                  </a:moveTo>
                  <a:lnTo>
                    <a:pt x="1710" y="180"/>
                  </a:lnTo>
                  <a:lnTo>
                    <a:pt x="1710" y="174"/>
                  </a:lnTo>
                  <a:lnTo>
                    <a:pt x="1710" y="180"/>
                  </a:lnTo>
                  <a:lnTo>
                    <a:pt x="1710" y="180"/>
                  </a:lnTo>
                  <a:lnTo>
                    <a:pt x="1710" y="180"/>
                  </a:lnTo>
                  <a:lnTo>
                    <a:pt x="1710" y="180"/>
                  </a:lnTo>
                  <a:lnTo>
                    <a:pt x="1710" y="180"/>
                  </a:lnTo>
                  <a:close/>
                  <a:moveTo>
                    <a:pt x="946" y="200"/>
                  </a:moveTo>
                  <a:lnTo>
                    <a:pt x="946" y="200"/>
                  </a:lnTo>
                  <a:lnTo>
                    <a:pt x="946" y="200"/>
                  </a:lnTo>
                  <a:lnTo>
                    <a:pt x="946" y="200"/>
                  </a:lnTo>
                  <a:lnTo>
                    <a:pt x="946" y="200"/>
                  </a:lnTo>
                  <a:lnTo>
                    <a:pt x="946" y="200"/>
                  </a:lnTo>
                  <a:lnTo>
                    <a:pt x="946" y="200"/>
                  </a:lnTo>
                  <a:close/>
                  <a:moveTo>
                    <a:pt x="936" y="210"/>
                  </a:moveTo>
                  <a:lnTo>
                    <a:pt x="930" y="210"/>
                  </a:lnTo>
                  <a:lnTo>
                    <a:pt x="930" y="206"/>
                  </a:lnTo>
                  <a:lnTo>
                    <a:pt x="936" y="206"/>
                  </a:lnTo>
                  <a:lnTo>
                    <a:pt x="940" y="206"/>
                  </a:lnTo>
                  <a:lnTo>
                    <a:pt x="936" y="206"/>
                  </a:lnTo>
                  <a:lnTo>
                    <a:pt x="936" y="210"/>
                  </a:lnTo>
                  <a:lnTo>
                    <a:pt x="936" y="210"/>
                  </a:lnTo>
                  <a:lnTo>
                    <a:pt x="936" y="210"/>
                  </a:lnTo>
                  <a:lnTo>
                    <a:pt x="936" y="210"/>
                  </a:lnTo>
                  <a:close/>
                  <a:moveTo>
                    <a:pt x="926" y="210"/>
                  </a:moveTo>
                  <a:lnTo>
                    <a:pt x="930" y="210"/>
                  </a:lnTo>
                  <a:lnTo>
                    <a:pt x="930" y="210"/>
                  </a:lnTo>
                  <a:lnTo>
                    <a:pt x="930" y="210"/>
                  </a:lnTo>
                  <a:lnTo>
                    <a:pt x="926" y="210"/>
                  </a:lnTo>
                  <a:lnTo>
                    <a:pt x="926" y="210"/>
                  </a:lnTo>
                  <a:lnTo>
                    <a:pt x="926" y="210"/>
                  </a:lnTo>
                  <a:lnTo>
                    <a:pt x="926" y="210"/>
                  </a:lnTo>
                  <a:close/>
                  <a:moveTo>
                    <a:pt x="952" y="234"/>
                  </a:moveTo>
                  <a:lnTo>
                    <a:pt x="952" y="228"/>
                  </a:lnTo>
                  <a:lnTo>
                    <a:pt x="958" y="228"/>
                  </a:lnTo>
                  <a:lnTo>
                    <a:pt x="958" y="228"/>
                  </a:lnTo>
                  <a:lnTo>
                    <a:pt x="958" y="228"/>
                  </a:lnTo>
                  <a:lnTo>
                    <a:pt x="952" y="228"/>
                  </a:lnTo>
                  <a:lnTo>
                    <a:pt x="952" y="234"/>
                  </a:lnTo>
                  <a:lnTo>
                    <a:pt x="952" y="234"/>
                  </a:lnTo>
                  <a:lnTo>
                    <a:pt x="952" y="234"/>
                  </a:lnTo>
                  <a:lnTo>
                    <a:pt x="952" y="234"/>
                  </a:lnTo>
                  <a:close/>
                  <a:moveTo>
                    <a:pt x="952" y="228"/>
                  </a:moveTo>
                  <a:lnTo>
                    <a:pt x="946" y="234"/>
                  </a:lnTo>
                  <a:lnTo>
                    <a:pt x="946" y="234"/>
                  </a:lnTo>
                  <a:lnTo>
                    <a:pt x="946" y="228"/>
                  </a:lnTo>
                  <a:lnTo>
                    <a:pt x="946" y="228"/>
                  </a:lnTo>
                  <a:lnTo>
                    <a:pt x="952" y="228"/>
                  </a:lnTo>
                  <a:lnTo>
                    <a:pt x="952" y="228"/>
                  </a:lnTo>
                  <a:lnTo>
                    <a:pt x="952" y="228"/>
                  </a:lnTo>
                  <a:lnTo>
                    <a:pt x="952" y="228"/>
                  </a:lnTo>
                  <a:close/>
                  <a:moveTo>
                    <a:pt x="790" y="238"/>
                  </a:moveTo>
                  <a:lnTo>
                    <a:pt x="790" y="234"/>
                  </a:lnTo>
                  <a:lnTo>
                    <a:pt x="794" y="234"/>
                  </a:lnTo>
                  <a:lnTo>
                    <a:pt x="800" y="234"/>
                  </a:lnTo>
                  <a:lnTo>
                    <a:pt x="794" y="238"/>
                  </a:lnTo>
                  <a:lnTo>
                    <a:pt x="790" y="238"/>
                  </a:lnTo>
                  <a:lnTo>
                    <a:pt x="790" y="238"/>
                  </a:lnTo>
                  <a:lnTo>
                    <a:pt x="790" y="238"/>
                  </a:lnTo>
                  <a:lnTo>
                    <a:pt x="790" y="238"/>
                  </a:lnTo>
                  <a:lnTo>
                    <a:pt x="790" y="238"/>
                  </a:lnTo>
                  <a:close/>
                  <a:moveTo>
                    <a:pt x="800" y="234"/>
                  </a:moveTo>
                  <a:lnTo>
                    <a:pt x="800" y="234"/>
                  </a:lnTo>
                  <a:lnTo>
                    <a:pt x="800" y="238"/>
                  </a:lnTo>
                  <a:lnTo>
                    <a:pt x="806" y="238"/>
                  </a:lnTo>
                  <a:lnTo>
                    <a:pt x="800" y="238"/>
                  </a:lnTo>
                  <a:lnTo>
                    <a:pt x="800" y="234"/>
                  </a:lnTo>
                  <a:lnTo>
                    <a:pt x="800" y="234"/>
                  </a:lnTo>
                  <a:lnTo>
                    <a:pt x="800" y="234"/>
                  </a:lnTo>
                  <a:lnTo>
                    <a:pt x="800" y="234"/>
                  </a:lnTo>
                  <a:lnTo>
                    <a:pt x="800" y="234"/>
                  </a:lnTo>
                  <a:close/>
                  <a:moveTo>
                    <a:pt x="1510" y="238"/>
                  </a:moveTo>
                  <a:lnTo>
                    <a:pt x="1516" y="238"/>
                  </a:lnTo>
                  <a:lnTo>
                    <a:pt x="1510" y="238"/>
                  </a:lnTo>
                  <a:lnTo>
                    <a:pt x="1510" y="238"/>
                  </a:lnTo>
                  <a:lnTo>
                    <a:pt x="1510" y="238"/>
                  </a:lnTo>
                  <a:lnTo>
                    <a:pt x="1510" y="238"/>
                  </a:lnTo>
                  <a:close/>
                  <a:moveTo>
                    <a:pt x="730" y="238"/>
                  </a:moveTo>
                  <a:lnTo>
                    <a:pt x="730" y="238"/>
                  </a:lnTo>
                  <a:lnTo>
                    <a:pt x="730" y="238"/>
                  </a:lnTo>
                  <a:lnTo>
                    <a:pt x="730" y="238"/>
                  </a:lnTo>
                  <a:lnTo>
                    <a:pt x="730" y="238"/>
                  </a:lnTo>
                  <a:lnTo>
                    <a:pt x="730" y="238"/>
                  </a:lnTo>
                  <a:lnTo>
                    <a:pt x="730" y="238"/>
                  </a:lnTo>
                  <a:lnTo>
                    <a:pt x="730" y="238"/>
                  </a:lnTo>
                  <a:close/>
                  <a:moveTo>
                    <a:pt x="800" y="242"/>
                  </a:moveTo>
                  <a:lnTo>
                    <a:pt x="800" y="242"/>
                  </a:lnTo>
                  <a:lnTo>
                    <a:pt x="806" y="242"/>
                  </a:lnTo>
                  <a:lnTo>
                    <a:pt x="800" y="242"/>
                  </a:lnTo>
                  <a:lnTo>
                    <a:pt x="800" y="242"/>
                  </a:lnTo>
                  <a:lnTo>
                    <a:pt x="800" y="242"/>
                  </a:lnTo>
                  <a:lnTo>
                    <a:pt x="800" y="242"/>
                  </a:lnTo>
                  <a:lnTo>
                    <a:pt x="800" y="242"/>
                  </a:lnTo>
                  <a:close/>
                  <a:moveTo>
                    <a:pt x="766" y="248"/>
                  </a:moveTo>
                  <a:lnTo>
                    <a:pt x="766" y="242"/>
                  </a:lnTo>
                  <a:lnTo>
                    <a:pt x="772" y="242"/>
                  </a:lnTo>
                  <a:lnTo>
                    <a:pt x="778" y="242"/>
                  </a:lnTo>
                  <a:lnTo>
                    <a:pt x="778" y="242"/>
                  </a:lnTo>
                  <a:lnTo>
                    <a:pt x="778" y="248"/>
                  </a:lnTo>
                  <a:lnTo>
                    <a:pt x="778" y="242"/>
                  </a:lnTo>
                  <a:lnTo>
                    <a:pt x="778" y="248"/>
                  </a:lnTo>
                  <a:lnTo>
                    <a:pt x="778" y="248"/>
                  </a:lnTo>
                  <a:lnTo>
                    <a:pt x="778" y="248"/>
                  </a:lnTo>
                  <a:lnTo>
                    <a:pt x="778" y="248"/>
                  </a:lnTo>
                  <a:lnTo>
                    <a:pt x="778" y="248"/>
                  </a:lnTo>
                  <a:lnTo>
                    <a:pt x="772" y="248"/>
                  </a:lnTo>
                  <a:lnTo>
                    <a:pt x="772" y="248"/>
                  </a:lnTo>
                  <a:lnTo>
                    <a:pt x="766" y="248"/>
                  </a:lnTo>
                  <a:lnTo>
                    <a:pt x="766" y="248"/>
                  </a:lnTo>
                  <a:lnTo>
                    <a:pt x="766" y="248"/>
                  </a:lnTo>
                  <a:lnTo>
                    <a:pt x="766" y="248"/>
                  </a:lnTo>
                  <a:close/>
                  <a:moveTo>
                    <a:pt x="1446" y="248"/>
                  </a:moveTo>
                  <a:lnTo>
                    <a:pt x="1446" y="248"/>
                  </a:lnTo>
                  <a:lnTo>
                    <a:pt x="1450" y="248"/>
                  </a:lnTo>
                  <a:lnTo>
                    <a:pt x="1450" y="248"/>
                  </a:lnTo>
                  <a:lnTo>
                    <a:pt x="1446" y="248"/>
                  </a:lnTo>
                  <a:lnTo>
                    <a:pt x="1446" y="248"/>
                  </a:lnTo>
                  <a:lnTo>
                    <a:pt x="1446" y="248"/>
                  </a:lnTo>
                  <a:lnTo>
                    <a:pt x="1446" y="248"/>
                  </a:lnTo>
                  <a:close/>
                  <a:moveTo>
                    <a:pt x="1542" y="248"/>
                  </a:moveTo>
                  <a:lnTo>
                    <a:pt x="1542" y="248"/>
                  </a:lnTo>
                  <a:lnTo>
                    <a:pt x="1548" y="248"/>
                  </a:lnTo>
                  <a:lnTo>
                    <a:pt x="1548" y="248"/>
                  </a:lnTo>
                  <a:lnTo>
                    <a:pt x="1542" y="248"/>
                  </a:lnTo>
                  <a:lnTo>
                    <a:pt x="1542" y="248"/>
                  </a:lnTo>
                  <a:lnTo>
                    <a:pt x="1542" y="248"/>
                  </a:lnTo>
                  <a:lnTo>
                    <a:pt x="1542" y="248"/>
                  </a:lnTo>
                  <a:close/>
                  <a:moveTo>
                    <a:pt x="1450" y="248"/>
                  </a:moveTo>
                  <a:lnTo>
                    <a:pt x="1456" y="248"/>
                  </a:lnTo>
                  <a:lnTo>
                    <a:pt x="1456" y="248"/>
                  </a:lnTo>
                  <a:lnTo>
                    <a:pt x="1462" y="248"/>
                  </a:lnTo>
                  <a:lnTo>
                    <a:pt x="1466" y="248"/>
                  </a:lnTo>
                  <a:lnTo>
                    <a:pt x="1466" y="254"/>
                  </a:lnTo>
                  <a:lnTo>
                    <a:pt x="1466" y="254"/>
                  </a:lnTo>
                  <a:lnTo>
                    <a:pt x="1462" y="248"/>
                  </a:lnTo>
                  <a:lnTo>
                    <a:pt x="1456" y="248"/>
                  </a:lnTo>
                  <a:lnTo>
                    <a:pt x="1450" y="248"/>
                  </a:lnTo>
                  <a:lnTo>
                    <a:pt x="1450" y="248"/>
                  </a:lnTo>
                  <a:lnTo>
                    <a:pt x="1450" y="248"/>
                  </a:lnTo>
                  <a:lnTo>
                    <a:pt x="1450" y="248"/>
                  </a:lnTo>
                  <a:lnTo>
                    <a:pt x="1450" y="248"/>
                  </a:lnTo>
                  <a:close/>
                  <a:moveTo>
                    <a:pt x="1548" y="254"/>
                  </a:moveTo>
                  <a:lnTo>
                    <a:pt x="1542" y="254"/>
                  </a:lnTo>
                  <a:lnTo>
                    <a:pt x="1542" y="248"/>
                  </a:lnTo>
                  <a:lnTo>
                    <a:pt x="1536" y="248"/>
                  </a:lnTo>
                  <a:lnTo>
                    <a:pt x="1542" y="248"/>
                  </a:lnTo>
                  <a:lnTo>
                    <a:pt x="1542" y="248"/>
                  </a:lnTo>
                  <a:lnTo>
                    <a:pt x="1548" y="248"/>
                  </a:lnTo>
                  <a:lnTo>
                    <a:pt x="1554" y="248"/>
                  </a:lnTo>
                  <a:lnTo>
                    <a:pt x="1548" y="254"/>
                  </a:lnTo>
                  <a:lnTo>
                    <a:pt x="1548" y="254"/>
                  </a:lnTo>
                  <a:lnTo>
                    <a:pt x="1548" y="254"/>
                  </a:lnTo>
                  <a:lnTo>
                    <a:pt x="1548" y="254"/>
                  </a:lnTo>
                  <a:close/>
                  <a:moveTo>
                    <a:pt x="1530" y="260"/>
                  </a:moveTo>
                  <a:lnTo>
                    <a:pt x="1536" y="260"/>
                  </a:lnTo>
                  <a:lnTo>
                    <a:pt x="1536" y="254"/>
                  </a:lnTo>
                  <a:lnTo>
                    <a:pt x="1542" y="254"/>
                  </a:lnTo>
                  <a:lnTo>
                    <a:pt x="1542" y="254"/>
                  </a:lnTo>
                  <a:lnTo>
                    <a:pt x="1542" y="260"/>
                  </a:lnTo>
                  <a:lnTo>
                    <a:pt x="1542" y="260"/>
                  </a:lnTo>
                  <a:lnTo>
                    <a:pt x="1536" y="260"/>
                  </a:lnTo>
                  <a:lnTo>
                    <a:pt x="1530" y="260"/>
                  </a:lnTo>
                  <a:lnTo>
                    <a:pt x="1530" y="260"/>
                  </a:lnTo>
                  <a:lnTo>
                    <a:pt x="1530" y="260"/>
                  </a:lnTo>
                  <a:lnTo>
                    <a:pt x="1530" y="260"/>
                  </a:lnTo>
                  <a:close/>
                  <a:moveTo>
                    <a:pt x="1516" y="270"/>
                  </a:moveTo>
                  <a:lnTo>
                    <a:pt x="1516" y="266"/>
                  </a:lnTo>
                  <a:lnTo>
                    <a:pt x="1510" y="266"/>
                  </a:lnTo>
                  <a:lnTo>
                    <a:pt x="1516" y="266"/>
                  </a:lnTo>
                  <a:lnTo>
                    <a:pt x="1516" y="270"/>
                  </a:lnTo>
                  <a:lnTo>
                    <a:pt x="1516" y="270"/>
                  </a:lnTo>
                  <a:lnTo>
                    <a:pt x="1516" y="270"/>
                  </a:lnTo>
                  <a:lnTo>
                    <a:pt x="1516" y="270"/>
                  </a:lnTo>
                  <a:close/>
                  <a:moveTo>
                    <a:pt x="1516" y="276"/>
                  </a:moveTo>
                  <a:lnTo>
                    <a:pt x="1520" y="276"/>
                  </a:lnTo>
                  <a:lnTo>
                    <a:pt x="1520" y="276"/>
                  </a:lnTo>
                  <a:lnTo>
                    <a:pt x="1516" y="276"/>
                  </a:lnTo>
                  <a:lnTo>
                    <a:pt x="1516" y="276"/>
                  </a:lnTo>
                  <a:lnTo>
                    <a:pt x="1516" y="276"/>
                  </a:lnTo>
                  <a:lnTo>
                    <a:pt x="1516" y="276"/>
                  </a:lnTo>
                  <a:lnTo>
                    <a:pt x="1516" y="276"/>
                  </a:lnTo>
                  <a:close/>
                  <a:moveTo>
                    <a:pt x="886" y="302"/>
                  </a:moveTo>
                  <a:lnTo>
                    <a:pt x="880" y="302"/>
                  </a:lnTo>
                  <a:lnTo>
                    <a:pt x="880" y="296"/>
                  </a:lnTo>
                  <a:lnTo>
                    <a:pt x="886" y="296"/>
                  </a:lnTo>
                  <a:lnTo>
                    <a:pt x="886" y="302"/>
                  </a:lnTo>
                  <a:lnTo>
                    <a:pt x="886" y="302"/>
                  </a:lnTo>
                  <a:lnTo>
                    <a:pt x="886" y="302"/>
                  </a:lnTo>
                  <a:lnTo>
                    <a:pt x="886" y="302"/>
                  </a:lnTo>
                  <a:close/>
                  <a:moveTo>
                    <a:pt x="898" y="302"/>
                  </a:moveTo>
                  <a:lnTo>
                    <a:pt x="898" y="302"/>
                  </a:lnTo>
                  <a:lnTo>
                    <a:pt x="898" y="296"/>
                  </a:lnTo>
                  <a:lnTo>
                    <a:pt x="898" y="296"/>
                  </a:lnTo>
                  <a:lnTo>
                    <a:pt x="898" y="302"/>
                  </a:lnTo>
                  <a:lnTo>
                    <a:pt x="898" y="302"/>
                  </a:lnTo>
                  <a:lnTo>
                    <a:pt x="898" y="302"/>
                  </a:lnTo>
                  <a:lnTo>
                    <a:pt x="898" y="302"/>
                  </a:lnTo>
                  <a:close/>
                  <a:moveTo>
                    <a:pt x="898" y="314"/>
                  </a:moveTo>
                  <a:lnTo>
                    <a:pt x="898" y="308"/>
                  </a:lnTo>
                  <a:lnTo>
                    <a:pt x="898" y="308"/>
                  </a:lnTo>
                  <a:lnTo>
                    <a:pt x="898" y="308"/>
                  </a:lnTo>
                  <a:lnTo>
                    <a:pt x="898" y="302"/>
                  </a:lnTo>
                  <a:lnTo>
                    <a:pt x="904" y="308"/>
                  </a:lnTo>
                  <a:lnTo>
                    <a:pt x="898" y="308"/>
                  </a:lnTo>
                  <a:lnTo>
                    <a:pt x="898" y="308"/>
                  </a:lnTo>
                  <a:lnTo>
                    <a:pt x="898" y="314"/>
                  </a:lnTo>
                  <a:lnTo>
                    <a:pt x="898" y="314"/>
                  </a:lnTo>
                  <a:lnTo>
                    <a:pt x="898" y="314"/>
                  </a:lnTo>
                  <a:lnTo>
                    <a:pt x="898" y="314"/>
                  </a:lnTo>
                  <a:lnTo>
                    <a:pt x="898" y="314"/>
                  </a:lnTo>
                  <a:close/>
                  <a:moveTo>
                    <a:pt x="530" y="314"/>
                  </a:moveTo>
                  <a:lnTo>
                    <a:pt x="524" y="308"/>
                  </a:lnTo>
                  <a:lnTo>
                    <a:pt x="530" y="308"/>
                  </a:lnTo>
                  <a:lnTo>
                    <a:pt x="530" y="314"/>
                  </a:lnTo>
                  <a:lnTo>
                    <a:pt x="530" y="314"/>
                  </a:lnTo>
                  <a:lnTo>
                    <a:pt x="530" y="314"/>
                  </a:lnTo>
                  <a:lnTo>
                    <a:pt x="530" y="314"/>
                  </a:lnTo>
                  <a:close/>
                  <a:moveTo>
                    <a:pt x="904" y="308"/>
                  </a:moveTo>
                  <a:lnTo>
                    <a:pt x="898" y="308"/>
                  </a:lnTo>
                  <a:lnTo>
                    <a:pt x="904" y="308"/>
                  </a:lnTo>
                  <a:lnTo>
                    <a:pt x="904" y="314"/>
                  </a:lnTo>
                  <a:lnTo>
                    <a:pt x="904" y="308"/>
                  </a:lnTo>
                  <a:lnTo>
                    <a:pt x="904" y="308"/>
                  </a:lnTo>
                  <a:lnTo>
                    <a:pt x="904" y="308"/>
                  </a:lnTo>
                  <a:lnTo>
                    <a:pt x="904" y="308"/>
                  </a:lnTo>
                  <a:close/>
                  <a:moveTo>
                    <a:pt x="904" y="314"/>
                  </a:moveTo>
                  <a:lnTo>
                    <a:pt x="898" y="314"/>
                  </a:lnTo>
                  <a:lnTo>
                    <a:pt x="904" y="314"/>
                  </a:lnTo>
                  <a:lnTo>
                    <a:pt x="904" y="308"/>
                  </a:lnTo>
                  <a:lnTo>
                    <a:pt x="904" y="314"/>
                  </a:lnTo>
                  <a:lnTo>
                    <a:pt x="904" y="314"/>
                  </a:lnTo>
                  <a:lnTo>
                    <a:pt x="904" y="314"/>
                  </a:lnTo>
                  <a:lnTo>
                    <a:pt x="904" y="314"/>
                  </a:lnTo>
                  <a:close/>
                  <a:moveTo>
                    <a:pt x="892" y="320"/>
                  </a:moveTo>
                  <a:lnTo>
                    <a:pt x="892" y="320"/>
                  </a:lnTo>
                  <a:lnTo>
                    <a:pt x="898" y="320"/>
                  </a:lnTo>
                  <a:lnTo>
                    <a:pt x="898" y="320"/>
                  </a:lnTo>
                  <a:lnTo>
                    <a:pt x="892" y="320"/>
                  </a:lnTo>
                  <a:lnTo>
                    <a:pt x="892" y="320"/>
                  </a:lnTo>
                  <a:lnTo>
                    <a:pt x="892" y="320"/>
                  </a:lnTo>
                  <a:lnTo>
                    <a:pt x="892" y="320"/>
                  </a:lnTo>
                  <a:close/>
                  <a:moveTo>
                    <a:pt x="670" y="342"/>
                  </a:moveTo>
                  <a:lnTo>
                    <a:pt x="670" y="342"/>
                  </a:lnTo>
                  <a:lnTo>
                    <a:pt x="670" y="342"/>
                  </a:lnTo>
                  <a:lnTo>
                    <a:pt x="670" y="342"/>
                  </a:lnTo>
                  <a:lnTo>
                    <a:pt x="670" y="342"/>
                  </a:lnTo>
                  <a:lnTo>
                    <a:pt x="670" y="342"/>
                  </a:lnTo>
                  <a:close/>
                  <a:moveTo>
                    <a:pt x="710" y="410"/>
                  </a:moveTo>
                  <a:lnTo>
                    <a:pt x="710" y="410"/>
                  </a:lnTo>
                  <a:lnTo>
                    <a:pt x="710" y="406"/>
                  </a:lnTo>
                  <a:lnTo>
                    <a:pt x="704" y="406"/>
                  </a:lnTo>
                  <a:lnTo>
                    <a:pt x="698" y="406"/>
                  </a:lnTo>
                  <a:lnTo>
                    <a:pt x="698" y="406"/>
                  </a:lnTo>
                  <a:lnTo>
                    <a:pt x="704" y="406"/>
                  </a:lnTo>
                  <a:lnTo>
                    <a:pt x="710" y="406"/>
                  </a:lnTo>
                  <a:lnTo>
                    <a:pt x="710" y="406"/>
                  </a:lnTo>
                  <a:lnTo>
                    <a:pt x="710" y="406"/>
                  </a:lnTo>
                  <a:lnTo>
                    <a:pt x="712" y="406"/>
                  </a:lnTo>
                  <a:lnTo>
                    <a:pt x="712" y="410"/>
                  </a:lnTo>
                  <a:lnTo>
                    <a:pt x="710" y="416"/>
                  </a:lnTo>
                  <a:lnTo>
                    <a:pt x="710" y="410"/>
                  </a:lnTo>
                  <a:lnTo>
                    <a:pt x="710" y="410"/>
                  </a:lnTo>
                  <a:lnTo>
                    <a:pt x="710" y="410"/>
                  </a:lnTo>
                  <a:lnTo>
                    <a:pt x="710" y="410"/>
                  </a:lnTo>
                  <a:close/>
                  <a:moveTo>
                    <a:pt x="290" y="456"/>
                  </a:moveTo>
                  <a:lnTo>
                    <a:pt x="296" y="460"/>
                  </a:lnTo>
                  <a:lnTo>
                    <a:pt x="290" y="460"/>
                  </a:lnTo>
                  <a:lnTo>
                    <a:pt x="284" y="460"/>
                  </a:lnTo>
                  <a:lnTo>
                    <a:pt x="284" y="456"/>
                  </a:lnTo>
                  <a:lnTo>
                    <a:pt x="290" y="456"/>
                  </a:lnTo>
                  <a:lnTo>
                    <a:pt x="284" y="456"/>
                  </a:lnTo>
                  <a:lnTo>
                    <a:pt x="290" y="456"/>
                  </a:lnTo>
                  <a:lnTo>
                    <a:pt x="290" y="456"/>
                  </a:lnTo>
                  <a:lnTo>
                    <a:pt x="290" y="456"/>
                  </a:lnTo>
                  <a:lnTo>
                    <a:pt x="290" y="456"/>
                  </a:lnTo>
                  <a:close/>
                  <a:moveTo>
                    <a:pt x="1850" y="584"/>
                  </a:moveTo>
                  <a:lnTo>
                    <a:pt x="1850" y="584"/>
                  </a:lnTo>
                  <a:lnTo>
                    <a:pt x="1850" y="584"/>
                  </a:lnTo>
                  <a:lnTo>
                    <a:pt x="1850" y="590"/>
                  </a:lnTo>
                  <a:lnTo>
                    <a:pt x="1850" y="584"/>
                  </a:lnTo>
                  <a:lnTo>
                    <a:pt x="1850" y="584"/>
                  </a:lnTo>
                  <a:lnTo>
                    <a:pt x="1850" y="584"/>
                  </a:lnTo>
                  <a:lnTo>
                    <a:pt x="1850" y="584"/>
                  </a:lnTo>
                  <a:close/>
                  <a:moveTo>
                    <a:pt x="1656" y="682"/>
                  </a:moveTo>
                  <a:lnTo>
                    <a:pt x="1656" y="676"/>
                  </a:lnTo>
                  <a:lnTo>
                    <a:pt x="1662" y="676"/>
                  </a:lnTo>
                  <a:lnTo>
                    <a:pt x="1662" y="676"/>
                  </a:lnTo>
                  <a:lnTo>
                    <a:pt x="1662" y="682"/>
                  </a:lnTo>
                  <a:lnTo>
                    <a:pt x="1662" y="676"/>
                  </a:lnTo>
                  <a:lnTo>
                    <a:pt x="1656" y="676"/>
                  </a:lnTo>
                  <a:lnTo>
                    <a:pt x="1656" y="682"/>
                  </a:lnTo>
                  <a:lnTo>
                    <a:pt x="1656" y="682"/>
                  </a:lnTo>
                  <a:lnTo>
                    <a:pt x="1656" y="682"/>
                  </a:lnTo>
                  <a:lnTo>
                    <a:pt x="1656" y="682"/>
                  </a:lnTo>
                  <a:close/>
                  <a:moveTo>
                    <a:pt x="1668" y="692"/>
                  </a:moveTo>
                  <a:lnTo>
                    <a:pt x="1668" y="688"/>
                  </a:lnTo>
                  <a:lnTo>
                    <a:pt x="1668" y="692"/>
                  </a:lnTo>
                  <a:lnTo>
                    <a:pt x="1668" y="692"/>
                  </a:lnTo>
                  <a:lnTo>
                    <a:pt x="1668" y="692"/>
                  </a:lnTo>
                  <a:lnTo>
                    <a:pt x="1668" y="692"/>
                  </a:lnTo>
                  <a:close/>
                  <a:moveTo>
                    <a:pt x="1672" y="692"/>
                  </a:moveTo>
                  <a:lnTo>
                    <a:pt x="1672" y="688"/>
                  </a:lnTo>
                  <a:lnTo>
                    <a:pt x="1672" y="692"/>
                  </a:lnTo>
                  <a:lnTo>
                    <a:pt x="1672" y="692"/>
                  </a:lnTo>
                  <a:lnTo>
                    <a:pt x="1672" y="692"/>
                  </a:lnTo>
                  <a:lnTo>
                    <a:pt x="1672" y="692"/>
                  </a:lnTo>
                  <a:close/>
                  <a:moveTo>
                    <a:pt x="1590" y="926"/>
                  </a:moveTo>
                  <a:lnTo>
                    <a:pt x="1586" y="926"/>
                  </a:lnTo>
                  <a:lnTo>
                    <a:pt x="1586" y="920"/>
                  </a:lnTo>
                  <a:lnTo>
                    <a:pt x="1590" y="926"/>
                  </a:lnTo>
                  <a:lnTo>
                    <a:pt x="1590" y="926"/>
                  </a:lnTo>
                  <a:lnTo>
                    <a:pt x="1590" y="926"/>
                  </a:lnTo>
                  <a:lnTo>
                    <a:pt x="1590" y="926"/>
                  </a:lnTo>
                  <a:close/>
                  <a:moveTo>
                    <a:pt x="540" y="6"/>
                  </a:moveTo>
                  <a:lnTo>
                    <a:pt x="540" y="0"/>
                  </a:lnTo>
                  <a:lnTo>
                    <a:pt x="546" y="0"/>
                  </a:lnTo>
                  <a:lnTo>
                    <a:pt x="550" y="0"/>
                  </a:lnTo>
                  <a:lnTo>
                    <a:pt x="550" y="0"/>
                  </a:lnTo>
                  <a:lnTo>
                    <a:pt x="556" y="0"/>
                  </a:lnTo>
                  <a:lnTo>
                    <a:pt x="562" y="0"/>
                  </a:lnTo>
                  <a:lnTo>
                    <a:pt x="562" y="0"/>
                  </a:lnTo>
                  <a:lnTo>
                    <a:pt x="562" y="0"/>
                  </a:lnTo>
                  <a:lnTo>
                    <a:pt x="556" y="0"/>
                  </a:lnTo>
                  <a:lnTo>
                    <a:pt x="550" y="0"/>
                  </a:lnTo>
                  <a:lnTo>
                    <a:pt x="550" y="0"/>
                  </a:lnTo>
                  <a:lnTo>
                    <a:pt x="546" y="6"/>
                  </a:lnTo>
                  <a:lnTo>
                    <a:pt x="540" y="6"/>
                  </a:lnTo>
                  <a:lnTo>
                    <a:pt x="540" y="6"/>
                  </a:lnTo>
                  <a:lnTo>
                    <a:pt x="540" y="6"/>
                  </a:lnTo>
                  <a:lnTo>
                    <a:pt x="540" y="6"/>
                  </a:lnTo>
                  <a:close/>
                  <a:moveTo>
                    <a:pt x="540" y="12"/>
                  </a:moveTo>
                  <a:lnTo>
                    <a:pt x="536" y="12"/>
                  </a:lnTo>
                  <a:lnTo>
                    <a:pt x="536" y="12"/>
                  </a:lnTo>
                  <a:lnTo>
                    <a:pt x="530" y="12"/>
                  </a:lnTo>
                  <a:lnTo>
                    <a:pt x="524" y="12"/>
                  </a:lnTo>
                  <a:lnTo>
                    <a:pt x="524" y="12"/>
                  </a:lnTo>
                  <a:lnTo>
                    <a:pt x="524" y="12"/>
                  </a:lnTo>
                  <a:lnTo>
                    <a:pt x="530" y="12"/>
                  </a:lnTo>
                  <a:lnTo>
                    <a:pt x="536" y="12"/>
                  </a:lnTo>
                  <a:lnTo>
                    <a:pt x="536" y="12"/>
                  </a:lnTo>
                  <a:lnTo>
                    <a:pt x="540" y="12"/>
                  </a:lnTo>
                  <a:lnTo>
                    <a:pt x="546" y="12"/>
                  </a:lnTo>
                  <a:lnTo>
                    <a:pt x="550" y="12"/>
                  </a:lnTo>
                  <a:lnTo>
                    <a:pt x="550" y="12"/>
                  </a:lnTo>
                  <a:lnTo>
                    <a:pt x="546" y="12"/>
                  </a:lnTo>
                  <a:lnTo>
                    <a:pt x="540" y="12"/>
                  </a:lnTo>
                  <a:lnTo>
                    <a:pt x="540" y="12"/>
                  </a:lnTo>
                  <a:lnTo>
                    <a:pt x="540" y="12"/>
                  </a:lnTo>
                  <a:lnTo>
                    <a:pt x="540" y="12"/>
                  </a:lnTo>
                  <a:close/>
                  <a:moveTo>
                    <a:pt x="508" y="16"/>
                  </a:moveTo>
                  <a:lnTo>
                    <a:pt x="502" y="16"/>
                  </a:lnTo>
                  <a:lnTo>
                    <a:pt x="508" y="16"/>
                  </a:lnTo>
                  <a:lnTo>
                    <a:pt x="512" y="16"/>
                  </a:lnTo>
                  <a:lnTo>
                    <a:pt x="512" y="16"/>
                  </a:lnTo>
                  <a:lnTo>
                    <a:pt x="518" y="16"/>
                  </a:lnTo>
                  <a:lnTo>
                    <a:pt x="524" y="16"/>
                  </a:lnTo>
                  <a:lnTo>
                    <a:pt x="518" y="16"/>
                  </a:lnTo>
                  <a:lnTo>
                    <a:pt x="518" y="12"/>
                  </a:lnTo>
                  <a:lnTo>
                    <a:pt x="524" y="12"/>
                  </a:lnTo>
                  <a:lnTo>
                    <a:pt x="524" y="12"/>
                  </a:lnTo>
                  <a:lnTo>
                    <a:pt x="530" y="12"/>
                  </a:lnTo>
                  <a:lnTo>
                    <a:pt x="536" y="16"/>
                  </a:lnTo>
                  <a:lnTo>
                    <a:pt x="536" y="16"/>
                  </a:lnTo>
                  <a:lnTo>
                    <a:pt x="540" y="16"/>
                  </a:lnTo>
                  <a:lnTo>
                    <a:pt x="536" y="16"/>
                  </a:lnTo>
                  <a:lnTo>
                    <a:pt x="536" y="16"/>
                  </a:lnTo>
                  <a:lnTo>
                    <a:pt x="530" y="16"/>
                  </a:lnTo>
                  <a:lnTo>
                    <a:pt x="524" y="16"/>
                  </a:lnTo>
                  <a:lnTo>
                    <a:pt x="524" y="20"/>
                  </a:lnTo>
                  <a:lnTo>
                    <a:pt x="518" y="20"/>
                  </a:lnTo>
                  <a:lnTo>
                    <a:pt x="518" y="16"/>
                  </a:lnTo>
                  <a:lnTo>
                    <a:pt x="512" y="16"/>
                  </a:lnTo>
                  <a:lnTo>
                    <a:pt x="512" y="20"/>
                  </a:lnTo>
                  <a:lnTo>
                    <a:pt x="512" y="20"/>
                  </a:lnTo>
                  <a:lnTo>
                    <a:pt x="508" y="20"/>
                  </a:lnTo>
                  <a:lnTo>
                    <a:pt x="508" y="16"/>
                  </a:lnTo>
                  <a:lnTo>
                    <a:pt x="508" y="16"/>
                  </a:lnTo>
                  <a:lnTo>
                    <a:pt x="508" y="16"/>
                  </a:lnTo>
                  <a:lnTo>
                    <a:pt x="508" y="16"/>
                  </a:lnTo>
                  <a:close/>
                  <a:moveTo>
                    <a:pt x="1088" y="48"/>
                  </a:moveTo>
                  <a:lnTo>
                    <a:pt x="1088" y="48"/>
                  </a:lnTo>
                  <a:lnTo>
                    <a:pt x="1082" y="48"/>
                  </a:lnTo>
                  <a:lnTo>
                    <a:pt x="1078" y="48"/>
                  </a:lnTo>
                  <a:lnTo>
                    <a:pt x="1078" y="48"/>
                  </a:lnTo>
                  <a:lnTo>
                    <a:pt x="1072" y="48"/>
                  </a:lnTo>
                  <a:lnTo>
                    <a:pt x="1066" y="48"/>
                  </a:lnTo>
                  <a:lnTo>
                    <a:pt x="1066" y="48"/>
                  </a:lnTo>
                  <a:lnTo>
                    <a:pt x="1060" y="48"/>
                  </a:lnTo>
                  <a:lnTo>
                    <a:pt x="1054" y="48"/>
                  </a:lnTo>
                  <a:lnTo>
                    <a:pt x="1054" y="54"/>
                  </a:lnTo>
                  <a:lnTo>
                    <a:pt x="1054" y="54"/>
                  </a:lnTo>
                  <a:lnTo>
                    <a:pt x="1050" y="54"/>
                  </a:lnTo>
                  <a:lnTo>
                    <a:pt x="1044" y="54"/>
                  </a:lnTo>
                  <a:lnTo>
                    <a:pt x="1038" y="54"/>
                  </a:lnTo>
                  <a:lnTo>
                    <a:pt x="1038" y="54"/>
                  </a:lnTo>
                  <a:lnTo>
                    <a:pt x="1038" y="48"/>
                  </a:lnTo>
                  <a:lnTo>
                    <a:pt x="1034" y="48"/>
                  </a:lnTo>
                  <a:lnTo>
                    <a:pt x="1028" y="48"/>
                  </a:lnTo>
                  <a:lnTo>
                    <a:pt x="1028" y="48"/>
                  </a:lnTo>
                  <a:lnTo>
                    <a:pt x="1022" y="48"/>
                  </a:lnTo>
                  <a:lnTo>
                    <a:pt x="1028" y="48"/>
                  </a:lnTo>
                  <a:lnTo>
                    <a:pt x="1028" y="48"/>
                  </a:lnTo>
                  <a:lnTo>
                    <a:pt x="1034" y="48"/>
                  </a:lnTo>
                  <a:lnTo>
                    <a:pt x="1028" y="48"/>
                  </a:lnTo>
                  <a:lnTo>
                    <a:pt x="1028" y="48"/>
                  </a:lnTo>
                  <a:lnTo>
                    <a:pt x="1028" y="48"/>
                  </a:lnTo>
                  <a:lnTo>
                    <a:pt x="1034" y="48"/>
                  </a:lnTo>
                  <a:lnTo>
                    <a:pt x="1038" y="48"/>
                  </a:lnTo>
                  <a:lnTo>
                    <a:pt x="1038" y="48"/>
                  </a:lnTo>
                  <a:lnTo>
                    <a:pt x="1038" y="48"/>
                  </a:lnTo>
                  <a:lnTo>
                    <a:pt x="1034" y="48"/>
                  </a:lnTo>
                  <a:lnTo>
                    <a:pt x="1028" y="48"/>
                  </a:lnTo>
                  <a:lnTo>
                    <a:pt x="1028" y="48"/>
                  </a:lnTo>
                  <a:lnTo>
                    <a:pt x="1022" y="48"/>
                  </a:lnTo>
                  <a:lnTo>
                    <a:pt x="1018" y="48"/>
                  </a:lnTo>
                  <a:lnTo>
                    <a:pt x="1018" y="48"/>
                  </a:lnTo>
                  <a:lnTo>
                    <a:pt x="1018" y="42"/>
                  </a:lnTo>
                  <a:lnTo>
                    <a:pt x="1018" y="42"/>
                  </a:lnTo>
                  <a:lnTo>
                    <a:pt x="1022" y="42"/>
                  </a:lnTo>
                  <a:lnTo>
                    <a:pt x="1028" y="42"/>
                  </a:lnTo>
                  <a:lnTo>
                    <a:pt x="1028" y="42"/>
                  </a:lnTo>
                  <a:lnTo>
                    <a:pt x="1028" y="42"/>
                  </a:lnTo>
                  <a:lnTo>
                    <a:pt x="1022" y="42"/>
                  </a:lnTo>
                  <a:lnTo>
                    <a:pt x="1022" y="38"/>
                  </a:lnTo>
                  <a:lnTo>
                    <a:pt x="1028" y="38"/>
                  </a:lnTo>
                  <a:lnTo>
                    <a:pt x="1028" y="38"/>
                  </a:lnTo>
                  <a:lnTo>
                    <a:pt x="1034" y="38"/>
                  </a:lnTo>
                  <a:lnTo>
                    <a:pt x="1034" y="38"/>
                  </a:lnTo>
                  <a:lnTo>
                    <a:pt x="1038" y="38"/>
                  </a:lnTo>
                  <a:lnTo>
                    <a:pt x="1038" y="32"/>
                  </a:lnTo>
                  <a:lnTo>
                    <a:pt x="1038" y="32"/>
                  </a:lnTo>
                  <a:lnTo>
                    <a:pt x="1038" y="32"/>
                  </a:lnTo>
                  <a:lnTo>
                    <a:pt x="1034" y="32"/>
                  </a:lnTo>
                  <a:lnTo>
                    <a:pt x="1028" y="32"/>
                  </a:lnTo>
                  <a:lnTo>
                    <a:pt x="1034" y="32"/>
                  </a:lnTo>
                  <a:lnTo>
                    <a:pt x="1034" y="26"/>
                  </a:lnTo>
                  <a:lnTo>
                    <a:pt x="1038" y="26"/>
                  </a:lnTo>
                  <a:lnTo>
                    <a:pt x="1038" y="26"/>
                  </a:lnTo>
                  <a:lnTo>
                    <a:pt x="1038" y="26"/>
                  </a:lnTo>
                  <a:lnTo>
                    <a:pt x="1038" y="26"/>
                  </a:lnTo>
                  <a:lnTo>
                    <a:pt x="1044" y="26"/>
                  </a:lnTo>
                  <a:lnTo>
                    <a:pt x="1050" y="26"/>
                  </a:lnTo>
                  <a:lnTo>
                    <a:pt x="1054" y="26"/>
                  </a:lnTo>
                  <a:lnTo>
                    <a:pt x="1054" y="20"/>
                  </a:lnTo>
                  <a:lnTo>
                    <a:pt x="1054" y="20"/>
                  </a:lnTo>
                  <a:lnTo>
                    <a:pt x="1060" y="20"/>
                  </a:lnTo>
                  <a:lnTo>
                    <a:pt x="1066" y="20"/>
                  </a:lnTo>
                  <a:lnTo>
                    <a:pt x="1066" y="20"/>
                  </a:lnTo>
                  <a:lnTo>
                    <a:pt x="1066" y="16"/>
                  </a:lnTo>
                  <a:lnTo>
                    <a:pt x="1072" y="16"/>
                  </a:lnTo>
                  <a:lnTo>
                    <a:pt x="1078" y="16"/>
                  </a:lnTo>
                  <a:lnTo>
                    <a:pt x="1072" y="16"/>
                  </a:lnTo>
                  <a:lnTo>
                    <a:pt x="1066" y="16"/>
                  </a:lnTo>
                  <a:lnTo>
                    <a:pt x="1072" y="16"/>
                  </a:lnTo>
                  <a:lnTo>
                    <a:pt x="1078" y="16"/>
                  </a:lnTo>
                  <a:lnTo>
                    <a:pt x="1078" y="16"/>
                  </a:lnTo>
                  <a:lnTo>
                    <a:pt x="1082" y="20"/>
                  </a:lnTo>
                  <a:lnTo>
                    <a:pt x="1088" y="26"/>
                  </a:lnTo>
                  <a:lnTo>
                    <a:pt x="1088" y="26"/>
                  </a:lnTo>
                  <a:lnTo>
                    <a:pt x="1088" y="26"/>
                  </a:lnTo>
                  <a:lnTo>
                    <a:pt x="1092" y="26"/>
                  </a:lnTo>
                  <a:lnTo>
                    <a:pt x="1104" y="26"/>
                  </a:lnTo>
                  <a:lnTo>
                    <a:pt x="1104" y="32"/>
                  </a:lnTo>
                  <a:lnTo>
                    <a:pt x="1108" y="32"/>
                  </a:lnTo>
                  <a:lnTo>
                    <a:pt x="1104" y="38"/>
                  </a:lnTo>
                  <a:lnTo>
                    <a:pt x="1104" y="38"/>
                  </a:lnTo>
                  <a:lnTo>
                    <a:pt x="1098" y="38"/>
                  </a:lnTo>
                  <a:lnTo>
                    <a:pt x="1092" y="38"/>
                  </a:lnTo>
                  <a:lnTo>
                    <a:pt x="1092" y="38"/>
                  </a:lnTo>
                  <a:lnTo>
                    <a:pt x="1098" y="38"/>
                  </a:lnTo>
                  <a:lnTo>
                    <a:pt x="1098" y="42"/>
                  </a:lnTo>
                  <a:lnTo>
                    <a:pt x="1104" y="48"/>
                  </a:lnTo>
                  <a:lnTo>
                    <a:pt x="1098" y="48"/>
                  </a:lnTo>
                  <a:lnTo>
                    <a:pt x="1092" y="48"/>
                  </a:lnTo>
                  <a:lnTo>
                    <a:pt x="1088" y="48"/>
                  </a:lnTo>
                  <a:lnTo>
                    <a:pt x="1088" y="48"/>
                  </a:lnTo>
                  <a:lnTo>
                    <a:pt x="1088" y="48"/>
                  </a:lnTo>
                  <a:lnTo>
                    <a:pt x="1088" y="48"/>
                  </a:lnTo>
                  <a:close/>
                  <a:moveTo>
                    <a:pt x="604" y="26"/>
                  </a:moveTo>
                  <a:lnTo>
                    <a:pt x="610" y="26"/>
                  </a:lnTo>
                  <a:lnTo>
                    <a:pt x="610" y="26"/>
                  </a:lnTo>
                  <a:lnTo>
                    <a:pt x="616" y="26"/>
                  </a:lnTo>
                  <a:lnTo>
                    <a:pt x="622" y="26"/>
                  </a:lnTo>
                  <a:lnTo>
                    <a:pt x="622" y="26"/>
                  </a:lnTo>
                  <a:lnTo>
                    <a:pt x="626" y="26"/>
                  </a:lnTo>
                  <a:lnTo>
                    <a:pt x="632" y="26"/>
                  </a:lnTo>
                  <a:lnTo>
                    <a:pt x="626" y="26"/>
                  </a:lnTo>
                  <a:lnTo>
                    <a:pt x="626" y="20"/>
                  </a:lnTo>
                  <a:lnTo>
                    <a:pt x="632" y="20"/>
                  </a:lnTo>
                  <a:lnTo>
                    <a:pt x="632" y="20"/>
                  </a:lnTo>
                  <a:lnTo>
                    <a:pt x="638" y="20"/>
                  </a:lnTo>
                  <a:lnTo>
                    <a:pt x="644" y="20"/>
                  </a:lnTo>
                  <a:lnTo>
                    <a:pt x="644" y="20"/>
                  </a:lnTo>
                  <a:lnTo>
                    <a:pt x="644" y="26"/>
                  </a:lnTo>
                  <a:lnTo>
                    <a:pt x="644" y="26"/>
                  </a:lnTo>
                  <a:lnTo>
                    <a:pt x="644" y="32"/>
                  </a:lnTo>
                  <a:lnTo>
                    <a:pt x="638" y="32"/>
                  </a:lnTo>
                  <a:lnTo>
                    <a:pt x="632" y="32"/>
                  </a:lnTo>
                  <a:lnTo>
                    <a:pt x="632" y="32"/>
                  </a:lnTo>
                  <a:lnTo>
                    <a:pt x="626" y="32"/>
                  </a:lnTo>
                  <a:lnTo>
                    <a:pt x="622" y="32"/>
                  </a:lnTo>
                  <a:lnTo>
                    <a:pt x="622" y="32"/>
                  </a:lnTo>
                  <a:lnTo>
                    <a:pt x="622" y="38"/>
                  </a:lnTo>
                  <a:lnTo>
                    <a:pt x="616" y="38"/>
                  </a:lnTo>
                  <a:lnTo>
                    <a:pt x="610" y="38"/>
                  </a:lnTo>
                  <a:lnTo>
                    <a:pt x="610" y="32"/>
                  </a:lnTo>
                  <a:lnTo>
                    <a:pt x="610" y="32"/>
                  </a:lnTo>
                  <a:lnTo>
                    <a:pt x="604" y="32"/>
                  </a:lnTo>
                  <a:lnTo>
                    <a:pt x="604" y="26"/>
                  </a:lnTo>
                  <a:lnTo>
                    <a:pt x="604" y="26"/>
                  </a:lnTo>
                  <a:lnTo>
                    <a:pt x="604" y="26"/>
                  </a:lnTo>
                  <a:lnTo>
                    <a:pt x="604" y="26"/>
                  </a:lnTo>
                  <a:close/>
                  <a:moveTo>
                    <a:pt x="492" y="26"/>
                  </a:moveTo>
                  <a:lnTo>
                    <a:pt x="492" y="20"/>
                  </a:lnTo>
                  <a:lnTo>
                    <a:pt x="496" y="20"/>
                  </a:lnTo>
                  <a:lnTo>
                    <a:pt x="496" y="26"/>
                  </a:lnTo>
                  <a:lnTo>
                    <a:pt x="502" y="26"/>
                  </a:lnTo>
                  <a:lnTo>
                    <a:pt x="502" y="26"/>
                  </a:lnTo>
                  <a:lnTo>
                    <a:pt x="508" y="26"/>
                  </a:lnTo>
                  <a:lnTo>
                    <a:pt x="512" y="26"/>
                  </a:lnTo>
                  <a:lnTo>
                    <a:pt x="512" y="26"/>
                  </a:lnTo>
                  <a:lnTo>
                    <a:pt x="518" y="26"/>
                  </a:lnTo>
                  <a:lnTo>
                    <a:pt x="524" y="26"/>
                  </a:lnTo>
                  <a:lnTo>
                    <a:pt x="524" y="26"/>
                  </a:lnTo>
                  <a:lnTo>
                    <a:pt x="524" y="26"/>
                  </a:lnTo>
                  <a:lnTo>
                    <a:pt x="530" y="26"/>
                  </a:lnTo>
                  <a:lnTo>
                    <a:pt x="536" y="26"/>
                  </a:lnTo>
                  <a:lnTo>
                    <a:pt x="536" y="32"/>
                  </a:lnTo>
                  <a:lnTo>
                    <a:pt x="536" y="32"/>
                  </a:lnTo>
                  <a:lnTo>
                    <a:pt x="530" y="38"/>
                  </a:lnTo>
                  <a:lnTo>
                    <a:pt x="524" y="38"/>
                  </a:lnTo>
                  <a:lnTo>
                    <a:pt x="524" y="32"/>
                  </a:lnTo>
                  <a:lnTo>
                    <a:pt x="524" y="32"/>
                  </a:lnTo>
                  <a:lnTo>
                    <a:pt x="518" y="32"/>
                  </a:lnTo>
                  <a:lnTo>
                    <a:pt x="512" y="32"/>
                  </a:lnTo>
                  <a:lnTo>
                    <a:pt x="512" y="26"/>
                  </a:lnTo>
                  <a:lnTo>
                    <a:pt x="512" y="26"/>
                  </a:lnTo>
                  <a:lnTo>
                    <a:pt x="508" y="26"/>
                  </a:lnTo>
                  <a:lnTo>
                    <a:pt x="502" y="26"/>
                  </a:lnTo>
                  <a:lnTo>
                    <a:pt x="502" y="26"/>
                  </a:lnTo>
                  <a:lnTo>
                    <a:pt x="502" y="26"/>
                  </a:lnTo>
                  <a:lnTo>
                    <a:pt x="502" y="26"/>
                  </a:lnTo>
                  <a:lnTo>
                    <a:pt x="496" y="26"/>
                  </a:lnTo>
                  <a:lnTo>
                    <a:pt x="492" y="26"/>
                  </a:lnTo>
                  <a:lnTo>
                    <a:pt x="492" y="26"/>
                  </a:lnTo>
                  <a:lnTo>
                    <a:pt x="492" y="26"/>
                  </a:lnTo>
                  <a:lnTo>
                    <a:pt x="492" y="26"/>
                  </a:lnTo>
                  <a:close/>
                  <a:moveTo>
                    <a:pt x="384" y="48"/>
                  </a:moveTo>
                  <a:lnTo>
                    <a:pt x="384" y="42"/>
                  </a:lnTo>
                  <a:lnTo>
                    <a:pt x="390" y="42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8" y="48"/>
                  </a:lnTo>
                  <a:lnTo>
                    <a:pt x="404" y="42"/>
                  </a:lnTo>
                  <a:lnTo>
                    <a:pt x="398" y="42"/>
                  </a:lnTo>
                  <a:lnTo>
                    <a:pt x="394" y="42"/>
                  </a:lnTo>
                  <a:lnTo>
                    <a:pt x="398" y="42"/>
                  </a:lnTo>
                  <a:lnTo>
                    <a:pt x="404" y="42"/>
                  </a:lnTo>
                  <a:lnTo>
                    <a:pt x="404" y="38"/>
                  </a:lnTo>
                  <a:lnTo>
                    <a:pt x="398" y="38"/>
                  </a:lnTo>
                  <a:lnTo>
                    <a:pt x="394" y="38"/>
                  </a:lnTo>
                  <a:lnTo>
                    <a:pt x="394" y="42"/>
                  </a:lnTo>
                  <a:lnTo>
                    <a:pt x="394" y="38"/>
                  </a:lnTo>
                  <a:lnTo>
                    <a:pt x="394" y="38"/>
                  </a:lnTo>
                  <a:lnTo>
                    <a:pt x="398" y="38"/>
                  </a:lnTo>
                  <a:lnTo>
                    <a:pt x="404" y="38"/>
                  </a:lnTo>
                  <a:lnTo>
                    <a:pt x="410" y="38"/>
                  </a:lnTo>
                  <a:lnTo>
                    <a:pt x="410" y="38"/>
                  </a:lnTo>
                  <a:lnTo>
                    <a:pt x="416" y="38"/>
                  </a:lnTo>
                  <a:lnTo>
                    <a:pt x="422" y="38"/>
                  </a:lnTo>
                  <a:lnTo>
                    <a:pt x="422" y="38"/>
                  </a:lnTo>
                  <a:lnTo>
                    <a:pt x="422" y="38"/>
                  </a:lnTo>
                  <a:lnTo>
                    <a:pt x="422" y="38"/>
                  </a:lnTo>
                  <a:lnTo>
                    <a:pt x="422" y="38"/>
                  </a:lnTo>
                  <a:lnTo>
                    <a:pt x="426" y="32"/>
                  </a:lnTo>
                  <a:lnTo>
                    <a:pt x="422" y="32"/>
                  </a:lnTo>
                  <a:lnTo>
                    <a:pt x="422" y="38"/>
                  </a:lnTo>
                  <a:lnTo>
                    <a:pt x="422" y="38"/>
                  </a:lnTo>
                  <a:lnTo>
                    <a:pt x="422" y="32"/>
                  </a:lnTo>
                  <a:lnTo>
                    <a:pt x="416" y="32"/>
                  </a:lnTo>
                  <a:lnTo>
                    <a:pt x="422" y="32"/>
                  </a:lnTo>
                  <a:lnTo>
                    <a:pt x="422" y="32"/>
                  </a:lnTo>
                  <a:lnTo>
                    <a:pt x="422" y="26"/>
                  </a:lnTo>
                  <a:lnTo>
                    <a:pt x="426" y="26"/>
                  </a:lnTo>
                  <a:lnTo>
                    <a:pt x="432" y="26"/>
                  </a:lnTo>
                  <a:lnTo>
                    <a:pt x="432" y="26"/>
                  </a:lnTo>
                  <a:lnTo>
                    <a:pt x="432" y="26"/>
                  </a:lnTo>
                  <a:lnTo>
                    <a:pt x="438" y="26"/>
                  </a:lnTo>
                  <a:lnTo>
                    <a:pt x="442" y="26"/>
                  </a:lnTo>
                  <a:lnTo>
                    <a:pt x="442" y="26"/>
                  </a:lnTo>
                  <a:lnTo>
                    <a:pt x="438" y="32"/>
                  </a:lnTo>
                  <a:lnTo>
                    <a:pt x="432" y="32"/>
                  </a:lnTo>
                  <a:lnTo>
                    <a:pt x="438" y="32"/>
                  </a:lnTo>
                  <a:lnTo>
                    <a:pt x="442" y="32"/>
                  </a:lnTo>
                  <a:lnTo>
                    <a:pt x="442" y="32"/>
                  </a:lnTo>
                  <a:lnTo>
                    <a:pt x="448" y="32"/>
                  </a:lnTo>
                  <a:lnTo>
                    <a:pt x="454" y="32"/>
                  </a:lnTo>
                  <a:lnTo>
                    <a:pt x="454" y="38"/>
                  </a:lnTo>
                  <a:lnTo>
                    <a:pt x="448" y="38"/>
                  </a:lnTo>
                  <a:lnTo>
                    <a:pt x="442" y="38"/>
                  </a:lnTo>
                  <a:lnTo>
                    <a:pt x="442" y="38"/>
                  </a:lnTo>
                  <a:lnTo>
                    <a:pt x="442" y="38"/>
                  </a:lnTo>
                  <a:lnTo>
                    <a:pt x="438" y="38"/>
                  </a:lnTo>
                  <a:lnTo>
                    <a:pt x="432" y="38"/>
                  </a:lnTo>
                  <a:lnTo>
                    <a:pt x="432" y="38"/>
                  </a:lnTo>
                  <a:lnTo>
                    <a:pt x="426" y="38"/>
                  </a:lnTo>
                  <a:lnTo>
                    <a:pt x="426" y="42"/>
                  </a:lnTo>
                  <a:lnTo>
                    <a:pt x="422" y="42"/>
                  </a:lnTo>
                  <a:lnTo>
                    <a:pt x="422" y="42"/>
                  </a:lnTo>
                  <a:lnTo>
                    <a:pt x="416" y="42"/>
                  </a:lnTo>
                  <a:lnTo>
                    <a:pt x="410" y="42"/>
                  </a:lnTo>
                  <a:lnTo>
                    <a:pt x="410" y="48"/>
                  </a:lnTo>
                  <a:lnTo>
                    <a:pt x="416" y="48"/>
                  </a:lnTo>
                  <a:lnTo>
                    <a:pt x="416" y="48"/>
                  </a:lnTo>
                  <a:lnTo>
                    <a:pt x="410" y="48"/>
                  </a:lnTo>
                  <a:lnTo>
                    <a:pt x="410" y="48"/>
                  </a:lnTo>
                  <a:lnTo>
                    <a:pt x="410" y="48"/>
                  </a:lnTo>
                  <a:lnTo>
                    <a:pt x="410" y="48"/>
                  </a:lnTo>
                  <a:lnTo>
                    <a:pt x="404" y="48"/>
                  </a:lnTo>
                  <a:lnTo>
                    <a:pt x="398" y="48"/>
                  </a:lnTo>
                  <a:lnTo>
                    <a:pt x="394" y="48"/>
                  </a:lnTo>
                  <a:lnTo>
                    <a:pt x="394" y="54"/>
                  </a:lnTo>
                  <a:lnTo>
                    <a:pt x="394" y="48"/>
                  </a:lnTo>
                  <a:lnTo>
                    <a:pt x="398" y="48"/>
                  </a:lnTo>
                  <a:lnTo>
                    <a:pt x="398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0" y="48"/>
                  </a:lnTo>
                  <a:lnTo>
                    <a:pt x="384" y="48"/>
                  </a:lnTo>
                  <a:lnTo>
                    <a:pt x="384" y="48"/>
                  </a:lnTo>
                  <a:lnTo>
                    <a:pt x="384" y="48"/>
                  </a:lnTo>
                  <a:lnTo>
                    <a:pt x="384" y="48"/>
                  </a:lnTo>
                  <a:lnTo>
                    <a:pt x="384" y="48"/>
                  </a:lnTo>
                  <a:lnTo>
                    <a:pt x="384" y="48"/>
                  </a:lnTo>
                  <a:close/>
                  <a:moveTo>
                    <a:pt x="562" y="38"/>
                  </a:moveTo>
                  <a:lnTo>
                    <a:pt x="562" y="38"/>
                  </a:lnTo>
                  <a:lnTo>
                    <a:pt x="562" y="32"/>
                  </a:lnTo>
                  <a:lnTo>
                    <a:pt x="562" y="32"/>
                  </a:lnTo>
                  <a:lnTo>
                    <a:pt x="568" y="32"/>
                  </a:lnTo>
                  <a:lnTo>
                    <a:pt x="568" y="26"/>
                  </a:lnTo>
                  <a:lnTo>
                    <a:pt x="572" y="26"/>
                  </a:lnTo>
                  <a:lnTo>
                    <a:pt x="572" y="26"/>
                  </a:lnTo>
                  <a:lnTo>
                    <a:pt x="572" y="32"/>
                  </a:lnTo>
                  <a:lnTo>
                    <a:pt x="572" y="32"/>
                  </a:lnTo>
                  <a:lnTo>
                    <a:pt x="572" y="32"/>
                  </a:lnTo>
                  <a:lnTo>
                    <a:pt x="578" y="32"/>
                  </a:lnTo>
                  <a:lnTo>
                    <a:pt x="584" y="32"/>
                  </a:lnTo>
                  <a:lnTo>
                    <a:pt x="584" y="26"/>
                  </a:lnTo>
                  <a:lnTo>
                    <a:pt x="590" y="26"/>
                  </a:lnTo>
                  <a:lnTo>
                    <a:pt x="596" y="26"/>
                  </a:lnTo>
                  <a:lnTo>
                    <a:pt x="600" y="26"/>
                  </a:lnTo>
                  <a:lnTo>
                    <a:pt x="600" y="26"/>
                  </a:lnTo>
                  <a:lnTo>
                    <a:pt x="600" y="32"/>
                  </a:lnTo>
                  <a:lnTo>
                    <a:pt x="600" y="38"/>
                  </a:lnTo>
                  <a:lnTo>
                    <a:pt x="600" y="38"/>
                  </a:lnTo>
                  <a:lnTo>
                    <a:pt x="600" y="38"/>
                  </a:lnTo>
                  <a:lnTo>
                    <a:pt x="600" y="38"/>
                  </a:lnTo>
                  <a:lnTo>
                    <a:pt x="596" y="38"/>
                  </a:lnTo>
                  <a:lnTo>
                    <a:pt x="596" y="38"/>
                  </a:lnTo>
                  <a:lnTo>
                    <a:pt x="590" y="38"/>
                  </a:lnTo>
                  <a:lnTo>
                    <a:pt x="584" y="42"/>
                  </a:lnTo>
                  <a:lnTo>
                    <a:pt x="584" y="42"/>
                  </a:lnTo>
                  <a:lnTo>
                    <a:pt x="578" y="42"/>
                  </a:lnTo>
                  <a:lnTo>
                    <a:pt x="578" y="38"/>
                  </a:lnTo>
                  <a:lnTo>
                    <a:pt x="572" y="38"/>
                  </a:lnTo>
                  <a:lnTo>
                    <a:pt x="572" y="38"/>
                  </a:lnTo>
                  <a:lnTo>
                    <a:pt x="568" y="42"/>
                  </a:lnTo>
                  <a:lnTo>
                    <a:pt x="562" y="42"/>
                  </a:lnTo>
                  <a:lnTo>
                    <a:pt x="562" y="38"/>
                  </a:lnTo>
                  <a:lnTo>
                    <a:pt x="562" y="38"/>
                  </a:lnTo>
                  <a:lnTo>
                    <a:pt x="562" y="38"/>
                  </a:lnTo>
                  <a:lnTo>
                    <a:pt x="562" y="38"/>
                  </a:lnTo>
                  <a:lnTo>
                    <a:pt x="562" y="38"/>
                  </a:lnTo>
                  <a:close/>
                  <a:moveTo>
                    <a:pt x="372" y="42"/>
                  </a:moveTo>
                  <a:lnTo>
                    <a:pt x="372" y="38"/>
                  </a:lnTo>
                  <a:lnTo>
                    <a:pt x="372" y="38"/>
                  </a:lnTo>
                  <a:lnTo>
                    <a:pt x="368" y="38"/>
                  </a:lnTo>
                  <a:lnTo>
                    <a:pt x="362" y="38"/>
                  </a:lnTo>
                  <a:lnTo>
                    <a:pt x="362" y="38"/>
                  </a:lnTo>
                  <a:lnTo>
                    <a:pt x="362" y="38"/>
                  </a:lnTo>
                  <a:lnTo>
                    <a:pt x="356" y="38"/>
                  </a:lnTo>
                  <a:lnTo>
                    <a:pt x="362" y="38"/>
                  </a:lnTo>
                  <a:lnTo>
                    <a:pt x="362" y="38"/>
                  </a:lnTo>
                  <a:lnTo>
                    <a:pt x="368" y="38"/>
                  </a:lnTo>
                  <a:lnTo>
                    <a:pt x="372" y="38"/>
                  </a:lnTo>
                  <a:lnTo>
                    <a:pt x="372" y="38"/>
                  </a:lnTo>
                  <a:lnTo>
                    <a:pt x="378" y="38"/>
                  </a:lnTo>
                  <a:lnTo>
                    <a:pt x="384" y="32"/>
                  </a:lnTo>
                  <a:lnTo>
                    <a:pt x="378" y="32"/>
                  </a:lnTo>
                  <a:lnTo>
                    <a:pt x="384" y="32"/>
                  </a:lnTo>
                  <a:lnTo>
                    <a:pt x="384" y="32"/>
                  </a:lnTo>
                  <a:lnTo>
                    <a:pt x="390" y="32"/>
                  </a:lnTo>
                  <a:lnTo>
                    <a:pt x="390" y="26"/>
                  </a:lnTo>
                  <a:lnTo>
                    <a:pt x="394" y="26"/>
                  </a:lnTo>
                  <a:lnTo>
                    <a:pt x="394" y="26"/>
                  </a:lnTo>
                  <a:lnTo>
                    <a:pt x="394" y="32"/>
                  </a:lnTo>
                  <a:lnTo>
                    <a:pt x="398" y="32"/>
                  </a:lnTo>
                  <a:lnTo>
                    <a:pt x="404" y="32"/>
                  </a:lnTo>
                  <a:lnTo>
                    <a:pt x="410" y="32"/>
                  </a:lnTo>
                  <a:lnTo>
                    <a:pt x="410" y="32"/>
                  </a:lnTo>
                  <a:lnTo>
                    <a:pt x="410" y="32"/>
                  </a:lnTo>
                  <a:lnTo>
                    <a:pt x="410" y="38"/>
                  </a:lnTo>
                  <a:lnTo>
                    <a:pt x="410" y="38"/>
                  </a:lnTo>
                  <a:lnTo>
                    <a:pt x="404" y="38"/>
                  </a:lnTo>
                  <a:lnTo>
                    <a:pt x="398" y="38"/>
                  </a:lnTo>
                  <a:lnTo>
                    <a:pt x="398" y="32"/>
                  </a:lnTo>
                  <a:lnTo>
                    <a:pt x="394" y="32"/>
                  </a:lnTo>
                  <a:lnTo>
                    <a:pt x="394" y="32"/>
                  </a:lnTo>
                  <a:lnTo>
                    <a:pt x="394" y="38"/>
                  </a:lnTo>
                  <a:lnTo>
                    <a:pt x="390" y="38"/>
                  </a:lnTo>
                  <a:lnTo>
                    <a:pt x="384" y="38"/>
                  </a:lnTo>
                  <a:lnTo>
                    <a:pt x="384" y="38"/>
                  </a:lnTo>
                  <a:lnTo>
                    <a:pt x="378" y="38"/>
                  </a:lnTo>
                  <a:lnTo>
                    <a:pt x="384" y="38"/>
                  </a:lnTo>
                  <a:lnTo>
                    <a:pt x="378" y="38"/>
                  </a:lnTo>
                  <a:lnTo>
                    <a:pt x="372" y="42"/>
                  </a:lnTo>
                  <a:lnTo>
                    <a:pt x="372" y="42"/>
                  </a:lnTo>
                  <a:lnTo>
                    <a:pt x="372" y="42"/>
                  </a:lnTo>
                  <a:lnTo>
                    <a:pt x="372" y="42"/>
                  </a:lnTo>
                  <a:close/>
                  <a:moveTo>
                    <a:pt x="536" y="48"/>
                  </a:moveTo>
                  <a:lnTo>
                    <a:pt x="536" y="48"/>
                  </a:lnTo>
                  <a:lnTo>
                    <a:pt x="530" y="48"/>
                  </a:lnTo>
                  <a:lnTo>
                    <a:pt x="530" y="42"/>
                  </a:lnTo>
                  <a:lnTo>
                    <a:pt x="530" y="38"/>
                  </a:lnTo>
                  <a:lnTo>
                    <a:pt x="524" y="38"/>
                  </a:lnTo>
                  <a:lnTo>
                    <a:pt x="530" y="38"/>
                  </a:lnTo>
                  <a:lnTo>
                    <a:pt x="536" y="38"/>
                  </a:lnTo>
                  <a:lnTo>
                    <a:pt x="536" y="38"/>
                  </a:lnTo>
                  <a:lnTo>
                    <a:pt x="540" y="38"/>
                  </a:lnTo>
                  <a:lnTo>
                    <a:pt x="550" y="38"/>
                  </a:lnTo>
                  <a:lnTo>
                    <a:pt x="550" y="42"/>
                  </a:lnTo>
                  <a:lnTo>
                    <a:pt x="556" y="42"/>
                  </a:lnTo>
                  <a:lnTo>
                    <a:pt x="562" y="42"/>
                  </a:lnTo>
                  <a:lnTo>
                    <a:pt x="562" y="48"/>
                  </a:lnTo>
                  <a:lnTo>
                    <a:pt x="550" y="42"/>
                  </a:lnTo>
                  <a:lnTo>
                    <a:pt x="550" y="42"/>
                  </a:lnTo>
                  <a:lnTo>
                    <a:pt x="550" y="48"/>
                  </a:lnTo>
                  <a:lnTo>
                    <a:pt x="546" y="48"/>
                  </a:lnTo>
                  <a:lnTo>
                    <a:pt x="540" y="48"/>
                  </a:lnTo>
                  <a:lnTo>
                    <a:pt x="546" y="48"/>
                  </a:lnTo>
                  <a:lnTo>
                    <a:pt x="550" y="48"/>
                  </a:lnTo>
                  <a:lnTo>
                    <a:pt x="550" y="48"/>
                  </a:lnTo>
                  <a:lnTo>
                    <a:pt x="546" y="48"/>
                  </a:lnTo>
                  <a:lnTo>
                    <a:pt x="540" y="48"/>
                  </a:lnTo>
                  <a:lnTo>
                    <a:pt x="540" y="48"/>
                  </a:lnTo>
                  <a:lnTo>
                    <a:pt x="540" y="48"/>
                  </a:lnTo>
                  <a:lnTo>
                    <a:pt x="536" y="48"/>
                  </a:lnTo>
                  <a:lnTo>
                    <a:pt x="536" y="48"/>
                  </a:lnTo>
                  <a:lnTo>
                    <a:pt x="536" y="48"/>
                  </a:lnTo>
                  <a:lnTo>
                    <a:pt x="536" y="48"/>
                  </a:lnTo>
                  <a:close/>
                  <a:moveTo>
                    <a:pt x="512" y="48"/>
                  </a:moveTo>
                  <a:lnTo>
                    <a:pt x="512" y="48"/>
                  </a:lnTo>
                  <a:lnTo>
                    <a:pt x="512" y="48"/>
                  </a:lnTo>
                  <a:lnTo>
                    <a:pt x="512" y="42"/>
                  </a:lnTo>
                  <a:lnTo>
                    <a:pt x="512" y="42"/>
                  </a:lnTo>
                  <a:lnTo>
                    <a:pt x="518" y="42"/>
                  </a:lnTo>
                  <a:lnTo>
                    <a:pt x="524" y="42"/>
                  </a:lnTo>
                  <a:lnTo>
                    <a:pt x="524" y="42"/>
                  </a:lnTo>
                  <a:lnTo>
                    <a:pt x="530" y="42"/>
                  </a:lnTo>
                  <a:lnTo>
                    <a:pt x="530" y="48"/>
                  </a:lnTo>
                  <a:lnTo>
                    <a:pt x="530" y="48"/>
                  </a:lnTo>
                  <a:lnTo>
                    <a:pt x="524" y="48"/>
                  </a:lnTo>
                  <a:lnTo>
                    <a:pt x="524" y="54"/>
                  </a:lnTo>
                  <a:lnTo>
                    <a:pt x="524" y="54"/>
                  </a:lnTo>
                  <a:lnTo>
                    <a:pt x="524" y="48"/>
                  </a:lnTo>
                  <a:lnTo>
                    <a:pt x="518" y="48"/>
                  </a:lnTo>
                  <a:lnTo>
                    <a:pt x="512" y="48"/>
                  </a:lnTo>
                  <a:lnTo>
                    <a:pt x="512" y="48"/>
                  </a:lnTo>
                  <a:lnTo>
                    <a:pt x="508" y="48"/>
                  </a:lnTo>
                  <a:lnTo>
                    <a:pt x="512" y="48"/>
                  </a:lnTo>
                  <a:lnTo>
                    <a:pt x="512" y="48"/>
                  </a:lnTo>
                  <a:lnTo>
                    <a:pt x="512" y="48"/>
                  </a:lnTo>
                  <a:lnTo>
                    <a:pt x="512" y="48"/>
                  </a:lnTo>
                  <a:close/>
                  <a:moveTo>
                    <a:pt x="1038" y="70"/>
                  </a:moveTo>
                  <a:lnTo>
                    <a:pt x="1038" y="70"/>
                  </a:lnTo>
                  <a:lnTo>
                    <a:pt x="1038" y="70"/>
                  </a:lnTo>
                  <a:lnTo>
                    <a:pt x="1038" y="70"/>
                  </a:lnTo>
                  <a:lnTo>
                    <a:pt x="1034" y="66"/>
                  </a:lnTo>
                  <a:lnTo>
                    <a:pt x="1038" y="66"/>
                  </a:lnTo>
                  <a:lnTo>
                    <a:pt x="1038" y="70"/>
                  </a:lnTo>
                  <a:lnTo>
                    <a:pt x="1038" y="70"/>
                  </a:lnTo>
                  <a:lnTo>
                    <a:pt x="1044" y="66"/>
                  </a:lnTo>
                  <a:lnTo>
                    <a:pt x="1050" y="66"/>
                  </a:lnTo>
                  <a:lnTo>
                    <a:pt x="1050" y="60"/>
                  </a:lnTo>
                  <a:lnTo>
                    <a:pt x="1054" y="60"/>
                  </a:lnTo>
                  <a:lnTo>
                    <a:pt x="1054" y="60"/>
                  </a:lnTo>
                  <a:lnTo>
                    <a:pt x="1060" y="60"/>
                  </a:lnTo>
                  <a:lnTo>
                    <a:pt x="1060" y="60"/>
                  </a:lnTo>
                  <a:lnTo>
                    <a:pt x="1054" y="60"/>
                  </a:lnTo>
                  <a:lnTo>
                    <a:pt x="1054" y="54"/>
                  </a:lnTo>
                  <a:lnTo>
                    <a:pt x="1060" y="54"/>
                  </a:lnTo>
                  <a:lnTo>
                    <a:pt x="1066" y="54"/>
                  </a:lnTo>
                  <a:lnTo>
                    <a:pt x="1066" y="48"/>
                  </a:lnTo>
                  <a:lnTo>
                    <a:pt x="1066" y="48"/>
                  </a:lnTo>
                  <a:lnTo>
                    <a:pt x="1066" y="54"/>
                  </a:lnTo>
                  <a:lnTo>
                    <a:pt x="1072" y="54"/>
                  </a:lnTo>
                  <a:lnTo>
                    <a:pt x="1072" y="48"/>
                  </a:lnTo>
                  <a:lnTo>
                    <a:pt x="1078" y="48"/>
                  </a:lnTo>
                  <a:lnTo>
                    <a:pt x="1078" y="48"/>
                  </a:lnTo>
                  <a:lnTo>
                    <a:pt x="1082" y="48"/>
                  </a:lnTo>
                  <a:lnTo>
                    <a:pt x="1088" y="48"/>
                  </a:lnTo>
                  <a:lnTo>
                    <a:pt x="1088" y="48"/>
                  </a:lnTo>
                  <a:lnTo>
                    <a:pt x="1092" y="48"/>
                  </a:lnTo>
                  <a:lnTo>
                    <a:pt x="1098" y="48"/>
                  </a:lnTo>
                  <a:lnTo>
                    <a:pt x="1104" y="48"/>
                  </a:lnTo>
                  <a:lnTo>
                    <a:pt x="1104" y="48"/>
                  </a:lnTo>
                  <a:lnTo>
                    <a:pt x="1108" y="54"/>
                  </a:lnTo>
                  <a:lnTo>
                    <a:pt x="1104" y="60"/>
                  </a:lnTo>
                  <a:lnTo>
                    <a:pt x="1104" y="60"/>
                  </a:lnTo>
                  <a:lnTo>
                    <a:pt x="1098" y="60"/>
                  </a:lnTo>
                  <a:lnTo>
                    <a:pt x="1104" y="60"/>
                  </a:lnTo>
                  <a:lnTo>
                    <a:pt x="1104" y="60"/>
                  </a:lnTo>
                  <a:lnTo>
                    <a:pt x="1104" y="60"/>
                  </a:lnTo>
                  <a:lnTo>
                    <a:pt x="1108" y="60"/>
                  </a:lnTo>
                  <a:lnTo>
                    <a:pt x="1108" y="60"/>
                  </a:lnTo>
                  <a:lnTo>
                    <a:pt x="1114" y="60"/>
                  </a:lnTo>
                  <a:lnTo>
                    <a:pt x="1114" y="54"/>
                  </a:lnTo>
                  <a:lnTo>
                    <a:pt x="1120" y="54"/>
                  </a:lnTo>
                  <a:lnTo>
                    <a:pt x="1120" y="54"/>
                  </a:lnTo>
                  <a:lnTo>
                    <a:pt x="1126" y="54"/>
                  </a:lnTo>
                  <a:lnTo>
                    <a:pt x="1132" y="54"/>
                  </a:lnTo>
                  <a:lnTo>
                    <a:pt x="1132" y="60"/>
                  </a:lnTo>
                  <a:lnTo>
                    <a:pt x="1136" y="60"/>
                  </a:lnTo>
                  <a:lnTo>
                    <a:pt x="1136" y="60"/>
                  </a:lnTo>
                  <a:lnTo>
                    <a:pt x="1136" y="60"/>
                  </a:lnTo>
                  <a:lnTo>
                    <a:pt x="1136" y="60"/>
                  </a:lnTo>
                  <a:lnTo>
                    <a:pt x="1136" y="66"/>
                  </a:lnTo>
                  <a:lnTo>
                    <a:pt x="1132" y="66"/>
                  </a:lnTo>
                  <a:lnTo>
                    <a:pt x="1132" y="70"/>
                  </a:lnTo>
                  <a:lnTo>
                    <a:pt x="1132" y="70"/>
                  </a:lnTo>
                  <a:lnTo>
                    <a:pt x="1136" y="70"/>
                  </a:lnTo>
                  <a:lnTo>
                    <a:pt x="1132" y="70"/>
                  </a:lnTo>
                  <a:lnTo>
                    <a:pt x="1132" y="74"/>
                  </a:lnTo>
                  <a:lnTo>
                    <a:pt x="1126" y="74"/>
                  </a:lnTo>
                  <a:lnTo>
                    <a:pt x="1126" y="70"/>
                  </a:lnTo>
                  <a:lnTo>
                    <a:pt x="1120" y="70"/>
                  </a:lnTo>
                  <a:lnTo>
                    <a:pt x="1120" y="74"/>
                  </a:lnTo>
                  <a:lnTo>
                    <a:pt x="1126" y="74"/>
                  </a:lnTo>
                  <a:lnTo>
                    <a:pt x="1132" y="74"/>
                  </a:lnTo>
                  <a:lnTo>
                    <a:pt x="1132" y="80"/>
                  </a:lnTo>
                  <a:lnTo>
                    <a:pt x="1136" y="80"/>
                  </a:lnTo>
                  <a:lnTo>
                    <a:pt x="1136" y="86"/>
                  </a:lnTo>
                  <a:lnTo>
                    <a:pt x="1132" y="86"/>
                  </a:lnTo>
                  <a:lnTo>
                    <a:pt x="1126" y="86"/>
                  </a:lnTo>
                  <a:lnTo>
                    <a:pt x="1120" y="86"/>
                  </a:lnTo>
                  <a:lnTo>
                    <a:pt x="1120" y="86"/>
                  </a:lnTo>
                  <a:lnTo>
                    <a:pt x="1114" y="86"/>
                  </a:lnTo>
                  <a:lnTo>
                    <a:pt x="1114" y="92"/>
                  </a:lnTo>
                  <a:lnTo>
                    <a:pt x="1108" y="86"/>
                  </a:lnTo>
                  <a:lnTo>
                    <a:pt x="1108" y="86"/>
                  </a:lnTo>
                  <a:lnTo>
                    <a:pt x="1104" y="86"/>
                  </a:lnTo>
                  <a:lnTo>
                    <a:pt x="1104" y="86"/>
                  </a:lnTo>
                  <a:lnTo>
                    <a:pt x="1098" y="86"/>
                  </a:lnTo>
                  <a:lnTo>
                    <a:pt x="1092" y="86"/>
                  </a:lnTo>
                  <a:lnTo>
                    <a:pt x="1092" y="86"/>
                  </a:lnTo>
                  <a:lnTo>
                    <a:pt x="1088" y="86"/>
                  </a:lnTo>
                  <a:lnTo>
                    <a:pt x="1088" y="86"/>
                  </a:lnTo>
                  <a:lnTo>
                    <a:pt x="1082" y="86"/>
                  </a:lnTo>
                  <a:lnTo>
                    <a:pt x="1088" y="86"/>
                  </a:lnTo>
                  <a:lnTo>
                    <a:pt x="1082" y="86"/>
                  </a:lnTo>
                  <a:lnTo>
                    <a:pt x="1078" y="86"/>
                  </a:lnTo>
                  <a:lnTo>
                    <a:pt x="1078" y="86"/>
                  </a:lnTo>
                  <a:lnTo>
                    <a:pt x="1078" y="80"/>
                  </a:lnTo>
                  <a:lnTo>
                    <a:pt x="1072" y="80"/>
                  </a:lnTo>
                  <a:lnTo>
                    <a:pt x="1066" y="80"/>
                  </a:lnTo>
                  <a:lnTo>
                    <a:pt x="1066" y="80"/>
                  </a:lnTo>
                  <a:lnTo>
                    <a:pt x="1060" y="80"/>
                  </a:lnTo>
                  <a:lnTo>
                    <a:pt x="1060" y="74"/>
                  </a:lnTo>
                  <a:lnTo>
                    <a:pt x="1054" y="74"/>
                  </a:lnTo>
                  <a:lnTo>
                    <a:pt x="1054" y="70"/>
                  </a:lnTo>
                  <a:lnTo>
                    <a:pt x="1054" y="70"/>
                  </a:lnTo>
                  <a:lnTo>
                    <a:pt x="1054" y="70"/>
                  </a:lnTo>
                  <a:lnTo>
                    <a:pt x="1050" y="70"/>
                  </a:lnTo>
                  <a:lnTo>
                    <a:pt x="1054" y="70"/>
                  </a:lnTo>
                  <a:lnTo>
                    <a:pt x="1050" y="70"/>
                  </a:lnTo>
                  <a:lnTo>
                    <a:pt x="1050" y="66"/>
                  </a:lnTo>
                  <a:lnTo>
                    <a:pt x="1044" y="70"/>
                  </a:lnTo>
                  <a:lnTo>
                    <a:pt x="1038" y="70"/>
                  </a:lnTo>
                  <a:lnTo>
                    <a:pt x="1038" y="70"/>
                  </a:lnTo>
                  <a:lnTo>
                    <a:pt x="1038" y="70"/>
                  </a:lnTo>
                  <a:lnTo>
                    <a:pt x="1038" y="70"/>
                  </a:lnTo>
                  <a:close/>
                  <a:moveTo>
                    <a:pt x="1012" y="54"/>
                  </a:moveTo>
                  <a:lnTo>
                    <a:pt x="1006" y="54"/>
                  </a:lnTo>
                  <a:lnTo>
                    <a:pt x="1012" y="54"/>
                  </a:lnTo>
                  <a:lnTo>
                    <a:pt x="1018" y="54"/>
                  </a:lnTo>
                  <a:lnTo>
                    <a:pt x="1018" y="54"/>
                  </a:lnTo>
                  <a:lnTo>
                    <a:pt x="1022" y="54"/>
                  </a:lnTo>
                  <a:lnTo>
                    <a:pt x="1028" y="54"/>
                  </a:lnTo>
                  <a:lnTo>
                    <a:pt x="1028" y="54"/>
                  </a:lnTo>
                  <a:lnTo>
                    <a:pt x="1034" y="54"/>
                  </a:lnTo>
                  <a:lnTo>
                    <a:pt x="1038" y="54"/>
                  </a:lnTo>
                  <a:lnTo>
                    <a:pt x="1038" y="54"/>
                  </a:lnTo>
                  <a:lnTo>
                    <a:pt x="1044" y="54"/>
                  </a:lnTo>
                  <a:lnTo>
                    <a:pt x="1050" y="60"/>
                  </a:lnTo>
                  <a:lnTo>
                    <a:pt x="1044" y="60"/>
                  </a:lnTo>
                  <a:lnTo>
                    <a:pt x="1044" y="60"/>
                  </a:lnTo>
                  <a:lnTo>
                    <a:pt x="1038" y="60"/>
                  </a:lnTo>
                  <a:lnTo>
                    <a:pt x="1038" y="60"/>
                  </a:lnTo>
                  <a:lnTo>
                    <a:pt x="1034" y="60"/>
                  </a:lnTo>
                  <a:lnTo>
                    <a:pt x="1034" y="66"/>
                  </a:lnTo>
                  <a:lnTo>
                    <a:pt x="1028" y="66"/>
                  </a:lnTo>
                  <a:lnTo>
                    <a:pt x="1028" y="66"/>
                  </a:lnTo>
                  <a:lnTo>
                    <a:pt x="1022" y="66"/>
                  </a:lnTo>
                  <a:lnTo>
                    <a:pt x="1022" y="60"/>
                  </a:lnTo>
                  <a:lnTo>
                    <a:pt x="1028" y="60"/>
                  </a:lnTo>
                  <a:lnTo>
                    <a:pt x="1022" y="60"/>
                  </a:lnTo>
                  <a:lnTo>
                    <a:pt x="1018" y="60"/>
                  </a:lnTo>
                  <a:lnTo>
                    <a:pt x="1012" y="60"/>
                  </a:lnTo>
                  <a:lnTo>
                    <a:pt x="1012" y="54"/>
                  </a:lnTo>
                  <a:lnTo>
                    <a:pt x="1012" y="54"/>
                  </a:lnTo>
                  <a:lnTo>
                    <a:pt x="1012" y="54"/>
                  </a:lnTo>
                  <a:lnTo>
                    <a:pt x="1012" y="54"/>
                  </a:lnTo>
                  <a:close/>
                  <a:moveTo>
                    <a:pt x="1136" y="66"/>
                  </a:moveTo>
                  <a:lnTo>
                    <a:pt x="1136" y="60"/>
                  </a:lnTo>
                  <a:lnTo>
                    <a:pt x="1136" y="60"/>
                  </a:lnTo>
                  <a:lnTo>
                    <a:pt x="1142" y="66"/>
                  </a:lnTo>
                  <a:lnTo>
                    <a:pt x="1136" y="66"/>
                  </a:lnTo>
                  <a:lnTo>
                    <a:pt x="1136" y="66"/>
                  </a:lnTo>
                  <a:lnTo>
                    <a:pt x="1136" y="66"/>
                  </a:lnTo>
                  <a:lnTo>
                    <a:pt x="1136" y="66"/>
                  </a:lnTo>
                  <a:lnTo>
                    <a:pt x="1136" y="66"/>
                  </a:lnTo>
                  <a:close/>
                  <a:moveTo>
                    <a:pt x="806" y="70"/>
                  </a:moveTo>
                  <a:lnTo>
                    <a:pt x="800" y="70"/>
                  </a:lnTo>
                  <a:lnTo>
                    <a:pt x="800" y="66"/>
                  </a:lnTo>
                  <a:lnTo>
                    <a:pt x="800" y="66"/>
                  </a:lnTo>
                  <a:lnTo>
                    <a:pt x="806" y="66"/>
                  </a:lnTo>
                  <a:lnTo>
                    <a:pt x="812" y="66"/>
                  </a:lnTo>
                  <a:lnTo>
                    <a:pt x="812" y="66"/>
                  </a:lnTo>
                  <a:lnTo>
                    <a:pt x="812" y="70"/>
                  </a:lnTo>
                  <a:lnTo>
                    <a:pt x="818" y="70"/>
                  </a:lnTo>
                  <a:lnTo>
                    <a:pt x="822" y="70"/>
                  </a:lnTo>
                  <a:lnTo>
                    <a:pt x="818" y="70"/>
                  </a:lnTo>
                  <a:lnTo>
                    <a:pt x="812" y="70"/>
                  </a:lnTo>
                  <a:lnTo>
                    <a:pt x="812" y="70"/>
                  </a:lnTo>
                  <a:lnTo>
                    <a:pt x="806" y="70"/>
                  </a:lnTo>
                  <a:lnTo>
                    <a:pt x="806" y="70"/>
                  </a:lnTo>
                  <a:lnTo>
                    <a:pt x="806" y="70"/>
                  </a:lnTo>
                  <a:lnTo>
                    <a:pt x="806" y="70"/>
                  </a:lnTo>
                  <a:close/>
                  <a:moveTo>
                    <a:pt x="1018" y="70"/>
                  </a:moveTo>
                  <a:lnTo>
                    <a:pt x="1022" y="70"/>
                  </a:lnTo>
                  <a:lnTo>
                    <a:pt x="1028" y="70"/>
                  </a:lnTo>
                  <a:lnTo>
                    <a:pt x="1028" y="70"/>
                  </a:lnTo>
                  <a:lnTo>
                    <a:pt x="1028" y="70"/>
                  </a:lnTo>
                  <a:lnTo>
                    <a:pt x="1028" y="70"/>
                  </a:lnTo>
                  <a:lnTo>
                    <a:pt x="1022" y="70"/>
                  </a:lnTo>
                  <a:lnTo>
                    <a:pt x="1018" y="70"/>
                  </a:lnTo>
                  <a:lnTo>
                    <a:pt x="1018" y="70"/>
                  </a:lnTo>
                  <a:lnTo>
                    <a:pt x="1018" y="70"/>
                  </a:lnTo>
                  <a:lnTo>
                    <a:pt x="1018" y="70"/>
                  </a:lnTo>
                  <a:close/>
                  <a:moveTo>
                    <a:pt x="1028" y="70"/>
                  </a:moveTo>
                  <a:lnTo>
                    <a:pt x="1034" y="70"/>
                  </a:lnTo>
                  <a:lnTo>
                    <a:pt x="1038" y="70"/>
                  </a:lnTo>
                  <a:lnTo>
                    <a:pt x="1038" y="70"/>
                  </a:lnTo>
                  <a:lnTo>
                    <a:pt x="1034" y="70"/>
                  </a:lnTo>
                  <a:lnTo>
                    <a:pt x="1028" y="70"/>
                  </a:lnTo>
                  <a:lnTo>
                    <a:pt x="1028" y="70"/>
                  </a:lnTo>
                  <a:lnTo>
                    <a:pt x="1028" y="70"/>
                  </a:lnTo>
                  <a:lnTo>
                    <a:pt x="1028" y="70"/>
                  </a:lnTo>
                  <a:close/>
                  <a:moveTo>
                    <a:pt x="1206" y="96"/>
                  </a:moveTo>
                  <a:lnTo>
                    <a:pt x="1206" y="96"/>
                  </a:lnTo>
                  <a:lnTo>
                    <a:pt x="1206" y="102"/>
                  </a:lnTo>
                  <a:lnTo>
                    <a:pt x="1200" y="102"/>
                  </a:lnTo>
                  <a:lnTo>
                    <a:pt x="1196" y="102"/>
                  </a:lnTo>
                  <a:lnTo>
                    <a:pt x="1196" y="102"/>
                  </a:lnTo>
                  <a:lnTo>
                    <a:pt x="1190" y="102"/>
                  </a:lnTo>
                  <a:lnTo>
                    <a:pt x="1186" y="102"/>
                  </a:lnTo>
                  <a:lnTo>
                    <a:pt x="1186" y="108"/>
                  </a:lnTo>
                  <a:lnTo>
                    <a:pt x="1180" y="108"/>
                  </a:lnTo>
                  <a:lnTo>
                    <a:pt x="1174" y="108"/>
                  </a:lnTo>
                  <a:lnTo>
                    <a:pt x="1168" y="108"/>
                  </a:lnTo>
                  <a:lnTo>
                    <a:pt x="1168" y="108"/>
                  </a:lnTo>
                  <a:lnTo>
                    <a:pt x="1162" y="108"/>
                  </a:lnTo>
                  <a:lnTo>
                    <a:pt x="1158" y="108"/>
                  </a:lnTo>
                  <a:lnTo>
                    <a:pt x="1158" y="108"/>
                  </a:lnTo>
                  <a:lnTo>
                    <a:pt x="1152" y="108"/>
                  </a:lnTo>
                  <a:lnTo>
                    <a:pt x="1146" y="108"/>
                  </a:lnTo>
                  <a:lnTo>
                    <a:pt x="1146" y="108"/>
                  </a:lnTo>
                  <a:lnTo>
                    <a:pt x="1146" y="108"/>
                  </a:lnTo>
                  <a:lnTo>
                    <a:pt x="1142" y="108"/>
                  </a:lnTo>
                  <a:lnTo>
                    <a:pt x="1136" y="114"/>
                  </a:lnTo>
                  <a:lnTo>
                    <a:pt x="1136" y="114"/>
                  </a:lnTo>
                  <a:lnTo>
                    <a:pt x="1132" y="114"/>
                  </a:lnTo>
                  <a:lnTo>
                    <a:pt x="1126" y="114"/>
                  </a:lnTo>
                  <a:lnTo>
                    <a:pt x="1126" y="108"/>
                  </a:lnTo>
                  <a:lnTo>
                    <a:pt x="1132" y="108"/>
                  </a:lnTo>
                  <a:lnTo>
                    <a:pt x="1136" y="102"/>
                  </a:lnTo>
                  <a:lnTo>
                    <a:pt x="1136" y="102"/>
                  </a:lnTo>
                  <a:lnTo>
                    <a:pt x="1136" y="96"/>
                  </a:lnTo>
                  <a:lnTo>
                    <a:pt x="1136" y="92"/>
                  </a:lnTo>
                  <a:lnTo>
                    <a:pt x="1142" y="92"/>
                  </a:lnTo>
                  <a:lnTo>
                    <a:pt x="1146" y="86"/>
                  </a:lnTo>
                  <a:lnTo>
                    <a:pt x="1146" y="92"/>
                  </a:lnTo>
                  <a:lnTo>
                    <a:pt x="1152" y="92"/>
                  </a:lnTo>
                  <a:lnTo>
                    <a:pt x="1146" y="86"/>
                  </a:lnTo>
                  <a:lnTo>
                    <a:pt x="1146" y="86"/>
                  </a:lnTo>
                  <a:lnTo>
                    <a:pt x="1146" y="86"/>
                  </a:lnTo>
                  <a:lnTo>
                    <a:pt x="1152" y="86"/>
                  </a:lnTo>
                  <a:lnTo>
                    <a:pt x="1158" y="86"/>
                  </a:lnTo>
                  <a:lnTo>
                    <a:pt x="1158" y="86"/>
                  </a:lnTo>
                  <a:lnTo>
                    <a:pt x="1158" y="86"/>
                  </a:lnTo>
                  <a:lnTo>
                    <a:pt x="1152" y="86"/>
                  </a:lnTo>
                  <a:lnTo>
                    <a:pt x="1152" y="80"/>
                  </a:lnTo>
                  <a:lnTo>
                    <a:pt x="1146" y="80"/>
                  </a:lnTo>
                  <a:lnTo>
                    <a:pt x="1152" y="74"/>
                  </a:lnTo>
                  <a:lnTo>
                    <a:pt x="1158" y="74"/>
                  </a:lnTo>
                  <a:lnTo>
                    <a:pt x="1158" y="70"/>
                  </a:lnTo>
                  <a:lnTo>
                    <a:pt x="1158" y="70"/>
                  </a:lnTo>
                  <a:lnTo>
                    <a:pt x="1162" y="70"/>
                  </a:lnTo>
                  <a:lnTo>
                    <a:pt x="1162" y="74"/>
                  </a:lnTo>
                  <a:lnTo>
                    <a:pt x="1168" y="74"/>
                  </a:lnTo>
                  <a:lnTo>
                    <a:pt x="1168" y="70"/>
                  </a:lnTo>
                  <a:lnTo>
                    <a:pt x="1168" y="70"/>
                  </a:lnTo>
                  <a:lnTo>
                    <a:pt x="1168" y="70"/>
                  </a:lnTo>
                  <a:lnTo>
                    <a:pt x="1168" y="70"/>
                  </a:lnTo>
                  <a:lnTo>
                    <a:pt x="1174" y="70"/>
                  </a:lnTo>
                  <a:lnTo>
                    <a:pt x="1180" y="70"/>
                  </a:lnTo>
                  <a:lnTo>
                    <a:pt x="1180" y="74"/>
                  </a:lnTo>
                  <a:lnTo>
                    <a:pt x="1174" y="74"/>
                  </a:lnTo>
                  <a:lnTo>
                    <a:pt x="1174" y="80"/>
                  </a:lnTo>
                  <a:lnTo>
                    <a:pt x="1168" y="86"/>
                  </a:lnTo>
                  <a:lnTo>
                    <a:pt x="1168" y="86"/>
                  </a:lnTo>
                  <a:lnTo>
                    <a:pt x="1174" y="86"/>
                  </a:lnTo>
                  <a:lnTo>
                    <a:pt x="1174" y="86"/>
                  </a:lnTo>
                  <a:lnTo>
                    <a:pt x="1180" y="80"/>
                  </a:lnTo>
                  <a:lnTo>
                    <a:pt x="1186" y="80"/>
                  </a:lnTo>
                  <a:lnTo>
                    <a:pt x="1186" y="80"/>
                  </a:lnTo>
                  <a:lnTo>
                    <a:pt x="1190" y="80"/>
                  </a:lnTo>
                  <a:lnTo>
                    <a:pt x="1196" y="80"/>
                  </a:lnTo>
                  <a:lnTo>
                    <a:pt x="1196" y="86"/>
                  </a:lnTo>
                  <a:lnTo>
                    <a:pt x="1196" y="86"/>
                  </a:lnTo>
                  <a:lnTo>
                    <a:pt x="1200" y="86"/>
                  </a:lnTo>
                  <a:lnTo>
                    <a:pt x="1200" y="86"/>
                  </a:lnTo>
                  <a:lnTo>
                    <a:pt x="1200" y="92"/>
                  </a:lnTo>
                  <a:lnTo>
                    <a:pt x="1200" y="86"/>
                  </a:lnTo>
                  <a:lnTo>
                    <a:pt x="1206" y="86"/>
                  </a:lnTo>
                  <a:lnTo>
                    <a:pt x="1200" y="86"/>
                  </a:lnTo>
                  <a:lnTo>
                    <a:pt x="1206" y="86"/>
                  </a:lnTo>
                  <a:lnTo>
                    <a:pt x="1206" y="86"/>
                  </a:lnTo>
                  <a:lnTo>
                    <a:pt x="1206" y="92"/>
                  </a:lnTo>
                  <a:lnTo>
                    <a:pt x="1212" y="96"/>
                  </a:lnTo>
                  <a:lnTo>
                    <a:pt x="1212" y="96"/>
                  </a:lnTo>
                  <a:lnTo>
                    <a:pt x="1206" y="96"/>
                  </a:lnTo>
                  <a:lnTo>
                    <a:pt x="1206" y="96"/>
                  </a:lnTo>
                  <a:lnTo>
                    <a:pt x="1206" y="96"/>
                  </a:lnTo>
                  <a:lnTo>
                    <a:pt x="1206" y="96"/>
                  </a:lnTo>
                  <a:close/>
                  <a:moveTo>
                    <a:pt x="1222" y="108"/>
                  </a:moveTo>
                  <a:lnTo>
                    <a:pt x="1218" y="108"/>
                  </a:lnTo>
                  <a:lnTo>
                    <a:pt x="1218" y="102"/>
                  </a:lnTo>
                  <a:lnTo>
                    <a:pt x="1222" y="102"/>
                  </a:lnTo>
                  <a:lnTo>
                    <a:pt x="1228" y="102"/>
                  </a:lnTo>
                  <a:lnTo>
                    <a:pt x="1234" y="102"/>
                  </a:lnTo>
                  <a:lnTo>
                    <a:pt x="1228" y="102"/>
                  </a:lnTo>
                  <a:lnTo>
                    <a:pt x="1228" y="108"/>
                  </a:lnTo>
                  <a:lnTo>
                    <a:pt x="1222" y="108"/>
                  </a:lnTo>
                  <a:lnTo>
                    <a:pt x="1222" y="108"/>
                  </a:lnTo>
                  <a:lnTo>
                    <a:pt x="1222" y="108"/>
                  </a:lnTo>
                  <a:lnTo>
                    <a:pt x="1222" y="108"/>
                  </a:lnTo>
                  <a:close/>
                  <a:moveTo>
                    <a:pt x="1050" y="108"/>
                  </a:moveTo>
                  <a:lnTo>
                    <a:pt x="1044" y="108"/>
                  </a:lnTo>
                  <a:lnTo>
                    <a:pt x="1050" y="108"/>
                  </a:lnTo>
                  <a:lnTo>
                    <a:pt x="1050" y="108"/>
                  </a:lnTo>
                  <a:lnTo>
                    <a:pt x="1050" y="108"/>
                  </a:lnTo>
                  <a:lnTo>
                    <a:pt x="1050" y="108"/>
                  </a:lnTo>
                  <a:close/>
                  <a:moveTo>
                    <a:pt x="1246" y="108"/>
                  </a:moveTo>
                  <a:lnTo>
                    <a:pt x="1240" y="108"/>
                  </a:lnTo>
                  <a:lnTo>
                    <a:pt x="1234" y="108"/>
                  </a:lnTo>
                  <a:lnTo>
                    <a:pt x="1234" y="108"/>
                  </a:lnTo>
                  <a:lnTo>
                    <a:pt x="1228" y="108"/>
                  </a:lnTo>
                  <a:lnTo>
                    <a:pt x="1228" y="108"/>
                  </a:lnTo>
                  <a:lnTo>
                    <a:pt x="1234" y="108"/>
                  </a:lnTo>
                  <a:lnTo>
                    <a:pt x="1234" y="108"/>
                  </a:lnTo>
                  <a:lnTo>
                    <a:pt x="1240" y="108"/>
                  </a:lnTo>
                  <a:lnTo>
                    <a:pt x="1246" y="108"/>
                  </a:lnTo>
                  <a:lnTo>
                    <a:pt x="1246" y="108"/>
                  </a:lnTo>
                  <a:lnTo>
                    <a:pt x="1246" y="108"/>
                  </a:lnTo>
                  <a:lnTo>
                    <a:pt x="1246" y="108"/>
                  </a:lnTo>
                  <a:lnTo>
                    <a:pt x="1246" y="108"/>
                  </a:lnTo>
                  <a:lnTo>
                    <a:pt x="1246" y="108"/>
                  </a:lnTo>
                  <a:lnTo>
                    <a:pt x="1246" y="108"/>
                  </a:lnTo>
                  <a:close/>
                  <a:moveTo>
                    <a:pt x="1022" y="120"/>
                  </a:moveTo>
                  <a:lnTo>
                    <a:pt x="1018" y="120"/>
                  </a:lnTo>
                  <a:lnTo>
                    <a:pt x="1022" y="120"/>
                  </a:lnTo>
                  <a:lnTo>
                    <a:pt x="1022" y="120"/>
                  </a:lnTo>
                  <a:lnTo>
                    <a:pt x="1022" y="120"/>
                  </a:lnTo>
                  <a:lnTo>
                    <a:pt x="1022" y="120"/>
                  </a:lnTo>
                  <a:close/>
                  <a:moveTo>
                    <a:pt x="880" y="124"/>
                  </a:moveTo>
                  <a:lnTo>
                    <a:pt x="886" y="124"/>
                  </a:lnTo>
                  <a:lnTo>
                    <a:pt x="886" y="128"/>
                  </a:lnTo>
                  <a:lnTo>
                    <a:pt x="880" y="124"/>
                  </a:lnTo>
                  <a:lnTo>
                    <a:pt x="880" y="124"/>
                  </a:lnTo>
                  <a:lnTo>
                    <a:pt x="880" y="124"/>
                  </a:lnTo>
                  <a:lnTo>
                    <a:pt x="880" y="124"/>
                  </a:lnTo>
                  <a:close/>
                  <a:moveTo>
                    <a:pt x="1228" y="128"/>
                  </a:moveTo>
                  <a:lnTo>
                    <a:pt x="1234" y="124"/>
                  </a:lnTo>
                  <a:lnTo>
                    <a:pt x="1234" y="128"/>
                  </a:lnTo>
                  <a:lnTo>
                    <a:pt x="1234" y="128"/>
                  </a:lnTo>
                  <a:lnTo>
                    <a:pt x="1228" y="128"/>
                  </a:lnTo>
                  <a:lnTo>
                    <a:pt x="1228" y="128"/>
                  </a:lnTo>
                  <a:lnTo>
                    <a:pt x="1228" y="128"/>
                  </a:lnTo>
                  <a:lnTo>
                    <a:pt x="1228" y="128"/>
                  </a:lnTo>
                  <a:close/>
                  <a:moveTo>
                    <a:pt x="1240" y="128"/>
                  </a:moveTo>
                  <a:lnTo>
                    <a:pt x="1240" y="128"/>
                  </a:lnTo>
                  <a:lnTo>
                    <a:pt x="1246" y="128"/>
                  </a:lnTo>
                  <a:lnTo>
                    <a:pt x="1246" y="128"/>
                  </a:lnTo>
                  <a:lnTo>
                    <a:pt x="1246" y="128"/>
                  </a:lnTo>
                  <a:lnTo>
                    <a:pt x="1246" y="128"/>
                  </a:lnTo>
                  <a:lnTo>
                    <a:pt x="1240" y="128"/>
                  </a:lnTo>
                  <a:lnTo>
                    <a:pt x="1240" y="128"/>
                  </a:lnTo>
                  <a:lnTo>
                    <a:pt x="1240" y="128"/>
                  </a:lnTo>
                  <a:lnTo>
                    <a:pt x="1240" y="128"/>
                  </a:lnTo>
                  <a:close/>
                  <a:moveTo>
                    <a:pt x="980" y="134"/>
                  </a:moveTo>
                  <a:lnTo>
                    <a:pt x="980" y="128"/>
                  </a:lnTo>
                  <a:lnTo>
                    <a:pt x="984" y="128"/>
                  </a:lnTo>
                  <a:lnTo>
                    <a:pt x="990" y="128"/>
                  </a:lnTo>
                  <a:lnTo>
                    <a:pt x="990" y="134"/>
                  </a:lnTo>
                  <a:lnTo>
                    <a:pt x="984" y="134"/>
                  </a:lnTo>
                  <a:lnTo>
                    <a:pt x="980" y="128"/>
                  </a:lnTo>
                  <a:lnTo>
                    <a:pt x="980" y="134"/>
                  </a:lnTo>
                  <a:lnTo>
                    <a:pt x="980" y="134"/>
                  </a:lnTo>
                  <a:lnTo>
                    <a:pt x="980" y="134"/>
                  </a:lnTo>
                  <a:lnTo>
                    <a:pt x="980" y="134"/>
                  </a:lnTo>
                  <a:close/>
                  <a:moveTo>
                    <a:pt x="1088" y="128"/>
                  </a:moveTo>
                  <a:lnTo>
                    <a:pt x="1088" y="134"/>
                  </a:lnTo>
                  <a:lnTo>
                    <a:pt x="1088" y="134"/>
                  </a:lnTo>
                  <a:lnTo>
                    <a:pt x="1088" y="134"/>
                  </a:lnTo>
                  <a:lnTo>
                    <a:pt x="1082" y="140"/>
                  </a:lnTo>
                  <a:lnTo>
                    <a:pt x="1078" y="140"/>
                  </a:lnTo>
                  <a:lnTo>
                    <a:pt x="1078" y="140"/>
                  </a:lnTo>
                  <a:lnTo>
                    <a:pt x="1078" y="140"/>
                  </a:lnTo>
                  <a:lnTo>
                    <a:pt x="1078" y="140"/>
                  </a:lnTo>
                  <a:lnTo>
                    <a:pt x="1072" y="140"/>
                  </a:lnTo>
                  <a:lnTo>
                    <a:pt x="1066" y="140"/>
                  </a:lnTo>
                  <a:lnTo>
                    <a:pt x="1072" y="140"/>
                  </a:lnTo>
                  <a:lnTo>
                    <a:pt x="1078" y="134"/>
                  </a:lnTo>
                  <a:lnTo>
                    <a:pt x="1082" y="134"/>
                  </a:lnTo>
                  <a:lnTo>
                    <a:pt x="1088" y="134"/>
                  </a:lnTo>
                  <a:lnTo>
                    <a:pt x="1088" y="128"/>
                  </a:lnTo>
                  <a:lnTo>
                    <a:pt x="1088" y="128"/>
                  </a:lnTo>
                  <a:lnTo>
                    <a:pt x="1088" y="128"/>
                  </a:lnTo>
                  <a:lnTo>
                    <a:pt x="1088" y="128"/>
                  </a:lnTo>
                  <a:close/>
                  <a:moveTo>
                    <a:pt x="980" y="134"/>
                  </a:moveTo>
                  <a:lnTo>
                    <a:pt x="980" y="134"/>
                  </a:lnTo>
                  <a:lnTo>
                    <a:pt x="980" y="134"/>
                  </a:lnTo>
                  <a:lnTo>
                    <a:pt x="974" y="134"/>
                  </a:lnTo>
                  <a:lnTo>
                    <a:pt x="980" y="134"/>
                  </a:lnTo>
                  <a:lnTo>
                    <a:pt x="980" y="140"/>
                  </a:lnTo>
                  <a:lnTo>
                    <a:pt x="974" y="140"/>
                  </a:lnTo>
                  <a:lnTo>
                    <a:pt x="974" y="134"/>
                  </a:lnTo>
                  <a:lnTo>
                    <a:pt x="980" y="134"/>
                  </a:lnTo>
                  <a:lnTo>
                    <a:pt x="980" y="134"/>
                  </a:lnTo>
                  <a:lnTo>
                    <a:pt x="980" y="134"/>
                  </a:lnTo>
                  <a:lnTo>
                    <a:pt x="980" y="134"/>
                  </a:lnTo>
                  <a:close/>
                  <a:moveTo>
                    <a:pt x="1938" y="134"/>
                  </a:moveTo>
                  <a:lnTo>
                    <a:pt x="1938" y="134"/>
                  </a:lnTo>
                  <a:lnTo>
                    <a:pt x="1938" y="134"/>
                  </a:lnTo>
                  <a:lnTo>
                    <a:pt x="1938" y="134"/>
                  </a:lnTo>
                  <a:lnTo>
                    <a:pt x="1938" y="134"/>
                  </a:lnTo>
                  <a:lnTo>
                    <a:pt x="1938" y="134"/>
                  </a:lnTo>
                  <a:close/>
                  <a:moveTo>
                    <a:pt x="584" y="168"/>
                  </a:moveTo>
                  <a:lnTo>
                    <a:pt x="584" y="168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56"/>
                  </a:lnTo>
                  <a:lnTo>
                    <a:pt x="590" y="156"/>
                  </a:lnTo>
                  <a:lnTo>
                    <a:pt x="596" y="156"/>
                  </a:lnTo>
                  <a:lnTo>
                    <a:pt x="600" y="156"/>
                  </a:lnTo>
                  <a:lnTo>
                    <a:pt x="600" y="162"/>
                  </a:lnTo>
                  <a:lnTo>
                    <a:pt x="600" y="162"/>
                  </a:lnTo>
                  <a:lnTo>
                    <a:pt x="600" y="156"/>
                  </a:lnTo>
                  <a:lnTo>
                    <a:pt x="604" y="162"/>
                  </a:lnTo>
                  <a:lnTo>
                    <a:pt x="610" y="162"/>
                  </a:lnTo>
                  <a:lnTo>
                    <a:pt x="610" y="156"/>
                  </a:lnTo>
                  <a:lnTo>
                    <a:pt x="610" y="162"/>
                  </a:lnTo>
                  <a:lnTo>
                    <a:pt x="616" y="162"/>
                  </a:lnTo>
                  <a:lnTo>
                    <a:pt x="616" y="156"/>
                  </a:lnTo>
                  <a:lnTo>
                    <a:pt x="622" y="156"/>
                  </a:lnTo>
                  <a:lnTo>
                    <a:pt x="622" y="156"/>
                  </a:lnTo>
                  <a:lnTo>
                    <a:pt x="626" y="156"/>
                  </a:lnTo>
                  <a:lnTo>
                    <a:pt x="632" y="156"/>
                  </a:lnTo>
                  <a:lnTo>
                    <a:pt x="632" y="152"/>
                  </a:lnTo>
                  <a:lnTo>
                    <a:pt x="638" y="152"/>
                  </a:lnTo>
                  <a:lnTo>
                    <a:pt x="644" y="152"/>
                  </a:lnTo>
                  <a:lnTo>
                    <a:pt x="644" y="152"/>
                  </a:lnTo>
                  <a:lnTo>
                    <a:pt x="644" y="152"/>
                  </a:lnTo>
                  <a:lnTo>
                    <a:pt x="650" y="152"/>
                  </a:lnTo>
                  <a:lnTo>
                    <a:pt x="654" y="152"/>
                  </a:lnTo>
                  <a:lnTo>
                    <a:pt x="658" y="152"/>
                  </a:lnTo>
                  <a:lnTo>
                    <a:pt x="654" y="152"/>
                  </a:lnTo>
                  <a:lnTo>
                    <a:pt x="654" y="146"/>
                  </a:lnTo>
                  <a:lnTo>
                    <a:pt x="658" y="146"/>
                  </a:lnTo>
                  <a:lnTo>
                    <a:pt x="658" y="140"/>
                  </a:lnTo>
                  <a:lnTo>
                    <a:pt x="664" y="140"/>
                  </a:lnTo>
                  <a:lnTo>
                    <a:pt x="670" y="140"/>
                  </a:lnTo>
                  <a:lnTo>
                    <a:pt x="670" y="140"/>
                  </a:lnTo>
                  <a:lnTo>
                    <a:pt x="676" y="140"/>
                  </a:lnTo>
                  <a:lnTo>
                    <a:pt x="680" y="140"/>
                  </a:lnTo>
                  <a:lnTo>
                    <a:pt x="680" y="140"/>
                  </a:lnTo>
                  <a:lnTo>
                    <a:pt x="686" y="140"/>
                  </a:lnTo>
                  <a:lnTo>
                    <a:pt x="692" y="140"/>
                  </a:lnTo>
                  <a:lnTo>
                    <a:pt x="692" y="140"/>
                  </a:lnTo>
                  <a:lnTo>
                    <a:pt x="698" y="146"/>
                  </a:lnTo>
                  <a:lnTo>
                    <a:pt x="692" y="146"/>
                  </a:lnTo>
                  <a:lnTo>
                    <a:pt x="692" y="152"/>
                  </a:lnTo>
                  <a:lnTo>
                    <a:pt x="692" y="156"/>
                  </a:lnTo>
                  <a:lnTo>
                    <a:pt x="686" y="156"/>
                  </a:lnTo>
                  <a:lnTo>
                    <a:pt x="680" y="156"/>
                  </a:lnTo>
                  <a:lnTo>
                    <a:pt x="680" y="162"/>
                  </a:lnTo>
                  <a:lnTo>
                    <a:pt x="676" y="162"/>
                  </a:lnTo>
                  <a:lnTo>
                    <a:pt x="670" y="162"/>
                  </a:lnTo>
                  <a:lnTo>
                    <a:pt x="670" y="168"/>
                  </a:lnTo>
                  <a:lnTo>
                    <a:pt x="670" y="168"/>
                  </a:lnTo>
                  <a:lnTo>
                    <a:pt x="664" y="168"/>
                  </a:lnTo>
                  <a:lnTo>
                    <a:pt x="658" y="168"/>
                  </a:lnTo>
                  <a:lnTo>
                    <a:pt x="658" y="168"/>
                  </a:lnTo>
                  <a:lnTo>
                    <a:pt x="654" y="168"/>
                  </a:lnTo>
                  <a:lnTo>
                    <a:pt x="650" y="168"/>
                  </a:lnTo>
                  <a:lnTo>
                    <a:pt x="644" y="168"/>
                  </a:lnTo>
                  <a:lnTo>
                    <a:pt x="644" y="174"/>
                  </a:lnTo>
                  <a:lnTo>
                    <a:pt x="638" y="174"/>
                  </a:lnTo>
                  <a:lnTo>
                    <a:pt x="632" y="174"/>
                  </a:lnTo>
                  <a:lnTo>
                    <a:pt x="632" y="174"/>
                  </a:lnTo>
                  <a:lnTo>
                    <a:pt x="626" y="174"/>
                  </a:lnTo>
                  <a:lnTo>
                    <a:pt x="622" y="180"/>
                  </a:lnTo>
                  <a:lnTo>
                    <a:pt x="622" y="180"/>
                  </a:lnTo>
                  <a:lnTo>
                    <a:pt x="616" y="180"/>
                  </a:lnTo>
                  <a:lnTo>
                    <a:pt x="610" y="180"/>
                  </a:lnTo>
                  <a:lnTo>
                    <a:pt x="610" y="180"/>
                  </a:lnTo>
                  <a:lnTo>
                    <a:pt x="610" y="180"/>
                  </a:lnTo>
                  <a:lnTo>
                    <a:pt x="604" y="180"/>
                  </a:lnTo>
                  <a:lnTo>
                    <a:pt x="600" y="180"/>
                  </a:lnTo>
                  <a:lnTo>
                    <a:pt x="600" y="182"/>
                  </a:lnTo>
                  <a:lnTo>
                    <a:pt x="600" y="180"/>
                  </a:lnTo>
                  <a:lnTo>
                    <a:pt x="600" y="180"/>
                  </a:lnTo>
                  <a:lnTo>
                    <a:pt x="600" y="182"/>
                  </a:lnTo>
                  <a:lnTo>
                    <a:pt x="596" y="182"/>
                  </a:lnTo>
                  <a:lnTo>
                    <a:pt x="596" y="188"/>
                  </a:lnTo>
                  <a:lnTo>
                    <a:pt x="590" y="188"/>
                  </a:lnTo>
                  <a:lnTo>
                    <a:pt x="590" y="182"/>
                  </a:lnTo>
                  <a:lnTo>
                    <a:pt x="590" y="188"/>
                  </a:lnTo>
                  <a:lnTo>
                    <a:pt x="584" y="188"/>
                  </a:lnTo>
                  <a:lnTo>
                    <a:pt x="584" y="188"/>
                  </a:lnTo>
                  <a:lnTo>
                    <a:pt x="584" y="188"/>
                  </a:lnTo>
                  <a:lnTo>
                    <a:pt x="578" y="194"/>
                  </a:lnTo>
                  <a:lnTo>
                    <a:pt x="578" y="188"/>
                  </a:lnTo>
                  <a:lnTo>
                    <a:pt x="572" y="188"/>
                  </a:lnTo>
                  <a:lnTo>
                    <a:pt x="572" y="194"/>
                  </a:lnTo>
                  <a:lnTo>
                    <a:pt x="572" y="194"/>
                  </a:lnTo>
                  <a:lnTo>
                    <a:pt x="568" y="194"/>
                  </a:lnTo>
                  <a:lnTo>
                    <a:pt x="572" y="194"/>
                  </a:lnTo>
                  <a:lnTo>
                    <a:pt x="572" y="194"/>
                  </a:lnTo>
                  <a:lnTo>
                    <a:pt x="578" y="194"/>
                  </a:lnTo>
                  <a:lnTo>
                    <a:pt x="578" y="200"/>
                  </a:lnTo>
                  <a:lnTo>
                    <a:pt x="572" y="200"/>
                  </a:lnTo>
                  <a:lnTo>
                    <a:pt x="572" y="200"/>
                  </a:lnTo>
                  <a:lnTo>
                    <a:pt x="572" y="200"/>
                  </a:lnTo>
                  <a:lnTo>
                    <a:pt x="572" y="200"/>
                  </a:lnTo>
                  <a:lnTo>
                    <a:pt x="572" y="200"/>
                  </a:lnTo>
                  <a:lnTo>
                    <a:pt x="568" y="200"/>
                  </a:lnTo>
                  <a:lnTo>
                    <a:pt x="562" y="200"/>
                  </a:lnTo>
                  <a:lnTo>
                    <a:pt x="562" y="200"/>
                  </a:lnTo>
                  <a:lnTo>
                    <a:pt x="568" y="200"/>
                  </a:lnTo>
                  <a:lnTo>
                    <a:pt x="568" y="206"/>
                  </a:lnTo>
                  <a:lnTo>
                    <a:pt x="562" y="206"/>
                  </a:lnTo>
                  <a:lnTo>
                    <a:pt x="562" y="200"/>
                  </a:lnTo>
                  <a:lnTo>
                    <a:pt x="562" y="200"/>
                  </a:lnTo>
                  <a:lnTo>
                    <a:pt x="562" y="206"/>
                  </a:lnTo>
                  <a:lnTo>
                    <a:pt x="556" y="206"/>
                  </a:lnTo>
                  <a:lnTo>
                    <a:pt x="556" y="210"/>
                  </a:lnTo>
                  <a:lnTo>
                    <a:pt x="550" y="210"/>
                  </a:lnTo>
                  <a:lnTo>
                    <a:pt x="550" y="206"/>
                  </a:lnTo>
                  <a:lnTo>
                    <a:pt x="550" y="206"/>
                  </a:lnTo>
                  <a:lnTo>
                    <a:pt x="546" y="206"/>
                  </a:lnTo>
                  <a:lnTo>
                    <a:pt x="550" y="206"/>
                  </a:lnTo>
                  <a:lnTo>
                    <a:pt x="550" y="210"/>
                  </a:lnTo>
                  <a:lnTo>
                    <a:pt x="550" y="216"/>
                  </a:lnTo>
                  <a:lnTo>
                    <a:pt x="550" y="216"/>
                  </a:lnTo>
                  <a:lnTo>
                    <a:pt x="546" y="216"/>
                  </a:lnTo>
                  <a:lnTo>
                    <a:pt x="546" y="216"/>
                  </a:lnTo>
                  <a:lnTo>
                    <a:pt x="550" y="216"/>
                  </a:lnTo>
                  <a:lnTo>
                    <a:pt x="546" y="216"/>
                  </a:lnTo>
                  <a:lnTo>
                    <a:pt x="546" y="222"/>
                  </a:lnTo>
                  <a:lnTo>
                    <a:pt x="540" y="222"/>
                  </a:lnTo>
                  <a:lnTo>
                    <a:pt x="536" y="222"/>
                  </a:lnTo>
                  <a:lnTo>
                    <a:pt x="536" y="216"/>
                  </a:lnTo>
                  <a:lnTo>
                    <a:pt x="536" y="216"/>
                  </a:lnTo>
                  <a:lnTo>
                    <a:pt x="530" y="216"/>
                  </a:lnTo>
                  <a:lnTo>
                    <a:pt x="536" y="216"/>
                  </a:lnTo>
                  <a:lnTo>
                    <a:pt x="536" y="222"/>
                  </a:lnTo>
                  <a:lnTo>
                    <a:pt x="536" y="222"/>
                  </a:lnTo>
                  <a:lnTo>
                    <a:pt x="540" y="222"/>
                  </a:lnTo>
                  <a:lnTo>
                    <a:pt x="540" y="228"/>
                  </a:lnTo>
                  <a:lnTo>
                    <a:pt x="536" y="228"/>
                  </a:lnTo>
                  <a:lnTo>
                    <a:pt x="536" y="228"/>
                  </a:lnTo>
                  <a:lnTo>
                    <a:pt x="530" y="228"/>
                  </a:lnTo>
                  <a:lnTo>
                    <a:pt x="524" y="228"/>
                  </a:lnTo>
                  <a:lnTo>
                    <a:pt x="524" y="228"/>
                  </a:lnTo>
                  <a:lnTo>
                    <a:pt x="524" y="228"/>
                  </a:lnTo>
                  <a:lnTo>
                    <a:pt x="530" y="228"/>
                  </a:lnTo>
                  <a:lnTo>
                    <a:pt x="536" y="228"/>
                  </a:lnTo>
                  <a:lnTo>
                    <a:pt x="536" y="228"/>
                  </a:lnTo>
                  <a:lnTo>
                    <a:pt x="536" y="228"/>
                  </a:lnTo>
                  <a:lnTo>
                    <a:pt x="536" y="234"/>
                  </a:lnTo>
                  <a:lnTo>
                    <a:pt x="536" y="234"/>
                  </a:lnTo>
                  <a:lnTo>
                    <a:pt x="530" y="234"/>
                  </a:lnTo>
                  <a:lnTo>
                    <a:pt x="524" y="234"/>
                  </a:lnTo>
                  <a:lnTo>
                    <a:pt x="524" y="228"/>
                  </a:lnTo>
                  <a:lnTo>
                    <a:pt x="524" y="228"/>
                  </a:lnTo>
                  <a:lnTo>
                    <a:pt x="524" y="234"/>
                  </a:lnTo>
                  <a:lnTo>
                    <a:pt x="524" y="234"/>
                  </a:lnTo>
                  <a:lnTo>
                    <a:pt x="530" y="234"/>
                  </a:lnTo>
                  <a:lnTo>
                    <a:pt x="530" y="238"/>
                  </a:lnTo>
                  <a:lnTo>
                    <a:pt x="524" y="238"/>
                  </a:lnTo>
                  <a:lnTo>
                    <a:pt x="524" y="238"/>
                  </a:lnTo>
                  <a:lnTo>
                    <a:pt x="524" y="238"/>
                  </a:lnTo>
                  <a:lnTo>
                    <a:pt x="524" y="238"/>
                  </a:lnTo>
                  <a:lnTo>
                    <a:pt x="518" y="238"/>
                  </a:lnTo>
                  <a:lnTo>
                    <a:pt x="512" y="238"/>
                  </a:lnTo>
                  <a:lnTo>
                    <a:pt x="512" y="238"/>
                  </a:lnTo>
                  <a:lnTo>
                    <a:pt x="512" y="238"/>
                  </a:lnTo>
                  <a:lnTo>
                    <a:pt x="512" y="238"/>
                  </a:lnTo>
                  <a:lnTo>
                    <a:pt x="508" y="238"/>
                  </a:lnTo>
                  <a:lnTo>
                    <a:pt x="502" y="238"/>
                  </a:lnTo>
                  <a:lnTo>
                    <a:pt x="502" y="238"/>
                  </a:lnTo>
                  <a:lnTo>
                    <a:pt x="502" y="238"/>
                  </a:lnTo>
                  <a:lnTo>
                    <a:pt x="496" y="238"/>
                  </a:lnTo>
                  <a:lnTo>
                    <a:pt x="492" y="238"/>
                  </a:lnTo>
                  <a:lnTo>
                    <a:pt x="492" y="238"/>
                  </a:lnTo>
                  <a:lnTo>
                    <a:pt x="486" y="238"/>
                  </a:lnTo>
                  <a:lnTo>
                    <a:pt x="492" y="238"/>
                  </a:lnTo>
                  <a:lnTo>
                    <a:pt x="492" y="234"/>
                  </a:lnTo>
                  <a:lnTo>
                    <a:pt x="492" y="234"/>
                  </a:lnTo>
                  <a:lnTo>
                    <a:pt x="496" y="234"/>
                  </a:lnTo>
                  <a:lnTo>
                    <a:pt x="496" y="228"/>
                  </a:lnTo>
                  <a:lnTo>
                    <a:pt x="502" y="228"/>
                  </a:lnTo>
                  <a:lnTo>
                    <a:pt x="496" y="228"/>
                  </a:lnTo>
                  <a:lnTo>
                    <a:pt x="492" y="228"/>
                  </a:lnTo>
                  <a:lnTo>
                    <a:pt x="492" y="234"/>
                  </a:lnTo>
                  <a:lnTo>
                    <a:pt x="486" y="234"/>
                  </a:lnTo>
                  <a:lnTo>
                    <a:pt x="486" y="228"/>
                  </a:lnTo>
                  <a:lnTo>
                    <a:pt x="482" y="228"/>
                  </a:lnTo>
                  <a:lnTo>
                    <a:pt x="482" y="228"/>
                  </a:lnTo>
                  <a:lnTo>
                    <a:pt x="482" y="228"/>
                  </a:lnTo>
                  <a:lnTo>
                    <a:pt x="486" y="228"/>
                  </a:lnTo>
                  <a:lnTo>
                    <a:pt x="486" y="228"/>
                  </a:lnTo>
                  <a:lnTo>
                    <a:pt x="492" y="228"/>
                  </a:lnTo>
                  <a:lnTo>
                    <a:pt x="492" y="222"/>
                  </a:lnTo>
                  <a:lnTo>
                    <a:pt x="492" y="222"/>
                  </a:lnTo>
                  <a:lnTo>
                    <a:pt x="496" y="222"/>
                  </a:lnTo>
                  <a:lnTo>
                    <a:pt x="492" y="222"/>
                  </a:lnTo>
                  <a:lnTo>
                    <a:pt x="496" y="216"/>
                  </a:lnTo>
                  <a:lnTo>
                    <a:pt x="502" y="216"/>
                  </a:lnTo>
                  <a:lnTo>
                    <a:pt x="502" y="216"/>
                  </a:lnTo>
                  <a:lnTo>
                    <a:pt x="508" y="216"/>
                  </a:lnTo>
                  <a:lnTo>
                    <a:pt x="512" y="216"/>
                  </a:lnTo>
                  <a:lnTo>
                    <a:pt x="508" y="216"/>
                  </a:lnTo>
                  <a:lnTo>
                    <a:pt x="508" y="216"/>
                  </a:lnTo>
                  <a:lnTo>
                    <a:pt x="502" y="216"/>
                  </a:lnTo>
                  <a:lnTo>
                    <a:pt x="502" y="216"/>
                  </a:lnTo>
                  <a:lnTo>
                    <a:pt x="502" y="216"/>
                  </a:lnTo>
                  <a:lnTo>
                    <a:pt x="508" y="216"/>
                  </a:lnTo>
                  <a:lnTo>
                    <a:pt x="512" y="216"/>
                  </a:lnTo>
                  <a:lnTo>
                    <a:pt x="508" y="216"/>
                  </a:lnTo>
                  <a:lnTo>
                    <a:pt x="502" y="210"/>
                  </a:lnTo>
                  <a:lnTo>
                    <a:pt x="512" y="210"/>
                  </a:lnTo>
                  <a:lnTo>
                    <a:pt x="512" y="210"/>
                  </a:lnTo>
                  <a:lnTo>
                    <a:pt x="518" y="206"/>
                  </a:lnTo>
                  <a:lnTo>
                    <a:pt x="512" y="206"/>
                  </a:lnTo>
                  <a:lnTo>
                    <a:pt x="512" y="206"/>
                  </a:lnTo>
                  <a:lnTo>
                    <a:pt x="508" y="206"/>
                  </a:lnTo>
                  <a:lnTo>
                    <a:pt x="508" y="200"/>
                  </a:lnTo>
                  <a:lnTo>
                    <a:pt x="512" y="200"/>
                  </a:lnTo>
                  <a:lnTo>
                    <a:pt x="512" y="200"/>
                  </a:lnTo>
                  <a:lnTo>
                    <a:pt x="518" y="200"/>
                  </a:lnTo>
                  <a:lnTo>
                    <a:pt x="524" y="200"/>
                  </a:lnTo>
                  <a:lnTo>
                    <a:pt x="524" y="200"/>
                  </a:lnTo>
                  <a:lnTo>
                    <a:pt x="524" y="200"/>
                  </a:lnTo>
                  <a:lnTo>
                    <a:pt x="518" y="200"/>
                  </a:lnTo>
                  <a:lnTo>
                    <a:pt x="512" y="200"/>
                  </a:lnTo>
                  <a:lnTo>
                    <a:pt x="512" y="200"/>
                  </a:lnTo>
                  <a:lnTo>
                    <a:pt x="518" y="194"/>
                  </a:lnTo>
                  <a:lnTo>
                    <a:pt x="524" y="194"/>
                  </a:lnTo>
                  <a:lnTo>
                    <a:pt x="518" y="194"/>
                  </a:lnTo>
                  <a:lnTo>
                    <a:pt x="518" y="188"/>
                  </a:lnTo>
                  <a:lnTo>
                    <a:pt x="512" y="194"/>
                  </a:lnTo>
                  <a:lnTo>
                    <a:pt x="512" y="194"/>
                  </a:lnTo>
                  <a:lnTo>
                    <a:pt x="512" y="188"/>
                  </a:lnTo>
                  <a:lnTo>
                    <a:pt x="508" y="188"/>
                  </a:lnTo>
                  <a:lnTo>
                    <a:pt x="512" y="188"/>
                  </a:lnTo>
                  <a:lnTo>
                    <a:pt x="512" y="188"/>
                  </a:lnTo>
                  <a:lnTo>
                    <a:pt x="512" y="188"/>
                  </a:lnTo>
                  <a:lnTo>
                    <a:pt x="512" y="188"/>
                  </a:lnTo>
                  <a:lnTo>
                    <a:pt x="518" y="188"/>
                  </a:lnTo>
                  <a:lnTo>
                    <a:pt x="518" y="188"/>
                  </a:lnTo>
                  <a:lnTo>
                    <a:pt x="524" y="188"/>
                  </a:lnTo>
                  <a:lnTo>
                    <a:pt x="524" y="188"/>
                  </a:lnTo>
                  <a:lnTo>
                    <a:pt x="524" y="188"/>
                  </a:lnTo>
                  <a:lnTo>
                    <a:pt x="524" y="188"/>
                  </a:lnTo>
                  <a:lnTo>
                    <a:pt x="524" y="182"/>
                  </a:lnTo>
                  <a:lnTo>
                    <a:pt x="524" y="182"/>
                  </a:lnTo>
                  <a:lnTo>
                    <a:pt x="530" y="182"/>
                  </a:lnTo>
                  <a:lnTo>
                    <a:pt x="536" y="182"/>
                  </a:lnTo>
                  <a:lnTo>
                    <a:pt x="536" y="182"/>
                  </a:lnTo>
                  <a:lnTo>
                    <a:pt x="536" y="180"/>
                  </a:lnTo>
                  <a:lnTo>
                    <a:pt x="536" y="180"/>
                  </a:lnTo>
                  <a:lnTo>
                    <a:pt x="536" y="180"/>
                  </a:lnTo>
                  <a:lnTo>
                    <a:pt x="540" y="180"/>
                  </a:lnTo>
                  <a:lnTo>
                    <a:pt x="546" y="180"/>
                  </a:lnTo>
                  <a:lnTo>
                    <a:pt x="546" y="180"/>
                  </a:lnTo>
                  <a:lnTo>
                    <a:pt x="540" y="180"/>
                  </a:lnTo>
                  <a:lnTo>
                    <a:pt x="546" y="180"/>
                  </a:lnTo>
                  <a:lnTo>
                    <a:pt x="550" y="174"/>
                  </a:lnTo>
                  <a:lnTo>
                    <a:pt x="550" y="174"/>
                  </a:lnTo>
                  <a:lnTo>
                    <a:pt x="550" y="168"/>
                  </a:lnTo>
                  <a:lnTo>
                    <a:pt x="556" y="168"/>
                  </a:lnTo>
                  <a:lnTo>
                    <a:pt x="562" y="168"/>
                  </a:lnTo>
                  <a:lnTo>
                    <a:pt x="562" y="168"/>
                  </a:lnTo>
                  <a:lnTo>
                    <a:pt x="568" y="168"/>
                  </a:lnTo>
                  <a:lnTo>
                    <a:pt x="572" y="168"/>
                  </a:lnTo>
                  <a:lnTo>
                    <a:pt x="572" y="168"/>
                  </a:lnTo>
                  <a:lnTo>
                    <a:pt x="572" y="168"/>
                  </a:lnTo>
                  <a:lnTo>
                    <a:pt x="572" y="168"/>
                  </a:lnTo>
                  <a:lnTo>
                    <a:pt x="572" y="168"/>
                  </a:lnTo>
                  <a:lnTo>
                    <a:pt x="572" y="162"/>
                  </a:lnTo>
                  <a:lnTo>
                    <a:pt x="578" y="162"/>
                  </a:lnTo>
                  <a:lnTo>
                    <a:pt x="584" y="162"/>
                  </a:lnTo>
                  <a:lnTo>
                    <a:pt x="584" y="168"/>
                  </a:lnTo>
                  <a:lnTo>
                    <a:pt x="578" y="168"/>
                  </a:lnTo>
                  <a:lnTo>
                    <a:pt x="572" y="168"/>
                  </a:lnTo>
                  <a:lnTo>
                    <a:pt x="578" y="168"/>
                  </a:lnTo>
                  <a:lnTo>
                    <a:pt x="584" y="168"/>
                  </a:lnTo>
                  <a:lnTo>
                    <a:pt x="584" y="168"/>
                  </a:lnTo>
                  <a:lnTo>
                    <a:pt x="584" y="168"/>
                  </a:lnTo>
                  <a:lnTo>
                    <a:pt x="584" y="168"/>
                  </a:lnTo>
                  <a:close/>
                  <a:moveTo>
                    <a:pt x="1088" y="140"/>
                  </a:moveTo>
                  <a:lnTo>
                    <a:pt x="1082" y="140"/>
                  </a:lnTo>
                  <a:lnTo>
                    <a:pt x="1078" y="140"/>
                  </a:lnTo>
                  <a:lnTo>
                    <a:pt x="1078" y="140"/>
                  </a:lnTo>
                  <a:lnTo>
                    <a:pt x="1082" y="140"/>
                  </a:lnTo>
                  <a:lnTo>
                    <a:pt x="1088" y="140"/>
                  </a:lnTo>
                  <a:lnTo>
                    <a:pt x="1088" y="140"/>
                  </a:lnTo>
                  <a:lnTo>
                    <a:pt x="1088" y="140"/>
                  </a:lnTo>
                  <a:lnTo>
                    <a:pt x="1088" y="140"/>
                  </a:lnTo>
                  <a:close/>
                  <a:moveTo>
                    <a:pt x="1104" y="146"/>
                  </a:moveTo>
                  <a:lnTo>
                    <a:pt x="1104" y="140"/>
                  </a:lnTo>
                  <a:lnTo>
                    <a:pt x="1108" y="140"/>
                  </a:lnTo>
                  <a:lnTo>
                    <a:pt x="1108" y="146"/>
                  </a:lnTo>
                  <a:lnTo>
                    <a:pt x="1104" y="146"/>
                  </a:lnTo>
                  <a:lnTo>
                    <a:pt x="1104" y="146"/>
                  </a:lnTo>
                  <a:lnTo>
                    <a:pt x="1104" y="146"/>
                  </a:lnTo>
                  <a:lnTo>
                    <a:pt x="1104" y="146"/>
                  </a:lnTo>
                  <a:close/>
                  <a:moveTo>
                    <a:pt x="1104" y="146"/>
                  </a:moveTo>
                  <a:lnTo>
                    <a:pt x="1098" y="146"/>
                  </a:lnTo>
                  <a:lnTo>
                    <a:pt x="1104" y="146"/>
                  </a:lnTo>
                  <a:lnTo>
                    <a:pt x="1104" y="146"/>
                  </a:lnTo>
                  <a:lnTo>
                    <a:pt x="1104" y="146"/>
                  </a:lnTo>
                  <a:lnTo>
                    <a:pt x="1104" y="146"/>
                  </a:lnTo>
                  <a:close/>
                  <a:moveTo>
                    <a:pt x="1818" y="152"/>
                  </a:moveTo>
                  <a:lnTo>
                    <a:pt x="1818" y="146"/>
                  </a:lnTo>
                  <a:lnTo>
                    <a:pt x="1824" y="146"/>
                  </a:lnTo>
                  <a:lnTo>
                    <a:pt x="1830" y="146"/>
                  </a:lnTo>
                  <a:lnTo>
                    <a:pt x="1830" y="146"/>
                  </a:lnTo>
                  <a:lnTo>
                    <a:pt x="1836" y="146"/>
                  </a:lnTo>
                  <a:lnTo>
                    <a:pt x="1830" y="146"/>
                  </a:lnTo>
                  <a:lnTo>
                    <a:pt x="1830" y="152"/>
                  </a:lnTo>
                  <a:lnTo>
                    <a:pt x="1830" y="146"/>
                  </a:lnTo>
                  <a:lnTo>
                    <a:pt x="1830" y="146"/>
                  </a:lnTo>
                  <a:lnTo>
                    <a:pt x="1824" y="146"/>
                  </a:lnTo>
                  <a:lnTo>
                    <a:pt x="1824" y="152"/>
                  </a:lnTo>
                  <a:lnTo>
                    <a:pt x="1818" y="152"/>
                  </a:lnTo>
                  <a:lnTo>
                    <a:pt x="1818" y="152"/>
                  </a:lnTo>
                  <a:lnTo>
                    <a:pt x="1818" y="152"/>
                  </a:lnTo>
                  <a:lnTo>
                    <a:pt x="1818" y="152"/>
                  </a:lnTo>
                  <a:close/>
                  <a:moveTo>
                    <a:pt x="1104" y="152"/>
                  </a:moveTo>
                  <a:lnTo>
                    <a:pt x="1098" y="152"/>
                  </a:lnTo>
                  <a:lnTo>
                    <a:pt x="1098" y="146"/>
                  </a:lnTo>
                  <a:lnTo>
                    <a:pt x="1104" y="146"/>
                  </a:lnTo>
                  <a:lnTo>
                    <a:pt x="1104" y="152"/>
                  </a:lnTo>
                  <a:lnTo>
                    <a:pt x="1104" y="152"/>
                  </a:lnTo>
                  <a:lnTo>
                    <a:pt x="1104" y="152"/>
                  </a:lnTo>
                  <a:lnTo>
                    <a:pt x="1104" y="152"/>
                  </a:lnTo>
                  <a:close/>
                  <a:moveTo>
                    <a:pt x="1066" y="146"/>
                  </a:moveTo>
                  <a:lnTo>
                    <a:pt x="1072" y="152"/>
                  </a:lnTo>
                  <a:lnTo>
                    <a:pt x="1066" y="152"/>
                  </a:lnTo>
                  <a:lnTo>
                    <a:pt x="1066" y="152"/>
                  </a:lnTo>
                  <a:lnTo>
                    <a:pt x="1066" y="146"/>
                  </a:lnTo>
                  <a:lnTo>
                    <a:pt x="1066" y="146"/>
                  </a:lnTo>
                  <a:lnTo>
                    <a:pt x="1066" y="146"/>
                  </a:lnTo>
                  <a:lnTo>
                    <a:pt x="1066" y="146"/>
                  </a:lnTo>
                  <a:lnTo>
                    <a:pt x="1066" y="146"/>
                  </a:lnTo>
                  <a:close/>
                  <a:moveTo>
                    <a:pt x="1088" y="146"/>
                  </a:moveTo>
                  <a:lnTo>
                    <a:pt x="1088" y="152"/>
                  </a:lnTo>
                  <a:lnTo>
                    <a:pt x="1082" y="152"/>
                  </a:lnTo>
                  <a:lnTo>
                    <a:pt x="1078" y="152"/>
                  </a:lnTo>
                  <a:lnTo>
                    <a:pt x="1078" y="146"/>
                  </a:lnTo>
                  <a:lnTo>
                    <a:pt x="1082" y="146"/>
                  </a:lnTo>
                  <a:lnTo>
                    <a:pt x="1088" y="146"/>
                  </a:lnTo>
                  <a:lnTo>
                    <a:pt x="1088" y="146"/>
                  </a:lnTo>
                  <a:lnTo>
                    <a:pt x="1088" y="146"/>
                  </a:lnTo>
                  <a:lnTo>
                    <a:pt x="1088" y="146"/>
                  </a:lnTo>
                  <a:close/>
                  <a:moveTo>
                    <a:pt x="1054" y="152"/>
                  </a:moveTo>
                  <a:lnTo>
                    <a:pt x="1054" y="152"/>
                  </a:lnTo>
                  <a:lnTo>
                    <a:pt x="1054" y="152"/>
                  </a:lnTo>
                  <a:lnTo>
                    <a:pt x="1050" y="152"/>
                  </a:lnTo>
                  <a:lnTo>
                    <a:pt x="1054" y="152"/>
                  </a:lnTo>
                  <a:lnTo>
                    <a:pt x="1054" y="152"/>
                  </a:lnTo>
                  <a:lnTo>
                    <a:pt x="1054" y="152"/>
                  </a:lnTo>
                  <a:lnTo>
                    <a:pt x="1054" y="152"/>
                  </a:lnTo>
                  <a:close/>
                  <a:moveTo>
                    <a:pt x="1320" y="156"/>
                  </a:moveTo>
                  <a:lnTo>
                    <a:pt x="1320" y="152"/>
                  </a:lnTo>
                  <a:lnTo>
                    <a:pt x="1326" y="152"/>
                  </a:lnTo>
                  <a:lnTo>
                    <a:pt x="1326" y="156"/>
                  </a:lnTo>
                  <a:lnTo>
                    <a:pt x="1326" y="156"/>
                  </a:lnTo>
                  <a:lnTo>
                    <a:pt x="1326" y="156"/>
                  </a:lnTo>
                  <a:lnTo>
                    <a:pt x="1320" y="156"/>
                  </a:lnTo>
                  <a:lnTo>
                    <a:pt x="1320" y="156"/>
                  </a:lnTo>
                  <a:lnTo>
                    <a:pt x="1320" y="156"/>
                  </a:lnTo>
                  <a:lnTo>
                    <a:pt x="1320" y="156"/>
                  </a:lnTo>
                  <a:close/>
                  <a:moveTo>
                    <a:pt x="1088" y="162"/>
                  </a:moveTo>
                  <a:lnTo>
                    <a:pt x="1088" y="156"/>
                  </a:lnTo>
                  <a:lnTo>
                    <a:pt x="1092" y="156"/>
                  </a:lnTo>
                  <a:lnTo>
                    <a:pt x="1088" y="156"/>
                  </a:lnTo>
                  <a:lnTo>
                    <a:pt x="1088" y="162"/>
                  </a:lnTo>
                  <a:lnTo>
                    <a:pt x="1092" y="162"/>
                  </a:lnTo>
                  <a:lnTo>
                    <a:pt x="1092" y="156"/>
                  </a:lnTo>
                  <a:lnTo>
                    <a:pt x="1092" y="162"/>
                  </a:lnTo>
                  <a:lnTo>
                    <a:pt x="1088" y="162"/>
                  </a:lnTo>
                  <a:lnTo>
                    <a:pt x="1088" y="162"/>
                  </a:lnTo>
                  <a:lnTo>
                    <a:pt x="1088" y="162"/>
                  </a:lnTo>
                  <a:lnTo>
                    <a:pt x="1088" y="162"/>
                  </a:lnTo>
                  <a:close/>
                  <a:moveTo>
                    <a:pt x="1088" y="168"/>
                  </a:moveTo>
                  <a:lnTo>
                    <a:pt x="1082" y="162"/>
                  </a:lnTo>
                  <a:lnTo>
                    <a:pt x="1078" y="162"/>
                  </a:lnTo>
                  <a:lnTo>
                    <a:pt x="1078" y="162"/>
                  </a:lnTo>
                  <a:lnTo>
                    <a:pt x="1072" y="162"/>
                  </a:lnTo>
                  <a:lnTo>
                    <a:pt x="1072" y="156"/>
                  </a:lnTo>
                  <a:lnTo>
                    <a:pt x="1078" y="162"/>
                  </a:lnTo>
                  <a:lnTo>
                    <a:pt x="1078" y="156"/>
                  </a:lnTo>
                  <a:lnTo>
                    <a:pt x="1078" y="156"/>
                  </a:lnTo>
                  <a:lnTo>
                    <a:pt x="1082" y="156"/>
                  </a:lnTo>
                  <a:lnTo>
                    <a:pt x="1088" y="156"/>
                  </a:lnTo>
                  <a:lnTo>
                    <a:pt x="1088" y="156"/>
                  </a:lnTo>
                  <a:lnTo>
                    <a:pt x="1088" y="162"/>
                  </a:lnTo>
                  <a:lnTo>
                    <a:pt x="1088" y="162"/>
                  </a:lnTo>
                  <a:lnTo>
                    <a:pt x="1088" y="156"/>
                  </a:lnTo>
                  <a:lnTo>
                    <a:pt x="1082" y="162"/>
                  </a:lnTo>
                  <a:lnTo>
                    <a:pt x="1088" y="162"/>
                  </a:lnTo>
                  <a:lnTo>
                    <a:pt x="1088" y="168"/>
                  </a:lnTo>
                  <a:lnTo>
                    <a:pt x="1088" y="168"/>
                  </a:lnTo>
                  <a:lnTo>
                    <a:pt x="1088" y="168"/>
                  </a:lnTo>
                  <a:lnTo>
                    <a:pt x="1088" y="168"/>
                  </a:lnTo>
                  <a:close/>
                  <a:moveTo>
                    <a:pt x="1066" y="162"/>
                  </a:moveTo>
                  <a:lnTo>
                    <a:pt x="1066" y="156"/>
                  </a:lnTo>
                  <a:lnTo>
                    <a:pt x="1066" y="156"/>
                  </a:lnTo>
                  <a:lnTo>
                    <a:pt x="1066" y="162"/>
                  </a:lnTo>
                  <a:lnTo>
                    <a:pt x="1060" y="162"/>
                  </a:lnTo>
                  <a:lnTo>
                    <a:pt x="1054" y="162"/>
                  </a:lnTo>
                  <a:lnTo>
                    <a:pt x="1060" y="162"/>
                  </a:lnTo>
                  <a:lnTo>
                    <a:pt x="1066" y="162"/>
                  </a:lnTo>
                  <a:lnTo>
                    <a:pt x="1066" y="162"/>
                  </a:lnTo>
                  <a:lnTo>
                    <a:pt x="1066" y="162"/>
                  </a:lnTo>
                  <a:lnTo>
                    <a:pt x="1066" y="162"/>
                  </a:lnTo>
                  <a:close/>
                  <a:moveTo>
                    <a:pt x="1736" y="200"/>
                  </a:moveTo>
                  <a:lnTo>
                    <a:pt x="1732" y="200"/>
                  </a:lnTo>
                  <a:lnTo>
                    <a:pt x="1732" y="200"/>
                  </a:lnTo>
                  <a:lnTo>
                    <a:pt x="1732" y="194"/>
                  </a:lnTo>
                  <a:lnTo>
                    <a:pt x="1732" y="194"/>
                  </a:lnTo>
                  <a:lnTo>
                    <a:pt x="1732" y="194"/>
                  </a:lnTo>
                  <a:lnTo>
                    <a:pt x="1728" y="194"/>
                  </a:lnTo>
                  <a:lnTo>
                    <a:pt x="1722" y="194"/>
                  </a:lnTo>
                  <a:lnTo>
                    <a:pt x="1722" y="194"/>
                  </a:lnTo>
                  <a:lnTo>
                    <a:pt x="1716" y="194"/>
                  </a:lnTo>
                  <a:lnTo>
                    <a:pt x="1710" y="200"/>
                  </a:lnTo>
                  <a:lnTo>
                    <a:pt x="1710" y="200"/>
                  </a:lnTo>
                  <a:lnTo>
                    <a:pt x="1704" y="200"/>
                  </a:lnTo>
                  <a:lnTo>
                    <a:pt x="1700" y="194"/>
                  </a:lnTo>
                  <a:lnTo>
                    <a:pt x="1700" y="194"/>
                  </a:lnTo>
                  <a:lnTo>
                    <a:pt x="1694" y="194"/>
                  </a:lnTo>
                  <a:lnTo>
                    <a:pt x="1694" y="200"/>
                  </a:lnTo>
                  <a:lnTo>
                    <a:pt x="1700" y="200"/>
                  </a:lnTo>
                  <a:lnTo>
                    <a:pt x="1694" y="200"/>
                  </a:lnTo>
                  <a:lnTo>
                    <a:pt x="1694" y="200"/>
                  </a:lnTo>
                  <a:lnTo>
                    <a:pt x="1688" y="200"/>
                  </a:lnTo>
                  <a:lnTo>
                    <a:pt x="1688" y="200"/>
                  </a:lnTo>
                  <a:lnTo>
                    <a:pt x="1682" y="200"/>
                  </a:lnTo>
                  <a:lnTo>
                    <a:pt x="1678" y="200"/>
                  </a:lnTo>
                  <a:lnTo>
                    <a:pt x="1678" y="200"/>
                  </a:lnTo>
                  <a:lnTo>
                    <a:pt x="1672" y="200"/>
                  </a:lnTo>
                  <a:lnTo>
                    <a:pt x="1672" y="200"/>
                  </a:lnTo>
                  <a:lnTo>
                    <a:pt x="1672" y="194"/>
                  </a:lnTo>
                  <a:lnTo>
                    <a:pt x="1668" y="194"/>
                  </a:lnTo>
                  <a:lnTo>
                    <a:pt x="1668" y="188"/>
                  </a:lnTo>
                  <a:lnTo>
                    <a:pt x="1662" y="188"/>
                  </a:lnTo>
                  <a:lnTo>
                    <a:pt x="1662" y="188"/>
                  </a:lnTo>
                  <a:lnTo>
                    <a:pt x="1662" y="188"/>
                  </a:lnTo>
                  <a:lnTo>
                    <a:pt x="1656" y="182"/>
                  </a:lnTo>
                  <a:lnTo>
                    <a:pt x="1662" y="182"/>
                  </a:lnTo>
                  <a:lnTo>
                    <a:pt x="1662" y="182"/>
                  </a:lnTo>
                  <a:lnTo>
                    <a:pt x="1668" y="182"/>
                  </a:lnTo>
                  <a:lnTo>
                    <a:pt x="1662" y="182"/>
                  </a:lnTo>
                  <a:lnTo>
                    <a:pt x="1662" y="182"/>
                  </a:lnTo>
                  <a:lnTo>
                    <a:pt x="1662" y="180"/>
                  </a:lnTo>
                  <a:lnTo>
                    <a:pt x="1662" y="180"/>
                  </a:lnTo>
                  <a:lnTo>
                    <a:pt x="1662" y="180"/>
                  </a:lnTo>
                  <a:lnTo>
                    <a:pt x="1662" y="180"/>
                  </a:lnTo>
                  <a:lnTo>
                    <a:pt x="1662" y="180"/>
                  </a:lnTo>
                  <a:lnTo>
                    <a:pt x="1662" y="180"/>
                  </a:lnTo>
                  <a:lnTo>
                    <a:pt x="1662" y="180"/>
                  </a:lnTo>
                  <a:lnTo>
                    <a:pt x="1662" y="180"/>
                  </a:lnTo>
                  <a:lnTo>
                    <a:pt x="1662" y="174"/>
                  </a:lnTo>
                  <a:lnTo>
                    <a:pt x="1662" y="174"/>
                  </a:lnTo>
                  <a:lnTo>
                    <a:pt x="1668" y="174"/>
                  </a:lnTo>
                  <a:lnTo>
                    <a:pt x="1672" y="174"/>
                  </a:lnTo>
                  <a:lnTo>
                    <a:pt x="1668" y="174"/>
                  </a:lnTo>
                  <a:lnTo>
                    <a:pt x="1668" y="168"/>
                  </a:lnTo>
                  <a:lnTo>
                    <a:pt x="1662" y="168"/>
                  </a:lnTo>
                  <a:lnTo>
                    <a:pt x="1668" y="168"/>
                  </a:lnTo>
                  <a:lnTo>
                    <a:pt x="1672" y="168"/>
                  </a:lnTo>
                  <a:lnTo>
                    <a:pt x="1672" y="168"/>
                  </a:lnTo>
                  <a:lnTo>
                    <a:pt x="1672" y="162"/>
                  </a:lnTo>
                  <a:lnTo>
                    <a:pt x="1678" y="162"/>
                  </a:lnTo>
                  <a:lnTo>
                    <a:pt x="1678" y="168"/>
                  </a:lnTo>
                  <a:lnTo>
                    <a:pt x="1678" y="162"/>
                  </a:lnTo>
                  <a:lnTo>
                    <a:pt x="1682" y="162"/>
                  </a:lnTo>
                  <a:lnTo>
                    <a:pt x="1688" y="162"/>
                  </a:lnTo>
                  <a:lnTo>
                    <a:pt x="1688" y="162"/>
                  </a:lnTo>
                  <a:lnTo>
                    <a:pt x="1688" y="168"/>
                  </a:lnTo>
                  <a:lnTo>
                    <a:pt x="1694" y="168"/>
                  </a:lnTo>
                  <a:lnTo>
                    <a:pt x="1700" y="168"/>
                  </a:lnTo>
                  <a:lnTo>
                    <a:pt x="1700" y="168"/>
                  </a:lnTo>
                  <a:lnTo>
                    <a:pt x="1700" y="168"/>
                  </a:lnTo>
                  <a:lnTo>
                    <a:pt x="1700" y="174"/>
                  </a:lnTo>
                  <a:lnTo>
                    <a:pt x="1704" y="174"/>
                  </a:lnTo>
                  <a:lnTo>
                    <a:pt x="1710" y="174"/>
                  </a:lnTo>
                  <a:lnTo>
                    <a:pt x="1710" y="180"/>
                  </a:lnTo>
                  <a:lnTo>
                    <a:pt x="1710" y="180"/>
                  </a:lnTo>
                  <a:lnTo>
                    <a:pt x="1716" y="180"/>
                  </a:lnTo>
                  <a:lnTo>
                    <a:pt x="1716" y="174"/>
                  </a:lnTo>
                  <a:lnTo>
                    <a:pt x="1716" y="168"/>
                  </a:lnTo>
                  <a:lnTo>
                    <a:pt x="1716" y="168"/>
                  </a:lnTo>
                  <a:lnTo>
                    <a:pt x="1722" y="168"/>
                  </a:lnTo>
                  <a:lnTo>
                    <a:pt x="1722" y="168"/>
                  </a:lnTo>
                  <a:lnTo>
                    <a:pt x="1722" y="162"/>
                  </a:lnTo>
                  <a:lnTo>
                    <a:pt x="1722" y="162"/>
                  </a:lnTo>
                  <a:lnTo>
                    <a:pt x="1722" y="162"/>
                  </a:lnTo>
                  <a:lnTo>
                    <a:pt x="1728" y="168"/>
                  </a:lnTo>
                  <a:lnTo>
                    <a:pt x="1732" y="168"/>
                  </a:lnTo>
                  <a:lnTo>
                    <a:pt x="1732" y="168"/>
                  </a:lnTo>
                  <a:lnTo>
                    <a:pt x="1736" y="168"/>
                  </a:lnTo>
                  <a:lnTo>
                    <a:pt x="1736" y="174"/>
                  </a:lnTo>
                  <a:lnTo>
                    <a:pt x="1742" y="174"/>
                  </a:lnTo>
                  <a:lnTo>
                    <a:pt x="1748" y="174"/>
                  </a:lnTo>
                  <a:lnTo>
                    <a:pt x="1748" y="174"/>
                  </a:lnTo>
                  <a:lnTo>
                    <a:pt x="1754" y="168"/>
                  </a:lnTo>
                  <a:lnTo>
                    <a:pt x="1758" y="174"/>
                  </a:lnTo>
                  <a:lnTo>
                    <a:pt x="1758" y="174"/>
                  </a:lnTo>
                  <a:lnTo>
                    <a:pt x="1764" y="180"/>
                  </a:lnTo>
                  <a:lnTo>
                    <a:pt x="1770" y="180"/>
                  </a:lnTo>
                  <a:lnTo>
                    <a:pt x="1770" y="180"/>
                  </a:lnTo>
                  <a:lnTo>
                    <a:pt x="1776" y="180"/>
                  </a:lnTo>
                  <a:lnTo>
                    <a:pt x="1776" y="180"/>
                  </a:lnTo>
                  <a:lnTo>
                    <a:pt x="1782" y="180"/>
                  </a:lnTo>
                  <a:lnTo>
                    <a:pt x="1776" y="180"/>
                  </a:lnTo>
                  <a:lnTo>
                    <a:pt x="1770" y="180"/>
                  </a:lnTo>
                  <a:lnTo>
                    <a:pt x="1770" y="180"/>
                  </a:lnTo>
                  <a:lnTo>
                    <a:pt x="1770" y="182"/>
                  </a:lnTo>
                  <a:lnTo>
                    <a:pt x="1770" y="188"/>
                  </a:lnTo>
                  <a:lnTo>
                    <a:pt x="1770" y="188"/>
                  </a:lnTo>
                  <a:lnTo>
                    <a:pt x="1770" y="188"/>
                  </a:lnTo>
                  <a:lnTo>
                    <a:pt x="1770" y="188"/>
                  </a:lnTo>
                  <a:lnTo>
                    <a:pt x="1764" y="188"/>
                  </a:lnTo>
                  <a:lnTo>
                    <a:pt x="1758" y="188"/>
                  </a:lnTo>
                  <a:lnTo>
                    <a:pt x="1758" y="194"/>
                  </a:lnTo>
                  <a:lnTo>
                    <a:pt x="1758" y="194"/>
                  </a:lnTo>
                  <a:lnTo>
                    <a:pt x="1758" y="188"/>
                  </a:lnTo>
                  <a:lnTo>
                    <a:pt x="1754" y="188"/>
                  </a:lnTo>
                  <a:lnTo>
                    <a:pt x="1748" y="188"/>
                  </a:lnTo>
                  <a:lnTo>
                    <a:pt x="1748" y="188"/>
                  </a:lnTo>
                  <a:lnTo>
                    <a:pt x="1742" y="188"/>
                  </a:lnTo>
                  <a:lnTo>
                    <a:pt x="1742" y="188"/>
                  </a:lnTo>
                  <a:lnTo>
                    <a:pt x="1736" y="188"/>
                  </a:lnTo>
                  <a:lnTo>
                    <a:pt x="1736" y="182"/>
                  </a:lnTo>
                  <a:lnTo>
                    <a:pt x="1736" y="180"/>
                  </a:lnTo>
                  <a:lnTo>
                    <a:pt x="1742" y="180"/>
                  </a:lnTo>
                  <a:lnTo>
                    <a:pt x="1748" y="180"/>
                  </a:lnTo>
                  <a:lnTo>
                    <a:pt x="1742" y="180"/>
                  </a:lnTo>
                  <a:lnTo>
                    <a:pt x="1742" y="174"/>
                  </a:lnTo>
                  <a:lnTo>
                    <a:pt x="1736" y="174"/>
                  </a:lnTo>
                  <a:lnTo>
                    <a:pt x="1736" y="180"/>
                  </a:lnTo>
                  <a:lnTo>
                    <a:pt x="1732" y="180"/>
                  </a:lnTo>
                  <a:lnTo>
                    <a:pt x="1732" y="180"/>
                  </a:lnTo>
                  <a:lnTo>
                    <a:pt x="1732" y="180"/>
                  </a:lnTo>
                  <a:lnTo>
                    <a:pt x="1732" y="182"/>
                  </a:lnTo>
                  <a:lnTo>
                    <a:pt x="1732" y="182"/>
                  </a:lnTo>
                  <a:lnTo>
                    <a:pt x="1732" y="188"/>
                  </a:lnTo>
                  <a:lnTo>
                    <a:pt x="1736" y="188"/>
                  </a:lnTo>
                  <a:lnTo>
                    <a:pt x="1742" y="188"/>
                  </a:lnTo>
                  <a:lnTo>
                    <a:pt x="1748" y="188"/>
                  </a:lnTo>
                  <a:lnTo>
                    <a:pt x="1748" y="194"/>
                  </a:lnTo>
                  <a:lnTo>
                    <a:pt x="1754" y="194"/>
                  </a:lnTo>
                  <a:lnTo>
                    <a:pt x="1748" y="200"/>
                  </a:lnTo>
                  <a:lnTo>
                    <a:pt x="1748" y="194"/>
                  </a:lnTo>
                  <a:lnTo>
                    <a:pt x="1748" y="194"/>
                  </a:lnTo>
                  <a:lnTo>
                    <a:pt x="1748" y="200"/>
                  </a:lnTo>
                  <a:lnTo>
                    <a:pt x="1742" y="200"/>
                  </a:lnTo>
                  <a:lnTo>
                    <a:pt x="1742" y="194"/>
                  </a:lnTo>
                  <a:lnTo>
                    <a:pt x="1736" y="194"/>
                  </a:lnTo>
                  <a:lnTo>
                    <a:pt x="1736" y="200"/>
                  </a:lnTo>
                  <a:lnTo>
                    <a:pt x="1742" y="200"/>
                  </a:lnTo>
                  <a:lnTo>
                    <a:pt x="1736" y="200"/>
                  </a:lnTo>
                  <a:lnTo>
                    <a:pt x="1736" y="200"/>
                  </a:lnTo>
                  <a:lnTo>
                    <a:pt x="1736" y="200"/>
                  </a:lnTo>
                  <a:lnTo>
                    <a:pt x="1736" y="200"/>
                  </a:lnTo>
                  <a:close/>
                  <a:moveTo>
                    <a:pt x="1878" y="168"/>
                  </a:moveTo>
                  <a:lnTo>
                    <a:pt x="1878" y="162"/>
                  </a:lnTo>
                  <a:lnTo>
                    <a:pt x="1884" y="162"/>
                  </a:lnTo>
                  <a:lnTo>
                    <a:pt x="1884" y="168"/>
                  </a:lnTo>
                  <a:lnTo>
                    <a:pt x="1878" y="168"/>
                  </a:lnTo>
                  <a:lnTo>
                    <a:pt x="1878" y="168"/>
                  </a:lnTo>
                  <a:lnTo>
                    <a:pt x="1878" y="168"/>
                  </a:lnTo>
                  <a:lnTo>
                    <a:pt x="1878" y="168"/>
                  </a:lnTo>
                  <a:close/>
                  <a:moveTo>
                    <a:pt x="1716" y="168"/>
                  </a:moveTo>
                  <a:lnTo>
                    <a:pt x="1716" y="162"/>
                  </a:lnTo>
                  <a:lnTo>
                    <a:pt x="1716" y="168"/>
                  </a:lnTo>
                  <a:lnTo>
                    <a:pt x="1716" y="168"/>
                  </a:lnTo>
                  <a:lnTo>
                    <a:pt x="1716" y="168"/>
                  </a:lnTo>
                  <a:lnTo>
                    <a:pt x="1716" y="168"/>
                  </a:lnTo>
                  <a:close/>
                  <a:moveTo>
                    <a:pt x="1098" y="168"/>
                  </a:moveTo>
                  <a:lnTo>
                    <a:pt x="1092" y="168"/>
                  </a:lnTo>
                  <a:lnTo>
                    <a:pt x="1092" y="168"/>
                  </a:lnTo>
                  <a:lnTo>
                    <a:pt x="1088" y="168"/>
                  </a:lnTo>
                  <a:lnTo>
                    <a:pt x="1088" y="168"/>
                  </a:lnTo>
                  <a:lnTo>
                    <a:pt x="1098" y="168"/>
                  </a:lnTo>
                  <a:lnTo>
                    <a:pt x="1098" y="168"/>
                  </a:lnTo>
                  <a:lnTo>
                    <a:pt x="1098" y="168"/>
                  </a:lnTo>
                  <a:lnTo>
                    <a:pt x="1098" y="168"/>
                  </a:lnTo>
                  <a:close/>
                  <a:moveTo>
                    <a:pt x="898" y="168"/>
                  </a:moveTo>
                  <a:lnTo>
                    <a:pt x="892" y="168"/>
                  </a:lnTo>
                  <a:lnTo>
                    <a:pt x="886" y="168"/>
                  </a:lnTo>
                  <a:lnTo>
                    <a:pt x="880" y="168"/>
                  </a:lnTo>
                  <a:lnTo>
                    <a:pt x="886" y="168"/>
                  </a:lnTo>
                  <a:lnTo>
                    <a:pt x="886" y="168"/>
                  </a:lnTo>
                  <a:lnTo>
                    <a:pt x="892" y="168"/>
                  </a:lnTo>
                  <a:lnTo>
                    <a:pt x="892" y="168"/>
                  </a:lnTo>
                  <a:lnTo>
                    <a:pt x="898" y="168"/>
                  </a:lnTo>
                  <a:lnTo>
                    <a:pt x="898" y="168"/>
                  </a:lnTo>
                  <a:lnTo>
                    <a:pt x="898" y="168"/>
                  </a:lnTo>
                  <a:lnTo>
                    <a:pt x="898" y="168"/>
                  </a:lnTo>
                  <a:lnTo>
                    <a:pt x="898" y="168"/>
                  </a:lnTo>
                  <a:lnTo>
                    <a:pt x="898" y="168"/>
                  </a:lnTo>
                  <a:close/>
                  <a:moveTo>
                    <a:pt x="876" y="168"/>
                  </a:moveTo>
                  <a:lnTo>
                    <a:pt x="880" y="168"/>
                  </a:lnTo>
                  <a:lnTo>
                    <a:pt x="880" y="168"/>
                  </a:lnTo>
                  <a:lnTo>
                    <a:pt x="880" y="168"/>
                  </a:lnTo>
                  <a:lnTo>
                    <a:pt x="876" y="168"/>
                  </a:lnTo>
                  <a:lnTo>
                    <a:pt x="872" y="168"/>
                  </a:lnTo>
                  <a:lnTo>
                    <a:pt x="876" y="168"/>
                  </a:lnTo>
                  <a:lnTo>
                    <a:pt x="876" y="168"/>
                  </a:lnTo>
                  <a:lnTo>
                    <a:pt x="876" y="168"/>
                  </a:lnTo>
                  <a:lnTo>
                    <a:pt x="876" y="168"/>
                  </a:lnTo>
                  <a:close/>
                  <a:moveTo>
                    <a:pt x="1640" y="182"/>
                  </a:moveTo>
                  <a:lnTo>
                    <a:pt x="1640" y="180"/>
                  </a:lnTo>
                  <a:lnTo>
                    <a:pt x="1640" y="180"/>
                  </a:lnTo>
                  <a:lnTo>
                    <a:pt x="1640" y="180"/>
                  </a:lnTo>
                  <a:lnTo>
                    <a:pt x="1640" y="180"/>
                  </a:lnTo>
                  <a:lnTo>
                    <a:pt x="1640" y="174"/>
                  </a:lnTo>
                  <a:lnTo>
                    <a:pt x="1640" y="168"/>
                  </a:lnTo>
                  <a:lnTo>
                    <a:pt x="1640" y="174"/>
                  </a:lnTo>
                  <a:lnTo>
                    <a:pt x="1644" y="180"/>
                  </a:lnTo>
                  <a:lnTo>
                    <a:pt x="1650" y="180"/>
                  </a:lnTo>
                  <a:lnTo>
                    <a:pt x="1644" y="180"/>
                  </a:lnTo>
                  <a:lnTo>
                    <a:pt x="1644" y="182"/>
                  </a:lnTo>
                  <a:lnTo>
                    <a:pt x="1640" y="182"/>
                  </a:lnTo>
                  <a:lnTo>
                    <a:pt x="1640" y="182"/>
                  </a:lnTo>
                  <a:lnTo>
                    <a:pt x="1640" y="182"/>
                  </a:lnTo>
                  <a:lnTo>
                    <a:pt x="1640" y="182"/>
                  </a:lnTo>
                  <a:lnTo>
                    <a:pt x="1640" y="182"/>
                  </a:lnTo>
                  <a:close/>
                  <a:moveTo>
                    <a:pt x="1790" y="180"/>
                  </a:moveTo>
                  <a:lnTo>
                    <a:pt x="1790" y="180"/>
                  </a:lnTo>
                  <a:lnTo>
                    <a:pt x="1796" y="180"/>
                  </a:lnTo>
                  <a:lnTo>
                    <a:pt x="1790" y="182"/>
                  </a:lnTo>
                  <a:lnTo>
                    <a:pt x="1796" y="182"/>
                  </a:lnTo>
                  <a:lnTo>
                    <a:pt x="1802" y="182"/>
                  </a:lnTo>
                  <a:lnTo>
                    <a:pt x="1802" y="182"/>
                  </a:lnTo>
                  <a:lnTo>
                    <a:pt x="1802" y="182"/>
                  </a:lnTo>
                  <a:lnTo>
                    <a:pt x="1802" y="182"/>
                  </a:lnTo>
                  <a:lnTo>
                    <a:pt x="1808" y="182"/>
                  </a:lnTo>
                  <a:lnTo>
                    <a:pt x="1808" y="180"/>
                  </a:lnTo>
                  <a:lnTo>
                    <a:pt x="1808" y="182"/>
                  </a:lnTo>
                  <a:lnTo>
                    <a:pt x="1814" y="182"/>
                  </a:lnTo>
                  <a:lnTo>
                    <a:pt x="1814" y="182"/>
                  </a:lnTo>
                  <a:lnTo>
                    <a:pt x="1818" y="182"/>
                  </a:lnTo>
                  <a:lnTo>
                    <a:pt x="1824" y="182"/>
                  </a:lnTo>
                  <a:lnTo>
                    <a:pt x="1818" y="182"/>
                  </a:lnTo>
                  <a:lnTo>
                    <a:pt x="1818" y="188"/>
                  </a:lnTo>
                  <a:lnTo>
                    <a:pt x="1824" y="188"/>
                  </a:lnTo>
                  <a:lnTo>
                    <a:pt x="1830" y="188"/>
                  </a:lnTo>
                  <a:lnTo>
                    <a:pt x="1830" y="188"/>
                  </a:lnTo>
                  <a:lnTo>
                    <a:pt x="1836" y="188"/>
                  </a:lnTo>
                  <a:lnTo>
                    <a:pt x="1842" y="188"/>
                  </a:lnTo>
                  <a:lnTo>
                    <a:pt x="1842" y="188"/>
                  </a:lnTo>
                  <a:lnTo>
                    <a:pt x="1844" y="188"/>
                  </a:lnTo>
                  <a:lnTo>
                    <a:pt x="1850" y="188"/>
                  </a:lnTo>
                  <a:lnTo>
                    <a:pt x="1850" y="188"/>
                  </a:lnTo>
                  <a:lnTo>
                    <a:pt x="1856" y="188"/>
                  </a:lnTo>
                  <a:lnTo>
                    <a:pt x="1850" y="188"/>
                  </a:lnTo>
                  <a:lnTo>
                    <a:pt x="1850" y="194"/>
                  </a:lnTo>
                  <a:lnTo>
                    <a:pt x="1850" y="200"/>
                  </a:lnTo>
                  <a:lnTo>
                    <a:pt x="1850" y="200"/>
                  </a:lnTo>
                  <a:lnTo>
                    <a:pt x="1844" y="200"/>
                  </a:lnTo>
                  <a:lnTo>
                    <a:pt x="1842" y="200"/>
                  </a:lnTo>
                  <a:lnTo>
                    <a:pt x="1842" y="200"/>
                  </a:lnTo>
                  <a:lnTo>
                    <a:pt x="1836" y="200"/>
                  </a:lnTo>
                  <a:lnTo>
                    <a:pt x="1830" y="200"/>
                  </a:lnTo>
                  <a:lnTo>
                    <a:pt x="1830" y="200"/>
                  </a:lnTo>
                  <a:lnTo>
                    <a:pt x="1824" y="200"/>
                  </a:lnTo>
                  <a:lnTo>
                    <a:pt x="1818" y="200"/>
                  </a:lnTo>
                  <a:lnTo>
                    <a:pt x="1814" y="200"/>
                  </a:lnTo>
                  <a:lnTo>
                    <a:pt x="1814" y="200"/>
                  </a:lnTo>
                  <a:lnTo>
                    <a:pt x="1814" y="194"/>
                  </a:lnTo>
                  <a:lnTo>
                    <a:pt x="1808" y="194"/>
                  </a:lnTo>
                  <a:lnTo>
                    <a:pt x="1802" y="194"/>
                  </a:lnTo>
                  <a:lnTo>
                    <a:pt x="1802" y="194"/>
                  </a:lnTo>
                  <a:lnTo>
                    <a:pt x="1802" y="188"/>
                  </a:lnTo>
                  <a:lnTo>
                    <a:pt x="1796" y="188"/>
                  </a:lnTo>
                  <a:lnTo>
                    <a:pt x="1790" y="188"/>
                  </a:lnTo>
                  <a:lnTo>
                    <a:pt x="1790" y="188"/>
                  </a:lnTo>
                  <a:lnTo>
                    <a:pt x="1790" y="188"/>
                  </a:lnTo>
                  <a:lnTo>
                    <a:pt x="1786" y="188"/>
                  </a:lnTo>
                  <a:lnTo>
                    <a:pt x="1790" y="188"/>
                  </a:lnTo>
                  <a:lnTo>
                    <a:pt x="1790" y="182"/>
                  </a:lnTo>
                  <a:lnTo>
                    <a:pt x="1790" y="180"/>
                  </a:lnTo>
                  <a:lnTo>
                    <a:pt x="1790" y="180"/>
                  </a:lnTo>
                  <a:lnTo>
                    <a:pt x="1790" y="180"/>
                  </a:lnTo>
                  <a:lnTo>
                    <a:pt x="1790" y="180"/>
                  </a:lnTo>
                  <a:lnTo>
                    <a:pt x="1790" y="180"/>
                  </a:lnTo>
                  <a:close/>
                  <a:moveTo>
                    <a:pt x="880" y="180"/>
                  </a:moveTo>
                  <a:lnTo>
                    <a:pt x="880" y="180"/>
                  </a:lnTo>
                  <a:lnTo>
                    <a:pt x="880" y="182"/>
                  </a:lnTo>
                  <a:lnTo>
                    <a:pt x="880" y="182"/>
                  </a:lnTo>
                  <a:lnTo>
                    <a:pt x="880" y="182"/>
                  </a:lnTo>
                  <a:lnTo>
                    <a:pt x="880" y="188"/>
                  </a:lnTo>
                  <a:lnTo>
                    <a:pt x="880" y="182"/>
                  </a:lnTo>
                  <a:lnTo>
                    <a:pt x="876" y="182"/>
                  </a:lnTo>
                  <a:lnTo>
                    <a:pt x="876" y="188"/>
                  </a:lnTo>
                  <a:lnTo>
                    <a:pt x="872" y="182"/>
                  </a:lnTo>
                  <a:lnTo>
                    <a:pt x="876" y="182"/>
                  </a:lnTo>
                  <a:lnTo>
                    <a:pt x="876" y="180"/>
                  </a:lnTo>
                  <a:lnTo>
                    <a:pt x="876" y="182"/>
                  </a:lnTo>
                  <a:lnTo>
                    <a:pt x="880" y="182"/>
                  </a:lnTo>
                  <a:lnTo>
                    <a:pt x="880" y="180"/>
                  </a:lnTo>
                  <a:lnTo>
                    <a:pt x="880" y="180"/>
                  </a:lnTo>
                  <a:lnTo>
                    <a:pt x="880" y="180"/>
                  </a:lnTo>
                  <a:lnTo>
                    <a:pt x="880" y="180"/>
                  </a:lnTo>
                  <a:lnTo>
                    <a:pt x="880" y="180"/>
                  </a:lnTo>
                  <a:close/>
                  <a:moveTo>
                    <a:pt x="952" y="194"/>
                  </a:moveTo>
                  <a:lnTo>
                    <a:pt x="958" y="194"/>
                  </a:lnTo>
                  <a:lnTo>
                    <a:pt x="952" y="194"/>
                  </a:lnTo>
                  <a:lnTo>
                    <a:pt x="952" y="200"/>
                  </a:lnTo>
                  <a:lnTo>
                    <a:pt x="952" y="194"/>
                  </a:lnTo>
                  <a:lnTo>
                    <a:pt x="946" y="194"/>
                  </a:lnTo>
                  <a:lnTo>
                    <a:pt x="946" y="200"/>
                  </a:lnTo>
                  <a:lnTo>
                    <a:pt x="952" y="200"/>
                  </a:lnTo>
                  <a:lnTo>
                    <a:pt x="946" y="200"/>
                  </a:lnTo>
                  <a:lnTo>
                    <a:pt x="946" y="200"/>
                  </a:lnTo>
                  <a:lnTo>
                    <a:pt x="940" y="200"/>
                  </a:lnTo>
                  <a:lnTo>
                    <a:pt x="940" y="194"/>
                  </a:lnTo>
                  <a:lnTo>
                    <a:pt x="946" y="194"/>
                  </a:lnTo>
                  <a:lnTo>
                    <a:pt x="946" y="200"/>
                  </a:lnTo>
                  <a:lnTo>
                    <a:pt x="946" y="194"/>
                  </a:lnTo>
                  <a:lnTo>
                    <a:pt x="946" y="194"/>
                  </a:lnTo>
                  <a:lnTo>
                    <a:pt x="946" y="194"/>
                  </a:lnTo>
                  <a:lnTo>
                    <a:pt x="952" y="194"/>
                  </a:lnTo>
                  <a:lnTo>
                    <a:pt x="952" y="194"/>
                  </a:lnTo>
                  <a:lnTo>
                    <a:pt x="952" y="194"/>
                  </a:lnTo>
                  <a:lnTo>
                    <a:pt x="952" y="194"/>
                  </a:lnTo>
                  <a:close/>
                  <a:moveTo>
                    <a:pt x="930" y="200"/>
                  </a:moveTo>
                  <a:lnTo>
                    <a:pt x="930" y="200"/>
                  </a:lnTo>
                  <a:lnTo>
                    <a:pt x="930" y="200"/>
                  </a:lnTo>
                  <a:lnTo>
                    <a:pt x="930" y="200"/>
                  </a:lnTo>
                  <a:lnTo>
                    <a:pt x="926" y="200"/>
                  </a:lnTo>
                  <a:lnTo>
                    <a:pt x="926" y="200"/>
                  </a:lnTo>
                  <a:lnTo>
                    <a:pt x="930" y="200"/>
                  </a:lnTo>
                  <a:lnTo>
                    <a:pt x="930" y="200"/>
                  </a:lnTo>
                  <a:lnTo>
                    <a:pt x="930" y="200"/>
                  </a:lnTo>
                  <a:lnTo>
                    <a:pt x="930" y="200"/>
                  </a:lnTo>
                  <a:close/>
                  <a:moveTo>
                    <a:pt x="838" y="206"/>
                  </a:moveTo>
                  <a:lnTo>
                    <a:pt x="844" y="206"/>
                  </a:lnTo>
                  <a:lnTo>
                    <a:pt x="844" y="200"/>
                  </a:lnTo>
                  <a:lnTo>
                    <a:pt x="844" y="206"/>
                  </a:lnTo>
                  <a:lnTo>
                    <a:pt x="850" y="206"/>
                  </a:lnTo>
                  <a:lnTo>
                    <a:pt x="844" y="206"/>
                  </a:lnTo>
                  <a:lnTo>
                    <a:pt x="838" y="206"/>
                  </a:lnTo>
                  <a:lnTo>
                    <a:pt x="838" y="206"/>
                  </a:lnTo>
                  <a:lnTo>
                    <a:pt x="838" y="206"/>
                  </a:lnTo>
                  <a:lnTo>
                    <a:pt x="838" y="206"/>
                  </a:lnTo>
                  <a:close/>
                  <a:moveTo>
                    <a:pt x="930" y="206"/>
                  </a:moveTo>
                  <a:lnTo>
                    <a:pt x="930" y="210"/>
                  </a:lnTo>
                  <a:lnTo>
                    <a:pt x="926" y="210"/>
                  </a:lnTo>
                  <a:lnTo>
                    <a:pt x="926" y="206"/>
                  </a:lnTo>
                  <a:lnTo>
                    <a:pt x="930" y="206"/>
                  </a:lnTo>
                  <a:lnTo>
                    <a:pt x="930" y="206"/>
                  </a:lnTo>
                  <a:lnTo>
                    <a:pt x="930" y="206"/>
                  </a:lnTo>
                  <a:lnTo>
                    <a:pt x="930" y="206"/>
                  </a:lnTo>
                  <a:lnTo>
                    <a:pt x="930" y="206"/>
                  </a:lnTo>
                  <a:close/>
                  <a:moveTo>
                    <a:pt x="1314" y="216"/>
                  </a:moveTo>
                  <a:lnTo>
                    <a:pt x="1314" y="216"/>
                  </a:lnTo>
                  <a:lnTo>
                    <a:pt x="1308" y="216"/>
                  </a:lnTo>
                  <a:lnTo>
                    <a:pt x="1304" y="216"/>
                  </a:lnTo>
                  <a:lnTo>
                    <a:pt x="1304" y="216"/>
                  </a:lnTo>
                  <a:lnTo>
                    <a:pt x="1304" y="216"/>
                  </a:lnTo>
                  <a:lnTo>
                    <a:pt x="1300" y="216"/>
                  </a:lnTo>
                  <a:lnTo>
                    <a:pt x="1300" y="210"/>
                  </a:lnTo>
                  <a:lnTo>
                    <a:pt x="1304" y="210"/>
                  </a:lnTo>
                  <a:lnTo>
                    <a:pt x="1304" y="210"/>
                  </a:lnTo>
                  <a:lnTo>
                    <a:pt x="1304" y="206"/>
                  </a:lnTo>
                  <a:lnTo>
                    <a:pt x="1308" y="206"/>
                  </a:lnTo>
                  <a:lnTo>
                    <a:pt x="1314" y="206"/>
                  </a:lnTo>
                  <a:lnTo>
                    <a:pt x="1320" y="206"/>
                  </a:lnTo>
                  <a:lnTo>
                    <a:pt x="1326" y="206"/>
                  </a:lnTo>
                  <a:lnTo>
                    <a:pt x="1326" y="210"/>
                  </a:lnTo>
                  <a:lnTo>
                    <a:pt x="1326" y="216"/>
                  </a:lnTo>
                  <a:lnTo>
                    <a:pt x="1320" y="216"/>
                  </a:lnTo>
                  <a:lnTo>
                    <a:pt x="1320" y="216"/>
                  </a:lnTo>
                  <a:lnTo>
                    <a:pt x="1314" y="216"/>
                  </a:lnTo>
                  <a:lnTo>
                    <a:pt x="1314" y="216"/>
                  </a:lnTo>
                  <a:lnTo>
                    <a:pt x="1314" y="216"/>
                  </a:lnTo>
                  <a:lnTo>
                    <a:pt x="1314" y="216"/>
                  </a:lnTo>
                  <a:close/>
                  <a:moveTo>
                    <a:pt x="920" y="206"/>
                  </a:moveTo>
                  <a:lnTo>
                    <a:pt x="920" y="206"/>
                  </a:lnTo>
                  <a:lnTo>
                    <a:pt x="920" y="210"/>
                  </a:lnTo>
                  <a:lnTo>
                    <a:pt x="920" y="210"/>
                  </a:lnTo>
                  <a:lnTo>
                    <a:pt x="920" y="210"/>
                  </a:lnTo>
                  <a:lnTo>
                    <a:pt x="920" y="210"/>
                  </a:lnTo>
                  <a:lnTo>
                    <a:pt x="914" y="210"/>
                  </a:lnTo>
                  <a:lnTo>
                    <a:pt x="920" y="210"/>
                  </a:lnTo>
                  <a:lnTo>
                    <a:pt x="920" y="206"/>
                  </a:lnTo>
                  <a:lnTo>
                    <a:pt x="920" y="206"/>
                  </a:lnTo>
                  <a:lnTo>
                    <a:pt x="920" y="206"/>
                  </a:lnTo>
                  <a:lnTo>
                    <a:pt x="920" y="206"/>
                  </a:lnTo>
                  <a:close/>
                  <a:moveTo>
                    <a:pt x="1362" y="216"/>
                  </a:moveTo>
                  <a:lnTo>
                    <a:pt x="1362" y="210"/>
                  </a:lnTo>
                  <a:lnTo>
                    <a:pt x="1362" y="210"/>
                  </a:lnTo>
                  <a:lnTo>
                    <a:pt x="1362" y="216"/>
                  </a:lnTo>
                  <a:lnTo>
                    <a:pt x="1362" y="216"/>
                  </a:lnTo>
                  <a:lnTo>
                    <a:pt x="1362" y="216"/>
                  </a:lnTo>
                  <a:lnTo>
                    <a:pt x="1362" y="216"/>
                  </a:lnTo>
                  <a:lnTo>
                    <a:pt x="1362" y="216"/>
                  </a:lnTo>
                  <a:close/>
                  <a:moveTo>
                    <a:pt x="1710" y="228"/>
                  </a:moveTo>
                  <a:lnTo>
                    <a:pt x="1710" y="222"/>
                  </a:lnTo>
                  <a:lnTo>
                    <a:pt x="1704" y="222"/>
                  </a:lnTo>
                  <a:lnTo>
                    <a:pt x="1704" y="216"/>
                  </a:lnTo>
                  <a:lnTo>
                    <a:pt x="1704" y="216"/>
                  </a:lnTo>
                  <a:lnTo>
                    <a:pt x="1710" y="216"/>
                  </a:lnTo>
                  <a:lnTo>
                    <a:pt x="1710" y="216"/>
                  </a:lnTo>
                  <a:lnTo>
                    <a:pt x="1716" y="216"/>
                  </a:lnTo>
                  <a:lnTo>
                    <a:pt x="1722" y="216"/>
                  </a:lnTo>
                  <a:lnTo>
                    <a:pt x="1716" y="216"/>
                  </a:lnTo>
                  <a:lnTo>
                    <a:pt x="1716" y="222"/>
                  </a:lnTo>
                  <a:lnTo>
                    <a:pt x="1710" y="222"/>
                  </a:lnTo>
                  <a:lnTo>
                    <a:pt x="1710" y="222"/>
                  </a:lnTo>
                  <a:lnTo>
                    <a:pt x="1710" y="228"/>
                  </a:lnTo>
                  <a:lnTo>
                    <a:pt x="1710" y="228"/>
                  </a:lnTo>
                  <a:lnTo>
                    <a:pt x="1710" y="228"/>
                  </a:lnTo>
                  <a:lnTo>
                    <a:pt x="1710" y="228"/>
                  </a:lnTo>
                  <a:close/>
                  <a:moveTo>
                    <a:pt x="1640" y="216"/>
                  </a:moveTo>
                  <a:lnTo>
                    <a:pt x="1640" y="216"/>
                  </a:lnTo>
                  <a:lnTo>
                    <a:pt x="1644" y="216"/>
                  </a:lnTo>
                  <a:lnTo>
                    <a:pt x="1650" y="222"/>
                  </a:lnTo>
                  <a:lnTo>
                    <a:pt x="1650" y="228"/>
                  </a:lnTo>
                  <a:lnTo>
                    <a:pt x="1644" y="228"/>
                  </a:lnTo>
                  <a:lnTo>
                    <a:pt x="1644" y="222"/>
                  </a:lnTo>
                  <a:lnTo>
                    <a:pt x="1640" y="222"/>
                  </a:lnTo>
                  <a:lnTo>
                    <a:pt x="1640" y="216"/>
                  </a:lnTo>
                  <a:lnTo>
                    <a:pt x="1640" y="216"/>
                  </a:lnTo>
                  <a:lnTo>
                    <a:pt x="1640" y="216"/>
                  </a:lnTo>
                  <a:lnTo>
                    <a:pt x="1640" y="216"/>
                  </a:lnTo>
                  <a:lnTo>
                    <a:pt x="1640" y="216"/>
                  </a:lnTo>
                  <a:lnTo>
                    <a:pt x="1640" y="216"/>
                  </a:lnTo>
                  <a:close/>
                  <a:moveTo>
                    <a:pt x="886" y="216"/>
                  </a:moveTo>
                  <a:lnTo>
                    <a:pt x="892" y="216"/>
                  </a:lnTo>
                  <a:lnTo>
                    <a:pt x="892" y="222"/>
                  </a:lnTo>
                  <a:lnTo>
                    <a:pt x="886" y="222"/>
                  </a:lnTo>
                  <a:lnTo>
                    <a:pt x="886" y="216"/>
                  </a:lnTo>
                  <a:lnTo>
                    <a:pt x="880" y="216"/>
                  </a:lnTo>
                  <a:lnTo>
                    <a:pt x="886" y="216"/>
                  </a:lnTo>
                  <a:lnTo>
                    <a:pt x="886" y="216"/>
                  </a:lnTo>
                  <a:lnTo>
                    <a:pt x="886" y="216"/>
                  </a:lnTo>
                  <a:lnTo>
                    <a:pt x="886" y="216"/>
                  </a:lnTo>
                  <a:close/>
                  <a:moveTo>
                    <a:pt x="892" y="216"/>
                  </a:moveTo>
                  <a:lnTo>
                    <a:pt x="898" y="216"/>
                  </a:lnTo>
                  <a:lnTo>
                    <a:pt x="898" y="216"/>
                  </a:lnTo>
                  <a:lnTo>
                    <a:pt x="904" y="216"/>
                  </a:lnTo>
                  <a:lnTo>
                    <a:pt x="898" y="216"/>
                  </a:lnTo>
                  <a:lnTo>
                    <a:pt x="898" y="222"/>
                  </a:lnTo>
                  <a:lnTo>
                    <a:pt x="904" y="222"/>
                  </a:lnTo>
                  <a:lnTo>
                    <a:pt x="898" y="222"/>
                  </a:lnTo>
                  <a:lnTo>
                    <a:pt x="898" y="216"/>
                  </a:lnTo>
                  <a:lnTo>
                    <a:pt x="898" y="216"/>
                  </a:lnTo>
                  <a:lnTo>
                    <a:pt x="892" y="216"/>
                  </a:lnTo>
                  <a:lnTo>
                    <a:pt x="892" y="216"/>
                  </a:lnTo>
                  <a:lnTo>
                    <a:pt x="892" y="216"/>
                  </a:lnTo>
                  <a:lnTo>
                    <a:pt x="892" y="216"/>
                  </a:lnTo>
                  <a:close/>
                  <a:moveTo>
                    <a:pt x="908" y="222"/>
                  </a:moveTo>
                  <a:lnTo>
                    <a:pt x="914" y="222"/>
                  </a:lnTo>
                  <a:lnTo>
                    <a:pt x="908" y="222"/>
                  </a:lnTo>
                  <a:lnTo>
                    <a:pt x="908" y="222"/>
                  </a:lnTo>
                  <a:lnTo>
                    <a:pt x="908" y="222"/>
                  </a:lnTo>
                  <a:lnTo>
                    <a:pt x="908" y="222"/>
                  </a:lnTo>
                  <a:lnTo>
                    <a:pt x="908" y="222"/>
                  </a:lnTo>
                  <a:lnTo>
                    <a:pt x="908" y="222"/>
                  </a:lnTo>
                  <a:close/>
                  <a:moveTo>
                    <a:pt x="1482" y="228"/>
                  </a:moveTo>
                  <a:lnTo>
                    <a:pt x="1482" y="222"/>
                  </a:lnTo>
                  <a:lnTo>
                    <a:pt x="1482" y="222"/>
                  </a:lnTo>
                  <a:lnTo>
                    <a:pt x="1482" y="222"/>
                  </a:lnTo>
                  <a:lnTo>
                    <a:pt x="1482" y="228"/>
                  </a:lnTo>
                  <a:lnTo>
                    <a:pt x="1482" y="228"/>
                  </a:lnTo>
                  <a:lnTo>
                    <a:pt x="1482" y="228"/>
                  </a:lnTo>
                  <a:lnTo>
                    <a:pt x="1482" y="228"/>
                  </a:lnTo>
                  <a:lnTo>
                    <a:pt x="1482" y="228"/>
                  </a:lnTo>
                  <a:lnTo>
                    <a:pt x="1482" y="228"/>
                  </a:lnTo>
                  <a:close/>
                  <a:moveTo>
                    <a:pt x="1722" y="228"/>
                  </a:moveTo>
                  <a:lnTo>
                    <a:pt x="1722" y="228"/>
                  </a:lnTo>
                  <a:lnTo>
                    <a:pt x="1728" y="228"/>
                  </a:lnTo>
                  <a:lnTo>
                    <a:pt x="1732" y="228"/>
                  </a:lnTo>
                  <a:lnTo>
                    <a:pt x="1732" y="228"/>
                  </a:lnTo>
                  <a:lnTo>
                    <a:pt x="1736" y="228"/>
                  </a:lnTo>
                  <a:lnTo>
                    <a:pt x="1742" y="228"/>
                  </a:lnTo>
                  <a:lnTo>
                    <a:pt x="1748" y="228"/>
                  </a:lnTo>
                  <a:lnTo>
                    <a:pt x="1748" y="234"/>
                  </a:lnTo>
                  <a:lnTo>
                    <a:pt x="1748" y="234"/>
                  </a:lnTo>
                  <a:lnTo>
                    <a:pt x="1748" y="238"/>
                  </a:lnTo>
                  <a:lnTo>
                    <a:pt x="1754" y="238"/>
                  </a:lnTo>
                  <a:lnTo>
                    <a:pt x="1748" y="238"/>
                  </a:lnTo>
                  <a:lnTo>
                    <a:pt x="1748" y="238"/>
                  </a:lnTo>
                  <a:lnTo>
                    <a:pt x="1754" y="238"/>
                  </a:lnTo>
                  <a:lnTo>
                    <a:pt x="1748" y="242"/>
                  </a:lnTo>
                  <a:lnTo>
                    <a:pt x="1748" y="242"/>
                  </a:lnTo>
                  <a:lnTo>
                    <a:pt x="1742" y="238"/>
                  </a:lnTo>
                  <a:lnTo>
                    <a:pt x="1736" y="238"/>
                  </a:lnTo>
                  <a:lnTo>
                    <a:pt x="1732" y="238"/>
                  </a:lnTo>
                  <a:lnTo>
                    <a:pt x="1732" y="238"/>
                  </a:lnTo>
                  <a:lnTo>
                    <a:pt x="1728" y="238"/>
                  </a:lnTo>
                  <a:lnTo>
                    <a:pt x="1722" y="238"/>
                  </a:lnTo>
                  <a:lnTo>
                    <a:pt x="1722" y="238"/>
                  </a:lnTo>
                  <a:lnTo>
                    <a:pt x="1716" y="238"/>
                  </a:lnTo>
                  <a:lnTo>
                    <a:pt x="1710" y="238"/>
                  </a:lnTo>
                  <a:lnTo>
                    <a:pt x="1710" y="238"/>
                  </a:lnTo>
                  <a:lnTo>
                    <a:pt x="1704" y="238"/>
                  </a:lnTo>
                  <a:lnTo>
                    <a:pt x="1700" y="238"/>
                  </a:lnTo>
                  <a:lnTo>
                    <a:pt x="1700" y="238"/>
                  </a:lnTo>
                  <a:lnTo>
                    <a:pt x="1700" y="238"/>
                  </a:lnTo>
                  <a:lnTo>
                    <a:pt x="1704" y="238"/>
                  </a:lnTo>
                  <a:lnTo>
                    <a:pt x="1710" y="238"/>
                  </a:lnTo>
                  <a:lnTo>
                    <a:pt x="1710" y="234"/>
                  </a:lnTo>
                  <a:lnTo>
                    <a:pt x="1710" y="234"/>
                  </a:lnTo>
                  <a:lnTo>
                    <a:pt x="1710" y="228"/>
                  </a:lnTo>
                  <a:lnTo>
                    <a:pt x="1716" y="228"/>
                  </a:lnTo>
                  <a:lnTo>
                    <a:pt x="1722" y="228"/>
                  </a:lnTo>
                  <a:lnTo>
                    <a:pt x="1722" y="228"/>
                  </a:lnTo>
                  <a:lnTo>
                    <a:pt x="1722" y="228"/>
                  </a:lnTo>
                  <a:lnTo>
                    <a:pt x="1722" y="228"/>
                  </a:lnTo>
                  <a:close/>
                  <a:moveTo>
                    <a:pt x="1500" y="234"/>
                  </a:moveTo>
                  <a:lnTo>
                    <a:pt x="1504" y="234"/>
                  </a:lnTo>
                  <a:lnTo>
                    <a:pt x="1500" y="234"/>
                  </a:lnTo>
                  <a:lnTo>
                    <a:pt x="1500" y="234"/>
                  </a:lnTo>
                  <a:lnTo>
                    <a:pt x="1500" y="234"/>
                  </a:lnTo>
                  <a:lnTo>
                    <a:pt x="1500" y="234"/>
                  </a:lnTo>
                  <a:close/>
                  <a:moveTo>
                    <a:pt x="860" y="238"/>
                  </a:moveTo>
                  <a:lnTo>
                    <a:pt x="854" y="234"/>
                  </a:lnTo>
                  <a:lnTo>
                    <a:pt x="860" y="234"/>
                  </a:lnTo>
                  <a:lnTo>
                    <a:pt x="860" y="238"/>
                  </a:lnTo>
                  <a:lnTo>
                    <a:pt x="860" y="238"/>
                  </a:lnTo>
                  <a:lnTo>
                    <a:pt x="860" y="238"/>
                  </a:lnTo>
                  <a:lnTo>
                    <a:pt x="860" y="238"/>
                  </a:lnTo>
                  <a:close/>
                  <a:moveTo>
                    <a:pt x="1520" y="234"/>
                  </a:moveTo>
                  <a:lnTo>
                    <a:pt x="1526" y="234"/>
                  </a:lnTo>
                  <a:lnTo>
                    <a:pt x="1530" y="234"/>
                  </a:lnTo>
                  <a:lnTo>
                    <a:pt x="1530" y="238"/>
                  </a:lnTo>
                  <a:lnTo>
                    <a:pt x="1530" y="238"/>
                  </a:lnTo>
                  <a:lnTo>
                    <a:pt x="1526" y="234"/>
                  </a:lnTo>
                  <a:lnTo>
                    <a:pt x="1520" y="234"/>
                  </a:lnTo>
                  <a:lnTo>
                    <a:pt x="1520" y="234"/>
                  </a:lnTo>
                  <a:lnTo>
                    <a:pt x="1520" y="234"/>
                  </a:lnTo>
                  <a:lnTo>
                    <a:pt x="1520" y="234"/>
                  </a:lnTo>
                  <a:close/>
                  <a:moveTo>
                    <a:pt x="710" y="248"/>
                  </a:moveTo>
                  <a:lnTo>
                    <a:pt x="710" y="242"/>
                  </a:lnTo>
                  <a:lnTo>
                    <a:pt x="712" y="242"/>
                  </a:lnTo>
                  <a:lnTo>
                    <a:pt x="712" y="238"/>
                  </a:lnTo>
                  <a:lnTo>
                    <a:pt x="712" y="238"/>
                  </a:lnTo>
                  <a:lnTo>
                    <a:pt x="710" y="238"/>
                  </a:lnTo>
                  <a:lnTo>
                    <a:pt x="712" y="238"/>
                  </a:lnTo>
                  <a:lnTo>
                    <a:pt x="718" y="238"/>
                  </a:lnTo>
                  <a:lnTo>
                    <a:pt x="718" y="238"/>
                  </a:lnTo>
                  <a:lnTo>
                    <a:pt x="724" y="234"/>
                  </a:lnTo>
                  <a:lnTo>
                    <a:pt x="730" y="238"/>
                  </a:lnTo>
                  <a:lnTo>
                    <a:pt x="724" y="238"/>
                  </a:lnTo>
                  <a:lnTo>
                    <a:pt x="730" y="238"/>
                  </a:lnTo>
                  <a:lnTo>
                    <a:pt x="730" y="238"/>
                  </a:lnTo>
                  <a:lnTo>
                    <a:pt x="736" y="238"/>
                  </a:lnTo>
                  <a:lnTo>
                    <a:pt x="736" y="242"/>
                  </a:lnTo>
                  <a:lnTo>
                    <a:pt x="730" y="242"/>
                  </a:lnTo>
                  <a:lnTo>
                    <a:pt x="730" y="242"/>
                  </a:lnTo>
                  <a:lnTo>
                    <a:pt x="724" y="242"/>
                  </a:lnTo>
                  <a:lnTo>
                    <a:pt x="718" y="242"/>
                  </a:lnTo>
                  <a:lnTo>
                    <a:pt x="718" y="248"/>
                  </a:lnTo>
                  <a:lnTo>
                    <a:pt x="718" y="248"/>
                  </a:lnTo>
                  <a:lnTo>
                    <a:pt x="712" y="248"/>
                  </a:lnTo>
                  <a:lnTo>
                    <a:pt x="712" y="242"/>
                  </a:lnTo>
                  <a:lnTo>
                    <a:pt x="712" y="248"/>
                  </a:lnTo>
                  <a:lnTo>
                    <a:pt x="710" y="248"/>
                  </a:lnTo>
                  <a:lnTo>
                    <a:pt x="710" y="248"/>
                  </a:lnTo>
                  <a:lnTo>
                    <a:pt x="710" y="248"/>
                  </a:lnTo>
                  <a:lnTo>
                    <a:pt x="710" y="248"/>
                  </a:lnTo>
                  <a:close/>
                  <a:moveTo>
                    <a:pt x="476" y="292"/>
                  </a:moveTo>
                  <a:lnTo>
                    <a:pt x="482" y="288"/>
                  </a:lnTo>
                  <a:lnTo>
                    <a:pt x="486" y="288"/>
                  </a:lnTo>
                  <a:lnTo>
                    <a:pt x="482" y="288"/>
                  </a:lnTo>
                  <a:lnTo>
                    <a:pt x="476" y="288"/>
                  </a:lnTo>
                  <a:lnTo>
                    <a:pt x="476" y="292"/>
                  </a:lnTo>
                  <a:lnTo>
                    <a:pt x="476" y="288"/>
                  </a:lnTo>
                  <a:lnTo>
                    <a:pt x="476" y="288"/>
                  </a:lnTo>
                  <a:lnTo>
                    <a:pt x="476" y="288"/>
                  </a:lnTo>
                  <a:lnTo>
                    <a:pt x="476" y="288"/>
                  </a:lnTo>
                  <a:lnTo>
                    <a:pt x="470" y="288"/>
                  </a:lnTo>
                  <a:lnTo>
                    <a:pt x="464" y="288"/>
                  </a:lnTo>
                  <a:lnTo>
                    <a:pt x="464" y="288"/>
                  </a:lnTo>
                  <a:lnTo>
                    <a:pt x="464" y="288"/>
                  </a:lnTo>
                  <a:lnTo>
                    <a:pt x="464" y="288"/>
                  </a:lnTo>
                  <a:lnTo>
                    <a:pt x="458" y="288"/>
                  </a:lnTo>
                  <a:lnTo>
                    <a:pt x="458" y="288"/>
                  </a:lnTo>
                  <a:lnTo>
                    <a:pt x="458" y="288"/>
                  </a:lnTo>
                  <a:lnTo>
                    <a:pt x="454" y="288"/>
                  </a:lnTo>
                  <a:lnTo>
                    <a:pt x="454" y="288"/>
                  </a:lnTo>
                  <a:lnTo>
                    <a:pt x="448" y="282"/>
                  </a:lnTo>
                  <a:lnTo>
                    <a:pt x="448" y="276"/>
                  </a:lnTo>
                  <a:lnTo>
                    <a:pt x="448" y="276"/>
                  </a:lnTo>
                  <a:lnTo>
                    <a:pt x="454" y="276"/>
                  </a:lnTo>
                  <a:lnTo>
                    <a:pt x="454" y="270"/>
                  </a:lnTo>
                  <a:lnTo>
                    <a:pt x="454" y="270"/>
                  </a:lnTo>
                  <a:lnTo>
                    <a:pt x="458" y="270"/>
                  </a:lnTo>
                  <a:lnTo>
                    <a:pt x="458" y="276"/>
                  </a:lnTo>
                  <a:lnTo>
                    <a:pt x="464" y="276"/>
                  </a:lnTo>
                  <a:lnTo>
                    <a:pt x="464" y="270"/>
                  </a:lnTo>
                  <a:lnTo>
                    <a:pt x="464" y="266"/>
                  </a:lnTo>
                  <a:lnTo>
                    <a:pt x="464" y="266"/>
                  </a:lnTo>
                  <a:lnTo>
                    <a:pt x="464" y="260"/>
                  </a:lnTo>
                  <a:lnTo>
                    <a:pt x="470" y="260"/>
                  </a:lnTo>
                  <a:lnTo>
                    <a:pt x="470" y="260"/>
                  </a:lnTo>
                  <a:lnTo>
                    <a:pt x="464" y="260"/>
                  </a:lnTo>
                  <a:lnTo>
                    <a:pt x="470" y="254"/>
                  </a:lnTo>
                  <a:lnTo>
                    <a:pt x="470" y="260"/>
                  </a:lnTo>
                  <a:lnTo>
                    <a:pt x="476" y="260"/>
                  </a:lnTo>
                  <a:lnTo>
                    <a:pt x="470" y="254"/>
                  </a:lnTo>
                  <a:lnTo>
                    <a:pt x="464" y="254"/>
                  </a:lnTo>
                  <a:lnTo>
                    <a:pt x="464" y="254"/>
                  </a:lnTo>
                  <a:lnTo>
                    <a:pt x="464" y="248"/>
                  </a:lnTo>
                  <a:lnTo>
                    <a:pt x="470" y="248"/>
                  </a:lnTo>
                  <a:lnTo>
                    <a:pt x="476" y="248"/>
                  </a:lnTo>
                  <a:lnTo>
                    <a:pt x="476" y="248"/>
                  </a:lnTo>
                  <a:lnTo>
                    <a:pt x="476" y="248"/>
                  </a:lnTo>
                  <a:lnTo>
                    <a:pt x="476" y="248"/>
                  </a:lnTo>
                  <a:lnTo>
                    <a:pt x="476" y="248"/>
                  </a:lnTo>
                  <a:lnTo>
                    <a:pt x="476" y="248"/>
                  </a:lnTo>
                  <a:lnTo>
                    <a:pt x="476" y="242"/>
                  </a:lnTo>
                  <a:lnTo>
                    <a:pt x="476" y="238"/>
                  </a:lnTo>
                  <a:lnTo>
                    <a:pt x="482" y="238"/>
                  </a:lnTo>
                  <a:lnTo>
                    <a:pt x="486" y="238"/>
                  </a:lnTo>
                  <a:lnTo>
                    <a:pt x="492" y="238"/>
                  </a:lnTo>
                  <a:lnTo>
                    <a:pt x="492" y="238"/>
                  </a:lnTo>
                  <a:lnTo>
                    <a:pt x="492" y="238"/>
                  </a:lnTo>
                  <a:lnTo>
                    <a:pt x="496" y="238"/>
                  </a:lnTo>
                  <a:lnTo>
                    <a:pt x="502" y="238"/>
                  </a:lnTo>
                  <a:lnTo>
                    <a:pt x="502" y="238"/>
                  </a:lnTo>
                  <a:lnTo>
                    <a:pt x="508" y="238"/>
                  </a:lnTo>
                  <a:lnTo>
                    <a:pt x="512" y="238"/>
                  </a:lnTo>
                  <a:lnTo>
                    <a:pt x="512" y="238"/>
                  </a:lnTo>
                  <a:lnTo>
                    <a:pt x="518" y="238"/>
                  </a:lnTo>
                  <a:lnTo>
                    <a:pt x="518" y="242"/>
                  </a:lnTo>
                  <a:lnTo>
                    <a:pt x="524" y="242"/>
                  </a:lnTo>
                  <a:lnTo>
                    <a:pt x="518" y="242"/>
                  </a:lnTo>
                  <a:lnTo>
                    <a:pt x="512" y="242"/>
                  </a:lnTo>
                  <a:lnTo>
                    <a:pt x="512" y="248"/>
                  </a:lnTo>
                  <a:lnTo>
                    <a:pt x="512" y="248"/>
                  </a:lnTo>
                  <a:lnTo>
                    <a:pt x="518" y="248"/>
                  </a:lnTo>
                  <a:lnTo>
                    <a:pt x="512" y="248"/>
                  </a:lnTo>
                  <a:lnTo>
                    <a:pt x="512" y="248"/>
                  </a:lnTo>
                  <a:lnTo>
                    <a:pt x="508" y="248"/>
                  </a:lnTo>
                  <a:lnTo>
                    <a:pt x="512" y="248"/>
                  </a:lnTo>
                  <a:lnTo>
                    <a:pt x="512" y="248"/>
                  </a:lnTo>
                  <a:lnTo>
                    <a:pt x="512" y="248"/>
                  </a:lnTo>
                  <a:lnTo>
                    <a:pt x="512" y="254"/>
                  </a:lnTo>
                  <a:lnTo>
                    <a:pt x="512" y="254"/>
                  </a:lnTo>
                  <a:lnTo>
                    <a:pt x="512" y="248"/>
                  </a:lnTo>
                  <a:lnTo>
                    <a:pt x="512" y="254"/>
                  </a:lnTo>
                  <a:lnTo>
                    <a:pt x="508" y="254"/>
                  </a:lnTo>
                  <a:lnTo>
                    <a:pt x="508" y="248"/>
                  </a:lnTo>
                  <a:lnTo>
                    <a:pt x="502" y="254"/>
                  </a:lnTo>
                  <a:lnTo>
                    <a:pt x="508" y="254"/>
                  </a:lnTo>
                  <a:lnTo>
                    <a:pt x="512" y="254"/>
                  </a:lnTo>
                  <a:lnTo>
                    <a:pt x="508" y="260"/>
                  </a:lnTo>
                  <a:lnTo>
                    <a:pt x="502" y="260"/>
                  </a:lnTo>
                  <a:lnTo>
                    <a:pt x="508" y="260"/>
                  </a:lnTo>
                  <a:lnTo>
                    <a:pt x="508" y="260"/>
                  </a:lnTo>
                  <a:lnTo>
                    <a:pt x="502" y="260"/>
                  </a:lnTo>
                  <a:lnTo>
                    <a:pt x="502" y="260"/>
                  </a:lnTo>
                  <a:lnTo>
                    <a:pt x="502" y="260"/>
                  </a:lnTo>
                  <a:lnTo>
                    <a:pt x="508" y="260"/>
                  </a:lnTo>
                  <a:lnTo>
                    <a:pt x="502" y="266"/>
                  </a:lnTo>
                  <a:lnTo>
                    <a:pt x="508" y="266"/>
                  </a:lnTo>
                  <a:lnTo>
                    <a:pt x="508" y="270"/>
                  </a:lnTo>
                  <a:lnTo>
                    <a:pt x="502" y="270"/>
                  </a:lnTo>
                  <a:lnTo>
                    <a:pt x="502" y="276"/>
                  </a:lnTo>
                  <a:lnTo>
                    <a:pt x="502" y="276"/>
                  </a:lnTo>
                  <a:lnTo>
                    <a:pt x="508" y="276"/>
                  </a:lnTo>
                  <a:lnTo>
                    <a:pt x="508" y="282"/>
                  </a:lnTo>
                  <a:lnTo>
                    <a:pt x="508" y="288"/>
                  </a:lnTo>
                  <a:lnTo>
                    <a:pt x="512" y="288"/>
                  </a:lnTo>
                  <a:lnTo>
                    <a:pt x="512" y="288"/>
                  </a:lnTo>
                  <a:lnTo>
                    <a:pt x="512" y="292"/>
                  </a:lnTo>
                  <a:lnTo>
                    <a:pt x="512" y="296"/>
                  </a:lnTo>
                  <a:lnTo>
                    <a:pt x="518" y="296"/>
                  </a:lnTo>
                  <a:lnTo>
                    <a:pt x="524" y="296"/>
                  </a:lnTo>
                  <a:lnTo>
                    <a:pt x="524" y="302"/>
                  </a:lnTo>
                  <a:lnTo>
                    <a:pt x="530" y="302"/>
                  </a:lnTo>
                  <a:lnTo>
                    <a:pt x="536" y="302"/>
                  </a:lnTo>
                  <a:lnTo>
                    <a:pt x="536" y="308"/>
                  </a:lnTo>
                  <a:lnTo>
                    <a:pt x="536" y="308"/>
                  </a:lnTo>
                  <a:lnTo>
                    <a:pt x="536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24" y="308"/>
                  </a:lnTo>
                  <a:lnTo>
                    <a:pt x="524" y="308"/>
                  </a:lnTo>
                  <a:lnTo>
                    <a:pt x="524" y="308"/>
                  </a:lnTo>
                  <a:lnTo>
                    <a:pt x="530" y="308"/>
                  </a:lnTo>
                  <a:lnTo>
                    <a:pt x="536" y="308"/>
                  </a:lnTo>
                  <a:lnTo>
                    <a:pt x="530" y="308"/>
                  </a:lnTo>
                  <a:lnTo>
                    <a:pt x="524" y="308"/>
                  </a:lnTo>
                  <a:lnTo>
                    <a:pt x="524" y="308"/>
                  </a:lnTo>
                  <a:lnTo>
                    <a:pt x="518" y="308"/>
                  </a:lnTo>
                  <a:lnTo>
                    <a:pt x="524" y="308"/>
                  </a:lnTo>
                  <a:lnTo>
                    <a:pt x="518" y="308"/>
                  </a:lnTo>
                  <a:lnTo>
                    <a:pt x="512" y="308"/>
                  </a:lnTo>
                  <a:lnTo>
                    <a:pt x="518" y="308"/>
                  </a:lnTo>
                  <a:lnTo>
                    <a:pt x="518" y="308"/>
                  </a:lnTo>
                  <a:lnTo>
                    <a:pt x="524" y="308"/>
                  </a:lnTo>
                  <a:lnTo>
                    <a:pt x="518" y="308"/>
                  </a:lnTo>
                  <a:lnTo>
                    <a:pt x="524" y="308"/>
                  </a:lnTo>
                  <a:lnTo>
                    <a:pt x="518" y="308"/>
                  </a:lnTo>
                  <a:lnTo>
                    <a:pt x="512" y="308"/>
                  </a:lnTo>
                  <a:lnTo>
                    <a:pt x="512" y="308"/>
                  </a:lnTo>
                  <a:lnTo>
                    <a:pt x="512" y="308"/>
                  </a:lnTo>
                  <a:lnTo>
                    <a:pt x="512" y="308"/>
                  </a:lnTo>
                  <a:lnTo>
                    <a:pt x="512" y="308"/>
                  </a:lnTo>
                  <a:lnTo>
                    <a:pt x="512" y="308"/>
                  </a:lnTo>
                  <a:lnTo>
                    <a:pt x="512" y="308"/>
                  </a:lnTo>
                  <a:lnTo>
                    <a:pt x="508" y="308"/>
                  </a:lnTo>
                  <a:lnTo>
                    <a:pt x="512" y="308"/>
                  </a:lnTo>
                  <a:lnTo>
                    <a:pt x="512" y="308"/>
                  </a:lnTo>
                  <a:lnTo>
                    <a:pt x="508" y="308"/>
                  </a:lnTo>
                  <a:lnTo>
                    <a:pt x="502" y="308"/>
                  </a:lnTo>
                  <a:lnTo>
                    <a:pt x="502" y="308"/>
                  </a:lnTo>
                  <a:lnTo>
                    <a:pt x="502" y="308"/>
                  </a:lnTo>
                  <a:lnTo>
                    <a:pt x="496" y="308"/>
                  </a:lnTo>
                  <a:lnTo>
                    <a:pt x="492" y="308"/>
                  </a:lnTo>
                  <a:lnTo>
                    <a:pt x="496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86" y="308"/>
                  </a:lnTo>
                  <a:lnTo>
                    <a:pt x="482" y="302"/>
                  </a:lnTo>
                  <a:lnTo>
                    <a:pt x="482" y="308"/>
                  </a:lnTo>
                  <a:lnTo>
                    <a:pt x="482" y="302"/>
                  </a:lnTo>
                  <a:lnTo>
                    <a:pt x="476" y="302"/>
                  </a:lnTo>
                  <a:lnTo>
                    <a:pt x="482" y="302"/>
                  </a:lnTo>
                  <a:lnTo>
                    <a:pt x="482" y="296"/>
                  </a:lnTo>
                  <a:lnTo>
                    <a:pt x="476" y="296"/>
                  </a:lnTo>
                  <a:lnTo>
                    <a:pt x="476" y="296"/>
                  </a:lnTo>
                  <a:lnTo>
                    <a:pt x="482" y="296"/>
                  </a:lnTo>
                  <a:lnTo>
                    <a:pt x="486" y="296"/>
                  </a:lnTo>
                  <a:lnTo>
                    <a:pt x="492" y="296"/>
                  </a:lnTo>
                  <a:lnTo>
                    <a:pt x="486" y="296"/>
                  </a:lnTo>
                  <a:lnTo>
                    <a:pt x="482" y="296"/>
                  </a:lnTo>
                  <a:lnTo>
                    <a:pt x="476" y="296"/>
                  </a:lnTo>
                  <a:lnTo>
                    <a:pt x="476" y="292"/>
                  </a:lnTo>
                  <a:lnTo>
                    <a:pt x="476" y="292"/>
                  </a:lnTo>
                  <a:lnTo>
                    <a:pt x="476" y="292"/>
                  </a:lnTo>
                  <a:lnTo>
                    <a:pt x="476" y="292"/>
                  </a:lnTo>
                  <a:close/>
                  <a:moveTo>
                    <a:pt x="1418" y="248"/>
                  </a:moveTo>
                  <a:lnTo>
                    <a:pt x="1412" y="242"/>
                  </a:lnTo>
                  <a:lnTo>
                    <a:pt x="1418" y="242"/>
                  </a:lnTo>
                  <a:lnTo>
                    <a:pt x="1422" y="242"/>
                  </a:lnTo>
                  <a:lnTo>
                    <a:pt x="1422" y="248"/>
                  </a:lnTo>
                  <a:lnTo>
                    <a:pt x="1418" y="248"/>
                  </a:lnTo>
                  <a:lnTo>
                    <a:pt x="1418" y="248"/>
                  </a:lnTo>
                  <a:lnTo>
                    <a:pt x="1418" y="248"/>
                  </a:lnTo>
                  <a:lnTo>
                    <a:pt x="1418" y="248"/>
                  </a:lnTo>
                  <a:close/>
                  <a:moveTo>
                    <a:pt x="838" y="248"/>
                  </a:moveTo>
                  <a:lnTo>
                    <a:pt x="838" y="248"/>
                  </a:lnTo>
                  <a:lnTo>
                    <a:pt x="838" y="248"/>
                  </a:lnTo>
                  <a:lnTo>
                    <a:pt x="838" y="242"/>
                  </a:lnTo>
                  <a:lnTo>
                    <a:pt x="844" y="242"/>
                  </a:lnTo>
                  <a:lnTo>
                    <a:pt x="844" y="248"/>
                  </a:lnTo>
                  <a:lnTo>
                    <a:pt x="850" y="248"/>
                  </a:lnTo>
                  <a:lnTo>
                    <a:pt x="850" y="254"/>
                  </a:lnTo>
                  <a:lnTo>
                    <a:pt x="844" y="254"/>
                  </a:lnTo>
                  <a:lnTo>
                    <a:pt x="838" y="254"/>
                  </a:lnTo>
                  <a:lnTo>
                    <a:pt x="838" y="254"/>
                  </a:lnTo>
                  <a:lnTo>
                    <a:pt x="832" y="248"/>
                  </a:lnTo>
                  <a:lnTo>
                    <a:pt x="838" y="248"/>
                  </a:lnTo>
                  <a:lnTo>
                    <a:pt x="838" y="248"/>
                  </a:lnTo>
                  <a:lnTo>
                    <a:pt x="838" y="248"/>
                  </a:lnTo>
                  <a:lnTo>
                    <a:pt x="838" y="248"/>
                  </a:lnTo>
                  <a:close/>
                  <a:moveTo>
                    <a:pt x="812" y="266"/>
                  </a:moveTo>
                  <a:lnTo>
                    <a:pt x="812" y="260"/>
                  </a:lnTo>
                  <a:lnTo>
                    <a:pt x="812" y="260"/>
                  </a:lnTo>
                  <a:lnTo>
                    <a:pt x="812" y="260"/>
                  </a:lnTo>
                  <a:lnTo>
                    <a:pt x="818" y="260"/>
                  </a:lnTo>
                  <a:lnTo>
                    <a:pt x="822" y="260"/>
                  </a:lnTo>
                  <a:lnTo>
                    <a:pt x="822" y="260"/>
                  </a:lnTo>
                  <a:lnTo>
                    <a:pt x="826" y="260"/>
                  </a:lnTo>
                  <a:lnTo>
                    <a:pt x="826" y="260"/>
                  </a:lnTo>
                  <a:lnTo>
                    <a:pt x="822" y="260"/>
                  </a:lnTo>
                  <a:lnTo>
                    <a:pt x="822" y="266"/>
                  </a:lnTo>
                  <a:lnTo>
                    <a:pt x="822" y="266"/>
                  </a:lnTo>
                  <a:lnTo>
                    <a:pt x="818" y="266"/>
                  </a:lnTo>
                  <a:lnTo>
                    <a:pt x="812" y="266"/>
                  </a:lnTo>
                  <a:lnTo>
                    <a:pt x="812" y="266"/>
                  </a:lnTo>
                  <a:lnTo>
                    <a:pt x="812" y="266"/>
                  </a:lnTo>
                  <a:lnTo>
                    <a:pt x="812" y="266"/>
                  </a:lnTo>
                  <a:lnTo>
                    <a:pt x="812" y="266"/>
                  </a:lnTo>
                  <a:close/>
                  <a:moveTo>
                    <a:pt x="1678" y="288"/>
                  </a:moveTo>
                  <a:lnTo>
                    <a:pt x="1678" y="282"/>
                  </a:lnTo>
                  <a:lnTo>
                    <a:pt x="1682" y="282"/>
                  </a:lnTo>
                  <a:lnTo>
                    <a:pt x="1682" y="288"/>
                  </a:lnTo>
                  <a:lnTo>
                    <a:pt x="1678" y="288"/>
                  </a:lnTo>
                  <a:lnTo>
                    <a:pt x="1678" y="288"/>
                  </a:lnTo>
                  <a:lnTo>
                    <a:pt x="1678" y="288"/>
                  </a:lnTo>
                  <a:lnTo>
                    <a:pt x="1678" y="288"/>
                  </a:lnTo>
                  <a:close/>
                  <a:moveTo>
                    <a:pt x="1672" y="288"/>
                  </a:moveTo>
                  <a:lnTo>
                    <a:pt x="1672" y="288"/>
                  </a:lnTo>
                  <a:lnTo>
                    <a:pt x="1668" y="288"/>
                  </a:lnTo>
                  <a:lnTo>
                    <a:pt x="1662" y="288"/>
                  </a:lnTo>
                  <a:lnTo>
                    <a:pt x="1662" y="288"/>
                  </a:lnTo>
                  <a:lnTo>
                    <a:pt x="1662" y="288"/>
                  </a:lnTo>
                  <a:lnTo>
                    <a:pt x="1662" y="288"/>
                  </a:lnTo>
                  <a:lnTo>
                    <a:pt x="1668" y="288"/>
                  </a:lnTo>
                  <a:lnTo>
                    <a:pt x="1672" y="288"/>
                  </a:lnTo>
                  <a:lnTo>
                    <a:pt x="1672" y="288"/>
                  </a:lnTo>
                  <a:lnTo>
                    <a:pt x="1672" y="288"/>
                  </a:lnTo>
                  <a:lnTo>
                    <a:pt x="1672" y="288"/>
                  </a:lnTo>
                  <a:lnTo>
                    <a:pt x="1672" y="288"/>
                  </a:lnTo>
                  <a:close/>
                  <a:moveTo>
                    <a:pt x="470" y="296"/>
                  </a:moveTo>
                  <a:lnTo>
                    <a:pt x="464" y="296"/>
                  </a:lnTo>
                  <a:lnTo>
                    <a:pt x="464" y="292"/>
                  </a:lnTo>
                  <a:lnTo>
                    <a:pt x="464" y="292"/>
                  </a:lnTo>
                  <a:lnTo>
                    <a:pt x="458" y="292"/>
                  </a:lnTo>
                  <a:lnTo>
                    <a:pt x="464" y="292"/>
                  </a:lnTo>
                  <a:lnTo>
                    <a:pt x="464" y="288"/>
                  </a:lnTo>
                  <a:lnTo>
                    <a:pt x="464" y="288"/>
                  </a:lnTo>
                  <a:lnTo>
                    <a:pt x="470" y="288"/>
                  </a:lnTo>
                  <a:lnTo>
                    <a:pt x="470" y="292"/>
                  </a:lnTo>
                  <a:lnTo>
                    <a:pt x="464" y="292"/>
                  </a:lnTo>
                  <a:lnTo>
                    <a:pt x="464" y="288"/>
                  </a:lnTo>
                  <a:lnTo>
                    <a:pt x="464" y="292"/>
                  </a:lnTo>
                  <a:lnTo>
                    <a:pt x="470" y="292"/>
                  </a:lnTo>
                  <a:lnTo>
                    <a:pt x="476" y="292"/>
                  </a:lnTo>
                  <a:lnTo>
                    <a:pt x="470" y="292"/>
                  </a:lnTo>
                  <a:lnTo>
                    <a:pt x="476" y="292"/>
                  </a:lnTo>
                  <a:lnTo>
                    <a:pt x="476" y="296"/>
                  </a:lnTo>
                  <a:lnTo>
                    <a:pt x="476" y="296"/>
                  </a:lnTo>
                  <a:lnTo>
                    <a:pt x="470" y="296"/>
                  </a:lnTo>
                  <a:lnTo>
                    <a:pt x="470" y="296"/>
                  </a:lnTo>
                  <a:lnTo>
                    <a:pt x="476" y="296"/>
                  </a:lnTo>
                  <a:lnTo>
                    <a:pt x="470" y="296"/>
                  </a:lnTo>
                  <a:lnTo>
                    <a:pt x="470" y="296"/>
                  </a:lnTo>
                  <a:lnTo>
                    <a:pt x="470" y="296"/>
                  </a:lnTo>
                  <a:lnTo>
                    <a:pt x="470" y="296"/>
                  </a:lnTo>
                  <a:close/>
                  <a:moveTo>
                    <a:pt x="2008" y="308"/>
                  </a:moveTo>
                  <a:lnTo>
                    <a:pt x="2008" y="308"/>
                  </a:lnTo>
                  <a:lnTo>
                    <a:pt x="2008" y="302"/>
                  </a:lnTo>
                  <a:lnTo>
                    <a:pt x="2008" y="302"/>
                  </a:lnTo>
                  <a:lnTo>
                    <a:pt x="2008" y="308"/>
                  </a:lnTo>
                  <a:lnTo>
                    <a:pt x="2008" y="308"/>
                  </a:lnTo>
                  <a:lnTo>
                    <a:pt x="2008" y="308"/>
                  </a:lnTo>
                  <a:lnTo>
                    <a:pt x="2008" y="308"/>
                  </a:lnTo>
                  <a:close/>
                  <a:moveTo>
                    <a:pt x="568" y="336"/>
                  </a:moveTo>
                  <a:lnTo>
                    <a:pt x="562" y="336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6" y="324"/>
                  </a:lnTo>
                  <a:lnTo>
                    <a:pt x="556" y="330"/>
                  </a:lnTo>
                  <a:lnTo>
                    <a:pt x="550" y="324"/>
                  </a:lnTo>
                  <a:lnTo>
                    <a:pt x="550" y="324"/>
                  </a:lnTo>
                  <a:lnTo>
                    <a:pt x="550" y="320"/>
                  </a:lnTo>
                  <a:lnTo>
                    <a:pt x="550" y="320"/>
                  </a:lnTo>
                  <a:lnTo>
                    <a:pt x="550" y="320"/>
                  </a:lnTo>
                  <a:lnTo>
                    <a:pt x="550" y="314"/>
                  </a:lnTo>
                  <a:lnTo>
                    <a:pt x="556" y="314"/>
                  </a:lnTo>
                  <a:lnTo>
                    <a:pt x="562" y="314"/>
                  </a:lnTo>
                  <a:lnTo>
                    <a:pt x="562" y="320"/>
                  </a:lnTo>
                  <a:lnTo>
                    <a:pt x="562" y="320"/>
                  </a:lnTo>
                  <a:lnTo>
                    <a:pt x="562" y="320"/>
                  </a:lnTo>
                  <a:lnTo>
                    <a:pt x="568" y="320"/>
                  </a:lnTo>
                  <a:lnTo>
                    <a:pt x="572" y="324"/>
                  </a:lnTo>
                  <a:lnTo>
                    <a:pt x="572" y="324"/>
                  </a:lnTo>
                  <a:lnTo>
                    <a:pt x="578" y="330"/>
                  </a:lnTo>
                  <a:lnTo>
                    <a:pt x="572" y="336"/>
                  </a:lnTo>
                  <a:lnTo>
                    <a:pt x="572" y="336"/>
                  </a:lnTo>
                  <a:lnTo>
                    <a:pt x="568" y="336"/>
                  </a:lnTo>
                  <a:lnTo>
                    <a:pt x="568" y="336"/>
                  </a:lnTo>
                  <a:lnTo>
                    <a:pt x="568" y="336"/>
                  </a:lnTo>
                  <a:lnTo>
                    <a:pt x="568" y="336"/>
                  </a:lnTo>
                  <a:close/>
                  <a:moveTo>
                    <a:pt x="2116" y="336"/>
                  </a:moveTo>
                  <a:lnTo>
                    <a:pt x="2116" y="336"/>
                  </a:lnTo>
                  <a:lnTo>
                    <a:pt x="2116" y="336"/>
                  </a:lnTo>
                  <a:lnTo>
                    <a:pt x="2112" y="336"/>
                  </a:lnTo>
                  <a:lnTo>
                    <a:pt x="2106" y="336"/>
                  </a:lnTo>
                  <a:lnTo>
                    <a:pt x="2100" y="336"/>
                  </a:lnTo>
                  <a:lnTo>
                    <a:pt x="2100" y="336"/>
                  </a:lnTo>
                  <a:lnTo>
                    <a:pt x="2096" y="330"/>
                  </a:lnTo>
                  <a:lnTo>
                    <a:pt x="2096" y="324"/>
                  </a:lnTo>
                  <a:lnTo>
                    <a:pt x="2100" y="324"/>
                  </a:lnTo>
                  <a:lnTo>
                    <a:pt x="2100" y="324"/>
                  </a:lnTo>
                  <a:lnTo>
                    <a:pt x="2106" y="324"/>
                  </a:lnTo>
                  <a:lnTo>
                    <a:pt x="2112" y="324"/>
                  </a:lnTo>
                  <a:lnTo>
                    <a:pt x="2112" y="330"/>
                  </a:lnTo>
                  <a:lnTo>
                    <a:pt x="2116" y="330"/>
                  </a:lnTo>
                  <a:lnTo>
                    <a:pt x="2116" y="330"/>
                  </a:lnTo>
                  <a:lnTo>
                    <a:pt x="2116" y="336"/>
                  </a:lnTo>
                  <a:lnTo>
                    <a:pt x="2116" y="336"/>
                  </a:lnTo>
                  <a:lnTo>
                    <a:pt x="2116" y="336"/>
                  </a:lnTo>
                  <a:lnTo>
                    <a:pt x="2116" y="336"/>
                  </a:lnTo>
                  <a:close/>
                  <a:moveTo>
                    <a:pt x="2008" y="336"/>
                  </a:moveTo>
                  <a:lnTo>
                    <a:pt x="2008" y="336"/>
                  </a:lnTo>
                  <a:lnTo>
                    <a:pt x="2008" y="336"/>
                  </a:lnTo>
                  <a:lnTo>
                    <a:pt x="2008" y="336"/>
                  </a:lnTo>
                  <a:lnTo>
                    <a:pt x="2008" y="336"/>
                  </a:lnTo>
                  <a:lnTo>
                    <a:pt x="2008" y="336"/>
                  </a:lnTo>
                  <a:lnTo>
                    <a:pt x="2008" y="336"/>
                  </a:lnTo>
                  <a:lnTo>
                    <a:pt x="2008" y="336"/>
                  </a:lnTo>
                  <a:close/>
                  <a:moveTo>
                    <a:pt x="2004" y="342"/>
                  </a:moveTo>
                  <a:lnTo>
                    <a:pt x="2008" y="342"/>
                  </a:lnTo>
                  <a:lnTo>
                    <a:pt x="2008" y="336"/>
                  </a:lnTo>
                  <a:lnTo>
                    <a:pt x="2004" y="336"/>
                  </a:lnTo>
                  <a:lnTo>
                    <a:pt x="2008" y="336"/>
                  </a:lnTo>
                  <a:lnTo>
                    <a:pt x="2008" y="336"/>
                  </a:lnTo>
                  <a:lnTo>
                    <a:pt x="2008" y="342"/>
                  </a:lnTo>
                  <a:lnTo>
                    <a:pt x="2004" y="342"/>
                  </a:lnTo>
                  <a:lnTo>
                    <a:pt x="2004" y="342"/>
                  </a:lnTo>
                  <a:lnTo>
                    <a:pt x="2004" y="342"/>
                  </a:lnTo>
                  <a:lnTo>
                    <a:pt x="2004" y="342"/>
                  </a:lnTo>
                  <a:close/>
                  <a:moveTo>
                    <a:pt x="670" y="336"/>
                  </a:moveTo>
                  <a:lnTo>
                    <a:pt x="670" y="336"/>
                  </a:lnTo>
                  <a:lnTo>
                    <a:pt x="676" y="336"/>
                  </a:lnTo>
                  <a:lnTo>
                    <a:pt x="670" y="342"/>
                  </a:lnTo>
                  <a:lnTo>
                    <a:pt x="670" y="342"/>
                  </a:lnTo>
                  <a:lnTo>
                    <a:pt x="670" y="336"/>
                  </a:lnTo>
                  <a:lnTo>
                    <a:pt x="670" y="336"/>
                  </a:lnTo>
                  <a:lnTo>
                    <a:pt x="670" y="336"/>
                  </a:lnTo>
                  <a:lnTo>
                    <a:pt x="670" y="336"/>
                  </a:lnTo>
                  <a:close/>
                  <a:moveTo>
                    <a:pt x="2008" y="350"/>
                  </a:moveTo>
                  <a:lnTo>
                    <a:pt x="2004" y="350"/>
                  </a:lnTo>
                  <a:lnTo>
                    <a:pt x="2004" y="348"/>
                  </a:lnTo>
                  <a:lnTo>
                    <a:pt x="1998" y="348"/>
                  </a:lnTo>
                  <a:lnTo>
                    <a:pt x="1998" y="348"/>
                  </a:lnTo>
                  <a:lnTo>
                    <a:pt x="2004" y="348"/>
                  </a:lnTo>
                  <a:lnTo>
                    <a:pt x="2004" y="342"/>
                  </a:lnTo>
                  <a:lnTo>
                    <a:pt x="1998" y="342"/>
                  </a:lnTo>
                  <a:lnTo>
                    <a:pt x="2004" y="336"/>
                  </a:lnTo>
                  <a:lnTo>
                    <a:pt x="2004" y="342"/>
                  </a:lnTo>
                  <a:lnTo>
                    <a:pt x="2004" y="348"/>
                  </a:lnTo>
                  <a:lnTo>
                    <a:pt x="2004" y="348"/>
                  </a:lnTo>
                  <a:lnTo>
                    <a:pt x="2008" y="348"/>
                  </a:lnTo>
                  <a:lnTo>
                    <a:pt x="2008" y="350"/>
                  </a:lnTo>
                  <a:lnTo>
                    <a:pt x="2008" y="350"/>
                  </a:lnTo>
                  <a:lnTo>
                    <a:pt x="2008" y="350"/>
                  </a:lnTo>
                  <a:lnTo>
                    <a:pt x="2008" y="350"/>
                  </a:lnTo>
                  <a:close/>
                  <a:moveTo>
                    <a:pt x="404" y="348"/>
                  </a:moveTo>
                  <a:lnTo>
                    <a:pt x="404" y="348"/>
                  </a:lnTo>
                  <a:lnTo>
                    <a:pt x="410" y="348"/>
                  </a:lnTo>
                  <a:lnTo>
                    <a:pt x="410" y="342"/>
                  </a:lnTo>
                  <a:lnTo>
                    <a:pt x="410" y="342"/>
                  </a:lnTo>
                  <a:lnTo>
                    <a:pt x="410" y="336"/>
                  </a:lnTo>
                  <a:lnTo>
                    <a:pt x="416" y="336"/>
                  </a:lnTo>
                  <a:lnTo>
                    <a:pt x="422" y="336"/>
                  </a:lnTo>
                  <a:lnTo>
                    <a:pt x="422" y="342"/>
                  </a:lnTo>
                  <a:lnTo>
                    <a:pt x="426" y="342"/>
                  </a:lnTo>
                  <a:lnTo>
                    <a:pt x="432" y="348"/>
                  </a:lnTo>
                  <a:lnTo>
                    <a:pt x="432" y="348"/>
                  </a:lnTo>
                  <a:lnTo>
                    <a:pt x="432" y="350"/>
                  </a:lnTo>
                  <a:lnTo>
                    <a:pt x="432" y="348"/>
                  </a:lnTo>
                  <a:lnTo>
                    <a:pt x="432" y="348"/>
                  </a:lnTo>
                  <a:lnTo>
                    <a:pt x="432" y="348"/>
                  </a:lnTo>
                  <a:lnTo>
                    <a:pt x="426" y="350"/>
                  </a:lnTo>
                  <a:lnTo>
                    <a:pt x="426" y="356"/>
                  </a:lnTo>
                  <a:lnTo>
                    <a:pt x="422" y="356"/>
                  </a:lnTo>
                  <a:lnTo>
                    <a:pt x="422" y="356"/>
                  </a:lnTo>
                  <a:lnTo>
                    <a:pt x="416" y="356"/>
                  </a:lnTo>
                  <a:lnTo>
                    <a:pt x="410" y="356"/>
                  </a:lnTo>
                  <a:lnTo>
                    <a:pt x="410" y="356"/>
                  </a:lnTo>
                  <a:lnTo>
                    <a:pt x="404" y="350"/>
                  </a:lnTo>
                  <a:lnTo>
                    <a:pt x="404" y="348"/>
                  </a:lnTo>
                  <a:lnTo>
                    <a:pt x="404" y="348"/>
                  </a:lnTo>
                  <a:lnTo>
                    <a:pt x="404" y="348"/>
                  </a:lnTo>
                  <a:lnTo>
                    <a:pt x="404" y="348"/>
                  </a:lnTo>
                  <a:close/>
                  <a:moveTo>
                    <a:pt x="204" y="342"/>
                  </a:moveTo>
                  <a:lnTo>
                    <a:pt x="210" y="342"/>
                  </a:lnTo>
                  <a:lnTo>
                    <a:pt x="204" y="342"/>
                  </a:lnTo>
                  <a:lnTo>
                    <a:pt x="204" y="342"/>
                  </a:lnTo>
                  <a:lnTo>
                    <a:pt x="204" y="342"/>
                  </a:lnTo>
                  <a:lnTo>
                    <a:pt x="204" y="342"/>
                  </a:lnTo>
                  <a:lnTo>
                    <a:pt x="204" y="342"/>
                  </a:lnTo>
                  <a:lnTo>
                    <a:pt x="204" y="342"/>
                  </a:lnTo>
                  <a:close/>
                  <a:moveTo>
                    <a:pt x="654" y="348"/>
                  </a:moveTo>
                  <a:lnTo>
                    <a:pt x="658" y="348"/>
                  </a:lnTo>
                  <a:lnTo>
                    <a:pt x="658" y="348"/>
                  </a:lnTo>
                  <a:lnTo>
                    <a:pt x="658" y="350"/>
                  </a:lnTo>
                  <a:lnTo>
                    <a:pt x="664" y="350"/>
                  </a:lnTo>
                  <a:lnTo>
                    <a:pt x="658" y="350"/>
                  </a:lnTo>
                  <a:lnTo>
                    <a:pt x="658" y="348"/>
                  </a:lnTo>
                  <a:lnTo>
                    <a:pt x="654" y="348"/>
                  </a:lnTo>
                  <a:lnTo>
                    <a:pt x="654" y="348"/>
                  </a:lnTo>
                  <a:lnTo>
                    <a:pt x="654" y="348"/>
                  </a:lnTo>
                  <a:lnTo>
                    <a:pt x="654" y="348"/>
                  </a:lnTo>
                  <a:close/>
                  <a:moveTo>
                    <a:pt x="530" y="356"/>
                  </a:moveTo>
                  <a:lnTo>
                    <a:pt x="536" y="356"/>
                  </a:lnTo>
                  <a:lnTo>
                    <a:pt x="536" y="356"/>
                  </a:lnTo>
                  <a:lnTo>
                    <a:pt x="540" y="356"/>
                  </a:lnTo>
                  <a:lnTo>
                    <a:pt x="536" y="356"/>
                  </a:lnTo>
                  <a:lnTo>
                    <a:pt x="536" y="356"/>
                  </a:lnTo>
                  <a:lnTo>
                    <a:pt x="536" y="356"/>
                  </a:lnTo>
                  <a:lnTo>
                    <a:pt x="530" y="356"/>
                  </a:lnTo>
                  <a:lnTo>
                    <a:pt x="530" y="356"/>
                  </a:lnTo>
                  <a:lnTo>
                    <a:pt x="530" y="356"/>
                  </a:lnTo>
                  <a:lnTo>
                    <a:pt x="530" y="356"/>
                  </a:lnTo>
                  <a:lnTo>
                    <a:pt x="530" y="356"/>
                  </a:lnTo>
                  <a:close/>
                  <a:moveTo>
                    <a:pt x="442" y="368"/>
                  </a:moveTo>
                  <a:lnTo>
                    <a:pt x="442" y="362"/>
                  </a:lnTo>
                  <a:lnTo>
                    <a:pt x="442" y="362"/>
                  </a:lnTo>
                  <a:lnTo>
                    <a:pt x="448" y="362"/>
                  </a:lnTo>
                  <a:lnTo>
                    <a:pt x="442" y="362"/>
                  </a:lnTo>
                  <a:lnTo>
                    <a:pt x="442" y="368"/>
                  </a:lnTo>
                  <a:lnTo>
                    <a:pt x="442" y="368"/>
                  </a:lnTo>
                  <a:lnTo>
                    <a:pt x="442" y="368"/>
                  </a:lnTo>
                  <a:lnTo>
                    <a:pt x="442" y="368"/>
                  </a:lnTo>
                  <a:lnTo>
                    <a:pt x="442" y="368"/>
                  </a:lnTo>
                  <a:close/>
                  <a:moveTo>
                    <a:pt x="324" y="406"/>
                  </a:moveTo>
                  <a:lnTo>
                    <a:pt x="324" y="406"/>
                  </a:lnTo>
                  <a:lnTo>
                    <a:pt x="324" y="406"/>
                  </a:lnTo>
                  <a:lnTo>
                    <a:pt x="324" y="406"/>
                  </a:lnTo>
                  <a:lnTo>
                    <a:pt x="324" y="406"/>
                  </a:lnTo>
                  <a:lnTo>
                    <a:pt x="324" y="406"/>
                  </a:lnTo>
                  <a:lnTo>
                    <a:pt x="324" y="406"/>
                  </a:lnTo>
                  <a:lnTo>
                    <a:pt x="324" y="406"/>
                  </a:lnTo>
                  <a:close/>
                  <a:moveTo>
                    <a:pt x="228" y="444"/>
                  </a:moveTo>
                  <a:lnTo>
                    <a:pt x="228" y="450"/>
                  </a:lnTo>
                  <a:lnTo>
                    <a:pt x="228" y="450"/>
                  </a:lnTo>
                  <a:lnTo>
                    <a:pt x="228" y="444"/>
                  </a:lnTo>
                  <a:lnTo>
                    <a:pt x="228" y="444"/>
                  </a:lnTo>
                  <a:lnTo>
                    <a:pt x="228" y="444"/>
                  </a:lnTo>
                  <a:lnTo>
                    <a:pt x="228" y="444"/>
                  </a:lnTo>
                  <a:lnTo>
                    <a:pt x="228" y="444"/>
                  </a:lnTo>
                  <a:close/>
                  <a:moveTo>
                    <a:pt x="2412" y="456"/>
                  </a:moveTo>
                  <a:lnTo>
                    <a:pt x="2412" y="456"/>
                  </a:lnTo>
                  <a:lnTo>
                    <a:pt x="2418" y="456"/>
                  </a:lnTo>
                  <a:lnTo>
                    <a:pt x="2418" y="456"/>
                  </a:lnTo>
                  <a:lnTo>
                    <a:pt x="2418" y="456"/>
                  </a:lnTo>
                  <a:lnTo>
                    <a:pt x="2418" y="456"/>
                  </a:lnTo>
                  <a:lnTo>
                    <a:pt x="2412" y="456"/>
                  </a:lnTo>
                  <a:lnTo>
                    <a:pt x="2412" y="456"/>
                  </a:lnTo>
                  <a:lnTo>
                    <a:pt x="2412" y="456"/>
                  </a:lnTo>
                  <a:lnTo>
                    <a:pt x="2412" y="456"/>
                  </a:lnTo>
                  <a:close/>
                  <a:moveTo>
                    <a:pt x="2408" y="456"/>
                  </a:moveTo>
                  <a:lnTo>
                    <a:pt x="2412" y="456"/>
                  </a:lnTo>
                  <a:lnTo>
                    <a:pt x="2412" y="460"/>
                  </a:lnTo>
                  <a:lnTo>
                    <a:pt x="2412" y="456"/>
                  </a:lnTo>
                  <a:lnTo>
                    <a:pt x="2408" y="456"/>
                  </a:lnTo>
                  <a:lnTo>
                    <a:pt x="2408" y="456"/>
                  </a:lnTo>
                  <a:lnTo>
                    <a:pt x="2408" y="456"/>
                  </a:lnTo>
                  <a:lnTo>
                    <a:pt x="2408" y="456"/>
                  </a:lnTo>
                  <a:close/>
                  <a:moveTo>
                    <a:pt x="2036" y="596"/>
                  </a:moveTo>
                  <a:lnTo>
                    <a:pt x="2036" y="596"/>
                  </a:lnTo>
                  <a:lnTo>
                    <a:pt x="2036" y="596"/>
                  </a:lnTo>
                  <a:lnTo>
                    <a:pt x="2036" y="590"/>
                  </a:lnTo>
                  <a:lnTo>
                    <a:pt x="2040" y="590"/>
                  </a:lnTo>
                  <a:lnTo>
                    <a:pt x="2040" y="584"/>
                  </a:lnTo>
                  <a:lnTo>
                    <a:pt x="2036" y="584"/>
                  </a:lnTo>
                  <a:lnTo>
                    <a:pt x="2036" y="590"/>
                  </a:lnTo>
                  <a:lnTo>
                    <a:pt x="2036" y="584"/>
                  </a:lnTo>
                  <a:lnTo>
                    <a:pt x="2040" y="584"/>
                  </a:lnTo>
                  <a:lnTo>
                    <a:pt x="2046" y="584"/>
                  </a:lnTo>
                  <a:lnTo>
                    <a:pt x="2046" y="584"/>
                  </a:lnTo>
                  <a:lnTo>
                    <a:pt x="2046" y="584"/>
                  </a:lnTo>
                  <a:lnTo>
                    <a:pt x="2052" y="584"/>
                  </a:lnTo>
                  <a:lnTo>
                    <a:pt x="2052" y="584"/>
                  </a:lnTo>
                  <a:lnTo>
                    <a:pt x="2052" y="590"/>
                  </a:lnTo>
                  <a:lnTo>
                    <a:pt x="2046" y="590"/>
                  </a:lnTo>
                  <a:lnTo>
                    <a:pt x="2046" y="590"/>
                  </a:lnTo>
                  <a:lnTo>
                    <a:pt x="2046" y="596"/>
                  </a:lnTo>
                  <a:lnTo>
                    <a:pt x="2040" y="596"/>
                  </a:lnTo>
                  <a:lnTo>
                    <a:pt x="2036" y="596"/>
                  </a:lnTo>
                  <a:lnTo>
                    <a:pt x="2036" y="602"/>
                  </a:lnTo>
                  <a:lnTo>
                    <a:pt x="2036" y="596"/>
                  </a:lnTo>
                  <a:lnTo>
                    <a:pt x="2036" y="596"/>
                  </a:lnTo>
                  <a:lnTo>
                    <a:pt x="2036" y="596"/>
                  </a:lnTo>
                  <a:lnTo>
                    <a:pt x="2036" y="596"/>
                  </a:lnTo>
                  <a:close/>
                  <a:moveTo>
                    <a:pt x="2072" y="666"/>
                  </a:moveTo>
                  <a:lnTo>
                    <a:pt x="2072" y="672"/>
                  </a:lnTo>
                  <a:lnTo>
                    <a:pt x="2072" y="676"/>
                  </a:lnTo>
                  <a:lnTo>
                    <a:pt x="2078" y="682"/>
                  </a:lnTo>
                  <a:lnTo>
                    <a:pt x="2078" y="682"/>
                  </a:lnTo>
                  <a:lnTo>
                    <a:pt x="2078" y="682"/>
                  </a:lnTo>
                  <a:lnTo>
                    <a:pt x="2072" y="682"/>
                  </a:lnTo>
                  <a:lnTo>
                    <a:pt x="2072" y="676"/>
                  </a:lnTo>
                  <a:lnTo>
                    <a:pt x="2068" y="676"/>
                  </a:lnTo>
                  <a:lnTo>
                    <a:pt x="2068" y="672"/>
                  </a:lnTo>
                  <a:lnTo>
                    <a:pt x="2068" y="672"/>
                  </a:lnTo>
                  <a:lnTo>
                    <a:pt x="2068" y="666"/>
                  </a:lnTo>
                  <a:lnTo>
                    <a:pt x="2068" y="666"/>
                  </a:lnTo>
                  <a:lnTo>
                    <a:pt x="2072" y="666"/>
                  </a:lnTo>
                  <a:lnTo>
                    <a:pt x="2072" y="666"/>
                  </a:lnTo>
                  <a:lnTo>
                    <a:pt x="2072" y="666"/>
                  </a:lnTo>
                  <a:lnTo>
                    <a:pt x="2072" y="666"/>
                  </a:lnTo>
                  <a:close/>
                  <a:moveTo>
                    <a:pt x="1662" y="682"/>
                  </a:moveTo>
                  <a:lnTo>
                    <a:pt x="1662" y="682"/>
                  </a:lnTo>
                  <a:lnTo>
                    <a:pt x="1662" y="676"/>
                  </a:lnTo>
                  <a:lnTo>
                    <a:pt x="1668" y="676"/>
                  </a:lnTo>
                  <a:lnTo>
                    <a:pt x="1668" y="672"/>
                  </a:lnTo>
                  <a:lnTo>
                    <a:pt x="1672" y="672"/>
                  </a:lnTo>
                  <a:lnTo>
                    <a:pt x="1672" y="676"/>
                  </a:lnTo>
                  <a:lnTo>
                    <a:pt x="1672" y="676"/>
                  </a:lnTo>
                  <a:lnTo>
                    <a:pt x="1672" y="682"/>
                  </a:lnTo>
                  <a:lnTo>
                    <a:pt x="1672" y="682"/>
                  </a:lnTo>
                  <a:lnTo>
                    <a:pt x="1668" y="682"/>
                  </a:lnTo>
                  <a:lnTo>
                    <a:pt x="1668" y="682"/>
                  </a:lnTo>
                  <a:lnTo>
                    <a:pt x="1662" y="682"/>
                  </a:lnTo>
                  <a:lnTo>
                    <a:pt x="1662" y="682"/>
                  </a:lnTo>
                  <a:lnTo>
                    <a:pt x="1662" y="682"/>
                  </a:lnTo>
                  <a:lnTo>
                    <a:pt x="1662" y="682"/>
                  </a:lnTo>
                  <a:lnTo>
                    <a:pt x="1662" y="682"/>
                  </a:lnTo>
                  <a:close/>
                  <a:moveTo>
                    <a:pt x="2090" y="682"/>
                  </a:moveTo>
                  <a:lnTo>
                    <a:pt x="2096" y="682"/>
                  </a:lnTo>
                  <a:lnTo>
                    <a:pt x="2096" y="682"/>
                  </a:lnTo>
                  <a:lnTo>
                    <a:pt x="2100" y="688"/>
                  </a:lnTo>
                  <a:lnTo>
                    <a:pt x="2096" y="688"/>
                  </a:lnTo>
                  <a:lnTo>
                    <a:pt x="2096" y="682"/>
                  </a:lnTo>
                  <a:lnTo>
                    <a:pt x="2096" y="682"/>
                  </a:lnTo>
                  <a:lnTo>
                    <a:pt x="2090" y="682"/>
                  </a:lnTo>
                  <a:lnTo>
                    <a:pt x="2090" y="682"/>
                  </a:lnTo>
                  <a:lnTo>
                    <a:pt x="2090" y="682"/>
                  </a:lnTo>
                  <a:lnTo>
                    <a:pt x="2090" y="682"/>
                  </a:lnTo>
                  <a:close/>
                  <a:moveTo>
                    <a:pt x="1748" y="866"/>
                  </a:moveTo>
                  <a:lnTo>
                    <a:pt x="1748" y="860"/>
                  </a:lnTo>
                  <a:lnTo>
                    <a:pt x="1748" y="860"/>
                  </a:lnTo>
                  <a:lnTo>
                    <a:pt x="1748" y="856"/>
                  </a:lnTo>
                  <a:lnTo>
                    <a:pt x="1748" y="850"/>
                  </a:lnTo>
                  <a:lnTo>
                    <a:pt x="1748" y="856"/>
                  </a:lnTo>
                  <a:lnTo>
                    <a:pt x="1748" y="850"/>
                  </a:lnTo>
                  <a:lnTo>
                    <a:pt x="1742" y="850"/>
                  </a:lnTo>
                  <a:lnTo>
                    <a:pt x="1736" y="850"/>
                  </a:lnTo>
                  <a:lnTo>
                    <a:pt x="1732" y="856"/>
                  </a:lnTo>
                  <a:lnTo>
                    <a:pt x="1732" y="860"/>
                  </a:lnTo>
                  <a:lnTo>
                    <a:pt x="1732" y="860"/>
                  </a:lnTo>
                  <a:lnTo>
                    <a:pt x="1732" y="866"/>
                  </a:lnTo>
                  <a:lnTo>
                    <a:pt x="1732" y="866"/>
                  </a:lnTo>
                  <a:lnTo>
                    <a:pt x="1732" y="860"/>
                  </a:lnTo>
                  <a:lnTo>
                    <a:pt x="1728" y="860"/>
                  </a:lnTo>
                  <a:lnTo>
                    <a:pt x="1728" y="856"/>
                  </a:lnTo>
                  <a:lnTo>
                    <a:pt x="1728" y="850"/>
                  </a:lnTo>
                  <a:lnTo>
                    <a:pt x="1732" y="850"/>
                  </a:lnTo>
                  <a:lnTo>
                    <a:pt x="1732" y="844"/>
                  </a:lnTo>
                  <a:lnTo>
                    <a:pt x="1732" y="838"/>
                  </a:lnTo>
                  <a:lnTo>
                    <a:pt x="1732" y="838"/>
                  </a:lnTo>
                  <a:lnTo>
                    <a:pt x="1732" y="834"/>
                  </a:lnTo>
                  <a:lnTo>
                    <a:pt x="1732" y="830"/>
                  </a:lnTo>
                  <a:lnTo>
                    <a:pt x="1732" y="824"/>
                  </a:lnTo>
                  <a:lnTo>
                    <a:pt x="1732" y="824"/>
                  </a:lnTo>
                  <a:lnTo>
                    <a:pt x="1732" y="824"/>
                  </a:lnTo>
                  <a:lnTo>
                    <a:pt x="1732" y="824"/>
                  </a:lnTo>
                  <a:lnTo>
                    <a:pt x="1732" y="818"/>
                  </a:lnTo>
                  <a:lnTo>
                    <a:pt x="1732" y="812"/>
                  </a:lnTo>
                  <a:lnTo>
                    <a:pt x="1732" y="812"/>
                  </a:lnTo>
                  <a:lnTo>
                    <a:pt x="1728" y="812"/>
                  </a:lnTo>
                  <a:lnTo>
                    <a:pt x="1728" y="806"/>
                  </a:lnTo>
                  <a:lnTo>
                    <a:pt x="1732" y="806"/>
                  </a:lnTo>
                  <a:lnTo>
                    <a:pt x="1732" y="802"/>
                  </a:lnTo>
                  <a:lnTo>
                    <a:pt x="1732" y="802"/>
                  </a:lnTo>
                  <a:lnTo>
                    <a:pt x="1732" y="796"/>
                  </a:lnTo>
                  <a:lnTo>
                    <a:pt x="1732" y="790"/>
                  </a:lnTo>
                  <a:lnTo>
                    <a:pt x="1732" y="790"/>
                  </a:lnTo>
                  <a:lnTo>
                    <a:pt x="1732" y="784"/>
                  </a:lnTo>
                  <a:lnTo>
                    <a:pt x="1732" y="780"/>
                  </a:lnTo>
                  <a:lnTo>
                    <a:pt x="1732" y="774"/>
                  </a:lnTo>
                  <a:lnTo>
                    <a:pt x="1732" y="774"/>
                  </a:lnTo>
                  <a:lnTo>
                    <a:pt x="1732" y="770"/>
                  </a:lnTo>
                  <a:lnTo>
                    <a:pt x="1732" y="764"/>
                  </a:lnTo>
                  <a:lnTo>
                    <a:pt x="1732" y="764"/>
                  </a:lnTo>
                  <a:lnTo>
                    <a:pt x="1732" y="764"/>
                  </a:lnTo>
                  <a:lnTo>
                    <a:pt x="1732" y="758"/>
                  </a:lnTo>
                  <a:lnTo>
                    <a:pt x="1732" y="752"/>
                  </a:lnTo>
                  <a:lnTo>
                    <a:pt x="1732" y="752"/>
                  </a:lnTo>
                  <a:lnTo>
                    <a:pt x="1728" y="746"/>
                  </a:lnTo>
                  <a:lnTo>
                    <a:pt x="1728" y="742"/>
                  </a:lnTo>
                  <a:lnTo>
                    <a:pt x="1728" y="742"/>
                  </a:lnTo>
                  <a:lnTo>
                    <a:pt x="1728" y="736"/>
                  </a:lnTo>
                  <a:lnTo>
                    <a:pt x="1728" y="730"/>
                  </a:lnTo>
                  <a:lnTo>
                    <a:pt x="1728" y="726"/>
                  </a:lnTo>
                  <a:lnTo>
                    <a:pt x="1728" y="726"/>
                  </a:lnTo>
                  <a:lnTo>
                    <a:pt x="1728" y="720"/>
                  </a:lnTo>
                  <a:lnTo>
                    <a:pt x="1732" y="720"/>
                  </a:lnTo>
                  <a:lnTo>
                    <a:pt x="1732" y="716"/>
                  </a:lnTo>
                  <a:lnTo>
                    <a:pt x="1728" y="716"/>
                  </a:lnTo>
                  <a:lnTo>
                    <a:pt x="1728" y="716"/>
                  </a:lnTo>
                  <a:lnTo>
                    <a:pt x="1732" y="710"/>
                  </a:lnTo>
                  <a:lnTo>
                    <a:pt x="1732" y="710"/>
                  </a:lnTo>
                  <a:lnTo>
                    <a:pt x="1732" y="716"/>
                  </a:lnTo>
                  <a:lnTo>
                    <a:pt x="1736" y="716"/>
                  </a:lnTo>
                  <a:lnTo>
                    <a:pt x="1736" y="710"/>
                  </a:lnTo>
                  <a:lnTo>
                    <a:pt x="1736" y="704"/>
                  </a:lnTo>
                  <a:lnTo>
                    <a:pt x="1742" y="704"/>
                  </a:lnTo>
                  <a:lnTo>
                    <a:pt x="1742" y="704"/>
                  </a:lnTo>
                  <a:lnTo>
                    <a:pt x="1736" y="704"/>
                  </a:lnTo>
                  <a:lnTo>
                    <a:pt x="1736" y="704"/>
                  </a:lnTo>
                  <a:lnTo>
                    <a:pt x="1742" y="704"/>
                  </a:lnTo>
                  <a:lnTo>
                    <a:pt x="1742" y="698"/>
                  </a:lnTo>
                  <a:lnTo>
                    <a:pt x="1736" y="698"/>
                  </a:lnTo>
                  <a:lnTo>
                    <a:pt x="1736" y="692"/>
                  </a:lnTo>
                  <a:lnTo>
                    <a:pt x="1732" y="692"/>
                  </a:lnTo>
                  <a:lnTo>
                    <a:pt x="1736" y="692"/>
                  </a:lnTo>
                  <a:lnTo>
                    <a:pt x="1736" y="692"/>
                  </a:lnTo>
                  <a:lnTo>
                    <a:pt x="1736" y="692"/>
                  </a:lnTo>
                  <a:lnTo>
                    <a:pt x="1742" y="692"/>
                  </a:lnTo>
                  <a:lnTo>
                    <a:pt x="1742" y="692"/>
                  </a:lnTo>
                  <a:lnTo>
                    <a:pt x="1748" y="692"/>
                  </a:lnTo>
                  <a:lnTo>
                    <a:pt x="1748" y="698"/>
                  </a:lnTo>
                  <a:lnTo>
                    <a:pt x="1742" y="698"/>
                  </a:lnTo>
                  <a:lnTo>
                    <a:pt x="1742" y="704"/>
                  </a:lnTo>
                  <a:lnTo>
                    <a:pt x="1742" y="704"/>
                  </a:lnTo>
                  <a:lnTo>
                    <a:pt x="1748" y="704"/>
                  </a:lnTo>
                  <a:lnTo>
                    <a:pt x="1748" y="710"/>
                  </a:lnTo>
                  <a:lnTo>
                    <a:pt x="1748" y="716"/>
                  </a:lnTo>
                  <a:lnTo>
                    <a:pt x="1748" y="710"/>
                  </a:lnTo>
                  <a:lnTo>
                    <a:pt x="1748" y="716"/>
                  </a:lnTo>
                  <a:lnTo>
                    <a:pt x="1748" y="716"/>
                  </a:lnTo>
                  <a:lnTo>
                    <a:pt x="1748" y="716"/>
                  </a:lnTo>
                  <a:lnTo>
                    <a:pt x="1748" y="720"/>
                  </a:lnTo>
                  <a:lnTo>
                    <a:pt x="1748" y="726"/>
                  </a:lnTo>
                  <a:lnTo>
                    <a:pt x="1748" y="726"/>
                  </a:lnTo>
                  <a:lnTo>
                    <a:pt x="1748" y="730"/>
                  </a:lnTo>
                  <a:lnTo>
                    <a:pt x="1748" y="736"/>
                  </a:lnTo>
                  <a:lnTo>
                    <a:pt x="1748" y="730"/>
                  </a:lnTo>
                  <a:lnTo>
                    <a:pt x="1748" y="730"/>
                  </a:lnTo>
                  <a:lnTo>
                    <a:pt x="1748" y="726"/>
                  </a:lnTo>
                  <a:lnTo>
                    <a:pt x="1748" y="730"/>
                  </a:lnTo>
                  <a:lnTo>
                    <a:pt x="1748" y="736"/>
                  </a:lnTo>
                  <a:lnTo>
                    <a:pt x="1748" y="742"/>
                  </a:lnTo>
                  <a:lnTo>
                    <a:pt x="1748" y="742"/>
                  </a:lnTo>
                  <a:lnTo>
                    <a:pt x="1748" y="742"/>
                  </a:lnTo>
                  <a:lnTo>
                    <a:pt x="1748" y="746"/>
                  </a:lnTo>
                  <a:lnTo>
                    <a:pt x="1748" y="752"/>
                  </a:lnTo>
                  <a:lnTo>
                    <a:pt x="1748" y="752"/>
                  </a:lnTo>
                  <a:lnTo>
                    <a:pt x="1748" y="758"/>
                  </a:lnTo>
                  <a:lnTo>
                    <a:pt x="1754" y="752"/>
                  </a:lnTo>
                  <a:lnTo>
                    <a:pt x="1754" y="758"/>
                  </a:lnTo>
                  <a:lnTo>
                    <a:pt x="1754" y="764"/>
                  </a:lnTo>
                  <a:lnTo>
                    <a:pt x="1754" y="764"/>
                  </a:lnTo>
                  <a:lnTo>
                    <a:pt x="1754" y="770"/>
                  </a:lnTo>
                  <a:lnTo>
                    <a:pt x="1754" y="774"/>
                  </a:lnTo>
                  <a:lnTo>
                    <a:pt x="1758" y="774"/>
                  </a:lnTo>
                  <a:lnTo>
                    <a:pt x="1758" y="780"/>
                  </a:lnTo>
                  <a:lnTo>
                    <a:pt x="1758" y="784"/>
                  </a:lnTo>
                  <a:lnTo>
                    <a:pt x="1758" y="790"/>
                  </a:lnTo>
                  <a:lnTo>
                    <a:pt x="1758" y="796"/>
                  </a:lnTo>
                  <a:lnTo>
                    <a:pt x="1764" y="802"/>
                  </a:lnTo>
                  <a:lnTo>
                    <a:pt x="1764" y="802"/>
                  </a:lnTo>
                  <a:lnTo>
                    <a:pt x="1770" y="806"/>
                  </a:lnTo>
                  <a:lnTo>
                    <a:pt x="1770" y="812"/>
                  </a:lnTo>
                  <a:lnTo>
                    <a:pt x="1770" y="806"/>
                  </a:lnTo>
                  <a:lnTo>
                    <a:pt x="1764" y="802"/>
                  </a:lnTo>
                  <a:lnTo>
                    <a:pt x="1758" y="802"/>
                  </a:lnTo>
                  <a:lnTo>
                    <a:pt x="1758" y="802"/>
                  </a:lnTo>
                  <a:lnTo>
                    <a:pt x="1758" y="802"/>
                  </a:lnTo>
                  <a:lnTo>
                    <a:pt x="1754" y="802"/>
                  </a:lnTo>
                  <a:lnTo>
                    <a:pt x="1748" y="796"/>
                  </a:lnTo>
                  <a:lnTo>
                    <a:pt x="1748" y="802"/>
                  </a:lnTo>
                  <a:lnTo>
                    <a:pt x="1754" y="796"/>
                  </a:lnTo>
                  <a:lnTo>
                    <a:pt x="1754" y="802"/>
                  </a:lnTo>
                  <a:lnTo>
                    <a:pt x="1748" y="802"/>
                  </a:lnTo>
                  <a:lnTo>
                    <a:pt x="1748" y="802"/>
                  </a:lnTo>
                  <a:lnTo>
                    <a:pt x="1748" y="802"/>
                  </a:lnTo>
                  <a:lnTo>
                    <a:pt x="1748" y="806"/>
                  </a:lnTo>
                  <a:lnTo>
                    <a:pt x="1742" y="806"/>
                  </a:lnTo>
                  <a:lnTo>
                    <a:pt x="1742" y="812"/>
                  </a:lnTo>
                  <a:lnTo>
                    <a:pt x="1742" y="812"/>
                  </a:lnTo>
                  <a:lnTo>
                    <a:pt x="1736" y="818"/>
                  </a:lnTo>
                  <a:lnTo>
                    <a:pt x="1736" y="824"/>
                  </a:lnTo>
                  <a:lnTo>
                    <a:pt x="1736" y="824"/>
                  </a:lnTo>
                  <a:lnTo>
                    <a:pt x="1736" y="830"/>
                  </a:lnTo>
                  <a:lnTo>
                    <a:pt x="1736" y="834"/>
                  </a:lnTo>
                  <a:lnTo>
                    <a:pt x="1742" y="838"/>
                  </a:lnTo>
                  <a:lnTo>
                    <a:pt x="1748" y="838"/>
                  </a:lnTo>
                  <a:lnTo>
                    <a:pt x="1748" y="850"/>
                  </a:lnTo>
                  <a:lnTo>
                    <a:pt x="1748" y="850"/>
                  </a:lnTo>
                  <a:lnTo>
                    <a:pt x="1748" y="850"/>
                  </a:lnTo>
                  <a:lnTo>
                    <a:pt x="1748" y="850"/>
                  </a:lnTo>
                  <a:lnTo>
                    <a:pt x="1754" y="850"/>
                  </a:lnTo>
                  <a:lnTo>
                    <a:pt x="1754" y="850"/>
                  </a:lnTo>
                  <a:lnTo>
                    <a:pt x="1754" y="856"/>
                  </a:lnTo>
                  <a:lnTo>
                    <a:pt x="1754" y="860"/>
                  </a:lnTo>
                  <a:lnTo>
                    <a:pt x="1754" y="860"/>
                  </a:lnTo>
                  <a:lnTo>
                    <a:pt x="1748" y="860"/>
                  </a:lnTo>
                  <a:lnTo>
                    <a:pt x="1748" y="866"/>
                  </a:lnTo>
                  <a:lnTo>
                    <a:pt x="1748" y="866"/>
                  </a:lnTo>
                  <a:lnTo>
                    <a:pt x="1748" y="866"/>
                  </a:lnTo>
                  <a:lnTo>
                    <a:pt x="1748" y="866"/>
                  </a:lnTo>
                  <a:close/>
                  <a:moveTo>
                    <a:pt x="1922" y="764"/>
                  </a:moveTo>
                  <a:lnTo>
                    <a:pt x="1922" y="764"/>
                  </a:lnTo>
                  <a:lnTo>
                    <a:pt x="1922" y="764"/>
                  </a:lnTo>
                  <a:lnTo>
                    <a:pt x="1922" y="764"/>
                  </a:lnTo>
                  <a:lnTo>
                    <a:pt x="1922" y="764"/>
                  </a:lnTo>
                  <a:lnTo>
                    <a:pt x="1922" y="764"/>
                  </a:lnTo>
                  <a:lnTo>
                    <a:pt x="1922" y="764"/>
                  </a:lnTo>
                  <a:lnTo>
                    <a:pt x="1922" y="764"/>
                  </a:lnTo>
                  <a:close/>
                  <a:moveTo>
                    <a:pt x="1938" y="770"/>
                  </a:moveTo>
                  <a:lnTo>
                    <a:pt x="1932" y="770"/>
                  </a:lnTo>
                  <a:lnTo>
                    <a:pt x="1932" y="764"/>
                  </a:lnTo>
                  <a:lnTo>
                    <a:pt x="1938" y="764"/>
                  </a:lnTo>
                  <a:lnTo>
                    <a:pt x="1938" y="770"/>
                  </a:lnTo>
                  <a:lnTo>
                    <a:pt x="1938" y="770"/>
                  </a:lnTo>
                  <a:lnTo>
                    <a:pt x="1938" y="770"/>
                  </a:lnTo>
                  <a:lnTo>
                    <a:pt x="1938" y="770"/>
                  </a:lnTo>
                  <a:close/>
                  <a:moveTo>
                    <a:pt x="1916" y="780"/>
                  </a:moveTo>
                  <a:lnTo>
                    <a:pt x="1916" y="774"/>
                  </a:lnTo>
                  <a:lnTo>
                    <a:pt x="1922" y="774"/>
                  </a:lnTo>
                  <a:lnTo>
                    <a:pt x="1922" y="774"/>
                  </a:lnTo>
                  <a:lnTo>
                    <a:pt x="1922" y="774"/>
                  </a:lnTo>
                  <a:lnTo>
                    <a:pt x="1922" y="770"/>
                  </a:lnTo>
                  <a:lnTo>
                    <a:pt x="1928" y="770"/>
                  </a:lnTo>
                  <a:lnTo>
                    <a:pt x="1928" y="764"/>
                  </a:lnTo>
                  <a:lnTo>
                    <a:pt x="1928" y="770"/>
                  </a:lnTo>
                  <a:lnTo>
                    <a:pt x="1932" y="774"/>
                  </a:lnTo>
                  <a:lnTo>
                    <a:pt x="1928" y="774"/>
                  </a:lnTo>
                  <a:lnTo>
                    <a:pt x="1922" y="780"/>
                  </a:lnTo>
                  <a:lnTo>
                    <a:pt x="1922" y="780"/>
                  </a:lnTo>
                  <a:lnTo>
                    <a:pt x="1916" y="780"/>
                  </a:lnTo>
                  <a:lnTo>
                    <a:pt x="1916" y="780"/>
                  </a:lnTo>
                  <a:lnTo>
                    <a:pt x="1916" y="780"/>
                  </a:lnTo>
                  <a:lnTo>
                    <a:pt x="1916" y="780"/>
                  </a:lnTo>
                  <a:close/>
                  <a:moveTo>
                    <a:pt x="1910" y="802"/>
                  </a:moveTo>
                  <a:lnTo>
                    <a:pt x="1910" y="796"/>
                  </a:lnTo>
                  <a:lnTo>
                    <a:pt x="1910" y="790"/>
                  </a:lnTo>
                  <a:lnTo>
                    <a:pt x="1910" y="790"/>
                  </a:lnTo>
                  <a:lnTo>
                    <a:pt x="1910" y="796"/>
                  </a:lnTo>
                  <a:lnTo>
                    <a:pt x="1910" y="796"/>
                  </a:lnTo>
                  <a:lnTo>
                    <a:pt x="1910" y="802"/>
                  </a:lnTo>
                  <a:lnTo>
                    <a:pt x="1910" y="802"/>
                  </a:lnTo>
                  <a:lnTo>
                    <a:pt x="1910" y="802"/>
                  </a:lnTo>
                  <a:lnTo>
                    <a:pt x="1910" y="802"/>
                  </a:lnTo>
                  <a:lnTo>
                    <a:pt x="1910" y="802"/>
                  </a:lnTo>
                  <a:close/>
                  <a:moveTo>
                    <a:pt x="1904" y="802"/>
                  </a:moveTo>
                  <a:lnTo>
                    <a:pt x="1910" y="802"/>
                  </a:lnTo>
                  <a:lnTo>
                    <a:pt x="1910" y="802"/>
                  </a:lnTo>
                  <a:lnTo>
                    <a:pt x="1904" y="802"/>
                  </a:lnTo>
                  <a:lnTo>
                    <a:pt x="1904" y="802"/>
                  </a:lnTo>
                  <a:lnTo>
                    <a:pt x="1904" y="802"/>
                  </a:lnTo>
                  <a:lnTo>
                    <a:pt x="1904" y="802"/>
                  </a:lnTo>
                  <a:lnTo>
                    <a:pt x="1904" y="802"/>
                  </a:lnTo>
                  <a:close/>
                  <a:moveTo>
                    <a:pt x="1898" y="812"/>
                  </a:moveTo>
                  <a:lnTo>
                    <a:pt x="1898" y="806"/>
                  </a:lnTo>
                  <a:lnTo>
                    <a:pt x="1898" y="806"/>
                  </a:lnTo>
                  <a:lnTo>
                    <a:pt x="1898" y="812"/>
                  </a:lnTo>
                  <a:lnTo>
                    <a:pt x="1898" y="812"/>
                  </a:lnTo>
                  <a:lnTo>
                    <a:pt x="1898" y="812"/>
                  </a:lnTo>
                  <a:lnTo>
                    <a:pt x="1898" y="812"/>
                  </a:lnTo>
                  <a:lnTo>
                    <a:pt x="1898" y="812"/>
                  </a:lnTo>
                  <a:close/>
                  <a:moveTo>
                    <a:pt x="1878" y="844"/>
                  </a:moveTo>
                  <a:lnTo>
                    <a:pt x="1878" y="838"/>
                  </a:lnTo>
                  <a:lnTo>
                    <a:pt x="1878" y="844"/>
                  </a:lnTo>
                  <a:lnTo>
                    <a:pt x="1872" y="844"/>
                  </a:lnTo>
                  <a:lnTo>
                    <a:pt x="1872" y="850"/>
                  </a:lnTo>
                  <a:lnTo>
                    <a:pt x="1868" y="850"/>
                  </a:lnTo>
                  <a:lnTo>
                    <a:pt x="1868" y="850"/>
                  </a:lnTo>
                  <a:lnTo>
                    <a:pt x="1868" y="850"/>
                  </a:lnTo>
                  <a:lnTo>
                    <a:pt x="1872" y="844"/>
                  </a:lnTo>
                  <a:lnTo>
                    <a:pt x="1878" y="838"/>
                  </a:lnTo>
                  <a:lnTo>
                    <a:pt x="1878" y="844"/>
                  </a:lnTo>
                  <a:lnTo>
                    <a:pt x="1878" y="844"/>
                  </a:lnTo>
                  <a:lnTo>
                    <a:pt x="1878" y="844"/>
                  </a:lnTo>
                  <a:lnTo>
                    <a:pt x="1878" y="844"/>
                  </a:lnTo>
                  <a:close/>
                  <a:moveTo>
                    <a:pt x="1836" y="872"/>
                  </a:moveTo>
                  <a:lnTo>
                    <a:pt x="1842" y="872"/>
                  </a:lnTo>
                  <a:lnTo>
                    <a:pt x="1842" y="866"/>
                  </a:lnTo>
                  <a:lnTo>
                    <a:pt x="1842" y="866"/>
                  </a:lnTo>
                  <a:lnTo>
                    <a:pt x="1842" y="860"/>
                  </a:lnTo>
                  <a:lnTo>
                    <a:pt x="1844" y="860"/>
                  </a:lnTo>
                  <a:lnTo>
                    <a:pt x="1850" y="860"/>
                  </a:lnTo>
                  <a:lnTo>
                    <a:pt x="1844" y="860"/>
                  </a:lnTo>
                  <a:lnTo>
                    <a:pt x="1844" y="866"/>
                  </a:lnTo>
                  <a:lnTo>
                    <a:pt x="1842" y="872"/>
                  </a:lnTo>
                  <a:lnTo>
                    <a:pt x="1842" y="872"/>
                  </a:lnTo>
                  <a:lnTo>
                    <a:pt x="1842" y="872"/>
                  </a:lnTo>
                  <a:lnTo>
                    <a:pt x="1836" y="872"/>
                  </a:lnTo>
                  <a:lnTo>
                    <a:pt x="1836" y="872"/>
                  </a:lnTo>
                  <a:lnTo>
                    <a:pt x="1836" y="872"/>
                  </a:lnTo>
                  <a:lnTo>
                    <a:pt x="1836" y="872"/>
                  </a:lnTo>
                  <a:close/>
                  <a:moveTo>
                    <a:pt x="1796" y="898"/>
                  </a:moveTo>
                  <a:lnTo>
                    <a:pt x="1802" y="892"/>
                  </a:lnTo>
                  <a:lnTo>
                    <a:pt x="1802" y="888"/>
                  </a:lnTo>
                  <a:lnTo>
                    <a:pt x="1802" y="888"/>
                  </a:lnTo>
                  <a:lnTo>
                    <a:pt x="1802" y="884"/>
                  </a:lnTo>
                  <a:lnTo>
                    <a:pt x="1808" y="884"/>
                  </a:lnTo>
                  <a:lnTo>
                    <a:pt x="1808" y="884"/>
                  </a:lnTo>
                  <a:lnTo>
                    <a:pt x="1814" y="884"/>
                  </a:lnTo>
                  <a:lnTo>
                    <a:pt x="1814" y="878"/>
                  </a:lnTo>
                  <a:lnTo>
                    <a:pt x="1814" y="878"/>
                  </a:lnTo>
                  <a:lnTo>
                    <a:pt x="1814" y="884"/>
                  </a:lnTo>
                  <a:lnTo>
                    <a:pt x="1818" y="884"/>
                  </a:lnTo>
                  <a:lnTo>
                    <a:pt x="1818" y="878"/>
                  </a:lnTo>
                  <a:lnTo>
                    <a:pt x="1824" y="878"/>
                  </a:lnTo>
                  <a:lnTo>
                    <a:pt x="1824" y="872"/>
                  </a:lnTo>
                  <a:lnTo>
                    <a:pt x="1830" y="872"/>
                  </a:lnTo>
                  <a:lnTo>
                    <a:pt x="1830" y="878"/>
                  </a:lnTo>
                  <a:lnTo>
                    <a:pt x="1824" y="878"/>
                  </a:lnTo>
                  <a:lnTo>
                    <a:pt x="1824" y="884"/>
                  </a:lnTo>
                  <a:lnTo>
                    <a:pt x="1818" y="884"/>
                  </a:lnTo>
                  <a:lnTo>
                    <a:pt x="1814" y="884"/>
                  </a:lnTo>
                  <a:lnTo>
                    <a:pt x="1814" y="884"/>
                  </a:lnTo>
                  <a:lnTo>
                    <a:pt x="1814" y="884"/>
                  </a:lnTo>
                  <a:lnTo>
                    <a:pt x="1808" y="884"/>
                  </a:lnTo>
                  <a:lnTo>
                    <a:pt x="1808" y="888"/>
                  </a:lnTo>
                  <a:lnTo>
                    <a:pt x="1802" y="892"/>
                  </a:lnTo>
                  <a:lnTo>
                    <a:pt x="1802" y="898"/>
                  </a:lnTo>
                  <a:lnTo>
                    <a:pt x="1802" y="898"/>
                  </a:lnTo>
                  <a:lnTo>
                    <a:pt x="1796" y="898"/>
                  </a:lnTo>
                  <a:lnTo>
                    <a:pt x="1796" y="898"/>
                  </a:lnTo>
                  <a:lnTo>
                    <a:pt x="1796" y="898"/>
                  </a:lnTo>
                  <a:lnTo>
                    <a:pt x="1796" y="898"/>
                  </a:lnTo>
                  <a:close/>
                  <a:moveTo>
                    <a:pt x="1790" y="898"/>
                  </a:moveTo>
                  <a:lnTo>
                    <a:pt x="1790" y="898"/>
                  </a:lnTo>
                  <a:lnTo>
                    <a:pt x="1790" y="898"/>
                  </a:lnTo>
                  <a:lnTo>
                    <a:pt x="1790" y="898"/>
                  </a:lnTo>
                  <a:lnTo>
                    <a:pt x="1786" y="898"/>
                  </a:lnTo>
                  <a:lnTo>
                    <a:pt x="1786" y="904"/>
                  </a:lnTo>
                  <a:lnTo>
                    <a:pt x="1782" y="904"/>
                  </a:lnTo>
                  <a:lnTo>
                    <a:pt x="1782" y="910"/>
                  </a:lnTo>
                  <a:lnTo>
                    <a:pt x="1782" y="910"/>
                  </a:lnTo>
                  <a:lnTo>
                    <a:pt x="1782" y="910"/>
                  </a:lnTo>
                  <a:lnTo>
                    <a:pt x="1782" y="910"/>
                  </a:lnTo>
                  <a:lnTo>
                    <a:pt x="1782" y="910"/>
                  </a:lnTo>
                  <a:lnTo>
                    <a:pt x="1782" y="904"/>
                  </a:lnTo>
                  <a:lnTo>
                    <a:pt x="1786" y="898"/>
                  </a:lnTo>
                  <a:lnTo>
                    <a:pt x="1786" y="898"/>
                  </a:lnTo>
                  <a:lnTo>
                    <a:pt x="1790" y="898"/>
                  </a:lnTo>
                  <a:lnTo>
                    <a:pt x="1790" y="898"/>
                  </a:lnTo>
                  <a:lnTo>
                    <a:pt x="1790" y="898"/>
                  </a:lnTo>
                  <a:lnTo>
                    <a:pt x="1790" y="898"/>
                  </a:lnTo>
                  <a:close/>
                  <a:moveTo>
                    <a:pt x="1796" y="910"/>
                  </a:moveTo>
                  <a:lnTo>
                    <a:pt x="1796" y="910"/>
                  </a:lnTo>
                  <a:lnTo>
                    <a:pt x="1790" y="910"/>
                  </a:lnTo>
                  <a:lnTo>
                    <a:pt x="1790" y="910"/>
                  </a:lnTo>
                  <a:lnTo>
                    <a:pt x="1796" y="910"/>
                  </a:lnTo>
                  <a:lnTo>
                    <a:pt x="1796" y="910"/>
                  </a:lnTo>
                  <a:lnTo>
                    <a:pt x="1796" y="910"/>
                  </a:lnTo>
                  <a:lnTo>
                    <a:pt x="1796" y="91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9FE9BB5E-6547-295F-69A4-A19162822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9939" y="3794037"/>
              <a:ext cx="350680" cy="279055"/>
            </a:xfrm>
            <a:custGeom>
              <a:avLst/>
              <a:gdLst>
                <a:gd name="T0" fmla="*/ 126 w 180"/>
                <a:gd name="T1" fmla="*/ 30 h 148"/>
                <a:gd name="T2" fmla="*/ 112 w 180"/>
                <a:gd name="T3" fmla="*/ 44 h 148"/>
                <a:gd name="T4" fmla="*/ 106 w 180"/>
                <a:gd name="T5" fmla="*/ 38 h 148"/>
                <a:gd name="T6" fmla="*/ 100 w 180"/>
                <a:gd name="T7" fmla="*/ 36 h 148"/>
                <a:gd name="T8" fmla="*/ 96 w 180"/>
                <a:gd name="T9" fmla="*/ 34 h 148"/>
                <a:gd name="T10" fmla="*/ 80 w 180"/>
                <a:gd name="T11" fmla="*/ 52 h 148"/>
                <a:gd name="T12" fmla="*/ 74 w 180"/>
                <a:gd name="T13" fmla="*/ 50 h 148"/>
                <a:gd name="T14" fmla="*/ 56 w 180"/>
                <a:gd name="T15" fmla="*/ 46 h 148"/>
                <a:gd name="T16" fmla="*/ 40 w 180"/>
                <a:gd name="T17" fmla="*/ 40 h 148"/>
                <a:gd name="T18" fmla="*/ 34 w 180"/>
                <a:gd name="T19" fmla="*/ 28 h 148"/>
                <a:gd name="T20" fmla="*/ 34 w 180"/>
                <a:gd name="T21" fmla="*/ 30 h 148"/>
                <a:gd name="T22" fmla="*/ 28 w 180"/>
                <a:gd name="T23" fmla="*/ 30 h 148"/>
                <a:gd name="T24" fmla="*/ 26 w 180"/>
                <a:gd name="T25" fmla="*/ 32 h 148"/>
                <a:gd name="T26" fmla="*/ 16 w 180"/>
                <a:gd name="T27" fmla="*/ 42 h 148"/>
                <a:gd name="T28" fmla="*/ 10 w 180"/>
                <a:gd name="T29" fmla="*/ 42 h 148"/>
                <a:gd name="T30" fmla="*/ 8 w 180"/>
                <a:gd name="T31" fmla="*/ 48 h 148"/>
                <a:gd name="T32" fmla="*/ 2 w 180"/>
                <a:gd name="T33" fmla="*/ 38 h 148"/>
                <a:gd name="T34" fmla="*/ 0 w 180"/>
                <a:gd name="T35" fmla="*/ 54 h 148"/>
                <a:gd name="T36" fmla="*/ 10 w 180"/>
                <a:gd name="T37" fmla="*/ 58 h 148"/>
                <a:gd name="T38" fmla="*/ 12 w 180"/>
                <a:gd name="T39" fmla="*/ 62 h 148"/>
                <a:gd name="T40" fmla="*/ 24 w 180"/>
                <a:gd name="T41" fmla="*/ 68 h 148"/>
                <a:gd name="T42" fmla="*/ 26 w 180"/>
                <a:gd name="T43" fmla="*/ 76 h 148"/>
                <a:gd name="T44" fmla="*/ 42 w 180"/>
                <a:gd name="T45" fmla="*/ 90 h 148"/>
                <a:gd name="T46" fmla="*/ 56 w 180"/>
                <a:gd name="T47" fmla="*/ 110 h 148"/>
                <a:gd name="T48" fmla="*/ 68 w 180"/>
                <a:gd name="T49" fmla="*/ 130 h 148"/>
                <a:gd name="T50" fmla="*/ 76 w 180"/>
                <a:gd name="T51" fmla="*/ 130 h 148"/>
                <a:gd name="T52" fmla="*/ 90 w 180"/>
                <a:gd name="T53" fmla="*/ 130 h 148"/>
                <a:gd name="T54" fmla="*/ 108 w 180"/>
                <a:gd name="T55" fmla="*/ 146 h 148"/>
                <a:gd name="T56" fmla="*/ 110 w 180"/>
                <a:gd name="T57" fmla="*/ 144 h 148"/>
                <a:gd name="T58" fmla="*/ 122 w 180"/>
                <a:gd name="T59" fmla="*/ 144 h 148"/>
                <a:gd name="T60" fmla="*/ 136 w 180"/>
                <a:gd name="T61" fmla="*/ 142 h 148"/>
                <a:gd name="T62" fmla="*/ 152 w 180"/>
                <a:gd name="T63" fmla="*/ 138 h 148"/>
                <a:gd name="T64" fmla="*/ 180 w 180"/>
                <a:gd name="T65" fmla="*/ 130 h 148"/>
                <a:gd name="T66" fmla="*/ 168 w 180"/>
                <a:gd name="T67" fmla="*/ 112 h 148"/>
                <a:gd name="T68" fmla="*/ 162 w 180"/>
                <a:gd name="T69" fmla="*/ 94 h 148"/>
                <a:gd name="T70" fmla="*/ 150 w 180"/>
                <a:gd name="T71" fmla="*/ 78 h 148"/>
                <a:gd name="T72" fmla="*/ 138 w 180"/>
                <a:gd name="T73" fmla="*/ 70 h 148"/>
                <a:gd name="T74" fmla="*/ 140 w 180"/>
                <a:gd name="T75" fmla="*/ 62 h 148"/>
                <a:gd name="T76" fmla="*/ 154 w 180"/>
                <a:gd name="T77" fmla="*/ 58 h 148"/>
                <a:gd name="T78" fmla="*/ 156 w 180"/>
                <a:gd name="T79" fmla="*/ 26 h 148"/>
                <a:gd name="T80" fmla="*/ 156 w 180"/>
                <a:gd name="T81" fmla="*/ 26 h 148"/>
                <a:gd name="T82" fmla="*/ 154 w 180"/>
                <a:gd name="T83" fmla="*/ 28 h 148"/>
                <a:gd name="T84" fmla="*/ 152 w 180"/>
                <a:gd name="T85" fmla="*/ 28 h 148"/>
                <a:gd name="T86" fmla="*/ 152 w 180"/>
                <a:gd name="T87" fmla="*/ 32 h 148"/>
                <a:gd name="T88" fmla="*/ 148 w 180"/>
                <a:gd name="T89" fmla="*/ 28 h 148"/>
                <a:gd name="T90" fmla="*/ 142 w 180"/>
                <a:gd name="T91" fmla="*/ 24 h 148"/>
                <a:gd name="T92" fmla="*/ 142 w 180"/>
                <a:gd name="T93" fmla="*/ 0 h 148"/>
                <a:gd name="T94" fmla="*/ 136 w 180"/>
                <a:gd name="T95" fmla="*/ 6 h 148"/>
                <a:gd name="T96" fmla="*/ 134 w 180"/>
                <a:gd name="T97" fmla="*/ 14 h 148"/>
                <a:gd name="T98" fmla="*/ 132 w 180"/>
                <a:gd name="T99" fmla="*/ 20 h 148"/>
                <a:gd name="T100" fmla="*/ 130 w 180"/>
                <a:gd name="T101" fmla="*/ 22 h 148"/>
                <a:gd name="T102" fmla="*/ 126 w 180"/>
                <a:gd name="T103" fmla="*/ 3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0" h="148">
                  <a:moveTo>
                    <a:pt x="126" y="30"/>
                  </a:moveTo>
                  <a:lnTo>
                    <a:pt x="126" y="30"/>
                  </a:lnTo>
                  <a:lnTo>
                    <a:pt x="120" y="38"/>
                  </a:lnTo>
                  <a:lnTo>
                    <a:pt x="112" y="44"/>
                  </a:lnTo>
                  <a:lnTo>
                    <a:pt x="106" y="38"/>
                  </a:lnTo>
                  <a:lnTo>
                    <a:pt x="106" y="38"/>
                  </a:lnTo>
                  <a:lnTo>
                    <a:pt x="104" y="38"/>
                  </a:lnTo>
                  <a:lnTo>
                    <a:pt x="100" y="36"/>
                  </a:lnTo>
                  <a:lnTo>
                    <a:pt x="98" y="34"/>
                  </a:lnTo>
                  <a:lnTo>
                    <a:pt x="96" y="34"/>
                  </a:lnTo>
                  <a:lnTo>
                    <a:pt x="92" y="44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74" y="50"/>
                  </a:lnTo>
                  <a:lnTo>
                    <a:pt x="70" y="50"/>
                  </a:lnTo>
                  <a:lnTo>
                    <a:pt x="56" y="46"/>
                  </a:lnTo>
                  <a:lnTo>
                    <a:pt x="50" y="48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30"/>
                  </a:lnTo>
                  <a:lnTo>
                    <a:pt x="30" y="30"/>
                  </a:lnTo>
                  <a:lnTo>
                    <a:pt x="28" y="30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4" y="40"/>
                  </a:lnTo>
                  <a:lnTo>
                    <a:pt x="16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6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2" y="62"/>
                  </a:lnTo>
                  <a:lnTo>
                    <a:pt x="20" y="64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6" y="76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6" y="104"/>
                  </a:lnTo>
                  <a:lnTo>
                    <a:pt x="56" y="110"/>
                  </a:lnTo>
                  <a:lnTo>
                    <a:pt x="60" y="118"/>
                  </a:lnTo>
                  <a:lnTo>
                    <a:pt x="68" y="130"/>
                  </a:lnTo>
                  <a:lnTo>
                    <a:pt x="72" y="134"/>
                  </a:lnTo>
                  <a:lnTo>
                    <a:pt x="76" y="130"/>
                  </a:lnTo>
                  <a:lnTo>
                    <a:pt x="86" y="132"/>
                  </a:lnTo>
                  <a:lnTo>
                    <a:pt x="90" y="130"/>
                  </a:lnTo>
                  <a:lnTo>
                    <a:pt x="108" y="146"/>
                  </a:lnTo>
                  <a:lnTo>
                    <a:pt x="108" y="146"/>
                  </a:lnTo>
                  <a:lnTo>
                    <a:pt x="108" y="146"/>
                  </a:lnTo>
                  <a:lnTo>
                    <a:pt x="110" y="144"/>
                  </a:lnTo>
                  <a:lnTo>
                    <a:pt x="122" y="144"/>
                  </a:lnTo>
                  <a:lnTo>
                    <a:pt x="122" y="144"/>
                  </a:lnTo>
                  <a:lnTo>
                    <a:pt x="124" y="148"/>
                  </a:lnTo>
                  <a:lnTo>
                    <a:pt x="136" y="142"/>
                  </a:lnTo>
                  <a:lnTo>
                    <a:pt x="144" y="142"/>
                  </a:lnTo>
                  <a:lnTo>
                    <a:pt x="152" y="138"/>
                  </a:lnTo>
                  <a:lnTo>
                    <a:pt x="160" y="130"/>
                  </a:lnTo>
                  <a:lnTo>
                    <a:pt x="180" y="130"/>
                  </a:lnTo>
                  <a:lnTo>
                    <a:pt x="180" y="116"/>
                  </a:lnTo>
                  <a:lnTo>
                    <a:pt x="168" y="112"/>
                  </a:lnTo>
                  <a:lnTo>
                    <a:pt x="168" y="112"/>
                  </a:lnTo>
                  <a:lnTo>
                    <a:pt x="162" y="94"/>
                  </a:lnTo>
                  <a:lnTo>
                    <a:pt x="156" y="86"/>
                  </a:lnTo>
                  <a:lnTo>
                    <a:pt x="150" y="78"/>
                  </a:lnTo>
                  <a:lnTo>
                    <a:pt x="138" y="70"/>
                  </a:lnTo>
                  <a:lnTo>
                    <a:pt x="138" y="70"/>
                  </a:lnTo>
                  <a:lnTo>
                    <a:pt x="140" y="68"/>
                  </a:lnTo>
                  <a:lnTo>
                    <a:pt x="140" y="62"/>
                  </a:lnTo>
                  <a:lnTo>
                    <a:pt x="150" y="62"/>
                  </a:lnTo>
                  <a:lnTo>
                    <a:pt x="154" y="58"/>
                  </a:lnTo>
                  <a:lnTo>
                    <a:pt x="154" y="58"/>
                  </a:lnTo>
                  <a:lnTo>
                    <a:pt x="156" y="26"/>
                  </a:lnTo>
                  <a:lnTo>
                    <a:pt x="156" y="26"/>
                  </a:lnTo>
                  <a:lnTo>
                    <a:pt x="156" y="26"/>
                  </a:lnTo>
                  <a:lnTo>
                    <a:pt x="156" y="26"/>
                  </a:lnTo>
                  <a:lnTo>
                    <a:pt x="154" y="28"/>
                  </a:lnTo>
                  <a:lnTo>
                    <a:pt x="152" y="28"/>
                  </a:lnTo>
                  <a:lnTo>
                    <a:pt x="152" y="28"/>
                  </a:lnTo>
                  <a:lnTo>
                    <a:pt x="152" y="32"/>
                  </a:lnTo>
                  <a:lnTo>
                    <a:pt x="152" y="32"/>
                  </a:lnTo>
                  <a:lnTo>
                    <a:pt x="150" y="30"/>
                  </a:lnTo>
                  <a:lnTo>
                    <a:pt x="148" y="28"/>
                  </a:lnTo>
                  <a:lnTo>
                    <a:pt x="144" y="26"/>
                  </a:lnTo>
                  <a:lnTo>
                    <a:pt x="142" y="24"/>
                  </a:lnTo>
                  <a:lnTo>
                    <a:pt x="142" y="24"/>
                  </a:lnTo>
                  <a:lnTo>
                    <a:pt x="142" y="0"/>
                  </a:lnTo>
                  <a:lnTo>
                    <a:pt x="136" y="6"/>
                  </a:lnTo>
                  <a:lnTo>
                    <a:pt x="136" y="6"/>
                  </a:lnTo>
                  <a:lnTo>
                    <a:pt x="134" y="10"/>
                  </a:lnTo>
                  <a:lnTo>
                    <a:pt x="134" y="14"/>
                  </a:lnTo>
                  <a:lnTo>
                    <a:pt x="134" y="14"/>
                  </a:lnTo>
                  <a:lnTo>
                    <a:pt x="132" y="20"/>
                  </a:lnTo>
                  <a:lnTo>
                    <a:pt x="132" y="20"/>
                  </a:lnTo>
                  <a:lnTo>
                    <a:pt x="130" y="22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6" y="3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BB3F2F55-06D3-4384-55EA-C88E0CAA9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7078" y="3409393"/>
              <a:ext cx="463676" cy="482690"/>
            </a:xfrm>
            <a:custGeom>
              <a:avLst/>
              <a:gdLst>
                <a:gd name="T0" fmla="*/ 30 w 238"/>
                <a:gd name="T1" fmla="*/ 102 h 256"/>
                <a:gd name="T2" fmla="*/ 16 w 238"/>
                <a:gd name="T3" fmla="*/ 138 h 256"/>
                <a:gd name="T4" fmla="*/ 6 w 238"/>
                <a:gd name="T5" fmla="*/ 158 h 256"/>
                <a:gd name="T6" fmla="*/ 2 w 238"/>
                <a:gd name="T7" fmla="*/ 178 h 256"/>
                <a:gd name="T8" fmla="*/ 6 w 238"/>
                <a:gd name="T9" fmla="*/ 188 h 256"/>
                <a:gd name="T10" fmla="*/ 14 w 238"/>
                <a:gd name="T11" fmla="*/ 218 h 256"/>
                <a:gd name="T12" fmla="*/ 22 w 238"/>
                <a:gd name="T13" fmla="*/ 238 h 256"/>
                <a:gd name="T14" fmla="*/ 24 w 238"/>
                <a:gd name="T15" fmla="*/ 244 h 256"/>
                <a:gd name="T16" fmla="*/ 28 w 238"/>
                <a:gd name="T17" fmla="*/ 250 h 256"/>
                <a:gd name="T18" fmla="*/ 30 w 238"/>
                <a:gd name="T19" fmla="*/ 250 h 256"/>
                <a:gd name="T20" fmla="*/ 36 w 238"/>
                <a:gd name="T21" fmla="*/ 246 h 256"/>
                <a:gd name="T22" fmla="*/ 46 w 238"/>
                <a:gd name="T23" fmla="*/ 244 h 256"/>
                <a:gd name="T24" fmla="*/ 48 w 238"/>
                <a:gd name="T25" fmla="*/ 238 h 256"/>
                <a:gd name="T26" fmla="*/ 58 w 238"/>
                <a:gd name="T27" fmla="*/ 238 h 256"/>
                <a:gd name="T28" fmla="*/ 62 w 238"/>
                <a:gd name="T29" fmla="*/ 246 h 256"/>
                <a:gd name="T30" fmla="*/ 74 w 238"/>
                <a:gd name="T31" fmla="*/ 250 h 256"/>
                <a:gd name="T32" fmla="*/ 90 w 238"/>
                <a:gd name="T33" fmla="*/ 254 h 256"/>
                <a:gd name="T34" fmla="*/ 100 w 238"/>
                <a:gd name="T35" fmla="*/ 256 h 256"/>
                <a:gd name="T36" fmla="*/ 112 w 238"/>
                <a:gd name="T37" fmla="*/ 250 h 256"/>
                <a:gd name="T38" fmla="*/ 118 w 238"/>
                <a:gd name="T39" fmla="*/ 238 h 256"/>
                <a:gd name="T40" fmla="*/ 128 w 238"/>
                <a:gd name="T41" fmla="*/ 244 h 256"/>
                <a:gd name="T42" fmla="*/ 130 w 238"/>
                <a:gd name="T43" fmla="*/ 246 h 256"/>
                <a:gd name="T44" fmla="*/ 142 w 238"/>
                <a:gd name="T45" fmla="*/ 244 h 256"/>
                <a:gd name="T46" fmla="*/ 150 w 238"/>
                <a:gd name="T47" fmla="*/ 230 h 256"/>
                <a:gd name="T48" fmla="*/ 156 w 238"/>
                <a:gd name="T49" fmla="*/ 224 h 256"/>
                <a:gd name="T50" fmla="*/ 156 w 238"/>
                <a:gd name="T51" fmla="*/ 218 h 256"/>
                <a:gd name="T52" fmla="*/ 158 w 238"/>
                <a:gd name="T53" fmla="*/ 210 h 256"/>
                <a:gd name="T54" fmla="*/ 164 w 238"/>
                <a:gd name="T55" fmla="*/ 216 h 256"/>
                <a:gd name="T56" fmla="*/ 166 w 238"/>
                <a:gd name="T57" fmla="*/ 232 h 256"/>
                <a:gd name="T58" fmla="*/ 174 w 238"/>
                <a:gd name="T59" fmla="*/ 236 h 256"/>
                <a:gd name="T60" fmla="*/ 176 w 238"/>
                <a:gd name="T61" fmla="*/ 234 h 256"/>
                <a:gd name="T62" fmla="*/ 178 w 238"/>
                <a:gd name="T63" fmla="*/ 230 h 256"/>
                <a:gd name="T64" fmla="*/ 186 w 238"/>
                <a:gd name="T65" fmla="*/ 220 h 256"/>
                <a:gd name="T66" fmla="*/ 206 w 238"/>
                <a:gd name="T67" fmla="*/ 186 h 256"/>
                <a:gd name="T68" fmla="*/ 210 w 238"/>
                <a:gd name="T69" fmla="*/ 162 h 256"/>
                <a:gd name="T70" fmla="*/ 222 w 238"/>
                <a:gd name="T71" fmla="*/ 110 h 256"/>
                <a:gd name="T72" fmla="*/ 236 w 238"/>
                <a:gd name="T73" fmla="*/ 102 h 256"/>
                <a:gd name="T74" fmla="*/ 238 w 238"/>
                <a:gd name="T75" fmla="*/ 92 h 256"/>
                <a:gd name="T76" fmla="*/ 232 w 238"/>
                <a:gd name="T77" fmla="*/ 84 h 256"/>
                <a:gd name="T78" fmla="*/ 222 w 238"/>
                <a:gd name="T79" fmla="*/ 78 h 256"/>
                <a:gd name="T80" fmla="*/ 220 w 238"/>
                <a:gd name="T81" fmla="*/ 38 h 256"/>
                <a:gd name="T82" fmla="*/ 214 w 238"/>
                <a:gd name="T83" fmla="*/ 22 h 256"/>
                <a:gd name="T84" fmla="*/ 196 w 238"/>
                <a:gd name="T85" fmla="*/ 0 h 256"/>
                <a:gd name="T86" fmla="*/ 184 w 238"/>
                <a:gd name="T87" fmla="*/ 14 h 256"/>
                <a:gd name="T88" fmla="*/ 174 w 238"/>
                <a:gd name="T89" fmla="*/ 24 h 256"/>
                <a:gd name="T90" fmla="*/ 150 w 238"/>
                <a:gd name="T91" fmla="*/ 22 h 256"/>
                <a:gd name="T92" fmla="*/ 138 w 238"/>
                <a:gd name="T93" fmla="*/ 16 h 256"/>
                <a:gd name="T94" fmla="*/ 136 w 238"/>
                <a:gd name="T95" fmla="*/ 22 h 256"/>
                <a:gd name="T96" fmla="*/ 100 w 238"/>
                <a:gd name="T97" fmla="*/ 22 h 256"/>
                <a:gd name="T98" fmla="*/ 66 w 238"/>
                <a:gd name="T99" fmla="*/ 22 h 256"/>
                <a:gd name="T100" fmla="*/ 44 w 238"/>
                <a:gd name="T101" fmla="*/ 38 h 256"/>
                <a:gd name="T102" fmla="*/ 30 w 238"/>
                <a:gd name="T103" fmla="*/ 6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8" h="256">
                  <a:moveTo>
                    <a:pt x="30" y="66"/>
                  </a:moveTo>
                  <a:lnTo>
                    <a:pt x="30" y="84"/>
                  </a:lnTo>
                  <a:lnTo>
                    <a:pt x="30" y="102"/>
                  </a:lnTo>
                  <a:lnTo>
                    <a:pt x="30" y="118"/>
                  </a:lnTo>
                  <a:lnTo>
                    <a:pt x="30" y="134"/>
                  </a:lnTo>
                  <a:lnTo>
                    <a:pt x="16" y="138"/>
                  </a:lnTo>
                  <a:lnTo>
                    <a:pt x="16" y="138"/>
                  </a:lnTo>
                  <a:lnTo>
                    <a:pt x="12" y="146"/>
                  </a:lnTo>
                  <a:lnTo>
                    <a:pt x="6" y="158"/>
                  </a:lnTo>
                  <a:lnTo>
                    <a:pt x="6" y="168"/>
                  </a:lnTo>
                  <a:lnTo>
                    <a:pt x="2" y="170"/>
                  </a:lnTo>
                  <a:lnTo>
                    <a:pt x="2" y="178"/>
                  </a:lnTo>
                  <a:lnTo>
                    <a:pt x="0" y="184"/>
                  </a:lnTo>
                  <a:lnTo>
                    <a:pt x="0" y="190"/>
                  </a:lnTo>
                  <a:lnTo>
                    <a:pt x="6" y="188"/>
                  </a:lnTo>
                  <a:lnTo>
                    <a:pt x="6" y="188"/>
                  </a:lnTo>
                  <a:lnTo>
                    <a:pt x="6" y="19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2" y="220"/>
                  </a:lnTo>
                  <a:lnTo>
                    <a:pt x="22" y="238"/>
                  </a:lnTo>
                  <a:lnTo>
                    <a:pt x="22" y="238"/>
                  </a:lnTo>
                  <a:lnTo>
                    <a:pt x="24" y="244"/>
                  </a:lnTo>
                  <a:lnTo>
                    <a:pt x="24" y="244"/>
                  </a:lnTo>
                  <a:lnTo>
                    <a:pt x="24" y="246"/>
                  </a:lnTo>
                  <a:lnTo>
                    <a:pt x="26" y="248"/>
                  </a:lnTo>
                  <a:lnTo>
                    <a:pt x="28" y="250"/>
                  </a:lnTo>
                  <a:lnTo>
                    <a:pt x="28" y="252"/>
                  </a:lnTo>
                  <a:lnTo>
                    <a:pt x="28" y="252"/>
                  </a:lnTo>
                  <a:lnTo>
                    <a:pt x="30" y="250"/>
                  </a:lnTo>
                  <a:lnTo>
                    <a:pt x="32" y="248"/>
                  </a:lnTo>
                  <a:lnTo>
                    <a:pt x="32" y="248"/>
                  </a:lnTo>
                  <a:lnTo>
                    <a:pt x="36" y="246"/>
                  </a:lnTo>
                  <a:lnTo>
                    <a:pt x="38" y="246"/>
                  </a:lnTo>
                  <a:lnTo>
                    <a:pt x="40" y="246"/>
                  </a:lnTo>
                  <a:lnTo>
                    <a:pt x="46" y="244"/>
                  </a:lnTo>
                  <a:lnTo>
                    <a:pt x="46" y="244"/>
                  </a:lnTo>
                  <a:lnTo>
                    <a:pt x="48" y="240"/>
                  </a:lnTo>
                  <a:lnTo>
                    <a:pt x="48" y="238"/>
                  </a:lnTo>
                  <a:lnTo>
                    <a:pt x="56" y="234"/>
                  </a:lnTo>
                  <a:lnTo>
                    <a:pt x="56" y="234"/>
                  </a:lnTo>
                  <a:lnTo>
                    <a:pt x="58" y="238"/>
                  </a:lnTo>
                  <a:lnTo>
                    <a:pt x="60" y="240"/>
                  </a:lnTo>
                  <a:lnTo>
                    <a:pt x="62" y="246"/>
                  </a:lnTo>
                  <a:lnTo>
                    <a:pt x="62" y="246"/>
                  </a:lnTo>
                  <a:lnTo>
                    <a:pt x="70" y="250"/>
                  </a:lnTo>
                  <a:lnTo>
                    <a:pt x="70" y="250"/>
                  </a:lnTo>
                  <a:lnTo>
                    <a:pt x="74" y="250"/>
                  </a:lnTo>
                  <a:lnTo>
                    <a:pt x="76" y="250"/>
                  </a:lnTo>
                  <a:lnTo>
                    <a:pt x="90" y="254"/>
                  </a:lnTo>
                  <a:lnTo>
                    <a:pt x="90" y="254"/>
                  </a:lnTo>
                  <a:lnTo>
                    <a:pt x="94" y="256"/>
                  </a:lnTo>
                  <a:lnTo>
                    <a:pt x="100" y="256"/>
                  </a:lnTo>
                  <a:lnTo>
                    <a:pt x="100" y="256"/>
                  </a:lnTo>
                  <a:lnTo>
                    <a:pt x="106" y="254"/>
                  </a:lnTo>
                  <a:lnTo>
                    <a:pt x="112" y="250"/>
                  </a:lnTo>
                  <a:lnTo>
                    <a:pt x="112" y="250"/>
                  </a:lnTo>
                  <a:lnTo>
                    <a:pt x="116" y="244"/>
                  </a:lnTo>
                  <a:lnTo>
                    <a:pt x="118" y="238"/>
                  </a:lnTo>
                  <a:lnTo>
                    <a:pt x="118" y="238"/>
                  </a:lnTo>
                  <a:lnTo>
                    <a:pt x="122" y="240"/>
                  </a:lnTo>
                  <a:lnTo>
                    <a:pt x="124" y="240"/>
                  </a:lnTo>
                  <a:lnTo>
                    <a:pt x="128" y="244"/>
                  </a:lnTo>
                  <a:lnTo>
                    <a:pt x="128" y="244"/>
                  </a:lnTo>
                  <a:lnTo>
                    <a:pt x="128" y="244"/>
                  </a:lnTo>
                  <a:lnTo>
                    <a:pt x="130" y="246"/>
                  </a:lnTo>
                  <a:lnTo>
                    <a:pt x="132" y="250"/>
                  </a:lnTo>
                  <a:lnTo>
                    <a:pt x="138" y="246"/>
                  </a:lnTo>
                  <a:lnTo>
                    <a:pt x="142" y="244"/>
                  </a:lnTo>
                  <a:lnTo>
                    <a:pt x="146" y="238"/>
                  </a:lnTo>
                  <a:lnTo>
                    <a:pt x="150" y="230"/>
                  </a:lnTo>
                  <a:lnTo>
                    <a:pt x="150" y="230"/>
                  </a:lnTo>
                  <a:lnTo>
                    <a:pt x="152" y="226"/>
                  </a:lnTo>
                  <a:lnTo>
                    <a:pt x="156" y="224"/>
                  </a:lnTo>
                  <a:lnTo>
                    <a:pt x="156" y="224"/>
                  </a:lnTo>
                  <a:lnTo>
                    <a:pt x="156" y="220"/>
                  </a:lnTo>
                  <a:lnTo>
                    <a:pt x="156" y="220"/>
                  </a:lnTo>
                  <a:lnTo>
                    <a:pt x="156" y="218"/>
                  </a:lnTo>
                  <a:lnTo>
                    <a:pt x="156" y="214"/>
                  </a:lnTo>
                  <a:lnTo>
                    <a:pt x="156" y="214"/>
                  </a:lnTo>
                  <a:lnTo>
                    <a:pt x="158" y="210"/>
                  </a:lnTo>
                  <a:lnTo>
                    <a:pt x="164" y="204"/>
                  </a:lnTo>
                  <a:lnTo>
                    <a:pt x="164" y="204"/>
                  </a:lnTo>
                  <a:lnTo>
                    <a:pt x="164" y="216"/>
                  </a:lnTo>
                  <a:lnTo>
                    <a:pt x="164" y="228"/>
                  </a:lnTo>
                  <a:lnTo>
                    <a:pt x="164" y="228"/>
                  </a:lnTo>
                  <a:lnTo>
                    <a:pt x="166" y="232"/>
                  </a:lnTo>
                  <a:lnTo>
                    <a:pt x="170" y="234"/>
                  </a:lnTo>
                  <a:lnTo>
                    <a:pt x="174" y="236"/>
                  </a:lnTo>
                  <a:lnTo>
                    <a:pt x="174" y="236"/>
                  </a:lnTo>
                  <a:lnTo>
                    <a:pt x="176" y="232"/>
                  </a:lnTo>
                  <a:lnTo>
                    <a:pt x="176" y="234"/>
                  </a:lnTo>
                  <a:lnTo>
                    <a:pt x="176" y="234"/>
                  </a:lnTo>
                  <a:lnTo>
                    <a:pt x="178" y="230"/>
                  </a:lnTo>
                  <a:lnTo>
                    <a:pt x="178" y="230"/>
                  </a:lnTo>
                  <a:lnTo>
                    <a:pt x="178" y="230"/>
                  </a:lnTo>
                  <a:lnTo>
                    <a:pt x="182" y="224"/>
                  </a:lnTo>
                  <a:lnTo>
                    <a:pt x="186" y="220"/>
                  </a:lnTo>
                  <a:lnTo>
                    <a:pt x="186" y="220"/>
                  </a:lnTo>
                  <a:lnTo>
                    <a:pt x="190" y="208"/>
                  </a:lnTo>
                  <a:lnTo>
                    <a:pt x="198" y="194"/>
                  </a:lnTo>
                  <a:lnTo>
                    <a:pt x="206" y="186"/>
                  </a:lnTo>
                  <a:lnTo>
                    <a:pt x="210" y="168"/>
                  </a:lnTo>
                  <a:lnTo>
                    <a:pt x="210" y="162"/>
                  </a:lnTo>
                  <a:lnTo>
                    <a:pt x="210" y="162"/>
                  </a:lnTo>
                  <a:lnTo>
                    <a:pt x="210" y="152"/>
                  </a:lnTo>
                  <a:lnTo>
                    <a:pt x="218" y="110"/>
                  </a:lnTo>
                  <a:lnTo>
                    <a:pt x="222" y="110"/>
                  </a:lnTo>
                  <a:lnTo>
                    <a:pt x="222" y="110"/>
                  </a:lnTo>
                  <a:lnTo>
                    <a:pt x="226" y="108"/>
                  </a:lnTo>
                  <a:lnTo>
                    <a:pt x="236" y="102"/>
                  </a:lnTo>
                  <a:lnTo>
                    <a:pt x="236" y="102"/>
                  </a:lnTo>
                  <a:lnTo>
                    <a:pt x="238" y="92"/>
                  </a:lnTo>
                  <a:lnTo>
                    <a:pt x="238" y="92"/>
                  </a:lnTo>
                  <a:lnTo>
                    <a:pt x="238" y="90"/>
                  </a:lnTo>
                  <a:lnTo>
                    <a:pt x="234" y="90"/>
                  </a:lnTo>
                  <a:lnTo>
                    <a:pt x="232" y="84"/>
                  </a:lnTo>
                  <a:lnTo>
                    <a:pt x="226" y="82"/>
                  </a:lnTo>
                  <a:lnTo>
                    <a:pt x="226" y="82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0" y="62"/>
                  </a:lnTo>
                  <a:lnTo>
                    <a:pt x="220" y="38"/>
                  </a:lnTo>
                  <a:lnTo>
                    <a:pt x="216" y="30"/>
                  </a:lnTo>
                  <a:lnTo>
                    <a:pt x="216" y="30"/>
                  </a:lnTo>
                  <a:lnTo>
                    <a:pt x="214" y="22"/>
                  </a:lnTo>
                  <a:lnTo>
                    <a:pt x="208" y="10"/>
                  </a:lnTo>
                  <a:lnTo>
                    <a:pt x="200" y="6"/>
                  </a:lnTo>
                  <a:lnTo>
                    <a:pt x="196" y="0"/>
                  </a:lnTo>
                  <a:lnTo>
                    <a:pt x="190" y="6"/>
                  </a:lnTo>
                  <a:lnTo>
                    <a:pt x="186" y="4"/>
                  </a:lnTo>
                  <a:lnTo>
                    <a:pt x="184" y="14"/>
                  </a:lnTo>
                  <a:lnTo>
                    <a:pt x="176" y="16"/>
                  </a:lnTo>
                  <a:lnTo>
                    <a:pt x="176" y="16"/>
                  </a:lnTo>
                  <a:lnTo>
                    <a:pt x="174" y="24"/>
                  </a:lnTo>
                  <a:lnTo>
                    <a:pt x="168" y="24"/>
                  </a:lnTo>
                  <a:lnTo>
                    <a:pt x="162" y="22"/>
                  </a:lnTo>
                  <a:lnTo>
                    <a:pt x="150" y="22"/>
                  </a:lnTo>
                  <a:lnTo>
                    <a:pt x="138" y="22"/>
                  </a:lnTo>
                  <a:lnTo>
                    <a:pt x="138" y="22"/>
                  </a:lnTo>
                  <a:lnTo>
                    <a:pt x="138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22"/>
                  </a:lnTo>
                  <a:lnTo>
                    <a:pt x="124" y="22"/>
                  </a:lnTo>
                  <a:lnTo>
                    <a:pt x="112" y="22"/>
                  </a:lnTo>
                  <a:lnTo>
                    <a:pt x="100" y="22"/>
                  </a:lnTo>
                  <a:lnTo>
                    <a:pt x="90" y="22"/>
                  </a:lnTo>
                  <a:lnTo>
                    <a:pt x="78" y="22"/>
                  </a:lnTo>
                  <a:lnTo>
                    <a:pt x="66" y="22"/>
                  </a:lnTo>
                  <a:lnTo>
                    <a:pt x="56" y="22"/>
                  </a:lnTo>
                  <a:lnTo>
                    <a:pt x="44" y="22"/>
                  </a:lnTo>
                  <a:lnTo>
                    <a:pt x="44" y="38"/>
                  </a:lnTo>
                  <a:lnTo>
                    <a:pt x="44" y="58"/>
                  </a:lnTo>
                  <a:lnTo>
                    <a:pt x="30" y="58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0" y="66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9BF8E14A-CED2-54C9-9466-24B8AD1D07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0806" y="2881451"/>
              <a:ext cx="393540" cy="324307"/>
            </a:xfrm>
            <a:custGeom>
              <a:avLst/>
              <a:gdLst>
                <a:gd name="T0" fmla="*/ 20 w 202"/>
                <a:gd name="T1" fmla="*/ 60 h 172"/>
                <a:gd name="T2" fmla="*/ 30 w 202"/>
                <a:gd name="T3" fmla="*/ 64 h 172"/>
                <a:gd name="T4" fmla="*/ 34 w 202"/>
                <a:gd name="T5" fmla="*/ 56 h 172"/>
                <a:gd name="T6" fmla="*/ 38 w 202"/>
                <a:gd name="T7" fmla="*/ 52 h 172"/>
                <a:gd name="T8" fmla="*/ 50 w 202"/>
                <a:gd name="T9" fmla="*/ 44 h 172"/>
                <a:gd name="T10" fmla="*/ 56 w 202"/>
                <a:gd name="T11" fmla="*/ 38 h 172"/>
                <a:gd name="T12" fmla="*/ 60 w 202"/>
                <a:gd name="T13" fmla="*/ 26 h 172"/>
                <a:gd name="T14" fmla="*/ 72 w 202"/>
                <a:gd name="T15" fmla="*/ 22 h 172"/>
                <a:gd name="T16" fmla="*/ 80 w 202"/>
                <a:gd name="T17" fmla="*/ 22 h 172"/>
                <a:gd name="T18" fmla="*/ 94 w 202"/>
                <a:gd name="T19" fmla="*/ 22 h 172"/>
                <a:gd name="T20" fmla="*/ 102 w 202"/>
                <a:gd name="T21" fmla="*/ 26 h 172"/>
                <a:gd name="T22" fmla="*/ 112 w 202"/>
                <a:gd name="T23" fmla="*/ 26 h 172"/>
                <a:gd name="T24" fmla="*/ 124 w 202"/>
                <a:gd name="T25" fmla="*/ 26 h 172"/>
                <a:gd name="T26" fmla="*/ 136 w 202"/>
                <a:gd name="T27" fmla="*/ 18 h 172"/>
                <a:gd name="T28" fmla="*/ 136 w 202"/>
                <a:gd name="T29" fmla="*/ 10 h 172"/>
                <a:gd name="T30" fmla="*/ 146 w 202"/>
                <a:gd name="T31" fmla="*/ 0 h 172"/>
                <a:gd name="T32" fmla="*/ 150 w 202"/>
                <a:gd name="T33" fmla="*/ 10 h 172"/>
                <a:gd name="T34" fmla="*/ 154 w 202"/>
                <a:gd name="T35" fmla="*/ 14 h 172"/>
                <a:gd name="T36" fmla="*/ 154 w 202"/>
                <a:gd name="T37" fmla="*/ 30 h 172"/>
                <a:gd name="T38" fmla="*/ 166 w 202"/>
                <a:gd name="T39" fmla="*/ 30 h 172"/>
                <a:gd name="T40" fmla="*/ 176 w 202"/>
                <a:gd name="T41" fmla="*/ 26 h 172"/>
                <a:gd name="T42" fmla="*/ 184 w 202"/>
                <a:gd name="T43" fmla="*/ 22 h 172"/>
                <a:gd name="T44" fmla="*/ 188 w 202"/>
                <a:gd name="T45" fmla="*/ 26 h 172"/>
                <a:gd name="T46" fmla="*/ 202 w 202"/>
                <a:gd name="T47" fmla="*/ 22 h 172"/>
                <a:gd name="T48" fmla="*/ 196 w 202"/>
                <a:gd name="T49" fmla="*/ 26 h 172"/>
                <a:gd name="T50" fmla="*/ 188 w 202"/>
                <a:gd name="T51" fmla="*/ 30 h 172"/>
                <a:gd name="T52" fmla="*/ 172 w 202"/>
                <a:gd name="T53" fmla="*/ 34 h 172"/>
                <a:gd name="T54" fmla="*/ 162 w 202"/>
                <a:gd name="T55" fmla="*/ 38 h 172"/>
                <a:gd name="T56" fmla="*/ 150 w 202"/>
                <a:gd name="T57" fmla="*/ 48 h 172"/>
                <a:gd name="T58" fmla="*/ 154 w 202"/>
                <a:gd name="T59" fmla="*/ 56 h 172"/>
                <a:gd name="T60" fmla="*/ 154 w 202"/>
                <a:gd name="T61" fmla="*/ 66 h 172"/>
                <a:gd name="T62" fmla="*/ 146 w 202"/>
                <a:gd name="T63" fmla="*/ 74 h 172"/>
                <a:gd name="T64" fmla="*/ 150 w 202"/>
                <a:gd name="T65" fmla="*/ 86 h 172"/>
                <a:gd name="T66" fmla="*/ 136 w 202"/>
                <a:gd name="T67" fmla="*/ 86 h 172"/>
                <a:gd name="T68" fmla="*/ 136 w 202"/>
                <a:gd name="T69" fmla="*/ 94 h 172"/>
                <a:gd name="T70" fmla="*/ 136 w 202"/>
                <a:gd name="T71" fmla="*/ 100 h 172"/>
                <a:gd name="T72" fmla="*/ 124 w 202"/>
                <a:gd name="T73" fmla="*/ 108 h 172"/>
                <a:gd name="T74" fmla="*/ 124 w 202"/>
                <a:gd name="T75" fmla="*/ 116 h 172"/>
                <a:gd name="T76" fmla="*/ 120 w 202"/>
                <a:gd name="T77" fmla="*/ 126 h 172"/>
                <a:gd name="T78" fmla="*/ 112 w 202"/>
                <a:gd name="T79" fmla="*/ 126 h 172"/>
                <a:gd name="T80" fmla="*/ 98 w 202"/>
                <a:gd name="T81" fmla="*/ 130 h 172"/>
                <a:gd name="T82" fmla="*/ 94 w 202"/>
                <a:gd name="T83" fmla="*/ 138 h 172"/>
                <a:gd name="T84" fmla="*/ 86 w 202"/>
                <a:gd name="T85" fmla="*/ 138 h 172"/>
                <a:gd name="T86" fmla="*/ 84 w 202"/>
                <a:gd name="T87" fmla="*/ 152 h 172"/>
                <a:gd name="T88" fmla="*/ 84 w 202"/>
                <a:gd name="T89" fmla="*/ 160 h 172"/>
                <a:gd name="T90" fmla="*/ 68 w 202"/>
                <a:gd name="T91" fmla="*/ 168 h 172"/>
                <a:gd name="T92" fmla="*/ 54 w 202"/>
                <a:gd name="T93" fmla="*/ 168 h 172"/>
                <a:gd name="T94" fmla="*/ 38 w 202"/>
                <a:gd name="T95" fmla="*/ 168 h 172"/>
                <a:gd name="T96" fmla="*/ 16 w 202"/>
                <a:gd name="T97" fmla="*/ 168 h 172"/>
                <a:gd name="T98" fmla="*/ 8 w 202"/>
                <a:gd name="T99" fmla="*/ 160 h 172"/>
                <a:gd name="T100" fmla="*/ 20 w 202"/>
                <a:gd name="T101" fmla="*/ 142 h 172"/>
                <a:gd name="T102" fmla="*/ 12 w 202"/>
                <a:gd name="T103" fmla="*/ 134 h 172"/>
                <a:gd name="T104" fmla="*/ 4 w 202"/>
                <a:gd name="T105" fmla="*/ 122 h 172"/>
                <a:gd name="T106" fmla="*/ 0 w 202"/>
                <a:gd name="T107" fmla="*/ 108 h 172"/>
                <a:gd name="T108" fmla="*/ 4 w 202"/>
                <a:gd name="T109" fmla="*/ 96 h 172"/>
                <a:gd name="T110" fmla="*/ 0 w 202"/>
                <a:gd name="T111" fmla="*/ 86 h 172"/>
                <a:gd name="T112" fmla="*/ 0 w 202"/>
                <a:gd name="T113" fmla="*/ 74 h 172"/>
                <a:gd name="T114" fmla="*/ 8 w 202"/>
                <a:gd name="T115" fmla="*/ 64 h 172"/>
                <a:gd name="T116" fmla="*/ 12 w 202"/>
                <a:gd name="T117" fmla="*/ 56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2" h="172">
                  <a:moveTo>
                    <a:pt x="12" y="56"/>
                  </a:moveTo>
                  <a:lnTo>
                    <a:pt x="12" y="60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30" y="64"/>
                  </a:lnTo>
                  <a:lnTo>
                    <a:pt x="30" y="60"/>
                  </a:lnTo>
                  <a:lnTo>
                    <a:pt x="34" y="60"/>
                  </a:lnTo>
                  <a:lnTo>
                    <a:pt x="38" y="56"/>
                  </a:lnTo>
                  <a:lnTo>
                    <a:pt x="34" y="56"/>
                  </a:lnTo>
                  <a:lnTo>
                    <a:pt x="38" y="56"/>
                  </a:lnTo>
                  <a:lnTo>
                    <a:pt x="38" y="52"/>
                  </a:lnTo>
                  <a:lnTo>
                    <a:pt x="34" y="52"/>
                  </a:lnTo>
                  <a:lnTo>
                    <a:pt x="38" y="52"/>
                  </a:lnTo>
                  <a:lnTo>
                    <a:pt x="42" y="48"/>
                  </a:lnTo>
                  <a:lnTo>
                    <a:pt x="46" y="48"/>
                  </a:lnTo>
                  <a:lnTo>
                    <a:pt x="50" y="48"/>
                  </a:lnTo>
                  <a:lnTo>
                    <a:pt x="50" y="44"/>
                  </a:lnTo>
                  <a:lnTo>
                    <a:pt x="54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6" y="38"/>
                  </a:lnTo>
                  <a:lnTo>
                    <a:pt x="56" y="34"/>
                  </a:lnTo>
                  <a:lnTo>
                    <a:pt x="60" y="34"/>
                  </a:lnTo>
                  <a:lnTo>
                    <a:pt x="60" y="30"/>
                  </a:lnTo>
                  <a:lnTo>
                    <a:pt x="60" y="26"/>
                  </a:lnTo>
                  <a:lnTo>
                    <a:pt x="64" y="26"/>
                  </a:lnTo>
                  <a:lnTo>
                    <a:pt x="68" y="26"/>
                  </a:lnTo>
                  <a:lnTo>
                    <a:pt x="72" y="26"/>
                  </a:lnTo>
                  <a:lnTo>
                    <a:pt x="72" y="22"/>
                  </a:lnTo>
                  <a:lnTo>
                    <a:pt x="72" y="18"/>
                  </a:lnTo>
                  <a:lnTo>
                    <a:pt x="76" y="18"/>
                  </a:lnTo>
                  <a:lnTo>
                    <a:pt x="76" y="22"/>
                  </a:lnTo>
                  <a:lnTo>
                    <a:pt x="80" y="22"/>
                  </a:lnTo>
                  <a:lnTo>
                    <a:pt x="84" y="22"/>
                  </a:lnTo>
                  <a:lnTo>
                    <a:pt x="86" y="22"/>
                  </a:lnTo>
                  <a:lnTo>
                    <a:pt x="90" y="22"/>
                  </a:lnTo>
                  <a:lnTo>
                    <a:pt x="94" y="22"/>
                  </a:lnTo>
                  <a:lnTo>
                    <a:pt x="94" y="26"/>
                  </a:lnTo>
                  <a:lnTo>
                    <a:pt x="98" y="26"/>
                  </a:lnTo>
                  <a:lnTo>
                    <a:pt x="98" y="22"/>
                  </a:lnTo>
                  <a:lnTo>
                    <a:pt x="102" y="26"/>
                  </a:lnTo>
                  <a:lnTo>
                    <a:pt x="106" y="30"/>
                  </a:lnTo>
                  <a:lnTo>
                    <a:pt x="110" y="30"/>
                  </a:lnTo>
                  <a:lnTo>
                    <a:pt x="110" y="26"/>
                  </a:lnTo>
                  <a:lnTo>
                    <a:pt x="112" y="26"/>
                  </a:lnTo>
                  <a:lnTo>
                    <a:pt x="116" y="22"/>
                  </a:lnTo>
                  <a:lnTo>
                    <a:pt x="120" y="22"/>
                  </a:lnTo>
                  <a:lnTo>
                    <a:pt x="120" y="26"/>
                  </a:lnTo>
                  <a:lnTo>
                    <a:pt x="124" y="26"/>
                  </a:lnTo>
                  <a:lnTo>
                    <a:pt x="124" y="22"/>
                  </a:lnTo>
                  <a:lnTo>
                    <a:pt x="128" y="18"/>
                  </a:lnTo>
                  <a:lnTo>
                    <a:pt x="132" y="18"/>
                  </a:lnTo>
                  <a:lnTo>
                    <a:pt x="136" y="18"/>
                  </a:lnTo>
                  <a:lnTo>
                    <a:pt x="140" y="18"/>
                  </a:lnTo>
                  <a:lnTo>
                    <a:pt x="140" y="14"/>
                  </a:lnTo>
                  <a:lnTo>
                    <a:pt x="136" y="14"/>
                  </a:lnTo>
                  <a:lnTo>
                    <a:pt x="136" y="10"/>
                  </a:lnTo>
                  <a:lnTo>
                    <a:pt x="140" y="10"/>
                  </a:lnTo>
                  <a:lnTo>
                    <a:pt x="142" y="8"/>
                  </a:lnTo>
                  <a:lnTo>
                    <a:pt x="142" y="4"/>
                  </a:lnTo>
                  <a:lnTo>
                    <a:pt x="146" y="0"/>
                  </a:lnTo>
                  <a:lnTo>
                    <a:pt x="150" y="4"/>
                  </a:lnTo>
                  <a:lnTo>
                    <a:pt x="154" y="4"/>
                  </a:lnTo>
                  <a:lnTo>
                    <a:pt x="154" y="8"/>
                  </a:lnTo>
                  <a:lnTo>
                    <a:pt x="150" y="10"/>
                  </a:lnTo>
                  <a:lnTo>
                    <a:pt x="154" y="10"/>
                  </a:lnTo>
                  <a:lnTo>
                    <a:pt x="158" y="10"/>
                  </a:lnTo>
                  <a:lnTo>
                    <a:pt x="158" y="14"/>
                  </a:lnTo>
                  <a:lnTo>
                    <a:pt x="154" y="14"/>
                  </a:lnTo>
                  <a:lnTo>
                    <a:pt x="154" y="18"/>
                  </a:lnTo>
                  <a:lnTo>
                    <a:pt x="154" y="22"/>
                  </a:lnTo>
                  <a:lnTo>
                    <a:pt x="154" y="26"/>
                  </a:lnTo>
                  <a:lnTo>
                    <a:pt x="154" y="30"/>
                  </a:lnTo>
                  <a:lnTo>
                    <a:pt x="158" y="34"/>
                  </a:lnTo>
                  <a:lnTo>
                    <a:pt x="158" y="38"/>
                  </a:lnTo>
                  <a:lnTo>
                    <a:pt x="162" y="34"/>
                  </a:lnTo>
                  <a:lnTo>
                    <a:pt x="166" y="30"/>
                  </a:lnTo>
                  <a:lnTo>
                    <a:pt x="168" y="30"/>
                  </a:lnTo>
                  <a:lnTo>
                    <a:pt x="172" y="30"/>
                  </a:lnTo>
                  <a:lnTo>
                    <a:pt x="172" y="26"/>
                  </a:lnTo>
                  <a:lnTo>
                    <a:pt x="176" y="26"/>
                  </a:lnTo>
                  <a:lnTo>
                    <a:pt x="176" y="22"/>
                  </a:lnTo>
                  <a:lnTo>
                    <a:pt x="180" y="22"/>
                  </a:lnTo>
                  <a:lnTo>
                    <a:pt x="184" y="18"/>
                  </a:lnTo>
                  <a:lnTo>
                    <a:pt x="184" y="22"/>
                  </a:lnTo>
                  <a:lnTo>
                    <a:pt x="188" y="22"/>
                  </a:lnTo>
                  <a:lnTo>
                    <a:pt x="184" y="22"/>
                  </a:lnTo>
                  <a:lnTo>
                    <a:pt x="184" y="26"/>
                  </a:lnTo>
                  <a:lnTo>
                    <a:pt x="188" y="26"/>
                  </a:lnTo>
                  <a:lnTo>
                    <a:pt x="192" y="22"/>
                  </a:lnTo>
                  <a:lnTo>
                    <a:pt x="196" y="22"/>
                  </a:lnTo>
                  <a:lnTo>
                    <a:pt x="198" y="22"/>
                  </a:lnTo>
                  <a:lnTo>
                    <a:pt x="202" y="22"/>
                  </a:lnTo>
                  <a:lnTo>
                    <a:pt x="202" y="26"/>
                  </a:lnTo>
                  <a:lnTo>
                    <a:pt x="202" y="22"/>
                  </a:lnTo>
                  <a:lnTo>
                    <a:pt x="198" y="26"/>
                  </a:lnTo>
                  <a:lnTo>
                    <a:pt x="196" y="26"/>
                  </a:lnTo>
                  <a:lnTo>
                    <a:pt x="198" y="30"/>
                  </a:lnTo>
                  <a:lnTo>
                    <a:pt x="196" y="30"/>
                  </a:lnTo>
                  <a:lnTo>
                    <a:pt x="192" y="34"/>
                  </a:lnTo>
                  <a:lnTo>
                    <a:pt x="188" y="30"/>
                  </a:lnTo>
                  <a:lnTo>
                    <a:pt x="184" y="30"/>
                  </a:lnTo>
                  <a:lnTo>
                    <a:pt x="180" y="30"/>
                  </a:lnTo>
                  <a:lnTo>
                    <a:pt x="176" y="34"/>
                  </a:lnTo>
                  <a:lnTo>
                    <a:pt x="172" y="34"/>
                  </a:lnTo>
                  <a:lnTo>
                    <a:pt x="168" y="34"/>
                  </a:lnTo>
                  <a:lnTo>
                    <a:pt x="166" y="34"/>
                  </a:lnTo>
                  <a:lnTo>
                    <a:pt x="166" y="38"/>
                  </a:lnTo>
                  <a:lnTo>
                    <a:pt x="162" y="38"/>
                  </a:lnTo>
                  <a:lnTo>
                    <a:pt x="158" y="40"/>
                  </a:lnTo>
                  <a:lnTo>
                    <a:pt x="154" y="44"/>
                  </a:lnTo>
                  <a:lnTo>
                    <a:pt x="150" y="44"/>
                  </a:lnTo>
                  <a:lnTo>
                    <a:pt x="150" y="48"/>
                  </a:lnTo>
                  <a:lnTo>
                    <a:pt x="154" y="48"/>
                  </a:lnTo>
                  <a:lnTo>
                    <a:pt x="154" y="52"/>
                  </a:lnTo>
                  <a:lnTo>
                    <a:pt x="158" y="52"/>
                  </a:lnTo>
                  <a:lnTo>
                    <a:pt x="154" y="56"/>
                  </a:lnTo>
                  <a:lnTo>
                    <a:pt x="158" y="56"/>
                  </a:lnTo>
                  <a:lnTo>
                    <a:pt x="158" y="60"/>
                  </a:lnTo>
                  <a:lnTo>
                    <a:pt x="158" y="64"/>
                  </a:lnTo>
                  <a:lnTo>
                    <a:pt x="154" y="66"/>
                  </a:lnTo>
                  <a:lnTo>
                    <a:pt x="154" y="70"/>
                  </a:lnTo>
                  <a:lnTo>
                    <a:pt x="150" y="70"/>
                  </a:lnTo>
                  <a:lnTo>
                    <a:pt x="150" y="74"/>
                  </a:lnTo>
                  <a:lnTo>
                    <a:pt x="146" y="74"/>
                  </a:lnTo>
                  <a:lnTo>
                    <a:pt x="146" y="78"/>
                  </a:lnTo>
                  <a:lnTo>
                    <a:pt x="150" y="78"/>
                  </a:lnTo>
                  <a:lnTo>
                    <a:pt x="150" y="82"/>
                  </a:lnTo>
                  <a:lnTo>
                    <a:pt x="150" y="86"/>
                  </a:lnTo>
                  <a:lnTo>
                    <a:pt x="146" y="86"/>
                  </a:lnTo>
                  <a:lnTo>
                    <a:pt x="142" y="86"/>
                  </a:lnTo>
                  <a:lnTo>
                    <a:pt x="140" y="86"/>
                  </a:lnTo>
                  <a:lnTo>
                    <a:pt x="136" y="86"/>
                  </a:lnTo>
                  <a:lnTo>
                    <a:pt x="132" y="86"/>
                  </a:lnTo>
                  <a:lnTo>
                    <a:pt x="132" y="90"/>
                  </a:lnTo>
                  <a:lnTo>
                    <a:pt x="136" y="90"/>
                  </a:lnTo>
                  <a:lnTo>
                    <a:pt x="136" y="94"/>
                  </a:lnTo>
                  <a:lnTo>
                    <a:pt x="136" y="96"/>
                  </a:lnTo>
                  <a:lnTo>
                    <a:pt x="140" y="96"/>
                  </a:lnTo>
                  <a:lnTo>
                    <a:pt x="140" y="100"/>
                  </a:lnTo>
                  <a:lnTo>
                    <a:pt x="136" y="100"/>
                  </a:lnTo>
                  <a:lnTo>
                    <a:pt x="132" y="104"/>
                  </a:lnTo>
                  <a:lnTo>
                    <a:pt x="128" y="104"/>
                  </a:lnTo>
                  <a:lnTo>
                    <a:pt x="128" y="108"/>
                  </a:lnTo>
                  <a:lnTo>
                    <a:pt x="124" y="108"/>
                  </a:lnTo>
                  <a:lnTo>
                    <a:pt x="128" y="108"/>
                  </a:lnTo>
                  <a:lnTo>
                    <a:pt x="128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2"/>
                  </a:lnTo>
                  <a:lnTo>
                    <a:pt x="124" y="126"/>
                  </a:lnTo>
                  <a:lnTo>
                    <a:pt x="120" y="126"/>
                  </a:lnTo>
                  <a:lnTo>
                    <a:pt x="120" y="130"/>
                  </a:lnTo>
                  <a:lnTo>
                    <a:pt x="116" y="130"/>
                  </a:lnTo>
                  <a:lnTo>
                    <a:pt x="116" y="126"/>
                  </a:lnTo>
                  <a:lnTo>
                    <a:pt x="112" y="126"/>
                  </a:lnTo>
                  <a:lnTo>
                    <a:pt x="110" y="126"/>
                  </a:lnTo>
                  <a:lnTo>
                    <a:pt x="106" y="130"/>
                  </a:lnTo>
                  <a:lnTo>
                    <a:pt x="102" y="130"/>
                  </a:lnTo>
                  <a:lnTo>
                    <a:pt x="98" y="130"/>
                  </a:lnTo>
                  <a:lnTo>
                    <a:pt x="102" y="134"/>
                  </a:lnTo>
                  <a:lnTo>
                    <a:pt x="102" y="138"/>
                  </a:lnTo>
                  <a:lnTo>
                    <a:pt x="98" y="138"/>
                  </a:lnTo>
                  <a:lnTo>
                    <a:pt x="94" y="138"/>
                  </a:lnTo>
                  <a:lnTo>
                    <a:pt x="90" y="138"/>
                  </a:lnTo>
                  <a:lnTo>
                    <a:pt x="90" y="134"/>
                  </a:lnTo>
                  <a:lnTo>
                    <a:pt x="90" y="138"/>
                  </a:lnTo>
                  <a:lnTo>
                    <a:pt x="86" y="138"/>
                  </a:lnTo>
                  <a:lnTo>
                    <a:pt x="86" y="142"/>
                  </a:lnTo>
                  <a:lnTo>
                    <a:pt x="84" y="142"/>
                  </a:lnTo>
                  <a:lnTo>
                    <a:pt x="84" y="150"/>
                  </a:lnTo>
                  <a:lnTo>
                    <a:pt x="84" y="152"/>
                  </a:lnTo>
                  <a:lnTo>
                    <a:pt x="84" y="156"/>
                  </a:lnTo>
                  <a:lnTo>
                    <a:pt x="80" y="156"/>
                  </a:lnTo>
                  <a:lnTo>
                    <a:pt x="80" y="160"/>
                  </a:lnTo>
                  <a:lnTo>
                    <a:pt x="84" y="160"/>
                  </a:lnTo>
                  <a:lnTo>
                    <a:pt x="80" y="164"/>
                  </a:lnTo>
                  <a:lnTo>
                    <a:pt x="76" y="164"/>
                  </a:lnTo>
                  <a:lnTo>
                    <a:pt x="72" y="164"/>
                  </a:lnTo>
                  <a:lnTo>
                    <a:pt x="68" y="168"/>
                  </a:lnTo>
                  <a:lnTo>
                    <a:pt x="64" y="168"/>
                  </a:lnTo>
                  <a:lnTo>
                    <a:pt x="60" y="168"/>
                  </a:lnTo>
                  <a:lnTo>
                    <a:pt x="56" y="168"/>
                  </a:lnTo>
                  <a:lnTo>
                    <a:pt x="54" y="168"/>
                  </a:lnTo>
                  <a:lnTo>
                    <a:pt x="50" y="172"/>
                  </a:lnTo>
                  <a:lnTo>
                    <a:pt x="46" y="168"/>
                  </a:lnTo>
                  <a:lnTo>
                    <a:pt x="42" y="168"/>
                  </a:lnTo>
                  <a:lnTo>
                    <a:pt x="38" y="168"/>
                  </a:lnTo>
                  <a:lnTo>
                    <a:pt x="28" y="172"/>
                  </a:lnTo>
                  <a:lnTo>
                    <a:pt x="24" y="168"/>
                  </a:lnTo>
                  <a:lnTo>
                    <a:pt x="20" y="168"/>
                  </a:lnTo>
                  <a:lnTo>
                    <a:pt x="16" y="168"/>
                  </a:lnTo>
                  <a:lnTo>
                    <a:pt x="8" y="164"/>
                  </a:lnTo>
                  <a:lnTo>
                    <a:pt x="4" y="164"/>
                  </a:lnTo>
                  <a:lnTo>
                    <a:pt x="4" y="160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12" y="152"/>
                  </a:lnTo>
                  <a:lnTo>
                    <a:pt x="16" y="146"/>
                  </a:lnTo>
                  <a:lnTo>
                    <a:pt x="20" y="142"/>
                  </a:lnTo>
                  <a:lnTo>
                    <a:pt x="20" y="138"/>
                  </a:lnTo>
                  <a:lnTo>
                    <a:pt x="16" y="138"/>
                  </a:lnTo>
                  <a:lnTo>
                    <a:pt x="16" y="134"/>
                  </a:lnTo>
                  <a:lnTo>
                    <a:pt x="12" y="134"/>
                  </a:lnTo>
                  <a:lnTo>
                    <a:pt x="8" y="134"/>
                  </a:lnTo>
                  <a:lnTo>
                    <a:pt x="4" y="130"/>
                  </a:lnTo>
                  <a:lnTo>
                    <a:pt x="4" y="126"/>
                  </a:lnTo>
                  <a:lnTo>
                    <a:pt x="4" y="122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4" y="96"/>
                  </a:lnTo>
                  <a:lnTo>
                    <a:pt x="4" y="94"/>
                  </a:lnTo>
                  <a:lnTo>
                    <a:pt x="0" y="94"/>
                  </a:lnTo>
                  <a:lnTo>
                    <a:pt x="0" y="90"/>
                  </a:lnTo>
                  <a:lnTo>
                    <a:pt x="0" y="86"/>
                  </a:lnTo>
                  <a:lnTo>
                    <a:pt x="0" y="82"/>
                  </a:lnTo>
                  <a:lnTo>
                    <a:pt x="0" y="78"/>
                  </a:lnTo>
                  <a:lnTo>
                    <a:pt x="4" y="78"/>
                  </a:lnTo>
                  <a:lnTo>
                    <a:pt x="0" y="74"/>
                  </a:lnTo>
                  <a:lnTo>
                    <a:pt x="4" y="74"/>
                  </a:lnTo>
                  <a:lnTo>
                    <a:pt x="8" y="70"/>
                  </a:lnTo>
                  <a:lnTo>
                    <a:pt x="8" y="66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567734AE-2422-D84E-6C97-105FCDE150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93233" y="2783405"/>
              <a:ext cx="85722" cy="82962"/>
            </a:xfrm>
            <a:custGeom>
              <a:avLst/>
              <a:gdLst>
                <a:gd name="T0" fmla="*/ 40 w 44"/>
                <a:gd name="T1" fmla="*/ 44 h 44"/>
                <a:gd name="T2" fmla="*/ 36 w 44"/>
                <a:gd name="T3" fmla="*/ 44 h 44"/>
                <a:gd name="T4" fmla="*/ 36 w 44"/>
                <a:gd name="T5" fmla="*/ 44 h 44"/>
                <a:gd name="T6" fmla="*/ 36 w 44"/>
                <a:gd name="T7" fmla="*/ 36 h 44"/>
                <a:gd name="T8" fmla="*/ 32 w 44"/>
                <a:gd name="T9" fmla="*/ 32 h 44"/>
                <a:gd name="T10" fmla="*/ 28 w 44"/>
                <a:gd name="T11" fmla="*/ 32 h 44"/>
                <a:gd name="T12" fmla="*/ 28 w 44"/>
                <a:gd name="T13" fmla="*/ 32 h 44"/>
                <a:gd name="T14" fmla="*/ 22 w 44"/>
                <a:gd name="T15" fmla="*/ 30 h 44"/>
                <a:gd name="T16" fmla="*/ 18 w 44"/>
                <a:gd name="T17" fmla="*/ 30 h 44"/>
                <a:gd name="T18" fmla="*/ 18 w 44"/>
                <a:gd name="T19" fmla="*/ 30 h 44"/>
                <a:gd name="T20" fmla="*/ 14 w 44"/>
                <a:gd name="T21" fmla="*/ 26 h 44"/>
                <a:gd name="T22" fmla="*/ 10 w 44"/>
                <a:gd name="T23" fmla="*/ 22 h 44"/>
                <a:gd name="T24" fmla="*/ 6 w 44"/>
                <a:gd name="T25" fmla="*/ 22 h 44"/>
                <a:gd name="T26" fmla="*/ 2 w 44"/>
                <a:gd name="T27" fmla="*/ 22 h 44"/>
                <a:gd name="T28" fmla="*/ 0 w 44"/>
                <a:gd name="T29" fmla="*/ 14 h 44"/>
                <a:gd name="T30" fmla="*/ 2 w 44"/>
                <a:gd name="T31" fmla="*/ 10 h 44"/>
                <a:gd name="T32" fmla="*/ 0 w 44"/>
                <a:gd name="T33" fmla="*/ 4 h 44"/>
                <a:gd name="T34" fmla="*/ 0 w 44"/>
                <a:gd name="T35" fmla="*/ 4 h 44"/>
                <a:gd name="T36" fmla="*/ 2 w 44"/>
                <a:gd name="T37" fmla="*/ 4 h 44"/>
                <a:gd name="T38" fmla="*/ 2 w 44"/>
                <a:gd name="T39" fmla="*/ 0 h 44"/>
                <a:gd name="T40" fmla="*/ 6 w 44"/>
                <a:gd name="T41" fmla="*/ 0 h 44"/>
                <a:gd name="T42" fmla="*/ 10 w 44"/>
                <a:gd name="T43" fmla="*/ 0 h 44"/>
                <a:gd name="T44" fmla="*/ 18 w 44"/>
                <a:gd name="T45" fmla="*/ 0 h 44"/>
                <a:gd name="T46" fmla="*/ 22 w 44"/>
                <a:gd name="T47" fmla="*/ 0 h 44"/>
                <a:gd name="T48" fmla="*/ 24 w 44"/>
                <a:gd name="T49" fmla="*/ 0 h 44"/>
                <a:gd name="T50" fmla="*/ 22 w 44"/>
                <a:gd name="T51" fmla="*/ 4 h 44"/>
                <a:gd name="T52" fmla="*/ 22 w 44"/>
                <a:gd name="T53" fmla="*/ 4 h 44"/>
                <a:gd name="T54" fmla="*/ 28 w 44"/>
                <a:gd name="T55" fmla="*/ 8 h 44"/>
                <a:gd name="T56" fmla="*/ 24 w 44"/>
                <a:gd name="T57" fmla="*/ 10 h 44"/>
                <a:gd name="T58" fmla="*/ 28 w 44"/>
                <a:gd name="T59" fmla="*/ 14 h 44"/>
                <a:gd name="T60" fmla="*/ 32 w 44"/>
                <a:gd name="T61" fmla="*/ 18 h 44"/>
                <a:gd name="T62" fmla="*/ 32 w 44"/>
                <a:gd name="T63" fmla="*/ 22 h 44"/>
                <a:gd name="T64" fmla="*/ 32 w 44"/>
                <a:gd name="T65" fmla="*/ 22 h 44"/>
                <a:gd name="T66" fmla="*/ 28 w 44"/>
                <a:gd name="T67" fmla="*/ 22 h 44"/>
                <a:gd name="T68" fmla="*/ 32 w 44"/>
                <a:gd name="T69" fmla="*/ 26 h 44"/>
                <a:gd name="T70" fmla="*/ 32 w 44"/>
                <a:gd name="T71" fmla="*/ 26 h 44"/>
                <a:gd name="T72" fmla="*/ 32 w 44"/>
                <a:gd name="T73" fmla="*/ 30 h 44"/>
                <a:gd name="T74" fmla="*/ 36 w 44"/>
                <a:gd name="T75" fmla="*/ 30 h 44"/>
                <a:gd name="T76" fmla="*/ 36 w 44"/>
                <a:gd name="T77" fmla="*/ 32 h 44"/>
                <a:gd name="T78" fmla="*/ 40 w 44"/>
                <a:gd name="T79" fmla="*/ 30 h 44"/>
                <a:gd name="T80" fmla="*/ 40 w 44"/>
                <a:gd name="T81" fmla="*/ 32 h 44"/>
                <a:gd name="T82" fmla="*/ 40 w 44"/>
                <a:gd name="T83" fmla="*/ 36 h 44"/>
                <a:gd name="T84" fmla="*/ 44 w 44"/>
                <a:gd name="T85" fmla="*/ 36 h 44"/>
                <a:gd name="T86" fmla="*/ 40 w 44"/>
                <a:gd name="T87" fmla="*/ 40 h 44"/>
                <a:gd name="T88" fmla="*/ 40 w 44"/>
                <a:gd name="T89" fmla="*/ 40 h 44"/>
                <a:gd name="T90" fmla="*/ 40 w 44"/>
                <a:gd name="T91" fmla="*/ 44 h 44"/>
                <a:gd name="T92" fmla="*/ 44 w 44"/>
                <a:gd name="T93" fmla="*/ 44 h 44"/>
                <a:gd name="T94" fmla="*/ 22 w 44"/>
                <a:gd name="T95" fmla="*/ 4 h 44"/>
                <a:gd name="T96" fmla="*/ 22 w 44"/>
                <a:gd name="T97" fmla="*/ 4 h 44"/>
                <a:gd name="T98" fmla="*/ 24 w 44"/>
                <a:gd name="T99" fmla="*/ 4 h 44"/>
                <a:gd name="T100" fmla="*/ 24 w 44"/>
                <a:gd name="T101" fmla="*/ 4 h 44"/>
                <a:gd name="T102" fmla="*/ 28 w 44"/>
                <a:gd name="T103" fmla="*/ 10 h 44"/>
                <a:gd name="T104" fmla="*/ 28 w 44"/>
                <a:gd name="T105" fmla="*/ 1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4" h="44">
                  <a:moveTo>
                    <a:pt x="44" y="44"/>
                  </a:moveTo>
                  <a:lnTo>
                    <a:pt x="44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18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4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4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6" y="18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close/>
                  <a:moveTo>
                    <a:pt x="22" y="4"/>
                  </a:move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  <a:moveTo>
                    <a:pt x="28" y="10"/>
                  </a:move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F3BFC7C6-FCDD-C068-DD9C-B687EDDD66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28301" y="2726840"/>
              <a:ext cx="187029" cy="162154"/>
            </a:xfrm>
            <a:custGeom>
              <a:avLst/>
              <a:gdLst>
                <a:gd name="T0" fmla="*/ 78 w 96"/>
                <a:gd name="T1" fmla="*/ 86 h 86"/>
                <a:gd name="T2" fmla="*/ 56 w 96"/>
                <a:gd name="T3" fmla="*/ 86 h 86"/>
                <a:gd name="T4" fmla="*/ 48 w 96"/>
                <a:gd name="T5" fmla="*/ 82 h 86"/>
                <a:gd name="T6" fmla="*/ 44 w 96"/>
                <a:gd name="T7" fmla="*/ 74 h 86"/>
                <a:gd name="T8" fmla="*/ 48 w 96"/>
                <a:gd name="T9" fmla="*/ 74 h 86"/>
                <a:gd name="T10" fmla="*/ 48 w 96"/>
                <a:gd name="T11" fmla="*/ 70 h 86"/>
                <a:gd name="T12" fmla="*/ 48 w 96"/>
                <a:gd name="T13" fmla="*/ 66 h 86"/>
                <a:gd name="T14" fmla="*/ 48 w 96"/>
                <a:gd name="T15" fmla="*/ 62 h 86"/>
                <a:gd name="T16" fmla="*/ 40 w 96"/>
                <a:gd name="T17" fmla="*/ 60 h 86"/>
                <a:gd name="T18" fmla="*/ 32 w 96"/>
                <a:gd name="T19" fmla="*/ 66 h 86"/>
                <a:gd name="T20" fmla="*/ 30 w 96"/>
                <a:gd name="T21" fmla="*/ 70 h 86"/>
                <a:gd name="T22" fmla="*/ 26 w 96"/>
                <a:gd name="T23" fmla="*/ 74 h 86"/>
                <a:gd name="T24" fmla="*/ 22 w 96"/>
                <a:gd name="T25" fmla="*/ 70 h 86"/>
                <a:gd name="T26" fmla="*/ 26 w 96"/>
                <a:gd name="T27" fmla="*/ 66 h 86"/>
                <a:gd name="T28" fmla="*/ 22 w 96"/>
                <a:gd name="T29" fmla="*/ 62 h 86"/>
                <a:gd name="T30" fmla="*/ 22 w 96"/>
                <a:gd name="T31" fmla="*/ 60 h 86"/>
                <a:gd name="T32" fmla="*/ 18 w 96"/>
                <a:gd name="T33" fmla="*/ 60 h 86"/>
                <a:gd name="T34" fmla="*/ 14 w 96"/>
                <a:gd name="T35" fmla="*/ 56 h 86"/>
                <a:gd name="T36" fmla="*/ 10 w 96"/>
                <a:gd name="T37" fmla="*/ 52 h 86"/>
                <a:gd name="T38" fmla="*/ 14 w 96"/>
                <a:gd name="T39" fmla="*/ 52 h 86"/>
                <a:gd name="T40" fmla="*/ 14 w 96"/>
                <a:gd name="T41" fmla="*/ 48 h 86"/>
                <a:gd name="T42" fmla="*/ 6 w 96"/>
                <a:gd name="T43" fmla="*/ 40 h 86"/>
                <a:gd name="T44" fmla="*/ 6 w 96"/>
                <a:gd name="T45" fmla="*/ 32 h 86"/>
                <a:gd name="T46" fmla="*/ 6 w 96"/>
                <a:gd name="T47" fmla="*/ 32 h 86"/>
                <a:gd name="T48" fmla="*/ 4 w 96"/>
                <a:gd name="T49" fmla="*/ 26 h 86"/>
                <a:gd name="T50" fmla="*/ 10 w 96"/>
                <a:gd name="T51" fmla="*/ 26 h 86"/>
                <a:gd name="T52" fmla="*/ 14 w 96"/>
                <a:gd name="T53" fmla="*/ 30 h 86"/>
                <a:gd name="T54" fmla="*/ 18 w 96"/>
                <a:gd name="T55" fmla="*/ 30 h 86"/>
                <a:gd name="T56" fmla="*/ 22 w 96"/>
                <a:gd name="T57" fmla="*/ 32 h 86"/>
                <a:gd name="T58" fmla="*/ 26 w 96"/>
                <a:gd name="T59" fmla="*/ 26 h 86"/>
                <a:gd name="T60" fmla="*/ 18 w 96"/>
                <a:gd name="T61" fmla="*/ 22 h 86"/>
                <a:gd name="T62" fmla="*/ 22 w 96"/>
                <a:gd name="T63" fmla="*/ 18 h 86"/>
                <a:gd name="T64" fmla="*/ 26 w 96"/>
                <a:gd name="T65" fmla="*/ 18 h 86"/>
                <a:gd name="T66" fmla="*/ 30 w 96"/>
                <a:gd name="T67" fmla="*/ 22 h 86"/>
                <a:gd name="T68" fmla="*/ 36 w 96"/>
                <a:gd name="T69" fmla="*/ 30 h 86"/>
                <a:gd name="T70" fmla="*/ 40 w 96"/>
                <a:gd name="T71" fmla="*/ 30 h 86"/>
                <a:gd name="T72" fmla="*/ 48 w 96"/>
                <a:gd name="T73" fmla="*/ 26 h 86"/>
                <a:gd name="T74" fmla="*/ 52 w 96"/>
                <a:gd name="T75" fmla="*/ 22 h 86"/>
                <a:gd name="T76" fmla="*/ 70 w 96"/>
                <a:gd name="T77" fmla="*/ 0 h 86"/>
                <a:gd name="T78" fmla="*/ 88 w 96"/>
                <a:gd name="T79" fmla="*/ 30 h 86"/>
                <a:gd name="T80" fmla="*/ 96 w 96"/>
                <a:gd name="T81" fmla="*/ 56 h 86"/>
                <a:gd name="T82" fmla="*/ 92 w 96"/>
                <a:gd name="T83" fmla="*/ 74 h 86"/>
                <a:gd name="T84" fmla="*/ 10 w 96"/>
                <a:gd name="T85" fmla="*/ 40 h 86"/>
                <a:gd name="T86" fmla="*/ 4 w 96"/>
                <a:gd name="T87" fmla="*/ 32 h 86"/>
                <a:gd name="T88" fmla="*/ 4 w 96"/>
                <a:gd name="T89" fmla="*/ 32 h 86"/>
                <a:gd name="T90" fmla="*/ 6 w 96"/>
                <a:gd name="T91" fmla="*/ 32 h 86"/>
                <a:gd name="T92" fmla="*/ 0 w 96"/>
                <a:gd name="T93" fmla="*/ 60 h 86"/>
                <a:gd name="T94" fmla="*/ 4 w 96"/>
                <a:gd name="T95" fmla="*/ 60 h 86"/>
                <a:gd name="T96" fmla="*/ 10 w 96"/>
                <a:gd name="T97" fmla="*/ 62 h 86"/>
                <a:gd name="T98" fmla="*/ 14 w 96"/>
                <a:gd name="T99" fmla="*/ 66 h 86"/>
                <a:gd name="T100" fmla="*/ 18 w 96"/>
                <a:gd name="T101" fmla="*/ 74 h 86"/>
                <a:gd name="T102" fmla="*/ 10 w 96"/>
                <a:gd name="T103" fmla="*/ 74 h 86"/>
                <a:gd name="T104" fmla="*/ 6 w 96"/>
                <a:gd name="T105" fmla="*/ 70 h 86"/>
                <a:gd name="T106" fmla="*/ 4 w 96"/>
                <a:gd name="T107" fmla="*/ 62 h 86"/>
                <a:gd name="T108" fmla="*/ 0 w 96"/>
                <a:gd name="T109" fmla="*/ 6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6" h="86">
                  <a:moveTo>
                    <a:pt x="92" y="78"/>
                  </a:moveTo>
                  <a:lnTo>
                    <a:pt x="88" y="82"/>
                  </a:lnTo>
                  <a:lnTo>
                    <a:pt x="86" y="82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4" y="86"/>
                  </a:lnTo>
                  <a:lnTo>
                    <a:pt x="70" y="86"/>
                  </a:lnTo>
                  <a:lnTo>
                    <a:pt x="58" y="82"/>
                  </a:lnTo>
                  <a:lnTo>
                    <a:pt x="56" y="82"/>
                  </a:lnTo>
                  <a:lnTo>
                    <a:pt x="56" y="82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2" y="86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48" y="82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4" y="74"/>
                  </a:lnTo>
                  <a:lnTo>
                    <a:pt x="44" y="74"/>
                  </a:lnTo>
                  <a:lnTo>
                    <a:pt x="44" y="74"/>
                  </a:lnTo>
                  <a:lnTo>
                    <a:pt x="44" y="74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52" y="66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66"/>
                  </a:lnTo>
                  <a:lnTo>
                    <a:pt x="22" y="70"/>
                  </a:lnTo>
                  <a:lnTo>
                    <a:pt x="26" y="70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8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10" y="40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6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30"/>
                  </a:lnTo>
                  <a:lnTo>
                    <a:pt x="36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6" y="14"/>
                  </a:lnTo>
                  <a:lnTo>
                    <a:pt x="58" y="10"/>
                  </a:lnTo>
                  <a:lnTo>
                    <a:pt x="62" y="6"/>
                  </a:lnTo>
                  <a:lnTo>
                    <a:pt x="70" y="0"/>
                  </a:lnTo>
                  <a:lnTo>
                    <a:pt x="74" y="6"/>
                  </a:lnTo>
                  <a:lnTo>
                    <a:pt x="78" y="10"/>
                  </a:lnTo>
                  <a:lnTo>
                    <a:pt x="82" y="14"/>
                  </a:lnTo>
                  <a:lnTo>
                    <a:pt x="82" y="18"/>
                  </a:lnTo>
                  <a:lnTo>
                    <a:pt x="86" y="22"/>
                  </a:lnTo>
                  <a:lnTo>
                    <a:pt x="88" y="26"/>
                  </a:lnTo>
                  <a:lnTo>
                    <a:pt x="88" y="30"/>
                  </a:lnTo>
                  <a:lnTo>
                    <a:pt x="92" y="32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6" y="40"/>
                  </a:lnTo>
                  <a:lnTo>
                    <a:pt x="96" y="44"/>
                  </a:lnTo>
                  <a:lnTo>
                    <a:pt x="96" y="48"/>
                  </a:lnTo>
                  <a:lnTo>
                    <a:pt x="96" y="56"/>
                  </a:lnTo>
                  <a:lnTo>
                    <a:pt x="96" y="60"/>
                  </a:lnTo>
                  <a:lnTo>
                    <a:pt x="96" y="62"/>
                  </a:lnTo>
                  <a:lnTo>
                    <a:pt x="96" y="62"/>
                  </a:lnTo>
                  <a:lnTo>
                    <a:pt x="96" y="62"/>
                  </a:lnTo>
                  <a:lnTo>
                    <a:pt x="96" y="66"/>
                  </a:lnTo>
                  <a:lnTo>
                    <a:pt x="92" y="70"/>
                  </a:lnTo>
                  <a:lnTo>
                    <a:pt x="92" y="74"/>
                  </a:lnTo>
                  <a:lnTo>
                    <a:pt x="92" y="78"/>
                  </a:lnTo>
                  <a:lnTo>
                    <a:pt x="92" y="78"/>
                  </a:lnTo>
                  <a:lnTo>
                    <a:pt x="92" y="78"/>
                  </a:lnTo>
                  <a:close/>
                  <a:moveTo>
                    <a:pt x="10" y="40"/>
                  </a:moveTo>
                  <a:lnTo>
                    <a:pt x="10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40"/>
                  </a:lnTo>
                  <a:close/>
                  <a:moveTo>
                    <a:pt x="4" y="32"/>
                  </a:move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close/>
                  <a:moveTo>
                    <a:pt x="6" y="32"/>
                  </a:move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close/>
                  <a:moveTo>
                    <a:pt x="0" y="60"/>
                  </a:move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6" y="60"/>
                  </a:lnTo>
                  <a:lnTo>
                    <a:pt x="6" y="62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4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6" y="74"/>
                  </a:lnTo>
                  <a:lnTo>
                    <a:pt x="6" y="70"/>
                  </a:lnTo>
                  <a:lnTo>
                    <a:pt x="6" y="70"/>
                  </a:lnTo>
                  <a:lnTo>
                    <a:pt x="6" y="70"/>
                  </a:lnTo>
                  <a:lnTo>
                    <a:pt x="6" y="70"/>
                  </a:lnTo>
                  <a:lnTo>
                    <a:pt x="6" y="70"/>
                  </a:lnTo>
                  <a:lnTo>
                    <a:pt x="6" y="70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D3C0991B-B61F-F850-A58E-67FA9D49BF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0262" y="3311347"/>
              <a:ext cx="15586" cy="18855"/>
            </a:xfrm>
            <a:custGeom>
              <a:avLst/>
              <a:gdLst>
                <a:gd name="T0" fmla="*/ 4 w 8"/>
                <a:gd name="T1" fmla="*/ 0 h 10"/>
                <a:gd name="T2" fmla="*/ 4 w 8"/>
                <a:gd name="T3" fmla="*/ 0 h 10"/>
                <a:gd name="T4" fmla="*/ 4 w 8"/>
                <a:gd name="T5" fmla="*/ 0 h 10"/>
                <a:gd name="T6" fmla="*/ 4 w 8"/>
                <a:gd name="T7" fmla="*/ 0 h 10"/>
                <a:gd name="T8" fmla="*/ 4 w 8"/>
                <a:gd name="T9" fmla="*/ 0 h 10"/>
                <a:gd name="T10" fmla="*/ 4 w 8"/>
                <a:gd name="T11" fmla="*/ 4 h 10"/>
                <a:gd name="T12" fmla="*/ 4 w 8"/>
                <a:gd name="T13" fmla="*/ 4 h 10"/>
                <a:gd name="T14" fmla="*/ 4 w 8"/>
                <a:gd name="T15" fmla="*/ 4 h 10"/>
                <a:gd name="T16" fmla="*/ 4 w 8"/>
                <a:gd name="T17" fmla="*/ 4 h 10"/>
                <a:gd name="T18" fmla="*/ 4 w 8"/>
                <a:gd name="T19" fmla="*/ 4 h 10"/>
                <a:gd name="T20" fmla="*/ 4 w 8"/>
                <a:gd name="T21" fmla="*/ 8 h 10"/>
                <a:gd name="T22" fmla="*/ 4 w 8"/>
                <a:gd name="T23" fmla="*/ 8 h 10"/>
                <a:gd name="T24" fmla="*/ 4 w 8"/>
                <a:gd name="T25" fmla="*/ 8 h 10"/>
                <a:gd name="T26" fmla="*/ 4 w 8"/>
                <a:gd name="T27" fmla="*/ 8 h 10"/>
                <a:gd name="T28" fmla="*/ 4 w 8"/>
                <a:gd name="T29" fmla="*/ 4 h 10"/>
                <a:gd name="T30" fmla="*/ 4 w 8"/>
                <a:gd name="T31" fmla="*/ 4 h 10"/>
                <a:gd name="T32" fmla="*/ 4 w 8"/>
                <a:gd name="T33" fmla="*/ 4 h 10"/>
                <a:gd name="T34" fmla="*/ 4 w 8"/>
                <a:gd name="T35" fmla="*/ 4 h 10"/>
                <a:gd name="T36" fmla="*/ 4 w 8"/>
                <a:gd name="T37" fmla="*/ 4 h 10"/>
                <a:gd name="T38" fmla="*/ 0 w 8"/>
                <a:gd name="T39" fmla="*/ 0 h 10"/>
                <a:gd name="T40" fmla="*/ 4 w 8"/>
                <a:gd name="T41" fmla="*/ 0 h 10"/>
                <a:gd name="T42" fmla="*/ 4 w 8"/>
                <a:gd name="T43" fmla="*/ 0 h 10"/>
                <a:gd name="T44" fmla="*/ 4 w 8"/>
                <a:gd name="T45" fmla="*/ 0 h 10"/>
                <a:gd name="T46" fmla="*/ 4 w 8"/>
                <a:gd name="T47" fmla="*/ 0 h 10"/>
                <a:gd name="T48" fmla="*/ 4 w 8"/>
                <a:gd name="T49" fmla="*/ 0 h 10"/>
                <a:gd name="T50" fmla="*/ 4 w 8"/>
                <a:gd name="T51" fmla="*/ 0 h 10"/>
                <a:gd name="T52" fmla="*/ 4 w 8"/>
                <a:gd name="T53" fmla="*/ 4 h 10"/>
                <a:gd name="T54" fmla="*/ 4 w 8"/>
                <a:gd name="T55" fmla="*/ 4 h 10"/>
                <a:gd name="T56" fmla="*/ 8 w 8"/>
                <a:gd name="T57" fmla="*/ 10 h 10"/>
                <a:gd name="T58" fmla="*/ 8 w 8"/>
                <a:gd name="T59" fmla="*/ 10 h 10"/>
                <a:gd name="T60" fmla="*/ 8 w 8"/>
                <a:gd name="T61" fmla="*/ 10 h 10"/>
                <a:gd name="T62" fmla="*/ 8 w 8"/>
                <a:gd name="T63" fmla="*/ 10 h 10"/>
                <a:gd name="T64" fmla="*/ 8 w 8"/>
                <a:gd name="T65" fmla="*/ 10 h 10"/>
                <a:gd name="T66" fmla="*/ 8 w 8"/>
                <a:gd name="T67" fmla="*/ 10 h 10"/>
                <a:gd name="T68" fmla="*/ 8 w 8"/>
                <a:gd name="T69" fmla="*/ 10 h 10"/>
                <a:gd name="T70" fmla="*/ 8 w 8"/>
                <a:gd name="T71" fmla="*/ 10 h 10"/>
                <a:gd name="T72" fmla="*/ 8 w 8"/>
                <a:gd name="T7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" h="10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8" y="10"/>
                  </a:move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AA553F6A-6CB8-4F56-5370-B6D7C55ED2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16715" y="3296263"/>
              <a:ext cx="132479" cy="199864"/>
            </a:xfrm>
            <a:custGeom>
              <a:avLst/>
              <a:gdLst>
                <a:gd name="T0" fmla="*/ 38 w 68"/>
                <a:gd name="T1" fmla="*/ 76 h 106"/>
                <a:gd name="T2" fmla="*/ 34 w 68"/>
                <a:gd name="T3" fmla="*/ 78 h 106"/>
                <a:gd name="T4" fmla="*/ 30 w 68"/>
                <a:gd name="T5" fmla="*/ 82 h 106"/>
                <a:gd name="T6" fmla="*/ 26 w 68"/>
                <a:gd name="T7" fmla="*/ 86 h 106"/>
                <a:gd name="T8" fmla="*/ 30 w 68"/>
                <a:gd name="T9" fmla="*/ 76 h 106"/>
                <a:gd name="T10" fmla="*/ 26 w 68"/>
                <a:gd name="T11" fmla="*/ 86 h 106"/>
                <a:gd name="T12" fmla="*/ 22 w 68"/>
                <a:gd name="T13" fmla="*/ 82 h 106"/>
                <a:gd name="T14" fmla="*/ 22 w 68"/>
                <a:gd name="T15" fmla="*/ 82 h 106"/>
                <a:gd name="T16" fmla="*/ 22 w 68"/>
                <a:gd name="T17" fmla="*/ 86 h 106"/>
                <a:gd name="T18" fmla="*/ 18 w 68"/>
                <a:gd name="T19" fmla="*/ 90 h 106"/>
                <a:gd name="T20" fmla="*/ 12 w 68"/>
                <a:gd name="T21" fmla="*/ 68 h 106"/>
                <a:gd name="T22" fmla="*/ 12 w 68"/>
                <a:gd name="T23" fmla="*/ 60 h 106"/>
                <a:gd name="T24" fmla="*/ 12 w 68"/>
                <a:gd name="T25" fmla="*/ 50 h 106"/>
                <a:gd name="T26" fmla="*/ 8 w 68"/>
                <a:gd name="T27" fmla="*/ 46 h 106"/>
                <a:gd name="T28" fmla="*/ 0 w 68"/>
                <a:gd name="T29" fmla="*/ 34 h 106"/>
                <a:gd name="T30" fmla="*/ 4 w 68"/>
                <a:gd name="T31" fmla="*/ 34 h 106"/>
                <a:gd name="T32" fmla="*/ 12 w 68"/>
                <a:gd name="T33" fmla="*/ 26 h 106"/>
                <a:gd name="T34" fmla="*/ 8 w 68"/>
                <a:gd name="T35" fmla="*/ 22 h 106"/>
                <a:gd name="T36" fmla="*/ 4 w 68"/>
                <a:gd name="T37" fmla="*/ 12 h 106"/>
                <a:gd name="T38" fmla="*/ 4 w 68"/>
                <a:gd name="T39" fmla="*/ 4 h 106"/>
                <a:gd name="T40" fmla="*/ 12 w 68"/>
                <a:gd name="T41" fmla="*/ 8 h 106"/>
                <a:gd name="T42" fmla="*/ 14 w 68"/>
                <a:gd name="T43" fmla="*/ 4 h 106"/>
                <a:gd name="T44" fmla="*/ 22 w 68"/>
                <a:gd name="T45" fmla="*/ 12 h 106"/>
                <a:gd name="T46" fmla="*/ 26 w 68"/>
                <a:gd name="T47" fmla="*/ 16 h 106"/>
                <a:gd name="T48" fmla="*/ 30 w 68"/>
                <a:gd name="T49" fmla="*/ 26 h 106"/>
                <a:gd name="T50" fmla="*/ 44 w 68"/>
                <a:gd name="T51" fmla="*/ 26 h 106"/>
                <a:gd name="T52" fmla="*/ 60 w 68"/>
                <a:gd name="T53" fmla="*/ 26 h 106"/>
                <a:gd name="T54" fmla="*/ 60 w 68"/>
                <a:gd name="T55" fmla="*/ 34 h 106"/>
                <a:gd name="T56" fmla="*/ 56 w 68"/>
                <a:gd name="T57" fmla="*/ 46 h 106"/>
                <a:gd name="T58" fmla="*/ 48 w 68"/>
                <a:gd name="T59" fmla="*/ 46 h 106"/>
                <a:gd name="T60" fmla="*/ 44 w 68"/>
                <a:gd name="T61" fmla="*/ 60 h 106"/>
                <a:gd name="T62" fmla="*/ 48 w 68"/>
                <a:gd name="T63" fmla="*/ 68 h 106"/>
                <a:gd name="T64" fmla="*/ 56 w 68"/>
                <a:gd name="T65" fmla="*/ 60 h 106"/>
                <a:gd name="T66" fmla="*/ 60 w 68"/>
                <a:gd name="T67" fmla="*/ 52 h 106"/>
                <a:gd name="T68" fmla="*/ 64 w 68"/>
                <a:gd name="T69" fmla="*/ 64 h 106"/>
                <a:gd name="T70" fmla="*/ 64 w 68"/>
                <a:gd name="T71" fmla="*/ 76 h 106"/>
                <a:gd name="T72" fmla="*/ 64 w 68"/>
                <a:gd name="T73" fmla="*/ 90 h 106"/>
                <a:gd name="T74" fmla="*/ 64 w 68"/>
                <a:gd name="T75" fmla="*/ 98 h 106"/>
                <a:gd name="T76" fmla="*/ 60 w 68"/>
                <a:gd name="T77" fmla="*/ 102 h 106"/>
                <a:gd name="T78" fmla="*/ 56 w 68"/>
                <a:gd name="T79" fmla="*/ 98 h 106"/>
                <a:gd name="T80" fmla="*/ 56 w 68"/>
                <a:gd name="T81" fmla="*/ 90 h 106"/>
                <a:gd name="T82" fmla="*/ 52 w 68"/>
                <a:gd name="T83" fmla="*/ 78 h 106"/>
                <a:gd name="T84" fmla="*/ 44 w 68"/>
                <a:gd name="T85" fmla="*/ 76 h 106"/>
                <a:gd name="T86" fmla="*/ 38 w 68"/>
                <a:gd name="T87" fmla="*/ 68 h 106"/>
                <a:gd name="T88" fmla="*/ 34 w 68"/>
                <a:gd name="T89" fmla="*/ 56 h 106"/>
                <a:gd name="T90" fmla="*/ 38 w 68"/>
                <a:gd name="T91" fmla="*/ 60 h 106"/>
                <a:gd name="T92" fmla="*/ 34 w 68"/>
                <a:gd name="T93" fmla="*/ 64 h 106"/>
                <a:gd name="T94" fmla="*/ 38 w 68"/>
                <a:gd name="T95" fmla="*/ 68 h 106"/>
                <a:gd name="T96" fmla="*/ 38 w 68"/>
                <a:gd name="T97" fmla="*/ 86 h 106"/>
                <a:gd name="T98" fmla="*/ 38 w 68"/>
                <a:gd name="T99" fmla="*/ 86 h 106"/>
                <a:gd name="T100" fmla="*/ 38 w 68"/>
                <a:gd name="T101" fmla="*/ 82 h 106"/>
                <a:gd name="T102" fmla="*/ 40 w 68"/>
                <a:gd name="T103" fmla="*/ 76 h 106"/>
                <a:gd name="T104" fmla="*/ 38 w 68"/>
                <a:gd name="T105" fmla="*/ 86 h 106"/>
                <a:gd name="T106" fmla="*/ 48 w 68"/>
                <a:gd name="T107" fmla="*/ 76 h 106"/>
                <a:gd name="T108" fmla="*/ 40 w 68"/>
                <a:gd name="T109" fmla="*/ 82 h 106"/>
                <a:gd name="T110" fmla="*/ 44 w 68"/>
                <a:gd name="T111" fmla="*/ 78 h 106"/>
                <a:gd name="T112" fmla="*/ 40 w 68"/>
                <a:gd name="T113" fmla="*/ 82 h 106"/>
                <a:gd name="T114" fmla="*/ 56 w 68"/>
                <a:gd name="T115" fmla="*/ 9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8" h="106">
                  <a:moveTo>
                    <a:pt x="34" y="64"/>
                  </a:moveTo>
                  <a:lnTo>
                    <a:pt x="34" y="68"/>
                  </a:lnTo>
                  <a:lnTo>
                    <a:pt x="34" y="72"/>
                  </a:lnTo>
                  <a:lnTo>
                    <a:pt x="38" y="76"/>
                  </a:lnTo>
                  <a:lnTo>
                    <a:pt x="38" y="78"/>
                  </a:lnTo>
                  <a:lnTo>
                    <a:pt x="38" y="82"/>
                  </a:lnTo>
                  <a:lnTo>
                    <a:pt x="34" y="82"/>
                  </a:lnTo>
                  <a:lnTo>
                    <a:pt x="34" y="78"/>
                  </a:lnTo>
                  <a:lnTo>
                    <a:pt x="34" y="82"/>
                  </a:lnTo>
                  <a:lnTo>
                    <a:pt x="34" y="86"/>
                  </a:lnTo>
                  <a:lnTo>
                    <a:pt x="30" y="86"/>
                  </a:lnTo>
                  <a:lnTo>
                    <a:pt x="30" y="82"/>
                  </a:lnTo>
                  <a:lnTo>
                    <a:pt x="30" y="86"/>
                  </a:lnTo>
                  <a:lnTo>
                    <a:pt x="30" y="82"/>
                  </a:lnTo>
                  <a:lnTo>
                    <a:pt x="26" y="82"/>
                  </a:lnTo>
                  <a:lnTo>
                    <a:pt x="26" y="86"/>
                  </a:lnTo>
                  <a:lnTo>
                    <a:pt x="26" y="82"/>
                  </a:lnTo>
                  <a:lnTo>
                    <a:pt x="26" y="78"/>
                  </a:lnTo>
                  <a:lnTo>
                    <a:pt x="26" y="76"/>
                  </a:lnTo>
                  <a:lnTo>
                    <a:pt x="30" y="76"/>
                  </a:lnTo>
                  <a:lnTo>
                    <a:pt x="26" y="76"/>
                  </a:lnTo>
                  <a:lnTo>
                    <a:pt x="26" y="78"/>
                  </a:lnTo>
                  <a:lnTo>
                    <a:pt x="26" y="82"/>
                  </a:lnTo>
                  <a:lnTo>
                    <a:pt x="26" y="86"/>
                  </a:lnTo>
                  <a:lnTo>
                    <a:pt x="22" y="86"/>
                  </a:lnTo>
                  <a:lnTo>
                    <a:pt x="22" y="90"/>
                  </a:lnTo>
                  <a:lnTo>
                    <a:pt x="22" y="86"/>
                  </a:lnTo>
                  <a:lnTo>
                    <a:pt x="22" y="82"/>
                  </a:lnTo>
                  <a:lnTo>
                    <a:pt x="22" y="78"/>
                  </a:lnTo>
                  <a:lnTo>
                    <a:pt x="22" y="82"/>
                  </a:lnTo>
                  <a:lnTo>
                    <a:pt x="22" y="86"/>
                  </a:lnTo>
                  <a:lnTo>
                    <a:pt x="22" y="82"/>
                  </a:lnTo>
                  <a:lnTo>
                    <a:pt x="22" y="78"/>
                  </a:lnTo>
                  <a:lnTo>
                    <a:pt x="18" y="78"/>
                  </a:lnTo>
                  <a:lnTo>
                    <a:pt x="22" y="82"/>
                  </a:lnTo>
                  <a:lnTo>
                    <a:pt x="22" y="86"/>
                  </a:lnTo>
                  <a:lnTo>
                    <a:pt x="22" y="90"/>
                  </a:lnTo>
                  <a:lnTo>
                    <a:pt x="18" y="90"/>
                  </a:lnTo>
                  <a:lnTo>
                    <a:pt x="18" y="86"/>
                  </a:lnTo>
                  <a:lnTo>
                    <a:pt x="18" y="90"/>
                  </a:lnTo>
                  <a:lnTo>
                    <a:pt x="14" y="86"/>
                  </a:lnTo>
                  <a:lnTo>
                    <a:pt x="14" y="82"/>
                  </a:lnTo>
                  <a:lnTo>
                    <a:pt x="14" y="7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4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12" y="50"/>
                  </a:lnTo>
                  <a:lnTo>
                    <a:pt x="12" y="46"/>
                  </a:lnTo>
                  <a:lnTo>
                    <a:pt x="12" y="42"/>
                  </a:lnTo>
                  <a:lnTo>
                    <a:pt x="8" y="42"/>
                  </a:lnTo>
                  <a:lnTo>
                    <a:pt x="8" y="46"/>
                  </a:lnTo>
                  <a:lnTo>
                    <a:pt x="8" y="42"/>
                  </a:lnTo>
                  <a:lnTo>
                    <a:pt x="4" y="42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4" y="34"/>
                  </a:lnTo>
                  <a:lnTo>
                    <a:pt x="0" y="34"/>
                  </a:lnTo>
                  <a:lnTo>
                    <a:pt x="4" y="30"/>
                  </a:lnTo>
                  <a:lnTo>
                    <a:pt x="4" y="34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8" y="26"/>
                  </a:lnTo>
                  <a:lnTo>
                    <a:pt x="12" y="26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4" y="8"/>
                  </a:lnTo>
                  <a:lnTo>
                    <a:pt x="14" y="12"/>
                  </a:lnTo>
                  <a:lnTo>
                    <a:pt x="18" y="12"/>
                  </a:lnTo>
                  <a:lnTo>
                    <a:pt x="22" y="12"/>
                  </a:lnTo>
                  <a:lnTo>
                    <a:pt x="22" y="8"/>
                  </a:lnTo>
                  <a:lnTo>
                    <a:pt x="22" y="12"/>
                  </a:lnTo>
                  <a:lnTo>
                    <a:pt x="26" y="12"/>
                  </a:lnTo>
                  <a:lnTo>
                    <a:pt x="26" y="16"/>
                  </a:lnTo>
                  <a:lnTo>
                    <a:pt x="26" y="20"/>
                  </a:lnTo>
                  <a:lnTo>
                    <a:pt x="26" y="22"/>
                  </a:lnTo>
                  <a:lnTo>
                    <a:pt x="26" y="26"/>
                  </a:lnTo>
                  <a:lnTo>
                    <a:pt x="30" y="26"/>
                  </a:lnTo>
                  <a:lnTo>
                    <a:pt x="34" y="26"/>
                  </a:lnTo>
                  <a:lnTo>
                    <a:pt x="38" y="26"/>
                  </a:lnTo>
                  <a:lnTo>
                    <a:pt x="40" y="26"/>
                  </a:lnTo>
                  <a:lnTo>
                    <a:pt x="44" y="26"/>
                  </a:lnTo>
                  <a:lnTo>
                    <a:pt x="48" y="26"/>
                  </a:lnTo>
                  <a:lnTo>
                    <a:pt x="52" y="26"/>
                  </a:lnTo>
                  <a:lnTo>
                    <a:pt x="56" y="26"/>
                  </a:lnTo>
                  <a:lnTo>
                    <a:pt x="60" y="26"/>
                  </a:lnTo>
                  <a:lnTo>
                    <a:pt x="60" y="30"/>
                  </a:lnTo>
                  <a:lnTo>
                    <a:pt x="64" y="30"/>
                  </a:lnTo>
                  <a:lnTo>
                    <a:pt x="64" y="34"/>
                  </a:lnTo>
                  <a:lnTo>
                    <a:pt x="60" y="34"/>
                  </a:lnTo>
                  <a:lnTo>
                    <a:pt x="60" y="38"/>
                  </a:lnTo>
                  <a:lnTo>
                    <a:pt x="60" y="42"/>
                  </a:lnTo>
                  <a:lnTo>
                    <a:pt x="56" y="42"/>
                  </a:lnTo>
                  <a:lnTo>
                    <a:pt x="56" y="46"/>
                  </a:lnTo>
                  <a:lnTo>
                    <a:pt x="52" y="46"/>
                  </a:lnTo>
                  <a:lnTo>
                    <a:pt x="48" y="46"/>
                  </a:lnTo>
                  <a:lnTo>
                    <a:pt x="48" y="50"/>
                  </a:lnTo>
                  <a:lnTo>
                    <a:pt x="48" y="46"/>
                  </a:lnTo>
                  <a:lnTo>
                    <a:pt x="44" y="50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8" y="64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6" y="60"/>
                  </a:lnTo>
                  <a:lnTo>
                    <a:pt x="56" y="56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4" y="68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78"/>
                  </a:lnTo>
                  <a:lnTo>
                    <a:pt x="64" y="82"/>
                  </a:lnTo>
                  <a:lnTo>
                    <a:pt x="64" y="86"/>
                  </a:lnTo>
                  <a:lnTo>
                    <a:pt x="64" y="90"/>
                  </a:lnTo>
                  <a:lnTo>
                    <a:pt x="64" y="94"/>
                  </a:lnTo>
                  <a:lnTo>
                    <a:pt x="68" y="94"/>
                  </a:lnTo>
                  <a:lnTo>
                    <a:pt x="68" y="98"/>
                  </a:lnTo>
                  <a:lnTo>
                    <a:pt x="64" y="98"/>
                  </a:lnTo>
                  <a:lnTo>
                    <a:pt x="64" y="94"/>
                  </a:lnTo>
                  <a:lnTo>
                    <a:pt x="60" y="94"/>
                  </a:lnTo>
                  <a:lnTo>
                    <a:pt x="60" y="98"/>
                  </a:lnTo>
                  <a:lnTo>
                    <a:pt x="60" y="102"/>
                  </a:lnTo>
                  <a:lnTo>
                    <a:pt x="60" y="106"/>
                  </a:lnTo>
                  <a:lnTo>
                    <a:pt x="60" y="102"/>
                  </a:lnTo>
                  <a:lnTo>
                    <a:pt x="56" y="102"/>
                  </a:lnTo>
                  <a:lnTo>
                    <a:pt x="56" y="98"/>
                  </a:lnTo>
                  <a:lnTo>
                    <a:pt x="56" y="94"/>
                  </a:lnTo>
                  <a:lnTo>
                    <a:pt x="56" y="90"/>
                  </a:lnTo>
                  <a:lnTo>
                    <a:pt x="56" y="86"/>
                  </a:lnTo>
                  <a:lnTo>
                    <a:pt x="56" y="90"/>
                  </a:lnTo>
                  <a:lnTo>
                    <a:pt x="56" y="86"/>
                  </a:lnTo>
                  <a:lnTo>
                    <a:pt x="56" y="82"/>
                  </a:lnTo>
                  <a:lnTo>
                    <a:pt x="52" y="82"/>
                  </a:lnTo>
                  <a:lnTo>
                    <a:pt x="52" y="78"/>
                  </a:lnTo>
                  <a:lnTo>
                    <a:pt x="52" y="76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38" y="72"/>
                  </a:lnTo>
                  <a:lnTo>
                    <a:pt x="38" y="68"/>
                  </a:lnTo>
                  <a:lnTo>
                    <a:pt x="38" y="64"/>
                  </a:lnTo>
                  <a:lnTo>
                    <a:pt x="38" y="60"/>
                  </a:lnTo>
                  <a:lnTo>
                    <a:pt x="38" y="56"/>
                  </a:lnTo>
                  <a:lnTo>
                    <a:pt x="34" y="56"/>
                  </a:lnTo>
                  <a:lnTo>
                    <a:pt x="38" y="56"/>
                  </a:lnTo>
                  <a:lnTo>
                    <a:pt x="38" y="60"/>
                  </a:lnTo>
                  <a:lnTo>
                    <a:pt x="34" y="60"/>
                  </a:lnTo>
                  <a:lnTo>
                    <a:pt x="38" y="60"/>
                  </a:lnTo>
                  <a:lnTo>
                    <a:pt x="38" y="64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4" y="64"/>
                  </a:lnTo>
                  <a:close/>
                  <a:moveTo>
                    <a:pt x="38" y="72"/>
                  </a:moveTo>
                  <a:lnTo>
                    <a:pt x="34" y="72"/>
                  </a:lnTo>
                  <a:lnTo>
                    <a:pt x="34" y="68"/>
                  </a:lnTo>
                  <a:lnTo>
                    <a:pt x="38" y="68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close/>
                  <a:moveTo>
                    <a:pt x="38" y="86"/>
                  </a:moveTo>
                  <a:lnTo>
                    <a:pt x="34" y="86"/>
                  </a:lnTo>
                  <a:lnTo>
                    <a:pt x="34" y="82"/>
                  </a:lnTo>
                  <a:lnTo>
                    <a:pt x="38" y="82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6"/>
                  </a:lnTo>
                  <a:close/>
                  <a:moveTo>
                    <a:pt x="38" y="86"/>
                  </a:moveTo>
                  <a:lnTo>
                    <a:pt x="38" y="82"/>
                  </a:lnTo>
                  <a:lnTo>
                    <a:pt x="38" y="78"/>
                  </a:lnTo>
                  <a:lnTo>
                    <a:pt x="38" y="76"/>
                  </a:lnTo>
                  <a:lnTo>
                    <a:pt x="38" y="72"/>
                  </a:lnTo>
                  <a:lnTo>
                    <a:pt x="40" y="76"/>
                  </a:lnTo>
                  <a:lnTo>
                    <a:pt x="40" y="78"/>
                  </a:lnTo>
                  <a:lnTo>
                    <a:pt x="40" y="82"/>
                  </a:lnTo>
                  <a:lnTo>
                    <a:pt x="38" y="82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6"/>
                  </a:lnTo>
                  <a:close/>
                  <a:moveTo>
                    <a:pt x="48" y="78"/>
                  </a:moveTo>
                  <a:lnTo>
                    <a:pt x="48" y="76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close/>
                  <a:moveTo>
                    <a:pt x="40" y="82"/>
                  </a:moveTo>
                  <a:lnTo>
                    <a:pt x="44" y="82"/>
                  </a:lnTo>
                  <a:lnTo>
                    <a:pt x="44" y="78"/>
                  </a:lnTo>
                  <a:lnTo>
                    <a:pt x="44" y="76"/>
                  </a:lnTo>
                  <a:lnTo>
                    <a:pt x="44" y="78"/>
                  </a:lnTo>
                  <a:lnTo>
                    <a:pt x="44" y="82"/>
                  </a:lnTo>
                  <a:lnTo>
                    <a:pt x="40" y="82"/>
                  </a:lnTo>
                  <a:lnTo>
                    <a:pt x="40" y="82"/>
                  </a:lnTo>
                  <a:lnTo>
                    <a:pt x="40" y="82"/>
                  </a:lnTo>
                  <a:close/>
                  <a:moveTo>
                    <a:pt x="56" y="94"/>
                  </a:moveTo>
                  <a:lnTo>
                    <a:pt x="56" y="90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87493D6D-7073-395F-E24A-E88C025B9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0094" y="3239698"/>
              <a:ext cx="93515" cy="56565"/>
            </a:xfrm>
            <a:custGeom>
              <a:avLst/>
              <a:gdLst>
                <a:gd name="T0" fmla="*/ 44 w 48"/>
                <a:gd name="T1" fmla="*/ 26 h 30"/>
                <a:gd name="T2" fmla="*/ 38 w 48"/>
                <a:gd name="T3" fmla="*/ 26 h 30"/>
                <a:gd name="T4" fmla="*/ 38 w 48"/>
                <a:gd name="T5" fmla="*/ 26 h 30"/>
                <a:gd name="T6" fmla="*/ 38 w 48"/>
                <a:gd name="T7" fmla="*/ 30 h 30"/>
                <a:gd name="T8" fmla="*/ 34 w 48"/>
                <a:gd name="T9" fmla="*/ 26 h 30"/>
                <a:gd name="T10" fmla="*/ 30 w 48"/>
                <a:gd name="T11" fmla="*/ 30 h 30"/>
                <a:gd name="T12" fmla="*/ 26 w 48"/>
                <a:gd name="T13" fmla="*/ 30 h 30"/>
                <a:gd name="T14" fmla="*/ 22 w 48"/>
                <a:gd name="T15" fmla="*/ 26 h 30"/>
                <a:gd name="T16" fmla="*/ 18 w 48"/>
                <a:gd name="T17" fmla="*/ 26 h 30"/>
                <a:gd name="T18" fmla="*/ 18 w 48"/>
                <a:gd name="T19" fmla="*/ 30 h 30"/>
                <a:gd name="T20" fmla="*/ 14 w 48"/>
                <a:gd name="T21" fmla="*/ 30 h 30"/>
                <a:gd name="T22" fmla="*/ 10 w 48"/>
                <a:gd name="T23" fmla="*/ 30 h 30"/>
                <a:gd name="T24" fmla="*/ 10 w 48"/>
                <a:gd name="T25" fmla="*/ 26 h 30"/>
                <a:gd name="T26" fmla="*/ 6 w 48"/>
                <a:gd name="T27" fmla="*/ 26 h 30"/>
                <a:gd name="T28" fmla="*/ 6 w 48"/>
                <a:gd name="T29" fmla="*/ 26 h 30"/>
                <a:gd name="T30" fmla="*/ 4 w 48"/>
                <a:gd name="T31" fmla="*/ 26 h 30"/>
                <a:gd name="T32" fmla="*/ 0 w 48"/>
                <a:gd name="T33" fmla="*/ 26 h 30"/>
                <a:gd name="T34" fmla="*/ 0 w 48"/>
                <a:gd name="T35" fmla="*/ 24 h 30"/>
                <a:gd name="T36" fmla="*/ 0 w 48"/>
                <a:gd name="T37" fmla="*/ 20 h 30"/>
                <a:gd name="T38" fmla="*/ 0 w 48"/>
                <a:gd name="T39" fmla="*/ 20 h 30"/>
                <a:gd name="T40" fmla="*/ 4 w 48"/>
                <a:gd name="T41" fmla="*/ 20 h 30"/>
                <a:gd name="T42" fmla="*/ 4 w 48"/>
                <a:gd name="T43" fmla="*/ 16 h 30"/>
                <a:gd name="T44" fmla="*/ 4 w 48"/>
                <a:gd name="T45" fmla="*/ 16 h 30"/>
                <a:gd name="T46" fmla="*/ 6 w 48"/>
                <a:gd name="T47" fmla="*/ 12 h 30"/>
                <a:gd name="T48" fmla="*/ 6 w 48"/>
                <a:gd name="T49" fmla="*/ 8 h 30"/>
                <a:gd name="T50" fmla="*/ 6 w 48"/>
                <a:gd name="T51" fmla="*/ 8 h 30"/>
                <a:gd name="T52" fmla="*/ 10 w 48"/>
                <a:gd name="T53" fmla="*/ 4 h 30"/>
                <a:gd name="T54" fmla="*/ 14 w 48"/>
                <a:gd name="T55" fmla="*/ 4 h 30"/>
                <a:gd name="T56" fmla="*/ 18 w 48"/>
                <a:gd name="T57" fmla="*/ 0 h 30"/>
                <a:gd name="T58" fmla="*/ 18 w 48"/>
                <a:gd name="T59" fmla="*/ 0 h 30"/>
                <a:gd name="T60" fmla="*/ 22 w 48"/>
                <a:gd name="T61" fmla="*/ 0 h 30"/>
                <a:gd name="T62" fmla="*/ 22 w 48"/>
                <a:gd name="T63" fmla="*/ 4 h 30"/>
                <a:gd name="T64" fmla="*/ 22 w 48"/>
                <a:gd name="T65" fmla="*/ 4 h 30"/>
                <a:gd name="T66" fmla="*/ 26 w 48"/>
                <a:gd name="T67" fmla="*/ 4 h 30"/>
                <a:gd name="T68" fmla="*/ 30 w 48"/>
                <a:gd name="T69" fmla="*/ 4 h 30"/>
                <a:gd name="T70" fmla="*/ 30 w 48"/>
                <a:gd name="T71" fmla="*/ 8 h 30"/>
                <a:gd name="T72" fmla="*/ 34 w 48"/>
                <a:gd name="T73" fmla="*/ 8 h 30"/>
                <a:gd name="T74" fmla="*/ 38 w 48"/>
                <a:gd name="T75" fmla="*/ 4 h 30"/>
                <a:gd name="T76" fmla="*/ 38 w 48"/>
                <a:gd name="T77" fmla="*/ 8 h 30"/>
                <a:gd name="T78" fmla="*/ 40 w 48"/>
                <a:gd name="T79" fmla="*/ 8 h 30"/>
                <a:gd name="T80" fmla="*/ 40 w 48"/>
                <a:gd name="T81" fmla="*/ 8 h 30"/>
                <a:gd name="T82" fmla="*/ 40 w 48"/>
                <a:gd name="T83" fmla="*/ 12 h 30"/>
                <a:gd name="T84" fmla="*/ 40 w 48"/>
                <a:gd name="T85" fmla="*/ 12 h 30"/>
                <a:gd name="T86" fmla="*/ 40 w 48"/>
                <a:gd name="T87" fmla="*/ 16 h 30"/>
                <a:gd name="T88" fmla="*/ 44 w 48"/>
                <a:gd name="T89" fmla="*/ 16 h 30"/>
                <a:gd name="T90" fmla="*/ 48 w 48"/>
                <a:gd name="T91" fmla="*/ 20 h 30"/>
                <a:gd name="T92" fmla="*/ 44 w 48"/>
                <a:gd name="T93" fmla="*/ 24 h 30"/>
                <a:gd name="T94" fmla="*/ 48 w 48"/>
                <a:gd name="T95" fmla="*/ 26 h 30"/>
                <a:gd name="T96" fmla="*/ 44 w 48"/>
                <a:gd name="T97" fmla="*/ 2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" h="30">
                  <a:moveTo>
                    <a:pt x="44" y="26"/>
                  </a:move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4" y="30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98293C06-EF79-D9F8-339E-209E4E4C58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37557" y="4005213"/>
              <a:ext cx="35068" cy="37710"/>
            </a:xfrm>
            <a:custGeom>
              <a:avLst/>
              <a:gdLst>
                <a:gd name="T0" fmla="*/ 10 w 18"/>
                <a:gd name="T1" fmla="*/ 4 h 20"/>
                <a:gd name="T2" fmla="*/ 10 w 18"/>
                <a:gd name="T3" fmla="*/ 4 h 20"/>
                <a:gd name="T4" fmla="*/ 10 w 18"/>
                <a:gd name="T5" fmla="*/ 4 h 20"/>
                <a:gd name="T6" fmla="*/ 10 w 18"/>
                <a:gd name="T7" fmla="*/ 4 h 20"/>
                <a:gd name="T8" fmla="*/ 10 w 18"/>
                <a:gd name="T9" fmla="*/ 4 h 20"/>
                <a:gd name="T10" fmla="*/ 10 w 18"/>
                <a:gd name="T11" fmla="*/ 8 h 20"/>
                <a:gd name="T12" fmla="*/ 10 w 18"/>
                <a:gd name="T13" fmla="*/ 8 h 20"/>
                <a:gd name="T14" fmla="*/ 10 w 18"/>
                <a:gd name="T15" fmla="*/ 12 h 20"/>
                <a:gd name="T16" fmla="*/ 10 w 18"/>
                <a:gd name="T17" fmla="*/ 12 h 20"/>
                <a:gd name="T18" fmla="*/ 10 w 18"/>
                <a:gd name="T19" fmla="*/ 12 h 20"/>
                <a:gd name="T20" fmla="*/ 10 w 18"/>
                <a:gd name="T21" fmla="*/ 16 h 20"/>
                <a:gd name="T22" fmla="*/ 10 w 18"/>
                <a:gd name="T23" fmla="*/ 20 h 20"/>
                <a:gd name="T24" fmla="*/ 6 w 18"/>
                <a:gd name="T25" fmla="*/ 20 h 20"/>
                <a:gd name="T26" fmla="*/ 6 w 18"/>
                <a:gd name="T27" fmla="*/ 20 h 20"/>
                <a:gd name="T28" fmla="*/ 6 w 18"/>
                <a:gd name="T29" fmla="*/ 20 h 20"/>
                <a:gd name="T30" fmla="*/ 4 w 18"/>
                <a:gd name="T31" fmla="*/ 16 h 20"/>
                <a:gd name="T32" fmla="*/ 4 w 18"/>
                <a:gd name="T33" fmla="*/ 16 h 20"/>
                <a:gd name="T34" fmla="*/ 4 w 18"/>
                <a:gd name="T35" fmla="*/ 12 h 20"/>
                <a:gd name="T36" fmla="*/ 4 w 18"/>
                <a:gd name="T37" fmla="*/ 12 h 20"/>
                <a:gd name="T38" fmla="*/ 0 w 18"/>
                <a:gd name="T39" fmla="*/ 12 h 20"/>
                <a:gd name="T40" fmla="*/ 0 w 18"/>
                <a:gd name="T41" fmla="*/ 12 h 20"/>
                <a:gd name="T42" fmla="*/ 0 w 18"/>
                <a:gd name="T43" fmla="*/ 8 h 20"/>
                <a:gd name="T44" fmla="*/ 0 w 18"/>
                <a:gd name="T45" fmla="*/ 8 h 20"/>
                <a:gd name="T46" fmla="*/ 0 w 18"/>
                <a:gd name="T47" fmla="*/ 8 h 20"/>
                <a:gd name="T48" fmla="*/ 0 w 18"/>
                <a:gd name="T49" fmla="*/ 12 h 20"/>
                <a:gd name="T50" fmla="*/ 4 w 18"/>
                <a:gd name="T51" fmla="*/ 8 h 20"/>
                <a:gd name="T52" fmla="*/ 6 w 18"/>
                <a:gd name="T53" fmla="*/ 8 h 20"/>
                <a:gd name="T54" fmla="*/ 6 w 18"/>
                <a:gd name="T55" fmla="*/ 8 h 20"/>
                <a:gd name="T56" fmla="*/ 6 w 18"/>
                <a:gd name="T57" fmla="*/ 8 h 20"/>
                <a:gd name="T58" fmla="*/ 6 w 18"/>
                <a:gd name="T59" fmla="*/ 4 h 20"/>
                <a:gd name="T60" fmla="*/ 6 w 18"/>
                <a:gd name="T61" fmla="*/ 4 h 20"/>
                <a:gd name="T62" fmla="*/ 6 w 18"/>
                <a:gd name="T63" fmla="*/ 4 h 20"/>
                <a:gd name="T64" fmla="*/ 10 w 18"/>
                <a:gd name="T65" fmla="*/ 4 h 20"/>
                <a:gd name="T66" fmla="*/ 10 w 18"/>
                <a:gd name="T67" fmla="*/ 4 h 20"/>
                <a:gd name="T68" fmla="*/ 10 w 18"/>
                <a:gd name="T69" fmla="*/ 0 h 20"/>
                <a:gd name="T70" fmla="*/ 14 w 18"/>
                <a:gd name="T71" fmla="*/ 0 h 20"/>
                <a:gd name="T72" fmla="*/ 14 w 18"/>
                <a:gd name="T73" fmla="*/ 0 h 20"/>
                <a:gd name="T74" fmla="*/ 14 w 18"/>
                <a:gd name="T75" fmla="*/ 0 h 20"/>
                <a:gd name="T76" fmla="*/ 10 w 18"/>
                <a:gd name="T77" fmla="*/ 4 h 20"/>
                <a:gd name="T78" fmla="*/ 10 w 18"/>
                <a:gd name="T79" fmla="*/ 4 h 20"/>
                <a:gd name="T80" fmla="*/ 10 w 18"/>
                <a:gd name="T81" fmla="*/ 4 h 20"/>
                <a:gd name="T82" fmla="*/ 14 w 18"/>
                <a:gd name="T83" fmla="*/ 4 h 20"/>
                <a:gd name="T84" fmla="*/ 14 w 18"/>
                <a:gd name="T85" fmla="*/ 4 h 20"/>
                <a:gd name="T86" fmla="*/ 14 w 18"/>
                <a:gd name="T87" fmla="*/ 4 h 20"/>
                <a:gd name="T88" fmla="*/ 14 w 18"/>
                <a:gd name="T89" fmla="*/ 4 h 20"/>
                <a:gd name="T90" fmla="*/ 14 w 18"/>
                <a:gd name="T91" fmla="*/ 8 h 20"/>
                <a:gd name="T92" fmla="*/ 14 w 18"/>
                <a:gd name="T93" fmla="*/ 8 h 20"/>
                <a:gd name="T94" fmla="*/ 14 w 18"/>
                <a:gd name="T95" fmla="*/ 12 h 20"/>
                <a:gd name="T96" fmla="*/ 14 w 18"/>
                <a:gd name="T97" fmla="*/ 12 h 20"/>
                <a:gd name="T98" fmla="*/ 14 w 18"/>
                <a:gd name="T99" fmla="*/ 12 h 20"/>
                <a:gd name="T100" fmla="*/ 18 w 18"/>
                <a:gd name="T101" fmla="*/ 12 h 20"/>
                <a:gd name="T102" fmla="*/ 18 w 18"/>
                <a:gd name="T103" fmla="*/ 12 h 20"/>
                <a:gd name="T104" fmla="*/ 18 w 18"/>
                <a:gd name="T105" fmla="*/ 16 h 20"/>
                <a:gd name="T106" fmla="*/ 18 w 18"/>
                <a:gd name="T107" fmla="*/ 16 h 20"/>
                <a:gd name="T108" fmla="*/ 18 w 18"/>
                <a:gd name="T109" fmla="*/ 16 h 20"/>
                <a:gd name="T110" fmla="*/ 14 w 18"/>
                <a:gd name="T111" fmla="*/ 12 h 20"/>
                <a:gd name="T112" fmla="*/ 14 w 18"/>
                <a:gd name="T113" fmla="*/ 12 h 20"/>
                <a:gd name="T114" fmla="*/ 14 w 18"/>
                <a:gd name="T115" fmla="*/ 8 h 20"/>
                <a:gd name="T116" fmla="*/ 10 w 18"/>
                <a:gd name="T117" fmla="*/ 8 h 20"/>
                <a:gd name="T118" fmla="*/ 14 w 18"/>
                <a:gd name="T11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" h="20">
                  <a:moveTo>
                    <a:pt x="10" y="4"/>
                  </a:move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6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close/>
                  <a:moveTo>
                    <a:pt x="14" y="4"/>
                  </a:moveTo>
                  <a:lnTo>
                    <a:pt x="14" y="4"/>
                  </a:lnTo>
                  <a:lnTo>
                    <a:pt x="14" y="8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E91E68A5-771C-B7AA-BE7F-CC184078EA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810256" y="3695990"/>
              <a:ext cx="144168" cy="139528"/>
            </a:xfrm>
            <a:custGeom>
              <a:avLst/>
              <a:gdLst>
                <a:gd name="T0" fmla="*/ 40 w 74"/>
                <a:gd name="T1" fmla="*/ 68 h 74"/>
                <a:gd name="T2" fmla="*/ 36 w 74"/>
                <a:gd name="T3" fmla="*/ 70 h 74"/>
                <a:gd name="T4" fmla="*/ 36 w 74"/>
                <a:gd name="T5" fmla="*/ 70 h 74"/>
                <a:gd name="T6" fmla="*/ 32 w 74"/>
                <a:gd name="T7" fmla="*/ 70 h 74"/>
                <a:gd name="T8" fmla="*/ 30 w 74"/>
                <a:gd name="T9" fmla="*/ 70 h 74"/>
                <a:gd name="T10" fmla="*/ 26 w 74"/>
                <a:gd name="T11" fmla="*/ 70 h 74"/>
                <a:gd name="T12" fmla="*/ 22 w 74"/>
                <a:gd name="T13" fmla="*/ 70 h 74"/>
                <a:gd name="T14" fmla="*/ 18 w 74"/>
                <a:gd name="T15" fmla="*/ 68 h 74"/>
                <a:gd name="T16" fmla="*/ 22 w 74"/>
                <a:gd name="T17" fmla="*/ 64 h 74"/>
                <a:gd name="T18" fmla="*/ 18 w 74"/>
                <a:gd name="T19" fmla="*/ 64 h 74"/>
                <a:gd name="T20" fmla="*/ 10 w 74"/>
                <a:gd name="T21" fmla="*/ 64 h 74"/>
                <a:gd name="T22" fmla="*/ 10 w 74"/>
                <a:gd name="T23" fmla="*/ 56 h 74"/>
                <a:gd name="T24" fmla="*/ 10 w 74"/>
                <a:gd name="T25" fmla="*/ 52 h 74"/>
                <a:gd name="T26" fmla="*/ 10 w 74"/>
                <a:gd name="T27" fmla="*/ 52 h 74"/>
                <a:gd name="T28" fmla="*/ 10 w 74"/>
                <a:gd name="T29" fmla="*/ 52 h 74"/>
                <a:gd name="T30" fmla="*/ 10 w 74"/>
                <a:gd name="T31" fmla="*/ 48 h 74"/>
                <a:gd name="T32" fmla="*/ 10 w 74"/>
                <a:gd name="T33" fmla="*/ 52 h 74"/>
                <a:gd name="T34" fmla="*/ 6 w 74"/>
                <a:gd name="T35" fmla="*/ 48 h 74"/>
                <a:gd name="T36" fmla="*/ 6 w 74"/>
                <a:gd name="T37" fmla="*/ 38 h 74"/>
                <a:gd name="T38" fmla="*/ 4 w 74"/>
                <a:gd name="T39" fmla="*/ 34 h 74"/>
                <a:gd name="T40" fmla="*/ 4 w 74"/>
                <a:gd name="T41" fmla="*/ 26 h 74"/>
                <a:gd name="T42" fmla="*/ 4 w 74"/>
                <a:gd name="T43" fmla="*/ 20 h 74"/>
                <a:gd name="T44" fmla="*/ 4 w 74"/>
                <a:gd name="T45" fmla="*/ 20 h 74"/>
                <a:gd name="T46" fmla="*/ 6 w 74"/>
                <a:gd name="T47" fmla="*/ 16 h 74"/>
                <a:gd name="T48" fmla="*/ 10 w 74"/>
                <a:gd name="T49" fmla="*/ 8 h 74"/>
                <a:gd name="T50" fmla="*/ 10 w 74"/>
                <a:gd name="T51" fmla="*/ 8 h 74"/>
                <a:gd name="T52" fmla="*/ 14 w 74"/>
                <a:gd name="T53" fmla="*/ 4 h 74"/>
                <a:gd name="T54" fmla="*/ 18 w 74"/>
                <a:gd name="T55" fmla="*/ 4 h 74"/>
                <a:gd name="T56" fmla="*/ 26 w 74"/>
                <a:gd name="T57" fmla="*/ 4 h 74"/>
                <a:gd name="T58" fmla="*/ 32 w 74"/>
                <a:gd name="T59" fmla="*/ 4 h 74"/>
                <a:gd name="T60" fmla="*/ 36 w 74"/>
                <a:gd name="T61" fmla="*/ 4 h 74"/>
                <a:gd name="T62" fmla="*/ 40 w 74"/>
                <a:gd name="T63" fmla="*/ 8 h 74"/>
                <a:gd name="T64" fmla="*/ 40 w 74"/>
                <a:gd name="T65" fmla="*/ 4 h 74"/>
                <a:gd name="T66" fmla="*/ 48 w 74"/>
                <a:gd name="T67" fmla="*/ 8 h 74"/>
                <a:gd name="T68" fmla="*/ 52 w 74"/>
                <a:gd name="T69" fmla="*/ 12 h 74"/>
                <a:gd name="T70" fmla="*/ 54 w 74"/>
                <a:gd name="T71" fmla="*/ 8 h 74"/>
                <a:gd name="T72" fmla="*/ 54 w 74"/>
                <a:gd name="T73" fmla="*/ 4 h 74"/>
                <a:gd name="T74" fmla="*/ 54 w 74"/>
                <a:gd name="T75" fmla="*/ 4 h 74"/>
                <a:gd name="T76" fmla="*/ 58 w 74"/>
                <a:gd name="T77" fmla="*/ 0 h 74"/>
                <a:gd name="T78" fmla="*/ 62 w 74"/>
                <a:gd name="T79" fmla="*/ 4 h 74"/>
                <a:gd name="T80" fmla="*/ 70 w 74"/>
                <a:gd name="T81" fmla="*/ 0 h 74"/>
                <a:gd name="T82" fmla="*/ 74 w 74"/>
                <a:gd name="T83" fmla="*/ 4 h 74"/>
                <a:gd name="T84" fmla="*/ 74 w 74"/>
                <a:gd name="T85" fmla="*/ 8 h 74"/>
                <a:gd name="T86" fmla="*/ 74 w 74"/>
                <a:gd name="T87" fmla="*/ 12 h 74"/>
                <a:gd name="T88" fmla="*/ 74 w 74"/>
                <a:gd name="T89" fmla="*/ 22 h 74"/>
                <a:gd name="T90" fmla="*/ 74 w 74"/>
                <a:gd name="T91" fmla="*/ 38 h 74"/>
                <a:gd name="T92" fmla="*/ 74 w 74"/>
                <a:gd name="T93" fmla="*/ 42 h 74"/>
                <a:gd name="T94" fmla="*/ 70 w 74"/>
                <a:gd name="T95" fmla="*/ 42 h 74"/>
                <a:gd name="T96" fmla="*/ 66 w 74"/>
                <a:gd name="T97" fmla="*/ 44 h 74"/>
                <a:gd name="T98" fmla="*/ 62 w 74"/>
                <a:gd name="T99" fmla="*/ 44 h 74"/>
                <a:gd name="T100" fmla="*/ 58 w 74"/>
                <a:gd name="T101" fmla="*/ 48 h 74"/>
                <a:gd name="T102" fmla="*/ 54 w 74"/>
                <a:gd name="T103" fmla="*/ 48 h 74"/>
                <a:gd name="T104" fmla="*/ 52 w 74"/>
                <a:gd name="T105" fmla="*/ 52 h 74"/>
                <a:gd name="T106" fmla="*/ 52 w 74"/>
                <a:gd name="T107" fmla="*/ 56 h 74"/>
                <a:gd name="T108" fmla="*/ 54 w 74"/>
                <a:gd name="T109" fmla="*/ 64 h 74"/>
                <a:gd name="T110" fmla="*/ 54 w 74"/>
                <a:gd name="T111" fmla="*/ 64 h 74"/>
                <a:gd name="T112" fmla="*/ 48 w 74"/>
                <a:gd name="T113" fmla="*/ 64 h 74"/>
                <a:gd name="T114" fmla="*/ 48 w 74"/>
                <a:gd name="T115" fmla="*/ 64 h 74"/>
                <a:gd name="T116" fmla="*/ 44 w 74"/>
                <a:gd name="T117" fmla="*/ 6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4" h="74">
                  <a:moveTo>
                    <a:pt x="40" y="64"/>
                  </a:move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2" y="74"/>
                  </a:lnTo>
                  <a:lnTo>
                    <a:pt x="30" y="74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64"/>
                  </a:lnTo>
                  <a:lnTo>
                    <a:pt x="22" y="64"/>
                  </a:lnTo>
                  <a:lnTo>
                    <a:pt x="18" y="64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4" y="68"/>
                  </a:lnTo>
                  <a:lnTo>
                    <a:pt x="10" y="68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2"/>
                  </a:lnTo>
                  <a:lnTo>
                    <a:pt x="10" y="56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6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4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4" y="38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4" y="8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8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0" y="4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70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4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42"/>
                  </a:lnTo>
                  <a:lnTo>
                    <a:pt x="74" y="42"/>
                  </a:lnTo>
                  <a:lnTo>
                    <a:pt x="74" y="42"/>
                  </a:lnTo>
                  <a:lnTo>
                    <a:pt x="74" y="42"/>
                  </a:lnTo>
                  <a:lnTo>
                    <a:pt x="74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66" y="42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2" y="44"/>
                  </a:lnTo>
                  <a:lnTo>
                    <a:pt x="62" y="44"/>
                  </a:lnTo>
                  <a:lnTo>
                    <a:pt x="62" y="44"/>
                  </a:lnTo>
                  <a:lnTo>
                    <a:pt x="62" y="48"/>
                  </a:lnTo>
                  <a:lnTo>
                    <a:pt x="62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7039781A-9029-D90F-76BD-CF1453BB2C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19279" y="2312028"/>
              <a:ext cx="1683262" cy="1270832"/>
            </a:xfrm>
            <a:custGeom>
              <a:avLst/>
              <a:gdLst>
                <a:gd name="T0" fmla="*/ 356 w 864"/>
                <a:gd name="T1" fmla="*/ 518 h 674"/>
                <a:gd name="T2" fmla="*/ 328 w 864"/>
                <a:gd name="T3" fmla="*/ 484 h 674"/>
                <a:gd name="T4" fmla="*/ 282 w 864"/>
                <a:gd name="T5" fmla="*/ 484 h 674"/>
                <a:gd name="T6" fmla="*/ 226 w 864"/>
                <a:gd name="T7" fmla="*/ 496 h 674"/>
                <a:gd name="T8" fmla="*/ 182 w 864"/>
                <a:gd name="T9" fmla="*/ 500 h 674"/>
                <a:gd name="T10" fmla="*/ 136 w 864"/>
                <a:gd name="T11" fmla="*/ 470 h 674"/>
                <a:gd name="T12" fmla="*/ 84 w 864"/>
                <a:gd name="T13" fmla="*/ 444 h 674"/>
                <a:gd name="T14" fmla="*/ 76 w 864"/>
                <a:gd name="T15" fmla="*/ 402 h 674"/>
                <a:gd name="T16" fmla="*/ 44 w 864"/>
                <a:gd name="T17" fmla="*/ 354 h 674"/>
                <a:gd name="T18" fmla="*/ 20 w 864"/>
                <a:gd name="T19" fmla="*/ 316 h 674"/>
                <a:gd name="T20" fmla="*/ 18 w 864"/>
                <a:gd name="T21" fmla="*/ 268 h 674"/>
                <a:gd name="T22" fmla="*/ 74 w 864"/>
                <a:gd name="T23" fmla="*/ 242 h 674"/>
                <a:gd name="T24" fmla="*/ 96 w 864"/>
                <a:gd name="T25" fmla="*/ 194 h 674"/>
                <a:gd name="T26" fmla="*/ 122 w 864"/>
                <a:gd name="T27" fmla="*/ 164 h 674"/>
                <a:gd name="T28" fmla="*/ 170 w 864"/>
                <a:gd name="T29" fmla="*/ 120 h 674"/>
                <a:gd name="T30" fmla="*/ 218 w 864"/>
                <a:gd name="T31" fmla="*/ 112 h 674"/>
                <a:gd name="T32" fmla="*/ 242 w 864"/>
                <a:gd name="T33" fmla="*/ 168 h 674"/>
                <a:gd name="T34" fmla="*/ 312 w 864"/>
                <a:gd name="T35" fmla="*/ 198 h 674"/>
                <a:gd name="T36" fmla="*/ 386 w 864"/>
                <a:gd name="T37" fmla="*/ 220 h 674"/>
                <a:gd name="T38" fmla="*/ 476 w 864"/>
                <a:gd name="T39" fmla="*/ 228 h 674"/>
                <a:gd name="T40" fmla="*/ 542 w 864"/>
                <a:gd name="T41" fmla="*/ 198 h 674"/>
                <a:gd name="T42" fmla="*/ 600 w 864"/>
                <a:gd name="T43" fmla="*/ 164 h 674"/>
                <a:gd name="T44" fmla="*/ 656 w 864"/>
                <a:gd name="T45" fmla="*/ 138 h 674"/>
                <a:gd name="T46" fmla="*/ 600 w 864"/>
                <a:gd name="T47" fmla="*/ 108 h 674"/>
                <a:gd name="T48" fmla="*/ 648 w 864"/>
                <a:gd name="T49" fmla="*/ 64 h 674"/>
                <a:gd name="T50" fmla="*/ 676 w 864"/>
                <a:gd name="T51" fmla="*/ 4 h 674"/>
                <a:gd name="T52" fmla="*/ 744 w 864"/>
                <a:gd name="T53" fmla="*/ 18 h 674"/>
                <a:gd name="T54" fmla="*/ 762 w 864"/>
                <a:gd name="T55" fmla="*/ 78 h 674"/>
                <a:gd name="T56" fmla="*/ 814 w 864"/>
                <a:gd name="T57" fmla="*/ 120 h 674"/>
                <a:gd name="T58" fmla="*/ 856 w 864"/>
                <a:gd name="T59" fmla="*/ 138 h 674"/>
                <a:gd name="T60" fmla="*/ 814 w 864"/>
                <a:gd name="T61" fmla="*/ 180 h 674"/>
                <a:gd name="T62" fmla="*/ 796 w 864"/>
                <a:gd name="T63" fmla="*/ 220 h 674"/>
                <a:gd name="T64" fmla="*/ 748 w 864"/>
                <a:gd name="T65" fmla="*/ 242 h 674"/>
                <a:gd name="T66" fmla="*/ 696 w 864"/>
                <a:gd name="T67" fmla="*/ 284 h 674"/>
                <a:gd name="T68" fmla="*/ 688 w 864"/>
                <a:gd name="T69" fmla="*/ 268 h 674"/>
                <a:gd name="T70" fmla="*/ 628 w 864"/>
                <a:gd name="T71" fmla="*/ 286 h 674"/>
                <a:gd name="T72" fmla="*/ 662 w 864"/>
                <a:gd name="T73" fmla="*/ 320 h 674"/>
                <a:gd name="T74" fmla="*/ 666 w 864"/>
                <a:gd name="T75" fmla="*/ 340 h 674"/>
                <a:gd name="T76" fmla="*/ 662 w 864"/>
                <a:gd name="T77" fmla="*/ 384 h 674"/>
                <a:gd name="T78" fmla="*/ 662 w 864"/>
                <a:gd name="T79" fmla="*/ 424 h 674"/>
                <a:gd name="T80" fmla="*/ 676 w 864"/>
                <a:gd name="T81" fmla="*/ 448 h 674"/>
                <a:gd name="T82" fmla="*/ 680 w 864"/>
                <a:gd name="T83" fmla="*/ 470 h 674"/>
                <a:gd name="T84" fmla="*/ 670 w 864"/>
                <a:gd name="T85" fmla="*/ 496 h 674"/>
                <a:gd name="T86" fmla="*/ 658 w 864"/>
                <a:gd name="T87" fmla="*/ 522 h 674"/>
                <a:gd name="T88" fmla="*/ 648 w 864"/>
                <a:gd name="T89" fmla="*/ 540 h 674"/>
                <a:gd name="T90" fmla="*/ 626 w 864"/>
                <a:gd name="T91" fmla="*/ 564 h 674"/>
                <a:gd name="T92" fmla="*/ 588 w 864"/>
                <a:gd name="T93" fmla="*/ 592 h 674"/>
                <a:gd name="T94" fmla="*/ 562 w 864"/>
                <a:gd name="T95" fmla="*/ 592 h 674"/>
                <a:gd name="T96" fmla="*/ 536 w 864"/>
                <a:gd name="T97" fmla="*/ 616 h 674"/>
                <a:gd name="T98" fmla="*/ 514 w 864"/>
                <a:gd name="T99" fmla="*/ 620 h 674"/>
                <a:gd name="T100" fmla="*/ 486 w 864"/>
                <a:gd name="T101" fmla="*/ 616 h 674"/>
                <a:gd name="T102" fmla="*/ 430 w 864"/>
                <a:gd name="T103" fmla="*/ 592 h 674"/>
                <a:gd name="T104" fmla="*/ 402 w 864"/>
                <a:gd name="T105" fmla="*/ 620 h 674"/>
                <a:gd name="T106" fmla="*/ 364 w 864"/>
                <a:gd name="T107" fmla="*/ 586 h 674"/>
                <a:gd name="T108" fmla="*/ 670 w 864"/>
                <a:gd name="T109" fmla="*/ 556 h 674"/>
                <a:gd name="T110" fmla="*/ 670 w 864"/>
                <a:gd name="T111" fmla="*/ 600 h 674"/>
                <a:gd name="T112" fmla="*/ 498 w 864"/>
                <a:gd name="T113" fmla="*/ 662 h 674"/>
                <a:gd name="T114" fmla="*/ 524 w 864"/>
                <a:gd name="T115" fmla="*/ 656 h 674"/>
                <a:gd name="T116" fmla="*/ 684 w 864"/>
                <a:gd name="T117" fmla="*/ 458 h 674"/>
                <a:gd name="T118" fmla="*/ 520 w 864"/>
                <a:gd name="T119" fmla="*/ 622 h 674"/>
                <a:gd name="T120" fmla="*/ 566 w 864"/>
                <a:gd name="T121" fmla="*/ 590 h 674"/>
                <a:gd name="T122" fmla="*/ 628 w 864"/>
                <a:gd name="T123" fmla="*/ 564 h 674"/>
                <a:gd name="T124" fmla="*/ 576 w 864"/>
                <a:gd name="T125" fmla="*/ 604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64" h="674">
                  <a:moveTo>
                    <a:pt x="342" y="574"/>
                  </a:moveTo>
                  <a:lnTo>
                    <a:pt x="342" y="570"/>
                  </a:lnTo>
                  <a:lnTo>
                    <a:pt x="338" y="570"/>
                  </a:lnTo>
                  <a:lnTo>
                    <a:pt x="342" y="570"/>
                  </a:lnTo>
                  <a:lnTo>
                    <a:pt x="342" y="566"/>
                  </a:lnTo>
                  <a:lnTo>
                    <a:pt x="342" y="564"/>
                  </a:lnTo>
                  <a:lnTo>
                    <a:pt x="338" y="564"/>
                  </a:lnTo>
                  <a:lnTo>
                    <a:pt x="338" y="560"/>
                  </a:lnTo>
                  <a:lnTo>
                    <a:pt x="338" y="556"/>
                  </a:lnTo>
                  <a:lnTo>
                    <a:pt x="342" y="556"/>
                  </a:lnTo>
                  <a:lnTo>
                    <a:pt x="342" y="552"/>
                  </a:lnTo>
                  <a:lnTo>
                    <a:pt x="342" y="548"/>
                  </a:lnTo>
                  <a:lnTo>
                    <a:pt x="346" y="548"/>
                  </a:lnTo>
                  <a:lnTo>
                    <a:pt x="346" y="544"/>
                  </a:lnTo>
                  <a:lnTo>
                    <a:pt x="348" y="540"/>
                  </a:lnTo>
                  <a:lnTo>
                    <a:pt x="352" y="540"/>
                  </a:lnTo>
                  <a:lnTo>
                    <a:pt x="352" y="536"/>
                  </a:lnTo>
                  <a:lnTo>
                    <a:pt x="356" y="536"/>
                  </a:lnTo>
                  <a:lnTo>
                    <a:pt x="352" y="536"/>
                  </a:lnTo>
                  <a:lnTo>
                    <a:pt x="352" y="534"/>
                  </a:lnTo>
                  <a:lnTo>
                    <a:pt x="356" y="534"/>
                  </a:lnTo>
                  <a:lnTo>
                    <a:pt x="356" y="530"/>
                  </a:lnTo>
                  <a:lnTo>
                    <a:pt x="356" y="526"/>
                  </a:lnTo>
                  <a:lnTo>
                    <a:pt x="356" y="522"/>
                  </a:lnTo>
                  <a:lnTo>
                    <a:pt x="356" y="518"/>
                  </a:lnTo>
                  <a:lnTo>
                    <a:pt x="356" y="514"/>
                  </a:lnTo>
                  <a:lnTo>
                    <a:pt x="356" y="510"/>
                  </a:lnTo>
                  <a:lnTo>
                    <a:pt x="356" y="508"/>
                  </a:lnTo>
                  <a:lnTo>
                    <a:pt x="352" y="508"/>
                  </a:lnTo>
                  <a:lnTo>
                    <a:pt x="352" y="504"/>
                  </a:lnTo>
                  <a:lnTo>
                    <a:pt x="352" y="508"/>
                  </a:lnTo>
                  <a:lnTo>
                    <a:pt x="348" y="508"/>
                  </a:lnTo>
                  <a:lnTo>
                    <a:pt x="348" y="504"/>
                  </a:lnTo>
                  <a:lnTo>
                    <a:pt x="348" y="500"/>
                  </a:lnTo>
                  <a:lnTo>
                    <a:pt x="346" y="500"/>
                  </a:lnTo>
                  <a:lnTo>
                    <a:pt x="346" y="496"/>
                  </a:lnTo>
                  <a:lnTo>
                    <a:pt x="346" y="492"/>
                  </a:lnTo>
                  <a:lnTo>
                    <a:pt x="342" y="492"/>
                  </a:lnTo>
                  <a:lnTo>
                    <a:pt x="342" y="488"/>
                  </a:lnTo>
                  <a:lnTo>
                    <a:pt x="338" y="488"/>
                  </a:lnTo>
                  <a:lnTo>
                    <a:pt x="338" y="492"/>
                  </a:lnTo>
                  <a:lnTo>
                    <a:pt x="334" y="492"/>
                  </a:lnTo>
                  <a:lnTo>
                    <a:pt x="334" y="496"/>
                  </a:lnTo>
                  <a:lnTo>
                    <a:pt x="334" y="492"/>
                  </a:lnTo>
                  <a:lnTo>
                    <a:pt x="330" y="492"/>
                  </a:lnTo>
                  <a:lnTo>
                    <a:pt x="328" y="492"/>
                  </a:lnTo>
                  <a:lnTo>
                    <a:pt x="328" y="488"/>
                  </a:lnTo>
                  <a:lnTo>
                    <a:pt x="324" y="492"/>
                  </a:lnTo>
                  <a:lnTo>
                    <a:pt x="324" y="488"/>
                  </a:lnTo>
                  <a:lnTo>
                    <a:pt x="328" y="484"/>
                  </a:lnTo>
                  <a:lnTo>
                    <a:pt x="324" y="480"/>
                  </a:lnTo>
                  <a:lnTo>
                    <a:pt x="324" y="478"/>
                  </a:lnTo>
                  <a:lnTo>
                    <a:pt x="324" y="480"/>
                  </a:lnTo>
                  <a:lnTo>
                    <a:pt x="320" y="480"/>
                  </a:lnTo>
                  <a:lnTo>
                    <a:pt x="320" y="478"/>
                  </a:lnTo>
                  <a:lnTo>
                    <a:pt x="324" y="478"/>
                  </a:lnTo>
                  <a:lnTo>
                    <a:pt x="324" y="474"/>
                  </a:lnTo>
                  <a:lnTo>
                    <a:pt x="320" y="478"/>
                  </a:lnTo>
                  <a:lnTo>
                    <a:pt x="320" y="474"/>
                  </a:lnTo>
                  <a:lnTo>
                    <a:pt x="320" y="470"/>
                  </a:lnTo>
                  <a:lnTo>
                    <a:pt x="316" y="474"/>
                  </a:lnTo>
                  <a:lnTo>
                    <a:pt x="312" y="474"/>
                  </a:lnTo>
                  <a:lnTo>
                    <a:pt x="312" y="478"/>
                  </a:lnTo>
                  <a:lnTo>
                    <a:pt x="308" y="478"/>
                  </a:lnTo>
                  <a:lnTo>
                    <a:pt x="308" y="480"/>
                  </a:lnTo>
                  <a:lnTo>
                    <a:pt x="304" y="478"/>
                  </a:lnTo>
                  <a:lnTo>
                    <a:pt x="302" y="478"/>
                  </a:lnTo>
                  <a:lnTo>
                    <a:pt x="302" y="474"/>
                  </a:lnTo>
                  <a:lnTo>
                    <a:pt x="298" y="474"/>
                  </a:lnTo>
                  <a:lnTo>
                    <a:pt x="298" y="478"/>
                  </a:lnTo>
                  <a:lnTo>
                    <a:pt x="294" y="478"/>
                  </a:lnTo>
                  <a:lnTo>
                    <a:pt x="290" y="480"/>
                  </a:lnTo>
                  <a:lnTo>
                    <a:pt x="290" y="484"/>
                  </a:lnTo>
                  <a:lnTo>
                    <a:pt x="286" y="484"/>
                  </a:lnTo>
                  <a:lnTo>
                    <a:pt x="282" y="484"/>
                  </a:lnTo>
                  <a:lnTo>
                    <a:pt x="278" y="488"/>
                  </a:lnTo>
                  <a:lnTo>
                    <a:pt x="278" y="492"/>
                  </a:lnTo>
                  <a:lnTo>
                    <a:pt x="274" y="492"/>
                  </a:lnTo>
                  <a:lnTo>
                    <a:pt x="272" y="496"/>
                  </a:lnTo>
                  <a:lnTo>
                    <a:pt x="272" y="500"/>
                  </a:lnTo>
                  <a:lnTo>
                    <a:pt x="268" y="500"/>
                  </a:lnTo>
                  <a:lnTo>
                    <a:pt x="264" y="504"/>
                  </a:lnTo>
                  <a:lnTo>
                    <a:pt x="264" y="500"/>
                  </a:lnTo>
                  <a:lnTo>
                    <a:pt x="264" y="504"/>
                  </a:lnTo>
                  <a:lnTo>
                    <a:pt x="260" y="504"/>
                  </a:lnTo>
                  <a:lnTo>
                    <a:pt x="256" y="504"/>
                  </a:lnTo>
                  <a:lnTo>
                    <a:pt x="256" y="500"/>
                  </a:lnTo>
                  <a:lnTo>
                    <a:pt x="252" y="500"/>
                  </a:lnTo>
                  <a:lnTo>
                    <a:pt x="252" y="496"/>
                  </a:lnTo>
                  <a:lnTo>
                    <a:pt x="248" y="496"/>
                  </a:lnTo>
                  <a:lnTo>
                    <a:pt x="248" y="500"/>
                  </a:lnTo>
                  <a:lnTo>
                    <a:pt x="246" y="500"/>
                  </a:lnTo>
                  <a:lnTo>
                    <a:pt x="246" y="496"/>
                  </a:lnTo>
                  <a:lnTo>
                    <a:pt x="242" y="496"/>
                  </a:lnTo>
                  <a:lnTo>
                    <a:pt x="238" y="496"/>
                  </a:lnTo>
                  <a:lnTo>
                    <a:pt x="238" y="492"/>
                  </a:lnTo>
                  <a:lnTo>
                    <a:pt x="234" y="492"/>
                  </a:lnTo>
                  <a:lnTo>
                    <a:pt x="230" y="492"/>
                  </a:lnTo>
                  <a:lnTo>
                    <a:pt x="230" y="496"/>
                  </a:lnTo>
                  <a:lnTo>
                    <a:pt x="226" y="496"/>
                  </a:lnTo>
                  <a:lnTo>
                    <a:pt x="222" y="500"/>
                  </a:lnTo>
                  <a:lnTo>
                    <a:pt x="222" y="504"/>
                  </a:lnTo>
                  <a:lnTo>
                    <a:pt x="218" y="504"/>
                  </a:lnTo>
                  <a:lnTo>
                    <a:pt x="218" y="508"/>
                  </a:lnTo>
                  <a:lnTo>
                    <a:pt x="218" y="510"/>
                  </a:lnTo>
                  <a:lnTo>
                    <a:pt x="216" y="510"/>
                  </a:lnTo>
                  <a:lnTo>
                    <a:pt x="216" y="508"/>
                  </a:lnTo>
                  <a:lnTo>
                    <a:pt x="216" y="504"/>
                  </a:lnTo>
                  <a:lnTo>
                    <a:pt x="216" y="500"/>
                  </a:lnTo>
                  <a:lnTo>
                    <a:pt x="216" y="496"/>
                  </a:lnTo>
                  <a:lnTo>
                    <a:pt x="212" y="496"/>
                  </a:lnTo>
                  <a:lnTo>
                    <a:pt x="208" y="500"/>
                  </a:lnTo>
                  <a:lnTo>
                    <a:pt x="204" y="500"/>
                  </a:lnTo>
                  <a:lnTo>
                    <a:pt x="200" y="500"/>
                  </a:lnTo>
                  <a:lnTo>
                    <a:pt x="200" y="504"/>
                  </a:lnTo>
                  <a:lnTo>
                    <a:pt x="200" y="500"/>
                  </a:lnTo>
                  <a:lnTo>
                    <a:pt x="200" y="504"/>
                  </a:lnTo>
                  <a:lnTo>
                    <a:pt x="196" y="504"/>
                  </a:lnTo>
                  <a:lnTo>
                    <a:pt x="196" y="500"/>
                  </a:lnTo>
                  <a:lnTo>
                    <a:pt x="192" y="500"/>
                  </a:lnTo>
                  <a:lnTo>
                    <a:pt x="192" y="504"/>
                  </a:lnTo>
                  <a:lnTo>
                    <a:pt x="192" y="500"/>
                  </a:lnTo>
                  <a:lnTo>
                    <a:pt x="188" y="500"/>
                  </a:lnTo>
                  <a:lnTo>
                    <a:pt x="186" y="496"/>
                  </a:lnTo>
                  <a:lnTo>
                    <a:pt x="182" y="500"/>
                  </a:lnTo>
                  <a:lnTo>
                    <a:pt x="178" y="500"/>
                  </a:lnTo>
                  <a:lnTo>
                    <a:pt x="178" y="496"/>
                  </a:lnTo>
                  <a:lnTo>
                    <a:pt x="178" y="500"/>
                  </a:lnTo>
                  <a:lnTo>
                    <a:pt x="174" y="500"/>
                  </a:lnTo>
                  <a:lnTo>
                    <a:pt x="174" y="496"/>
                  </a:lnTo>
                  <a:lnTo>
                    <a:pt x="170" y="492"/>
                  </a:lnTo>
                  <a:lnTo>
                    <a:pt x="166" y="492"/>
                  </a:lnTo>
                  <a:lnTo>
                    <a:pt x="162" y="492"/>
                  </a:lnTo>
                  <a:lnTo>
                    <a:pt x="162" y="488"/>
                  </a:lnTo>
                  <a:lnTo>
                    <a:pt x="162" y="484"/>
                  </a:lnTo>
                  <a:lnTo>
                    <a:pt x="162" y="488"/>
                  </a:lnTo>
                  <a:lnTo>
                    <a:pt x="160" y="488"/>
                  </a:lnTo>
                  <a:lnTo>
                    <a:pt x="156" y="488"/>
                  </a:lnTo>
                  <a:lnTo>
                    <a:pt x="156" y="484"/>
                  </a:lnTo>
                  <a:lnTo>
                    <a:pt x="152" y="484"/>
                  </a:lnTo>
                  <a:lnTo>
                    <a:pt x="152" y="480"/>
                  </a:lnTo>
                  <a:lnTo>
                    <a:pt x="152" y="478"/>
                  </a:lnTo>
                  <a:lnTo>
                    <a:pt x="148" y="478"/>
                  </a:lnTo>
                  <a:lnTo>
                    <a:pt x="148" y="474"/>
                  </a:lnTo>
                  <a:lnTo>
                    <a:pt x="144" y="474"/>
                  </a:lnTo>
                  <a:lnTo>
                    <a:pt x="144" y="478"/>
                  </a:lnTo>
                  <a:lnTo>
                    <a:pt x="140" y="478"/>
                  </a:lnTo>
                  <a:lnTo>
                    <a:pt x="140" y="474"/>
                  </a:lnTo>
                  <a:lnTo>
                    <a:pt x="136" y="474"/>
                  </a:lnTo>
                  <a:lnTo>
                    <a:pt x="136" y="470"/>
                  </a:lnTo>
                  <a:lnTo>
                    <a:pt x="132" y="470"/>
                  </a:lnTo>
                  <a:lnTo>
                    <a:pt x="132" y="466"/>
                  </a:lnTo>
                  <a:lnTo>
                    <a:pt x="130" y="466"/>
                  </a:lnTo>
                  <a:lnTo>
                    <a:pt x="126" y="462"/>
                  </a:lnTo>
                  <a:lnTo>
                    <a:pt x="122" y="458"/>
                  </a:lnTo>
                  <a:lnTo>
                    <a:pt x="122" y="462"/>
                  </a:lnTo>
                  <a:lnTo>
                    <a:pt x="122" y="458"/>
                  </a:lnTo>
                  <a:lnTo>
                    <a:pt x="122" y="454"/>
                  </a:lnTo>
                  <a:lnTo>
                    <a:pt x="118" y="454"/>
                  </a:lnTo>
                  <a:lnTo>
                    <a:pt x="114" y="454"/>
                  </a:lnTo>
                  <a:lnTo>
                    <a:pt x="110" y="454"/>
                  </a:lnTo>
                  <a:lnTo>
                    <a:pt x="110" y="458"/>
                  </a:lnTo>
                  <a:lnTo>
                    <a:pt x="106" y="462"/>
                  </a:lnTo>
                  <a:lnTo>
                    <a:pt x="106" y="458"/>
                  </a:lnTo>
                  <a:lnTo>
                    <a:pt x="104" y="458"/>
                  </a:lnTo>
                  <a:lnTo>
                    <a:pt x="106" y="458"/>
                  </a:lnTo>
                  <a:lnTo>
                    <a:pt x="104" y="458"/>
                  </a:lnTo>
                  <a:lnTo>
                    <a:pt x="104" y="454"/>
                  </a:lnTo>
                  <a:lnTo>
                    <a:pt x="100" y="454"/>
                  </a:lnTo>
                  <a:lnTo>
                    <a:pt x="96" y="452"/>
                  </a:lnTo>
                  <a:lnTo>
                    <a:pt x="92" y="452"/>
                  </a:lnTo>
                  <a:lnTo>
                    <a:pt x="96" y="448"/>
                  </a:lnTo>
                  <a:lnTo>
                    <a:pt x="92" y="448"/>
                  </a:lnTo>
                  <a:lnTo>
                    <a:pt x="88" y="444"/>
                  </a:lnTo>
                  <a:lnTo>
                    <a:pt x="84" y="444"/>
                  </a:lnTo>
                  <a:lnTo>
                    <a:pt x="80" y="444"/>
                  </a:lnTo>
                  <a:lnTo>
                    <a:pt x="80" y="440"/>
                  </a:lnTo>
                  <a:lnTo>
                    <a:pt x="80" y="436"/>
                  </a:lnTo>
                  <a:lnTo>
                    <a:pt x="76" y="436"/>
                  </a:lnTo>
                  <a:lnTo>
                    <a:pt x="74" y="436"/>
                  </a:lnTo>
                  <a:lnTo>
                    <a:pt x="74" y="440"/>
                  </a:lnTo>
                  <a:lnTo>
                    <a:pt x="74" y="436"/>
                  </a:lnTo>
                  <a:lnTo>
                    <a:pt x="74" y="432"/>
                  </a:lnTo>
                  <a:lnTo>
                    <a:pt x="74" y="428"/>
                  </a:lnTo>
                  <a:lnTo>
                    <a:pt x="74" y="424"/>
                  </a:lnTo>
                  <a:lnTo>
                    <a:pt x="70" y="424"/>
                  </a:lnTo>
                  <a:lnTo>
                    <a:pt x="70" y="422"/>
                  </a:lnTo>
                  <a:lnTo>
                    <a:pt x="70" y="418"/>
                  </a:lnTo>
                  <a:lnTo>
                    <a:pt x="70" y="414"/>
                  </a:lnTo>
                  <a:lnTo>
                    <a:pt x="74" y="414"/>
                  </a:lnTo>
                  <a:lnTo>
                    <a:pt x="74" y="418"/>
                  </a:lnTo>
                  <a:lnTo>
                    <a:pt x="76" y="418"/>
                  </a:lnTo>
                  <a:lnTo>
                    <a:pt x="80" y="414"/>
                  </a:lnTo>
                  <a:lnTo>
                    <a:pt x="80" y="418"/>
                  </a:lnTo>
                  <a:lnTo>
                    <a:pt x="84" y="414"/>
                  </a:lnTo>
                  <a:lnTo>
                    <a:pt x="84" y="410"/>
                  </a:lnTo>
                  <a:lnTo>
                    <a:pt x="80" y="410"/>
                  </a:lnTo>
                  <a:lnTo>
                    <a:pt x="80" y="406"/>
                  </a:lnTo>
                  <a:lnTo>
                    <a:pt x="80" y="402"/>
                  </a:lnTo>
                  <a:lnTo>
                    <a:pt x="76" y="402"/>
                  </a:lnTo>
                  <a:lnTo>
                    <a:pt x="76" y="398"/>
                  </a:lnTo>
                  <a:lnTo>
                    <a:pt x="74" y="398"/>
                  </a:lnTo>
                  <a:lnTo>
                    <a:pt x="74" y="396"/>
                  </a:lnTo>
                  <a:lnTo>
                    <a:pt x="74" y="392"/>
                  </a:lnTo>
                  <a:lnTo>
                    <a:pt x="74" y="388"/>
                  </a:lnTo>
                  <a:lnTo>
                    <a:pt x="74" y="384"/>
                  </a:lnTo>
                  <a:lnTo>
                    <a:pt x="76" y="384"/>
                  </a:lnTo>
                  <a:lnTo>
                    <a:pt x="76" y="380"/>
                  </a:lnTo>
                  <a:lnTo>
                    <a:pt x="74" y="376"/>
                  </a:lnTo>
                  <a:lnTo>
                    <a:pt x="70" y="376"/>
                  </a:lnTo>
                  <a:lnTo>
                    <a:pt x="66" y="376"/>
                  </a:lnTo>
                  <a:lnTo>
                    <a:pt x="66" y="372"/>
                  </a:lnTo>
                  <a:lnTo>
                    <a:pt x="66" y="368"/>
                  </a:lnTo>
                  <a:lnTo>
                    <a:pt x="62" y="366"/>
                  </a:lnTo>
                  <a:lnTo>
                    <a:pt x="58" y="368"/>
                  </a:lnTo>
                  <a:lnTo>
                    <a:pt x="60" y="368"/>
                  </a:lnTo>
                  <a:lnTo>
                    <a:pt x="58" y="368"/>
                  </a:lnTo>
                  <a:lnTo>
                    <a:pt x="56" y="366"/>
                  </a:lnTo>
                  <a:lnTo>
                    <a:pt x="58" y="366"/>
                  </a:lnTo>
                  <a:lnTo>
                    <a:pt x="52" y="364"/>
                  </a:lnTo>
                  <a:lnTo>
                    <a:pt x="52" y="362"/>
                  </a:lnTo>
                  <a:lnTo>
                    <a:pt x="50" y="358"/>
                  </a:lnTo>
                  <a:lnTo>
                    <a:pt x="48" y="358"/>
                  </a:lnTo>
                  <a:lnTo>
                    <a:pt x="44" y="358"/>
                  </a:lnTo>
                  <a:lnTo>
                    <a:pt x="44" y="354"/>
                  </a:lnTo>
                  <a:lnTo>
                    <a:pt x="42" y="354"/>
                  </a:lnTo>
                  <a:lnTo>
                    <a:pt x="40" y="354"/>
                  </a:lnTo>
                  <a:lnTo>
                    <a:pt x="36" y="354"/>
                  </a:lnTo>
                  <a:lnTo>
                    <a:pt x="36" y="350"/>
                  </a:lnTo>
                  <a:lnTo>
                    <a:pt x="32" y="350"/>
                  </a:lnTo>
                  <a:lnTo>
                    <a:pt x="32" y="346"/>
                  </a:lnTo>
                  <a:lnTo>
                    <a:pt x="36" y="346"/>
                  </a:lnTo>
                  <a:lnTo>
                    <a:pt x="32" y="342"/>
                  </a:lnTo>
                  <a:lnTo>
                    <a:pt x="32" y="342"/>
                  </a:lnTo>
                  <a:lnTo>
                    <a:pt x="30" y="340"/>
                  </a:lnTo>
                  <a:lnTo>
                    <a:pt x="26" y="338"/>
                  </a:lnTo>
                  <a:lnTo>
                    <a:pt x="24" y="336"/>
                  </a:lnTo>
                  <a:lnTo>
                    <a:pt x="24" y="336"/>
                  </a:lnTo>
                  <a:lnTo>
                    <a:pt x="20" y="332"/>
                  </a:lnTo>
                  <a:lnTo>
                    <a:pt x="18" y="332"/>
                  </a:lnTo>
                  <a:lnTo>
                    <a:pt x="14" y="332"/>
                  </a:lnTo>
                  <a:lnTo>
                    <a:pt x="10" y="328"/>
                  </a:lnTo>
                  <a:lnTo>
                    <a:pt x="14" y="328"/>
                  </a:lnTo>
                  <a:lnTo>
                    <a:pt x="18" y="324"/>
                  </a:lnTo>
                  <a:lnTo>
                    <a:pt x="18" y="328"/>
                  </a:lnTo>
                  <a:lnTo>
                    <a:pt x="20" y="324"/>
                  </a:lnTo>
                  <a:lnTo>
                    <a:pt x="20" y="320"/>
                  </a:lnTo>
                  <a:lnTo>
                    <a:pt x="18" y="320"/>
                  </a:lnTo>
                  <a:lnTo>
                    <a:pt x="18" y="316"/>
                  </a:lnTo>
                  <a:lnTo>
                    <a:pt x="20" y="316"/>
                  </a:lnTo>
                  <a:lnTo>
                    <a:pt x="18" y="316"/>
                  </a:lnTo>
                  <a:lnTo>
                    <a:pt x="18" y="312"/>
                  </a:lnTo>
                  <a:lnTo>
                    <a:pt x="18" y="310"/>
                  </a:lnTo>
                  <a:lnTo>
                    <a:pt x="18" y="306"/>
                  </a:lnTo>
                  <a:lnTo>
                    <a:pt x="18" y="302"/>
                  </a:lnTo>
                  <a:lnTo>
                    <a:pt x="14" y="302"/>
                  </a:lnTo>
                  <a:lnTo>
                    <a:pt x="10" y="298"/>
                  </a:lnTo>
                  <a:lnTo>
                    <a:pt x="6" y="298"/>
                  </a:lnTo>
                  <a:lnTo>
                    <a:pt x="6" y="302"/>
                  </a:lnTo>
                  <a:lnTo>
                    <a:pt x="4" y="302"/>
                  </a:lnTo>
                  <a:lnTo>
                    <a:pt x="4" y="298"/>
                  </a:lnTo>
                  <a:lnTo>
                    <a:pt x="4" y="294"/>
                  </a:lnTo>
                  <a:lnTo>
                    <a:pt x="4" y="290"/>
                  </a:lnTo>
                  <a:lnTo>
                    <a:pt x="0" y="286"/>
                  </a:lnTo>
                  <a:lnTo>
                    <a:pt x="4" y="286"/>
                  </a:lnTo>
                  <a:lnTo>
                    <a:pt x="4" y="284"/>
                  </a:lnTo>
                  <a:lnTo>
                    <a:pt x="6" y="284"/>
                  </a:lnTo>
                  <a:lnTo>
                    <a:pt x="6" y="280"/>
                  </a:lnTo>
                  <a:lnTo>
                    <a:pt x="4" y="280"/>
                  </a:lnTo>
                  <a:lnTo>
                    <a:pt x="4" y="276"/>
                  </a:lnTo>
                  <a:lnTo>
                    <a:pt x="6" y="272"/>
                  </a:lnTo>
                  <a:lnTo>
                    <a:pt x="10" y="272"/>
                  </a:lnTo>
                  <a:lnTo>
                    <a:pt x="14" y="272"/>
                  </a:lnTo>
                  <a:lnTo>
                    <a:pt x="14" y="268"/>
                  </a:lnTo>
                  <a:lnTo>
                    <a:pt x="18" y="268"/>
                  </a:lnTo>
                  <a:lnTo>
                    <a:pt x="18" y="264"/>
                  </a:lnTo>
                  <a:lnTo>
                    <a:pt x="20" y="264"/>
                  </a:lnTo>
                  <a:lnTo>
                    <a:pt x="24" y="264"/>
                  </a:lnTo>
                  <a:lnTo>
                    <a:pt x="24" y="260"/>
                  </a:lnTo>
                  <a:lnTo>
                    <a:pt x="28" y="260"/>
                  </a:lnTo>
                  <a:lnTo>
                    <a:pt x="28" y="264"/>
                  </a:lnTo>
                  <a:lnTo>
                    <a:pt x="28" y="268"/>
                  </a:lnTo>
                  <a:lnTo>
                    <a:pt x="32" y="268"/>
                  </a:lnTo>
                  <a:lnTo>
                    <a:pt x="36" y="264"/>
                  </a:lnTo>
                  <a:lnTo>
                    <a:pt x="40" y="264"/>
                  </a:lnTo>
                  <a:lnTo>
                    <a:pt x="40" y="268"/>
                  </a:lnTo>
                  <a:lnTo>
                    <a:pt x="40" y="264"/>
                  </a:lnTo>
                  <a:lnTo>
                    <a:pt x="44" y="264"/>
                  </a:lnTo>
                  <a:lnTo>
                    <a:pt x="44" y="260"/>
                  </a:lnTo>
                  <a:lnTo>
                    <a:pt x="44" y="254"/>
                  </a:lnTo>
                  <a:lnTo>
                    <a:pt x="48" y="254"/>
                  </a:lnTo>
                  <a:lnTo>
                    <a:pt x="50" y="254"/>
                  </a:lnTo>
                  <a:lnTo>
                    <a:pt x="54" y="254"/>
                  </a:lnTo>
                  <a:lnTo>
                    <a:pt x="58" y="254"/>
                  </a:lnTo>
                  <a:lnTo>
                    <a:pt x="62" y="254"/>
                  </a:lnTo>
                  <a:lnTo>
                    <a:pt x="66" y="254"/>
                  </a:lnTo>
                  <a:lnTo>
                    <a:pt x="66" y="250"/>
                  </a:lnTo>
                  <a:lnTo>
                    <a:pt x="66" y="246"/>
                  </a:lnTo>
                  <a:lnTo>
                    <a:pt x="70" y="246"/>
                  </a:lnTo>
                  <a:lnTo>
                    <a:pt x="74" y="242"/>
                  </a:lnTo>
                  <a:lnTo>
                    <a:pt x="76" y="242"/>
                  </a:lnTo>
                  <a:lnTo>
                    <a:pt x="76" y="238"/>
                  </a:lnTo>
                  <a:lnTo>
                    <a:pt x="80" y="238"/>
                  </a:lnTo>
                  <a:lnTo>
                    <a:pt x="84" y="238"/>
                  </a:lnTo>
                  <a:lnTo>
                    <a:pt x="88" y="238"/>
                  </a:lnTo>
                  <a:lnTo>
                    <a:pt x="88" y="234"/>
                  </a:lnTo>
                  <a:lnTo>
                    <a:pt x="92" y="234"/>
                  </a:lnTo>
                  <a:lnTo>
                    <a:pt x="96" y="234"/>
                  </a:lnTo>
                  <a:lnTo>
                    <a:pt x="96" y="230"/>
                  </a:lnTo>
                  <a:lnTo>
                    <a:pt x="92" y="230"/>
                  </a:lnTo>
                  <a:lnTo>
                    <a:pt x="96" y="230"/>
                  </a:lnTo>
                  <a:lnTo>
                    <a:pt x="96" y="228"/>
                  </a:lnTo>
                  <a:lnTo>
                    <a:pt x="92" y="228"/>
                  </a:lnTo>
                  <a:lnTo>
                    <a:pt x="92" y="224"/>
                  </a:lnTo>
                  <a:lnTo>
                    <a:pt x="96" y="220"/>
                  </a:lnTo>
                  <a:lnTo>
                    <a:pt x="100" y="216"/>
                  </a:lnTo>
                  <a:lnTo>
                    <a:pt x="96" y="216"/>
                  </a:lnTo>
                  <a:lnTo>
                    <a:pt x="100" y="214"/>
                  </a:lnTo>
                  <a:lnTo>
                    <a:pt x="104" y="214"/>
                  </a:lnTo>
                  <a:lnTo>
                    <a:pt x="104" y="210"/>
                  </a:lnTo>
                  <a:lnTo>
                    <a:pt x="100" y="206"/>
                  </a:lnTo>
                  <a:lnTo>
                    <a:pt x="100" y="202"/>
                  </a:lnTo>
                  <a:lnTo>
                    <a:pt x="100" y="198"/>
                  </a:lnTo>
                  <a:lnTo>
                    <a:pt x="96" y="198"/>
                  </a:lnTo>
                  <a:lnTo>
                    <a:pt x="96" y="194"/>
                  </a:lnTo>
                  <a:lnTo>
                    <a:pt x="96" y="190"/>
                  </a:lnTo>
                  <a:lnTo>
                    <a:pt x="96" y="186"/>
                  </a:lnTo>
                  <a:lnTo>
                    <a:pt x="96" y="184"/>
                  </a:lnTo>
                  <a:lnTo>
                    <a:pt x="100" y="184"/>
                  </a:lnTo>
                  <a:lnTo>
                    <a:pt x="100" y="180"/>
                  </a:lnTo>
                  <a:lnTo>
                    <a:pt x="96" y="180"/>
                  </a:lnTo>
                  <a:lnTo>
                    <a:pt x="92" y="180"/>
                  </a:lnTo>
                  <a:lnTo>
                    <a:pt x="88" y="180"/>
                  </a:lnTo>
                  <a:lnTo>
                    <a:pt x="92" y="176"/>
                  </a:lnTo>
                  <a:lnTo>
                    <a:pt x="96" y="176"/>
                  </a:lnTo>
                  <a:lnTo>
                    <a:pt x="100" y="172"/>
                  </a:lnTo>
                  <a:lnTo>
                    <a:pt x="104" y="172"/>
                  </a:lnTo>
                  <a:lnTo>
                    <a:pt x="106" y="172"/>
                  </a:lnTo>
                  <a:lnTo>
                    <a:pt x="110" y="172"/>
                  </a:lnTo>
                  <a:lnTo>
                    <a:pt x="110" y="168"/>
                  </a:lnTo>
                  <a:lnTo>
                    <a:pt x="114" y="168"/>
                  </a:lnTo>
                  <a:lnTo>
                    <a:pt x="114" y="172"/>
                  </a:lnTo>
                  <a:lnTo>
                    <a:pt x="118" y="172"/>
                  </a:lnTo>
                  <a:lnTo>
                    <a:pt x="122" y="172"/>
                  </a:lnTo>
                  <a:lnTo>
                    <a:pt x="126" y="172"/>
                  </a:lnTo>
                  <a:lnTo>
                    <a:pt x="130" y="172"/>
                  </a:lnTo>
                  <a:lnTo>
                    <a:pt x="130" y="168"/>
                  </a:lnTo>
                  <a:lnTo>
                    <a:pt x="126" y="168"/>
                  </a:lnTo>
                  <a:lnTo>
                    <a:pt x="126" y="164"/>
                  </a:lnTo>
                  <a:lnTo>
                    <a:pt x="122" y="164"/>
                  </a:lnTo>
                  <a:lnTo>
                    <a:pt x="126" y="160"/>
                  </a:lnTo>
                  <a:lnTo>
                    <a:pt x="126" y="158"/>
                  </a:lnTo>
                  <a:lnTo>
                    <a:pt x="126" y="154"/>
                  </a:lnTo>
                  <a:lnTo>
                    <a:pt x="126" y="150"/>
                  </a:lnTo>
                  <a:lnTo>
                    <a:pt x="130" y="150"/>
                  </a:lnTo>
                  <a:lnTo>
                    <a:pt x="130" y="146"/>
                  </a:lnTo>
                  <a:lnTo>
                    <a:pt x="130" y="142"/>
                  </a:lnTo>
                  <a:lnTo>
                    <a:pt x="132" y="138"/>
                  </a:lnTo>
                  <a:lnTo>
                    <a:pt x="132" y="134"/>
                  </a:lnTo>
                  <a:lnTo>
                    <a:pt x="132" y="130"/>
                  </a:lnTo>
                  <a:lnTo>
                    <a:pt x="136" y="130"/>
                  </a:lnTo>
                  <a:lnTo>
                    <a:pt x="140" y="134"/>
                  </a:lnTo>
                  <a:lnTo>
                    <a:pt x="144" y="134"/>
                  </a:lnTo>
                  <a:lnTo>
                    <a:pt x="148" y="134"/>
                  </a:lnTo>
                  <a:lnTo>
                    <a:pt x="152" y="134"/>
                  </a:lnTo>
                  <a:lnTo>
                    <a:pt x="156" y="134"/>
                  </a:lnTo>
                  <a:lnTo>
                    <a:pt x="160" y="138"/>
                  </a:lnTo>
                  <a:lnTo>
                    <a:pt x="162" y="138"/>
                  </a:lnTo>
                  <a:lnTo>
                    <a:pt x="162" y="134"/>
                  </a:lnTo>
                  <a:lnTo>
                    <a:pt x="166" y="134"/>
                  </a:lnTo>
                  <a:lnTo>
                    <a:pt x="170" y="134"/>
                  </a:lnTo>
                  <a:lnTo>
                    <a:pt x="170" y="130"/>
                  </a:lnTo>
                  <a:lnTo>
                    <a:pt x="170" y="128"/>
                  </a:lnTo>
                  <a:lnTo>
                    <a:pt x="170" y="124"/>
                  </a:lnTo>
                  <a:lnTo>
                    <a:pt x="170" y="120"/>
                  </a:lnTo>
                  <a:lnTo>
                    <a:pt x="170" y="116"/>
                  </a:lnTo>
                  <a:lnTo>
                    <a:pt x="170" y="112"/>
                  </a:lnTo>
                  <a:lnTo>
                    <a:pt x="170" y="108"/>
                  </a:lnTo>
                  <a:lnTo>
                    <a:pt x="174" y="108"/>
                  </a:lnTo>
                  <a:lnTo>
                    <a:pt x="174" y="104"/>
                  </a:lnTo>
                  <a:lnTo>
                    <a:pt x="178" y="104"/>
                  </a:lnTo>
                  <a:lnTo>
                    <a:pt x="182" y="104"/>
                  </a:lnTo>
                  <a:lnTo>
                    <a:pt x="186" y="104"/>
                  </a:lnTo>
                  <a:lnTo>
                    <a:pt x="186" y="102"/>
                  </a:lnTo>
                  <a:lnTo>
                    <a:pt x="186" y="98"/>
                  </a:lnTo>
                  <a:lnTo>
                    <a:pt x="186" y="94"/>
                  </a:lnTo>
                  <a:lnTo>
                    <a:pt x="188" y="94"/>
                  </a:lnTo>
                  <a:lnTo>
                    <a:pt x="192" y="94"/>
                  </a:lnTo>
                  <a:lnTo>
                    <a:pt x="196" y="94"/>
                  </a:lnTo>
                  <a:lnTo>
                    <a:pt x="200" y="90"/>
                  </a:lnTo>
                  <a:lnTo>
                    <a:pt x="200" y="94"/>
                  </a:lnTo>
                  <a:lnTo>
                    <a:pt x="204" y="94"/>
                  </a:lnTo>
                  <a:lnTo>
                    <a:pt x="200" y="98"/>
                  </a:lnTo>
                  <a:lnTo>
                    <a:pt x="204" y="102"/>
                  </a:lnTo>
                  <a:lnTo>
                    <a:pt x="204" y="104"/>
                  </a:lnTo>
                  <a:lnTo>
                    <a:pt x="208" y="104"/>
                  </a:lnTo>
                  <a:lnTo>
                    <a:pt x="212" y="108"/>
                  </a:lnTo>
                  <a:lnTo>
                    <a:pt x="212" y="112"/>
                  </a:lnTo>
                  <a:lnTo>
                    <a:pt x="216" y="112"/>
                  </a:lnTo>
                  <a:lnTo>
                    <a:pt x="218" y="112"/>
                  </a:lnTo>
                  <a:lnTo>
                    <a:pt x="218" y="116"/>
                  </a:lnTo>
                  <a:lnTo>
                    <a:pt x="222" y="116"/>
                  </a:lnTo>
                  <a:lnTo>
                    <a:pt x="226" y="116"/>
                  </a:lnTo>
                  <a:lnTo>
                    <a:pt x="230" y="120"/>
                  </a:lnTo>
                  <a:lnTo>
                    <a:pt x="230" y="116"/>
                  </a:lnTo>
                  <a:lnTo>
                    <a:pt x="234" y="116"/>
                  </a:lnTo>
                  <a:lnTo>
                    <a:pt x="234" y="120"/>
                  </a:lnTo>
                  <a:lnTo>
                    <a:pt x="238" y="120"/>
                  </a:lnTo>
                  <a:lnTo>
                    <a:pt x="238" y="124"/>
                  </a:lnTo>
                  <a:lnTo>
                    <a:pt x="238" y="128"/>
                  </a:lnTo>
                  <a:lnTo>
                    <a:pt x="238" y="130"/>
                  </a:lnTo>
                  <a:lnTo>
                    <a:pt x="242" y="130"/>
                  </a:lnTo>
                  <a:lnTo>
                    <a:pt x="242" y="134"/>
                  </a:lnTo>
                  <a:lnTo>
                    <a:pt x="246" y="134"/>
                  </a:lnTo>
                  <a:lnTo>
                    <a:pt x="246" y="138"/>
                  </a:lnTo>
                  <a:lnTo>
                    <a:pt x="246" y="142"/>
                  </a:lnTo>
                  <a:lnTo>
                    <a:pt x="248" y="142"/>
                  </a:lnTo>
                  <a:lnTo>
                    <a:pt x="246" y="142"/>
                  </a:lnTo>
                  <a:lnTo>
                    <a:pt x="248" y="146"/>
                  </a:lnTo>
                  <a:lnTo>
                    <a:pt x="246" y="150"/>
                  </a:lnTo>
                  <a:lnTo>
                    <a:pt x="246" y="154"/>
                  </a:lnTo>
                  <a:lnTo>
                    <a:pt x="246" y="158"/>
                  </a:lnTo>
                  <a:lnTo>
                    <a:pt x="242" y="160"/>
                  </a:lnTo>
                  <a:lnTo>
                    <a:pt x="242" y="164"/>
                  </a:lnTo>
                  <a:lnTo>
                    <a:pt x="242" y="168"/>
                  </a:lnTo>
                  <a:lnTo>
                    <a:pt x="246" y="168"/>
                  </a:lnTo>
                  <a:lnTo>
                    <a:pt x="246" y="172"/>
                  </a:lnTo>
                  <a:lnTo>
                    <a:pt x="248" y="172"/>
                  </a:lnTo>
                  <a:lnTo>
                    <a:pt x="252" y="172"/>
                  </a:lnTo>
                  <a:lnTo>
                    <a:pt x="252" y="176"/>
                  </a:lnTo>
                  <a:lnTo>
                    <a:pt x="260" y="176"/>
                  </a:lnTo>
                  <a:lnTo>
                    <a:pt x="264" y="176"/>
                  </a:lnTo>
                  <a:lnTo>
                    <a:pt x="268" y="176"/>
                  </a:lnTo>
                  <a:lnTo>
                    <a:pt x="272" y="176"/>
                  </a:lnTo>
                  <a:lnTo>
                    <a:pt x="274" y="176"/>
                  </a:lnTo>
                  <a:lnTo>
                    <a:pt x="278" y="176"/>
                  </a:lnTo>
                  <a:lnTo>
                    <a:pt x="282" y="176"/>
                  </a:lnTo>
                  <a:lnTo>
                    <a:pt x="282" y="180"/>
                  </a:lnTo>
                  <a:lnTo>
                    <a:pt x="286" y="180"/>
                  </a:lnTo>
                  <a:lnTo>
                    <a:pt x="290" y="180"/>
                  </a:lnTo>
                  <a:lnTo>
                    <a:pt x="290" y="184"/>
                  </a:lnTo>
                  <a:lnTo>
                    <a:pt x="294" y="184"/>
                  </a:lnTo>
                  <a:lnTo>
                    <a:pt x="294" y="186"/>
                  </a:lnTo>
                  <a:lnTo>
                    <a:pt x="298" y="186"/>
                  </a:lnTo>
                  <a:lnTo>
                    <a:pt x="298" y="190"/>
                  </a:lnTo>
                  <a:lnTo>
                    <a:pt x="304" y="190"/>
                  </a:lnTo>
                  <a:lnTo>
                    <a:pt x="308" y="190"/>
                  </a:lnTo>
                  <a:lnTo>
                    <a:pt x="308" y="194"/>
                  </a:lnTo>
                  <a:lnTo>
                    <a:pt x="312" y="194"/>
                  </a:lnTo>
                  <a:lnTo>
                    <a:pt x="312" y="198"/>
                  </a:lnTo>
                  <a:lnTo>
                    <a:pt x="312" y="202"/>
                  </a:lnTo>
                  <a:lnTo>
                    <a:pt x="312" y="206"/>
                  </a:lnTo>
                  <a:lnTo>
                    <a:pt x="316" y="206"/>
                  </a:lnTo>
                  <a:lnTo>
                    <a:pt x="316" y="210"/>
                  </a:lnTo>
                  <a:lnTo>
                    <a:pt x="316" y="214"/>
                  </a:lnTo>
                  <a:lnTo>
                    <a:pt x="320" y="214"/>
                  </a:lnTo>
                  <a:lnTo>
                    <a:pt x="324" y="216"/>
                  </a:lnTo>
                  <a:lnTo>
                    <a:pt x="324" y="220"/>
                  </a:lnTo>
                  <a:lnTo>
                    <a:pt x="328" y="220"/>
                  </a:lnTo>
                  <a:lnTo>
                    <a:pt x="330" y="220"/>
                  </a:lnTo>
                  <a:lnTo>
                    <a:pt x="334" y="220"/>
                  </a:lnTo>
                  <a:lnTo>
                    <a:pt x="338" y="220"/>
                  </a:lnTo>
                  <a:lnTo>
                    <a:pt x="342" y="220"/>
                  </a:lnTo>
                  <a:lnTo>
                    <a:pt x="346" y="220"/>
                  </a:lnTo>
                  <a:lnTo>
                    <a:pt x="348" y="224"/>
                  </a:lnTo>
                  <a:lnTo>
                    <a:pt x="352" y="224"/>
                  </a:lnTo>
                  <a:lnTo>
                    <a:pt x="356" y="224"/>
                  </a:lnTo>
                  <a:lnTo>
                    <a:pt x="360" y="224"/>
                  </a:lnTo>
                  <a:lnTo>
                    <a:pt x="364" y="224"/>
                  </a:lnTo>
                  <a:lnTo>
                    <a:pt x="368" y="224"/>
                  </a:lnTo>
                  <a:lnTo>
                    <a:pt x="372" y="224"/>
                  </a:lnTo>
                  <a:lnTo>
                    <a:pt x="374" y="224"/>
                  </a:lnTo>
                  <a:lnTo>
                    <a:pt x="378" y="220"/>
                  </a:lnTo>
                  <a:lnTo>
                    <a:pt x="382" y="220"/>
                  </a:lnTo>
                  <a:lnTo>
                    <a:pt x="386" y="220"/>
                  </a:lnTo>
                  <a:lnTo>
                    <a:pt x="386" y="224"/>
                  </a:lnTo>
                  <a:lnTo>
                    <a:pt x="390" y="224"/>
                  </a:lnTo>
                  <a:lnTo>
                    <a:pt x="394" y="224"/>
                  </a:lnTo>
                  <a:lnTo>
                    <a:pt x="398" y="224"/>
                  </a:lnTo>
                  <a:lnTo>
                    <a:pt x="402" y="228"/>
                  </a:lnTo>
                  <a:lnTo>
                    <a:pt x="402" y="230"/>
                  </a:lnTo>
                  <a:lnTo>
                    <a:pt x="408" y="230"/>
                  </a:lnTo>
                  <a:lnTo>
                    <a:pt x="412" y="230"/>
                  </a:lnTo>
                  <a:lnTo>
                    <a:pt x="416" y="234"/>
                  </a:lnTo>
                  <a:lnTo>
                    <a:pt x="420" y="234"/>
                  </a:lnTo>
                  <a:lnTo>
                    <a:pt x="420" y="238"/>
                  </a:lnTo>
                  <a:lnTo>
                    <a:pt x="428" y="238"/>
                  </a:lnTo>
                  <a:lnTo>
                    <a:pt x="430" y="238"/>
                  </a:lnTo>
                  <a:lnTo>
                    <a:pt x="438" y="238"/>
                  </a:lnTo>
                  <a:lnTo>
                    <a:pt x="438" y="242"/>
                  </a:lnTo>
                  <a:lnTo>
                    <a:pt x="442" y="242"/>
                  </a:lnTo>
                  <a:lnTo>
                    <a:pt x="446" y="238"/>
                  </a:lnTo>
                  <a:lnTo>
                    <a:pt x="450" y="238"/>
                  </a:lnTo>
                  <a:lnTo>
                    <a:pt x="454" y="238"/>
                  </a:lnTo>
                  <a:lnTo>
                    <a:pt x="458" y="234"/>
                  </a:lnTo>
                  <a:lnTo>
                    <a:pt x="460" y="234"/>
                  </a:lnTo>
                  <a:lnTo>
                    <a:pt x="464" y="230"/>
                  </a:lnTo>
                  <a:lnTo>
                    <a:pt x="468" y="228"/>
                  </a:lnTo>
                  <a:lnTo>
                    <a:pt x="472" y="228"/>
                  </a:lnTo>
                  <a:lnTo>
                    <a:pt x="476" y="228"/>
                  </a:lnTo>
                  <a:lnTo>
                    <a:pt x="480" y="228"/>
                  </a:lnTo>
                  <a:lnTo>
                    <a:pt x="484" y="228"/>
                  </a:lnTo>
                  <a:lnTo>
                    <a:pt x="490" y="228"/>
                  </a:lnTo>
                  <a:lnTo>
                    <a:pt x="494" y="228"/>
                  </a:lnTo>
                  <a:lnTo>
                    <a:pt x="498" y="228"/>
                  </a:lnTo>
                  <a:lnTo>
                    <a:pt x="502" y="228"/>
                  </a:lnTo>
                  <a:lnTo>
                    <a:pt x="506" y="228"/>
                  </a:lnTo>
                  <a:lnTo>
                    <a:pt x="510" y="228"/>
                  </a:lnTo>
                  <a:lnTo>
                    <a:pt x="510" y="224"/>
                  </a:lnTo>
                  <a:lnTo>
                    <a:pt x="514" y="224"/>
                  </a:lnTo>
                  <a:lnTo>
                    <a:pt x="516" y="224"/>
                  </a:lnTo>
                  <a:lnTo>
                    <a:pt x="516" y="220"/>
                  </a:lnTo>
                  <a:lnTo>
                    <a:pt x="520" y="220"/>
                  </a:lnTo>
                  <a:lnTo>
                    <a:pt x="520" y="216"/>
                  </a:lnTo>
                  <a:lnTo>
                    <a:pt x="524" y="216"/>
                  </a:lnTo>
                  <a:lnTo>
                    <a:pt x="524" y="214"/>
                  </a:lnTo>
                  <a:lnTo>
                    <a:pt x="528" y="214"/>
                  </a:lnTo>
                  <a:lnTo>
                    <a:pt x="528" y="210"/>
                  </a:lnTo>
                  <a:lnTo>
                    <a:pt x="532" y="210"/>
                  </a:lnTo>
                  <a:lnTo>
                    <a:pt x="532" y="206"/>
                  </a:lnTo>
                  <a:lnTo>
                    <a:pt x="536" y="206"/>
                  </a:lnTo>
                  <a:lnTo>
                    <a:pt x="540" y="206"/>
                  </a:lnTo>
                  <a:lnTo>
                    <a:pt x="540" y="202"/>
                  </a:lnTo>
                  <a:lnTo>
                    <a:pt x="542" y="202"/>
                  </a:lnTo>
                  <a:lnTo>
                    <a:pt x="542" y="198"/>
                  </a:lnTo>
                  <a:lnTo>
                    <a:pt x="540" y="194"/>
                  </a:lnTo>
                  <a:lnTo>
                    <a:pt x="536" y="190"/>
                  </a:lnTo>
                  <a:lnTo>
                    <a:pt x="536" y="186"/>
                  </a:lnTo>
                  <a:lnTo>
                    <a:pt x="536" y="184"/>
                  </a:lnTo>
                  <a:lnTo>
                    <a:pt x="540" y="180"/>
                  </a:lnTo>
                  <a:lnTo>
                    <a:pt x="540" y="176"/>
                  </a:lnTo>
                  <a:lnTo>
                    <a:pt x="542" y="176"/>
                  </a:lnTo>
                  <a:lnTo>
                    <a:pt x="546" y="176"/>
                  </a:lnTo>
                  <a:lnTo>
                    <a:pt x="550" y="176"/>
                  </a:lnTo>
                  <a:lnTo>
                    <a:pt x="554" y="180"/>
                  </a:lnTo>
                  <a:lnTo>
                    <a:pt x="558" y="180"/>
                  </a:lnTo>
                  <a:lnTo>
                    <a:pt x="562" y="180"/>
                  </a:lnTo>
                  <a:lnTo>
                    <a:pt x="566" y="180"/>
                  </a:lnTo>
                  <a:lnTo>
                    <a:pt x="570" y="180"/>
                  </a:lnTo>
                  <a:lnTo>
                    <a:pt x="570" y="176"/>
                  </a:lnTo>
                  <a:lnTo>
                    <a:pt x="572" y="176"/>
                  </a:lnTo>
                  <a:lnTo>
                    <a:pt x="576" y="176"/>
                  </a:lnTo>
                  <a:lnTo>
                    <a:pt x="576" y="172"/>
                  </a:lnTo>
                  <a:lnTo>
                    <a:pt x="580" y="168"/>
                  </a:lnTo>
                  <a:lnTo>
                    <a:pt x="584" y="168"/>
                  </a:lnTo>
                  <a:lnTo>
                    <a:pt x="588" y="168"/>
                  </a:lnTo>
                  <a:lnTo>
                    <a:pt x="592" y="168"/>
                  </a:lnTo>
                  <a:lnTo>
                    <a:pt x="596" y="168"/>
                  </a:lnTo>
                  <a:lnTo>
                    <a:pt x="596" y="164"/>
                  </a:lnTo>
                  <a:lnTo>
                    <a:pt x="600" y="164"/>
                  </a:lnTo>
                  <a:lnTo>
                    <a:pt x="600" y="160"/>
                  </a:lnTo>
                  <a:lnTo>
                    <a:pt x="602" y="160"/>
                  </a:lnTo>
                  <a:lnTo>
                    <a:pt x="602" y="158"/>
                  </a:lnTo>
                  <a:lnTo>
                    <a:pt x="606" y="154"/>
                  </a:lnTo>
                  <a:lnTo>
                    <a:pt x="606" y="150"/>
                  </a:lnTo>
                  <a:lnTo>
                    <a:pt x="610" y="150"/>
                  </a:lnTo>
                  <a:lnTo>
                    <a:pt x="614" y="150"/>
                  </a:lnTo>
                  <a:lnTo>
                    <a:pt x="618" y="150"/>
                  </a:lnTo>
                  <a:lnTo>
                    <a:pt x="618" y="146"/>
                  </a:lnTo>
                  <a:lnTo>
                    <a:pt x="622" y="146"/>
                  </a:lnTo>
                  <a:lnTo>
                    <a:pt x="622" y="142"/>
                  </a:lnTo>
                  <a:lnTo>
                    <a:pt x="622" y="146"/>
                  </a:lnTo>
                  <a:lnTo>
                    <a:pt x="626" y="146"/>
                  </a:lnTo>
                  <a:lnTo>
                    <a:pt x="626" y="142"/>
                  </a:lnTo>
                  <a:lnTo>
                    <a:pt x="628" y="142"/>
                  </a:lnTo>
                  <a:lnTo>
                    <a:pt x="632" y="142"/>
                  </a:lnTo>
                  <a:lnTo>
                    <a:pt x="636" y="142"/>
                  </a:lnTo>
                  <a:lnTo>
                    <a:pt x="640" y="142"/>
                  </a:lnTo>
                  <a:lnTo>
                    <a:pt x="640" y="138"/>
                  </a:lnTo>
                  <a:lnTo>
                    <a:pt x="640" y="142"/>
                  </a:lnTo>
                  <a:lnTo>
                    <a:pt x="644" y="142"/>
                  </a:lnTo>
                  <a:lnTo>
                    <a:pt x="648" y="142"/>
                  </a:lnTo>
                  <a:lnTo>
                    <a:pt x="652" y="142"/>
                  </a:lnTo>
                  <a:lnTo>
                    <a:pt x="656" y="142"/>
                  </a:lnTo>
                  <a:lnTo>
                    <a:pt x="656" y="138"/>
                  </a:lnTo>
                  <a:lnTo>
                    <a:pt x="656" y="134"/>
                  </a:lnTo>
                  <a:lnTo>
                    <a:pt x="652" y="130"/>
                  </a:lnTo>
                  <a:lnTo>
                    <a:pt x="648" y="130"/>
                  </a:lnTo>
                  <a:lnTo>
                    <a:pt x="648" y="128"/>
                  </a:lnTo>
                  <a:lnTo>
                    <a:pt x="648" y="124"/>
                  </a:lnTo>
                  <a:lnTo>
                    <a:pt x="644" y="124"/>
                  </a:lnTo>
                  <a:lnTo>
                    <a:pt x="640" y="120"/>
                  </a:lnTo>
                  <a:lnTo>
                    <a:pt x="636" y="116"/>
                  </a:lnTo>
                  <a:lnTo>
                    <a:pt x="632" y="116"/>
                  </a:lnTo>
                  <a:lnTo>
                    <a:pt x="628" y="116"/>
                  </a:lnTo>
                  <a:lnTo>
                    <a:pt x="626" y="116"/>
                  </a:lnTo>
                  <a:lnTo>
                    <a:pt x="622" y="116"/>
                  </a:lnTo>
                  <a:lnTo>
                    <a:pt x="622" y="120"/>
                  </a:lnTo>
                  <a:lnTo>
                    <a:pt x="618" y="124"/>
                  </a:lnTo>
                  <a:lnTo>
                    <a:pt x="614" y="120"/>
                  </a:lnTo>
                  <a:lnTo>
                    <a:pt x="614" y="116"/>
                  </a:lnTo>
                  <a:lnTo>
                    <a:pt x="610" y="116"/>
                  </a:lnTo>
                  <a:lnTo>
                    <a:pt x="606" y="120"/>
                  </a:lnTo>
                  <a:lnTo>
                    <a:pt x="602" y="116"/>
                  </a:lnTo>
                  <a:lnTo>
                    <a:pt x="602" y="120"/>
                  </a:lnTo>
                  <a:lnTo>
                    <a:pt x="600" y="120"/>
                  </a:lnTo>
                  <a:lnTo>
                    <a:pt x="596" y="116"/>
                  </a:lnTo>
                  <a:lnTo>
                    <a:pt x="592" y="112"/>
                  </a:lnTo>
                  <a:lnTo>
                    <a:pt x="596" y="112"/>
                  </a:lnTo>
                  <a:lnTo>
                    <a:pt x="600" y="108"/>
                  </a:lnTo>
                  <a:lnTo>
                    <a:pt x="596" y="104"/>
                  </a:lnTo>
                  <a:lnTo>
                    <a:pt x="600" y="102"/>
                  </a:lnTo>
                  <a:lnTo>
                    <a:pt x="602" y="98"/>
                  </a:lnTo>
                  <a:lnTo>
                    <a:pt x="600" y="98"/>
                  </a:lnTo>
                  <a:lnTo>
                    <a:pt x="602" y="94"/>
                  </a:lnTo>
                  <a:lnTo>
                    <a:pt x="602" y="90"/>
                  </a:lnTo>
                  <a:lnTo>
                    <a:pt x="606" y="90"/>
                  </a:lnTo>
                  <a:lnTo>
                    <a:pt x="606" y="86"/>
                  </a:lnTo>
                  <a:lnTo>
                    <a:pt x="606" y="82"/>
                  </a:lnTo>
                  <a:lnTo>
                    <a:pt x="610" y="78"/>
                  </a:lnTo>
                  <a:lnTo>
                    <a:pt x="614" y="78"/>
                  </a:lnTo>
                  <a:lnTo>
                    <a:pt x="618" y="82"/>
                  </a:lnTo>
                  <a:lnTo>
                    <a:pt x="622" y="82"/>
                  </a:lnTo>
                  <a:lnTo>
                    <a:pt x="626" y="82"/>
                  </a:lnTo>
                  <a:lnTo>
                    <a:pt x="628" y="82"/>
                  </a:lnTo>
                  <a:lnTo>
                    <a:pt x="632" y="78"/>
                  </a:lnTo>
                  <a:lnTo>
                    <a:pt x="636" y="78"/>
                  </a:lnTo>
                  <a:lnTo>
                    <a:pt x="636" y="74"/>
                  </a:lnTo>
                  <a:lnTo>
                    <a:pt x="640" y="74"/>
                  </a:lnTo>
                  <a:lnTo>
                    <a:pt x="644" y="74"/>
                  </a:lnTo>
                  <a:lnTo>
                    <a:pt x="648" y="72"/>
                  </a:lnTo>
                  <a:lnTo>
                    <a:pt x="648" y="68"/>
                  </a:lnTo>
                  <a:lnTo>
                    <a:pt x="644" y="68"/>
                  </a:lnTo>
                  <a:lnTo>
                    <a:pt x="644" y="64"/>
                  </a:lnTo>
                  <a:lnTo>
                    <a:pt x="648" y="64"/>
                  </a:lnTo>
                  <a:lnTo>
                    <a:pt x="648" y="60"/>
                  </a:lnTo>
                  <a:lnTo>
                    <a:pt x="652" y="60"/>
                  </a:lnTo>
                  <a:lnTo>
                    <a:pt x="652" y="56"/>
                  </a:lnTo>
                  <a:lnTo>
                    <a:pt x="652" y="52"/>
                  </a:lnTo>
                  <a:lnTo>
                    <a:pt x="656" y="48"/>
                  </a:lnTo>
                  <a:lnTo>
                    <a:pt x="656" y="46"/>
                  </a:lnTo>
                  <a:lnTo>
                    <a:pt x="656" y="42"/>
                  </a:lnTo>
                  <a:lnTo>
                    <a:pt x="658" y="42"/>
                  </a:lnTo>
                  <a:lnTo>
                    <a:pt x="658" y="38"/>
                  </a:lnTo>
                  <a:lnTo>
                    <a:pt x="662" y="38"/>
                  </a:lnTo>
                  <a:lnTo>
                    <a:pt x="662" y="34"/>
                  </a:lnTo>
                  <a:lnTo>
                    <a:pt x="666" y="34"/>
                  </a:lnTo>
                  <a:lnTo>
                    <a:pt x="666" y="30"/>
                  </a:lnTo>
                  <a:lnTo>
                    <a:pt x="666" y="26"/>
                  </a:lnTo>
                  <a:lnTo>
                    <a:pt x="666" y="22"/>
                  </a:lnTo>
                  <a:lnTo>
                    <a:pt x="666" y="18"/>
                  </a:lnTo>
                  <a:lnTo>
                    <a:pt x="662" y="18"/>
                  </a:lnTo>
                  <a:lnTo>
                    <a:pt x="658" y="18"/>
                  </a:lnTo>
                  <a:lnTo>
                    <a:pt x="656" y="18"/>
                  </a:lnTo>
                  <a:lnTo>
                    <a:pt x="658" y="16"/>
                  </a:lnTo>
                  <a:lnTo>
                    <a:pt x="662" y="12"/>
                  </a:lnTo>
                  <a:lnTo>
                    <a:pt x="666" y="8"/>
                  </a:lnTo>
                  <a:lnTo>
                    <a:pt x="670" y="4"/>
                  </a:lnTo>
                  <a:lnTo>
                    <a:pt x="674" y="4"/>
                  </a:lnTo>
                  <a:lnTo>
                    <a:pt x="676" y="4"/>
                  </a:lnTo>
                  <a:lnTo>
                    <a:pt x="680" y="4"/>
                  </a:lnTo>
                  <a:lnTo>
                    <a:pt x="680" y="0"/>
                  </a:lnTo>
                  <a:lnTo>
                    <a:pt x="684" y="0"/>
                  </a:lnTo>
                  <a:lnTo>
                    <a:pt x="688" y="0"/>
                  </a:lnTo>
                  <a:lnTo>
                    <a:pt x="692" y="0"/>
                  </a:lnTo>
                  <a:lnTo>
                    <a:pt x="696" y="0"/>
                  </a:lnTo>
                  <a:lnTo>
                    <a:pt x="698" y="0"/>
                  </a:lnTo>
                  <a:lnTo>
                    <a:pt x="702" y="0"/>
                  </a:lnTo>
                  <a:lnTo>
                    <a:pt x="706" y="0"/>
                  </a:lnTo>
                  <a:lnTo>
                    <a:pt x="710" y="0"/>
                  </a:lnTo>
                  <a:lnTo>
                    <a:pt x="714" y="0"/>
                  </a:lnTo>
                  <a:lnTo>
                    <a:pt x="714" y="4"/>
                  </a:lnTo>
                  <a:lnTo>
                    <a:pt x="718" y="4"/>
                  </a:lnTo>
                  <a:lnTo>
                    <a:pt x="718" y="8"/>
                  </a:lnTo>
                  <a:lnTo>
                    <a:pt x="722" y="8"/>
                  </a:lnTo>
                  <a:lnTo>
                    <a:pt x="726" y="8"/>
                  </a:lnTo>
                  <a:lnTo>
                    <a:pt x="728" y="8"/>
                  </a:lnTo>
                  <a:lnTo>
                    <a:pt x="732" y="8"/>
                  </a:lnTo>
                  <a:lnTo>
                    <a:pt x="736" y="8"/>
                  </a:lnTo>
                  <a:lnTo>
                    <a:pt x="736" y="12"/>
                  </a:lnTo>
                  <a:lnTo>
                    <a:pt x="740" y="16"/>
                  </a:lnTo>
                  <a:lnTo>
                    <a:pt x="744" y="16"/>
                  </a:lnTo>
                  <a:lnTo>
                    <a:pt x="740" y="16"/>
                  </a:lnTo>
                  <a:lnTo>
                    <a:pt x="740" y="18"/>
                  </a:lnTo>
                  <a:lnTo>
                    <a:pt x="744" y="18"/>
                  </a:lnTo>
                  <a:lnTo>
                    <a:pt x="744" y="22"/>
                  </a:lnTo>
                  <a:lnTo>
                    <a:pt x="744" y="26"/>
                  </a:lnTo>
                  <a:lnTo>
                    <a:pt x="748" y="26"/>
                  </a:lnTo>
                  <a:lnTo>
                    <a:pt x="748" y="30"/>
                  </a:lnTo>
                  <a:lnTo>
                    <a:pt x="748" y="34"/>
                  </a:lnTo>
                  <a:lnTo>
                    <a:pt x="748" y="38"/>
                  </a:lnTo>
                  <a:lnTo>
                    <a:pt x="752" y="38"/>
                  </a:lnTo>
                  <a:lnTo>
                    <a:pt x="752" y="42"/>
                  </a:lnTo>
                  <a:lnTo>
                    <a:pt x="752" y="46"/>
                  </a:lnTo>
                  <a:lnTo>
                    <a:pt x="756" y="46"/>
                  </a:lnTo>
                  <a:lnTo>
                    <a:pt x="752" y="46"/>
                  </a:lnTo>
                  <a:lnTo>
                    <a:pt x="752" y="48"/>
                  </a:lnTo>
                  <a:lnTo>
                    <a:pt x="756" y="48"/>
                  </a:lnTo>
                  <a:lnTo>
                    <a:pt x="756" y="46"/>
                  </a:lnTo>
                  <a:lnTo>
                    <a:pt x="756" y="48"/>
                  </a:lnTo>
                  <a:lnTo>
                    <a:pt x="756" y="52"/>
                  </a:lnTo>
                  <a:lnTo>
                    <a:pt x="756" y="56"/>
                  </a:lnTo>
                  <a:lnTo>
                    <a:pt x="758" y="56"/>
                  </a:lnTo>
                  <a:lnTo>
                    <a:pt x="758" y="60"/>
                  </a:lnTo>
                  <a:lnTo>
                    <a:pt x="758" y="64"/>
                  </a:lnTo>
                  <a:lnTo>
                    <a:pt x="758" y="68"/>
                  </a:lnTo>
                  <a:lnTo>
                    <a:pt x="762" y="68"/>
                  </a:lnTo>
                  <a:lnTo>
                    <a:pt x="762" y="72"/>
                  </a:lnTo>
                  <a:lnTo>
                    <a:pt x="762" y="74"/>
                  </a:lnTo>
                  <a:lnTo>
                    <a:pt x="762" y="78"/>
                  </a:lnTo>
                  <a:lnTo>
                    <a:pt x="766" y="78"/>
                  </a:lnTo>
                  <a:lnTo>
                    <a:pt x="766" y="82"/>
                  </a:lnTo>
                  <a:lnTo>
                    <a:pt x="770" y="82"/>
                  </a:lnTo>
                  <a:lnTo>
                    <a:pt x="774" y="82"/>
                  </a:lnTo>
                  <a:lnTo>
                    <a:pt x="778" y="82"/>
                  </a:lnTo>
                  <a:lnTo>
                    <a:pt x="782" y="82"/>
                  </a:lnTo>
                  <a:lnTo>
                    <a:pt x="782" y="86"/>
                  </a:lnTo>
                  <a:lnTo>
                    <a:pt x="784" y="86"/>
                  </a:lnTo>
                  <a:lnTo>
                    <a:pt x="788" y="86"/>
                  </a:lnTo>
                  <a:lnTo>
                    <a:pt x="792" y="86"/>
                  </a:lnTo>
                  <a:lnTo>
                    <a:pt x="792" y="90"/>
                  </a:lnTo>
                  <a:lnTo>
                    <a:pt x="796" y="94"/>
                  </a:lnTo>
                  <a:lnTo>
                    <a:pt x="800" y="98"/>
                  </a:lnTo>
                  <a:lnTo>
                    <a:pt x="804" y="98"/>
                  </a:lnTo>
                  <a:lnTo>
                    <a:pt x="808" y="98"/>
                  </a:lnTo>
                  <a:lnTo>
                    <a:pt x="808" y="102"/>
                  </a:lnTo>
                  <a:lnTo>
                    <a:pt x="804" y="102"/>
                  </a:lnTo>
                  <a:lnTo>
                    <a:pt x="808" y="104"/>
                  </a:lnTo>
                  <a:lnTo>
                    <a:pt x="808" y="108"/>
                  </a:lnTo>
                  <a:lnTo>
                    <a:pt x="808" y="112"/>
                  </a:lnTo>
                  <a:lnTo>
                    <a:pt x="808" y="116"/>
                  </a:lnTo>
                  <a:lnTo>
                    <a:pt x="812" y="116"/>
                  </a:lnTo>
                  <a:lnTo>
                    <a:pt x="812" y="120"/>
                  </a:lnTo>
                  <a:lnTo>
                    <a:pt x="812" y="124"/>
                  </a:lnTo>
                  <a:lnTo>
                    <a:pt x="814" y="120"/>
                  </a:lnTo>
                  <a:lnTo>
                    <a:pt x="818" y="120"/>
                  </a:lnTo>
                  <a:lnTo>
                    <a:pt x="818" y="124"/>
                  </a:lnTo>
                  <a:lnTo>
                    <a:pt x="822" y="124"/>
                  </a:lnTo>
                  <a:lnTo>
                    <a:pt x="826" y="124"/>
                  </a:lnTo>
                  <a:lnTo>
                    <a:pt x="826" y="120"/>
                  </a:lnTo>
                  <a:lnTo>
                    <a:pt x="830" y="120"/>
                  </a:lnTo>
                  <a:lnTo>
                    <a:pt x="834" y="120"/>
                  </a:lnTo>
                  <a:lnTo>
                    <a:pt x="834" y="116"/>
                  </a:lnTo>
                  <a:lnTo>
                    <a:pt x="838" y="116"/>
                  </a:lnTo>
                  <a:lnTo>
                    <a:pt x="840" y="112"/>
                  </a:lnTo>
                  <a:lnTo>
                    <a:pt x="844" y="112"/>
                  </a:lnTo>
                  <a:lnTo>
                    <a:pt x="848" y="112"/>
                  </a:lnTo>
                  <a:lnTo>
                    <a:pt x="852" y="108"/>
                  </a:lnTo>
                  <a:lnTo>
                    <a:pt x="856" y="108"/>
                  </a:lnTo>
                  <a:lnTo>
                    <a:pt x="860" y="108"/>
                  </a:lnTo>
                  <a:lnTo>
                    <a:pt x="864" y="108"/>
                  </a:lnTo>
                  <a:lnTo>
                    <a:pt x="864" y="112"/>
                  </a:lnTo>
                  <a:lnTo>
                    <a:pt x="864" y="116"/>
                  </a:lnTo>
                  <a:lnTo>
                    <a:pt x="864" y="120"/>
                  </a:lnTo>
                  <a:lnTo>
                    <a:pt x="864" y="128"/>
                  </a:lnTo>
                  <a:lnTo>
                    <a:pt x="860" y="128"/>
                  </a:lnTo>
                  <a:lnTo>
                    <a:pt x="856" y="128"/>
                  </a:lnTo>
                  <a:lnTo>
                    <a:pt x="856" y="130"/>
                  </a:lnTo>
                  <a:lnTo>
                    <a:pt x="856" y="134"/>
                  </a:lnTo>
                  <a:lnTo>
                    <a:pt x="856" y="138"/>
                  </a:lnTo>
                  <a:lnTo>
                    <a:pt x="856" y="142"/>
                  </a:lnTo>
                  <a:lnTo>
                    <a:pt x="852" y="142"/>
                  </a:lnTo>
                  <a:lnTo>
                    <a:pt x="852" y="146"/>
                  </a:lnTo>
                  <a:lnTo>
                    <a:pt x="852" y="150"/>
                  </a:lnTo>
                  <a:lnTo>
                    <a:pt x="852" y="154"/>
                  </a:lnTo>
                  <a:lnTo>
                    <a:pt x="848" y="154"/>
                  </a:lnTo>
                  <a:lnTo>
                    <a:pt x="848" y="158"/>
                  </a:lnTo>
                  <a:lnTo>
                    <a:pt x="848" y="160"/>
                  </a:lnTo>
                  <a:lnTo>
                    <a:pt x="848" y="164"/>
                  </a:lnTo>
                  <a:lnTo>
                    <a:pt x="844" y="164"/>
                  </a:lnTo>
                  <a:lnTo>
                    <a:pt x="840" y="164"/>
                  </a:lnTo>
                  <a:lnTo>
                    <a:pt x="840" y="168"/>
                  </a:lnTo>
                  <a:lnTo>
                    <a:pt x="840" y="172"/>
                  </a:lnTo>
                  <a:lnTo>
                    <a:pt x="840" y="176"/>
                  </a:lnTo>
                  <a:lnTo>
                    <a:pt x="838" y="176"/>
                  </a:lnTo>
                  <a:lnTo>
                    <a:pt x="834" y="172"/>
                  </a:lnTo>
                  <a:lnTo>
                    <a:pt x="830" y="172"/>
                  </a:lnTo>
                  <a:lnTo>
                    <a:pt x="826" y="172"/>
                  </a:lnTo>
                  <a:lnTo>
                    <a:pt x="826" y="168"/>
                  </a:lnTo>
                  <a:lnTo>
                    <a:pt x="822" y="168"/>
                  </a:lnTo>
                  <a:lnTo>
                    <a:pt x="822" y="172"/>
                  </a:lnTo>
                  <a:lnTo>
                    <a:pt x="822" y="176"/>
                  </a:lnTo>
                  <a:lnTo>
                    <a:pt x="818" y="176"/>
                  </a:lnTo>
                  <a:lnTo>
                    <a:pt x="814" y="176"/>
                  </a:lnTo>
                  <a:lnTo>
                    <a:pt x="814" y="180"/>
                  </a:lnTo>
                  <a:lnTo>
                    <a:pt x="814" y="176"/>
                  </a:lnTo>
                  <a:lnTo>
                    <a:pt x="812" y="180"/>
                  </a:lnTo>
                  <a:lnTo>
                    <a:pt x="812" y="184"/>
                  </a:lnTo>
                  <a:lnTo>
                    <a:pt x="814" y="184"/>
                  </a:lnTo>
                  <a:lnTo>
                    <a:pt x="814" y="190"/>
                  </a:lnTo>
                  <a:lnTo>
                    <a:pt x="814" y="194"/>
                  </a:lnTo>
                  <a:lnTo>
                    <a:pt x="814" y="198"/>
                  </a:lnTo>
                  <a:lnTo>
                    <a:pt x="814" y="206"/>
                  </a:lnTo>
                  <a:lnTo>
                    <a:pt x="814" y="210"/>
                  </a:lnTo>
                  <a:lnTo>
                    <a:pt x="814" y="214"/>
                  </a:lnTo>
                  <a:lnTo>
                    <a:pt x="814" y="216"/>
                  </a:lnTo>
                  <a:lnTo>
                    <a:pt x="812" y="216"/>
                  </a:lnTo>
                  <a:lnTo>
                    <a:pt x="812" y="220"/>
                  </a:lnTo>
                  <a:lnTo>
                    <a:pt x="812" y="216"/>
                  </a:lnTo>
                  <a:lnTo>
                    <a:pt x="808" y="216"/>
                  </a:lnTo>
                  <a:lnTo>
                    <a:pt x="808" y="220"/>
                  </a:lnTo>
                  <a:lnTo>
                    <a:pt x="804" y="220"/>
                  </a:lnTo>
                  <a:lnTo>
                    <a:pt x="808" y="224"/>
                  </a:lnTo>
                  <a:lnTo>
                    <a:pt x="808" y="228"/>
                  </a:lnTo>
                  <a:lnTo>
                    <a:pt x="804" y="228"/>
                  </a:lnTo>
                  <a:lnTo>
                    <a:pt x="804" y="224"/>
                  </a:lnTo>
                  <a:lnTo>
                    <a:pt x="800" y="220"/>
                  </a:lnTo>
                  <a:lnTo>
                    <a:pt x="800" y="216"/>
                  </a:lnTo>
                  <a:lnTo>
                    <a:pt x="796" y="216"/>
                  </a:lnTo>
                  <a:lnTo>
                    <a:pt x="796" y="220"/>
                  </a:lnTo>
                  <a:lnTo>
                    <a:pt x="792" y="220"/>
                  </a:lnTo>
                  <a:lnTo>
                    <a:pt x="792" y="224"/>
                  </a:lnTo>
                  <a:lnTo>
                    <a:pt x="792" y="228"/>
                  </a:lnTo>
                  <a:lnTo>
                    <a:pt x="788" y="228"/>
                  </a:lnTo>
                  <a:lnTo>
                    <a:pt x="784" y="228"/>
                  </a:lnTo>
                  <a:lnTo>
                    <a:pt x="784" y="230"/>
                  </a:lnTo>
                  <a:lnTo>
                    <a:pt x="784" y="234"/>
                  </a:lnTo>
                  <a:lnTo>
                    <a:pt x="782" y="234"/>
                  </a:lnTo>
                  <a:lnTo>
                    <a:pt x="778" y="234"/>
                  </a:lnTo>
                  <a:lnTo>
                    <a:pt x="774" y="234"/>
                  </a:lnTo>
                  <a:lnTo>
                    <a:pt x="770" y="234"/>
                  </a:lnTo>
                  <a:lnTo>
                    <a:pt x="770" y="238"/>
                  </a:lnTo>
                  <a:lnTo>
                    <a:pt x="770" y="242"/>
                  </a:lnTo>
                  <a:lnTo>
                    <a:pt x="774" y="242"/>
                  </a:lnTo>
                  <a:lnTo>
                    <a:pt x="774" y="246"/>
                  </a:lnTo>
                  <a:lnTo>
                    <a:pt x="770" y="246"/>
                  </a:lnTo>
                  <a:lnTo>
                    <a:pt x="766" y="246"/>
                  </a:lnTo>
                  <a:lnTo>
                    <a:pt x="762" y="246"/>
                  </a:lnTo>
                  <a:lnTo>
                    <a:pt x="758" y="246"/>
                  </a:lnTo>
                  <a:lnTo>
                    <a:pt x="758" y="242"/>
                  </a:lnTo>
                  <a:lnTo>
                    <a:pt x="756" y="242"/>
                  </a:lnTo>
                  <a:lnTo>
                    <a:pt x="756" y="238"/>
                  </a:lnTo>
                  <a:lnTo>
                    <a:pt x="752" y="238"/>
                  </a:lnTo>
                  <a:lnTo>
                    <a:pt x="752" y="242"/>
                  </a:lnTo>
                  <a:lnTo>
                    <a:pt x="748" y="242"/>
                  </a:lnTo>
                  <a:lnTo>
                    <a:pt x="748" y="246"/>
                  </a:lnTo>
                  <a:lnTo>
                    <a:pt x="748" y="250"/>
                  </a:lnTo>
                  <a:lnTo>
                    <a:pt x="744" y="250"/>
                  </a:lnTo>
                  <a:lnTo>
                    <a:pt x="744" y="254"/>
                  </a:lnTo>
                  <a:lnTo>
                    <a:pt x="740" y="256"/>
                  </a:lnTo>
                  <a:lnTo>
                    <a:pt x="736" y="256"/>
                  </a:lnTo>
                  <a:lnTo>
                    <a:pt x="736" y="260"/>
                  </a:lnTo>
                  <a:lnTo>
                    <a:pt x="732" y="260"/>
                  </a:lnTo>
                  <a:lnTo>
                    <a:pt x="728" y="260"/>
                  </a:lnTo>
                  <a:lnTo>
                    <a:pt x="728" y="264"/>
                  </a:lnTo>
                  <a:lnTo>
                    <a:pt x="726" y="264"/>
                  </a:lnTo>
                  <a:lnTo>
                    <a:pt x="728" y="264"/>
                  </a:lnTo>
                  <a:lnTo>
                    <a:pt x="726" y="264"/>
                  </a:lnTo>
                  <a:lnTo>
                    <a:pt x="722" y="268"/>
                  </a:lnTo>
                  <a:lnTo>
                    <a:pt x="718" y="272"/>
                  </a:lnTo>
                  <a:lnTo>
                    <a:pt x="718" y="276"/>
                  </a:lnTo>
                  <a:lnTo>
                    <a:pt x="714" y="276"/>
                  </a:lnTo>
                  <a:lnTo>
                    <a:pt x="710" y="276"/>
                  </a:lnTo>
                  <a:lnTo>
                    <a:pt x="706" y="276"/>
                  </a:lnTo>
                  <a:lnTo>
                    <a:pt x="706" y="280"/>
                  </a:lnTo>
                  <a:lnTo>
                    <a:pt x="702" y="280"/>
                  </a:lnTo>
                  <a:lnTo>
                    <a:pt x="702" y="276"/>
                  </a:lnTo>
                  <a:lnTo>
                    <a:pt x="702" y="280"/>
                  </a:lnTo>
                  <a:lnTo>
                    <a:pt x="698" y="280"/>
                  </a:lnTo>
                  <a:lnTo>
                    <a:pt x="696" y="284"/>
                  </a:lnTo>
                  <a:lnTo>
                    <a:pt x="692" y="284"/>
                  </a:lnTo>
                  <a:lnTo>
                    <a:pt x="692" y="286"/>
                  </a:lnTo>
                  <a:lnTo>
                    <a:pt x="688" y="284"/>
                  </a:lnTo>
                  <a:lnTo>
                    <a:pt x="688" y="286"/>
                  </a:lnTo>
                  <a:lnTo>
                    <a:pt x="684" y="290"/>
                  </a:lnTo>
                  <a:lnTo>
                    <a:pt x="680" y="290"/>
                  </a:lnTo>
                  <a:lnTo>
                    <a:pt x="680" y="294"/>
                  </a:lnTo>
                  <a:lnTo>
                    <a:pt x="676" y="298"/>
                  </a:lnTo>
                  <a:lnTo>
                    <a:pt x="674" y="298"/>
                  </a:lnTo>
                  <a:lnTo>
                    <a:pt x="674" y="294"/>
                  </a:lnTo>
                  <a:lnTo>
                    <a:pt x="676" y="294"/>
                  </a:lnTo>
                  <a:lnTo>
                    <a:pt x="676" y="290"/>
                  </a:lnTo>
                  <a:lnTo>
                    <a:pt x="680" y="290"/>
                  </a:lnTo>
                  <a:lnTo>
                    <a:pt x="676" y="290"/>
                  </a:lnTo>
                  <a:lnTo>
                    <a:pt x="676" y="286"/>
                  </a:lnTo>
                  <a:lnTo>
                    <a:pt x="680" y="286"/>
                  </a:lnTo>
                  <a:lnTo>
                    <a:pt x="676" y="286"/>
                  </a:lnTo>
                  <a:lnTo>
                    <a:pt x="676" y="284"/>
                  </a:lnTo>
                  <a:lnTo>
                    <a:pt x="674" y="284"/>
                  </a:lnTo>
                  <a:lnTo>
                    <a:pt x="676" y="280"/>
                  </a:lnTo>
                  <a:lnTo>
                    <a:pt x="676" y="276"/>
                  </a:lnTo>
                  <a:lnTo>
                    <a:pt x="680" y="276"/>
                  </a:lnTo>
                  <a:lnTo>
                    <a:pt x="684" y="272"/>
                  </a:lnTo>
                  <a:lnTo>
                    <a:pt x="684" y="268"/>
                  </a:lnTo>
                  <a:lnTo>
                    <a:pt x="688" y="268"/>
                  </a:lnTo>
                  <a:lnTo>
                    <a:pt x="688" y="264"/>
                  </a:lnTo>
                  <a:lnTo>
                    <a:pt x="684" y="260"/>
                  </a:lnTo>
                  <a:lnTo>
                    <a:pt x="684" y="256"/>
                  </a:lnTo>
                  <a:lnTo>
                    <a:pt x="680" y="256"/>
                  </a:lnTo>
                  <a:lnTo>
                    <a:pt x="676" y="256"/>
                  </a:lnTo>
                  <a:lnTo>
                    <a:pt x="674" y="256"/>
                  </a:lnTo>
                  <a:lnTo>
                    <a:pt x="670" y="256"/>
                  </a:lnTo>
                  <a:lnTo>
                    <a:pt x="670" y="260"/>
                  </a:lnTo>
                  <a:lnTo>
                    <a:pt x="666" y="264"/>
                  </a:lnTo>
                  <a:lnTo>
                    <a:pt x="662" y="264"/>
                  </a:lnTo>
                  <a:lnTo>
                    <a:pt x="662" y="268"/>
                  </a:lnTo>
                  <a:lnTo>
                    <a:pt x="658" y="272"/>
                  </a:lnTo>
                  <a:lnTo>
                    <a:pt x="656" y="272"/>
                  </a:lnTo>
                  <a:lnTo>
                    <a:pt x="656" y="276"/>
                  </a:lnTo>
                  <a:lnTo>
                    <a:pt x="652" y="276"/>
                  </a:lnTo>
                  <a:lnTo>
                    <a:pt x="648" y="280"/>
                  </a:lnTo>
                  <a:lnTo>
                    <a:pt x="648" y="284"/>
                  </a:lnTo>
                  <a:lnTo>
                    <a:pt x="648" y="286"/>
                  </a:lnTo>
                  <a:lnTo>
                    <a:pt x="644" y="286"/>
                  </a:lnTo>
                  <a:lnTo>
                    <a:pt x="644" y="290"/>
                  </a:lnTo>
                  <a:lnTo>
                    <a:pt x="640" y="290"/>
                  </a:lnTo>
                  <a:lnTo>
                    <a:pt x="636" y="290"/>
                  </a:lnTo>
                  <a:lnTo>
                    <a:pt x="632" y="290"/>
                  </a:lnTo>
                  <a:lnTo>
                    <a:pt x="628" y="290"/>
                  </a:lnTo>
                  <a:lnTo>
                    <a:pt x="628" y="286"/>
                  </a:lnTo>
                  <a:lnTo>
                    <a:pt x="626" y="290"/>
                  </a:lnTo>
                  <a:lnTo>
                    <a:pt x="622" y="294"/>
                  </a:lnTo>
                  <a:lnTo>
                    <a:pt x="622" y="298"/>
                  </a:lnTo>
                  <a:lnTo>
                    <a:pt x="622" y="302"/>
                  </a:lnTo>
                  <a:lnTo>
                    <a:pt x="622" y="306"/>
                  </a:lnTo>
                  <a:lnTo>
                    <a:pt x="626" y="306"/>
                  </a:lnTo>
                  <a:lnTo>
                    <a:pt x="626" y="310"/>
                  </a:lnTo>
                  <a:lnTo>
                    <a:pt x="628" y="310"/>
                  </a:lnTo>
                  <a:lnTo>
                    <a:pt x="632" y="310"/>
                  </a:lnTo>
                  <a:lnTo>
                    <a:pt x="636" y="310"/>
                  </a:lnTo>
                  <a:lnTo>
                    <a:pt x="640" y="310"/>
                  </a:lnTo>
                  <a:lnTo>
                    <a:pt x="640" y="312"/>
                  </a:lnTo>
                  <a:lnTo>
                    <a:pt x="644" y="312"/>
                  </a:lnTo>
                  <a:lnTo>
                    <a:pt x="644" y="316"/>
                  </a:lnTo>
                  <a:lnTo>
                    <a:pt x="644" y="320"/>
                  </a:lnTo>
                  <a:lnTo>
                    <a:pt x="640" y="320"/>
                  </a:lnTo>
                  <a:lnTo>
                    <a:pt x="640" y="324"/>
                  </a:lnTo>
                  <a:lnTo>
                    <a:pt x="644" y="328"/>
                  </a:lnTo>
                  <a:lnTo>
                    <a:pt x="648" y="328"/>
                  </a:lnTo>
                  <a:lnTo>
                    <a:pt x="652" y="328"/>
                  </a:lnTo>
                  <a:lnTo>
                    <a:pt x="656" y="328"/>
                  </a:lnTo>
                  <a:lnTo>
                    <a:pt x="656" y="324"/>
                  </a:lnTo>
                  <a:lnTo>
                    <a:pt x="658" y="324"/>
                  </a:lnTo>
                  <a:lnTo>
                    <a:pt x="658" y="320"/>
                  </a:lnTo>
                  <a:lnTo>
                    <a:pt x="662" y="320"/>
                  </a:lnTo>
                  <a:lnTo>
                    <a:pt x="662" y="316"/>
                  </a:lnTo>
                  <a:lnTo>
                    <a:pt x="666" y="316"/>
                  </a:lnTo>
                  <a:lnTo>
                    <a:pt x="670" y="316"/>
                  </a:lnTo>
                  <a:lnTo>
                    <a:pt x="674" y="320"/>
                  </a:lnTo>
                  <a:lnTo>
                    <a:pt x="676" y="320"/>
                  </a:lnTo>
                  <a:lnTo>
                    <a:pt x="676" y="324"/>
                  </a:lnTo>
                  <a:lnTo>
                    <a:pt x="680" y="324"/>
                  </a:lnTo>
                  <a:lnTo>
                    <a:pt x="684" y="324"/>
                  </a:lnTo>
                  <a:lnTo>
                    <a:pt x="684" y="320"/>
                  </a:lnTo>
                  <a:lnTo>
                    <a:pt x="688" y="320"/>
                  </a:lnTo>
                  <a:lnTo>
                    <a:pt x="684" y="320"/>
                  </a:lnTo>
                  <a:lnTo>
                    <a:pt x="688" y="324"/>
                  </a:lnTo>
                  <a:lnTo>
                    <a:pt x="692" y="324"/>
                  </a:lnTo>
                  <a:lnTo>
                    <a:pt x="692" y="328"/>
                  </a:lnTo>
                  <a:lnTo>
                    <a:pt x="688" y="332"/>
                  </a:lnTo>
                  <a:lnTo>
                    <a:pt x="692" y="332"/>
                  </a:lnTo>
                  <a:lnTo>
                    <a:pt x="688" y="336"/>
                  </a:lnTo>
                  <a:lnTo>
                    <a:pt x="688" y="332"/>
                  </a:lnTo>
                  <a:lnTo>
                    <a:pt x="684" y="332"/>
                  </a:lnTo>
                  <a:lnTo>
                    <a:pt x="680" y="336"/>
                  </a:lnTo>
                  <a:lnTo>
                    <a:pt x="676" y="336"/>
                  </a:lnTo>
                  <a:lnTo>
                    <a:pt x="674" y="336"/>
                  </a:lnTo>
                  <a:lnTo>
                    <a:pt x="674" y="340"/>
                  </a:lnTo>
                  <a:lnTo>
                    <a:pt x="670" y="340"/>
                  </a:lnTo>
                  <a:lnTo>
                    <a:pt x="666" y="340"/>
                  </a:lnTo>
                  <a:lnTo>
                    <a:pt x="670" y="340"/>
                  </a:lnTo>
                  <a:lnTo>
                    <a:pt x="670" y="342"/>
                  </a:lnTo>
                  <a:lnTo>
                    <a:pt x="666" y="342"/>
                  </a:lnTo>
                  <a:lnTo>
                    <a:pt x="666" y="346"/>
                  </a:lnTo>
                  <a:lnTo>
                    <a:pt x="662" y="350"/>
                  </a:lnTo>
                  <a:lnTo>
                    <a:pt x="658" y="350"/>
                  </a:lnTo>
                  <a:lnTo>
                    <a:pt x="662" y="346"/>
                  </a:lnTo>
                  <a:lnTo>
                    <a:pt x="658" y="346"/>
                  </a:lnTo>
                  <a:lnTo>
                    <a:pt x="658" y="350"/>
                  </a:lnTo>
                  <a:lnTo>
                    <a:pt x="658" y="354"/>
                  </a:lnTo>
                  <a:lnTo>
                    <a:pt x="656" y="354"/>
                  </a:lnTo>
                  <a:lnTo>
                    <a:pt x="656" y="358"/>
                  </a:lnTo>
                  <a:lnTo>
                    <a:pt x="652" y="358"/>
                  </a:lnTo>
                  <a:lnTo>
                    <a:pt x="652" y="362"/>
                  </a:lnTo>
                  <a:lnTo>
                    <a:pt x="648" y="362"/>
                  </a:lnTo>
                  <a:lnTo>
                    <a:pt x="648" y="366"/>
                  </a:lnTo>
                  <a:lnTo>
                    <a:pt x="648" y="368"/>
                  </a:lnTo>
                  <a:lnTo>
                    <a:pt x="644" y="368"/>
                  </a:lnTo>
                  <a:lnTo>
                    <a:pt x="644" y="372"/>
                  </a:lnTo>
                  <a:lnTo>
                    <a:pt x="648" y="372"/>
                  </a:lnTo>
                  <a:lnTo>
                    <a:pt x="648" y="376"/>
                  </a:lnTo>
                  <a:lnTo>
                    <a:pt x="652" y="376"/>
                  </a:lnTo>
                  <a:lnTo>
                    <a:pt x="656" y="380"/>
                  </a:lnTo>
                  <a:lnTo>
                    <a:pt x="658" y="380"/>
                  </a:lnTo>
                  <a:lnTo>
                    <a:pt x="662" y="384"/>
                  </a:lnTo>
                  <a:lnTo>
                    <a:pt x="662" y="388"/>
                  </a:lnTo>
                  <a:lnTo>
                    <a:pt x="662" y="392"/>
                  </a:lnTo>
                  <a:lnTo>
                    <a:pt x="662" y="396"/>
                  </a:lnTo>
                  <a:lnTo>
                    <a:pt x="666" y="398"/>
                  </a:lnTo>
                  <a:lnTo>
                    <a:pt x="666" y="402"/>
                  </a:lnTo>
                  <a:lnTo>
                    <a:pt x="670" y="406"/>
                  </a:lnTo>
                  <a:lnTo>
                    <a:pt x="670" y="410"/>
                  </a:lnTo>
                  <a:lnTo>
                    <a:pt x="670" y="414"/>
                  </a:lnTo>
                  <a:lnTo>
                    <a:pt x="674" y="414"/>
                  </a:lnTo>
                  <a:lnTo>
                    <a:pt x="674" y="418"/>
                  </a:lnTo>
                  <a:lnTo>
                    <a:pt x="676" y="418"/>
                  </a:lnTo>
                  <a:lnTo>
                    <a:pt x="676" y="422"/>
                  </a:lnTo>
                  <a:lnTo>
                    <a:pt x="680" y="424"/>
                  </a:lnTo>
                  <a:lnTo>
                    <a:pt x="680" y="428"/>
                  </a:lnTo>
                  <a:lnTo>
                    <a:pt x="684" y="428"/>
                  </a:lnTo>
                  <a:lnTo>
                    <a:pt x="684" y="432"/>
                  </a:lnTo>
                  <a:lnTo>
                    <a:pt x="680" y="432"/>
                  </a:lnTo>
                  <a:lnTo>
                    <a:pt x="680" y="428"/>
                  </a:lnTo>
                  <a:lnTo>
                    <a:pt x="676" y="428"/>
                  </a:lnTo>
                  <a:lnTo>
                    <a:pt x="674" y="428"/>
                  </a:lnTo>
                  <a:lnTo>
                    <a:pt x="670" y="428"/>
                  </a:lnTo>
                  <a:lnTo>
                    <a:pt x="670" y="424"/>
                  </a:lnTo>
                  <a:lnTo>
                    <a:pt x="666" y="424"/>
                  </a:lnTo>
                  <a:lnTo>
                    <a:pt x="662" y="422"/>
                  </a:lnTo>
                  <a:lnTo>
                    <a:pt x="662" y="424"/>
                  </a:lnTo>
                  <a:lnTo>
                    <a:pt x="658" y="424"/>
                  </a:lnTo>
                  <a:lnTo>
                    <a:pt x="656" y="424"/>
                  </a:lnTo>
                  <a:lnTo>
                    <a:pt x="656" y="422"/>
                  </a:lnTo>
                  <a:lnTo>
                    <a:pt x="656" y="418"/>
                  </a:lnTo>
                  <a:lnTo>
                    <a:pt x="652" y="418"/>
                  </a:lnTo>
                  <a:lnTo>
                    <a:pt x="652" y="422"/>
                  </a:lnTo>
                  <a:lnTo>
                    <a:pt x="656" y="422"/>
                  </a:lnTo>
                  <a:lnTo>
                    <a:pt x="652" y="422"/>
                  </a:lnTo>
                  <a:lnTo>
                    <a:pt x="656" y="422"/>
                  </a:lnTo>
                  <a:lnTo>
                    <a:pt x="656" y="424"/>
                  </a:lnTo>
                  <a:lnTo>
                    <a:pt x="658" y="424"/>
                  </a:lnTo>
                  <a:lnTo>
                    <a:pt x="662" y="424"/>
                  </a:lnTo>
                  <a:lnTo>
                    <a:pt x="666" y="424"/>
                  </a:lnTo>
                  <a:lnTo>
                    <a:pt x="666" y="428"/>
                  </a:lnTo>
                  <a:lnTo>
                    <a:pt x="670" y="428"/>
                  </a:lnTo>
                  <a:lnTo>
                    <a:pt x="674" y="428"/>
                  </a:lnTo>
                  <a:lnTo>
                    <a:pt x="674" y="432"/>
                  </a:lnTo>
                  <a:lnTo>
                    <a:pt x="676" y="436"/>
                  </a:lnTo>
                  <a:lnTo>
                    <a:pt x="680" y="436"/>
                  </a:lnTo>
                  <a:lnTo>
                    <a:pt x="680" y="440"/>
                  </a:lnTo>
                  <a:lnTo>
                    <a:pt x="680" y="444"/>
                  </a:lnTo>
                  <a:lnTo>
                    <a:pt x="684" y="444"/>
                  </a:lnTo>
                  <a:lnTo>
                    <a:pt x="684" y="448"/>
                  </a:lnTo>
                  <a:lnTo>
                    <a:pt x="680" y="448"/>
                  </a:lnTo>
                  <a:lnTo>
                    <a:pt x="676" y="448"/>
                  </a:lnTo>
                  <a:lnTo>
                    <a:pt x="674" y="448"/>
                  </a:lnTo>
                  <a:lnTo>
                    <a:pt x="674" y="452"/>
                  </a:lnTo>
                  <a:lnTo>
                    <a:pt x="670" y="452"/>
                  </a:lnTo>
                  <a:lnTo>
                    <a:pt x="670" y="454"/>
                  </a:lnTo>
                  <a:lnTo>
                    <a:pt x="666" y="454"/>
                  </a:lnTo>
                  <a:lnTo>
                    <a:pt x="662" y="454"/>
                  </a:lnTo>
                  <a:lnTo>
                    <a:pt x="658" y="458"/>
                  </a:lnTo>
                  <a:lnTo>
                    <a:pt x="662" y="458"/>
                  </a:lnTo>
                  <a:lnTo>
                    <a:pt x="662" y="454"/>
                  </a:lnTo>
                  <a:lnTo>
                    <a:pt x="666" y="458"/>
                  </a:lnTo>
                  <a:lnTo>
                    <a:pt x="666" y="462"/>
                  </a:lnTo>
                  <a:lnTo>
                    <a:pt x="666" y="458"/>
                  </a:lnTo>
                  <a:lnTo>
                    <a:pt x="670" y="458"/>
                  </a:lnTo>
                  <a:lnTo>
                    <a:pt x="674" y="454"/>
                  </a:lnTo>
                  <a:lnTo>
                    <a:pt x="676" y="454"/>
                  </a:lnTo>
                  <a:lnTo>
                    <a:pt x="676" y="458"/>
                  </a:lnTo>
                  <a:lnTo>
                    <a:pt x="680" y="462"/>
                  </a:lnTo>
                  <a:lnTo>
                    <a:pt x="684" y="462"/>
                  </a:lnTo>
                  <a:lnTo>
                    <a:pt x="684" y="466"/>
                  </a:lnTo>
                  <a:lnTo>
                    <a:pt x="680" y="466"/>
                  </a:lnTo>
                  <a:lnTo>
                    <a:pt x="680" y="470"/>
                  </a:lnTo>
                  <a:lnTo>
                    <a:pt x="676" y="470"/>
                  </a:lnTo>
                  <a:lnTo>
                    <a:pt x="676" y="474"/>
                  </a:lnTo>
                  <a:lnTo>
                    <a:pt x="676" y="470"/>
                  </a:lnTo>
                  <a:lnTo>
                    <a:pt x="680" y="470"/>
                  </a:lnTo>
                  <a:lnTo>
                    <a:pt x="684" y="470"/>
                  </a:lnTo>
                  <a:lnTo>
                    <a:pt x="684" y="474"/>
                  </a:lnTo>
                  <a:lnTo>
                    <a:pt x="684" y="478"/>
                  </a:lnTo>
                  <a:lnTo>
                    <a:pt x="680" y="478"/>
                  </a:lnTo>
                  <a:lnTo>
                    <a:pt x="680" y="474"/>
                  </a:lnTo>
                  <a:lnTo>
                    <a:pt x="680" y="478"/>
                  </a:lnTo>
                  <a:lnTo>
                    <a:pt x="676" y="478"/>
                  </a:lnTo>
                  <a:lnTo>
                    <a:pt x="676" y="474"/>
                  </a:lnTo>
                  <a:lnTo>
                    <a:pt x="676" y="478"/>
                  </a:lnTo>
                  <a:lnTo>
                    <a:pt x="680" y="478"/>
                  </a:lnTo>
                  <a:lnTo>
                    <a:pt x="680" y="480"/>
                  </a:lnTo>
                  <a:lnTo>
                    <a:pt x="676" y="480"/>
                  </a:lnTo>
                  <a:lnTo>
                    <a:pt x="680" y="484"/>
                  </a:lnTo>
                  <a:lnTo>
                    <a:pt x="676" y="484"/>
                  </a:lnTo>
                  <a:lnTo>
                    <a:pt x="674" y="484"/>
                  </a:lnTo>
                  <a:lnTo>
                    <a:pt x="676" y="484"/>
                  </a:lnTo>
                  <a:lnTo>
                    <a:pt x="676" y="488"/>
                  </a:lnTo>
                  <a:lnTo>
                    <a:pt x="676" y="492"/>
                  </a:lnTo>
                  <a:lnTo>
                    <a:pt x="680" y="492"/>
                  </a:lnTo>
                  <a:lnTo>
                    <a:pt x="676" y="492"/>
                  </a:lnTo>
                  <a:lnTo>
                    <a:pt x="676" y="496"/>
                  </a:lnTo>
                  <a:lnTo>
                    <a:pt x="674" y="496"/>
                  </a:lnTo>
                  <a:lnTo>
                    <a:pt x="674" y="492"/>
                  </a:lnTo>
                  <a:lnTo>
                    <a:pt x="674" y="496"/>
                  </a:lnTo>
                  <a:lnTo>
                    <a:pt x="670" y="496"/>
                  </a:lnTo>
                  <a:lnTo>
                    <a:pt x="670" y="500"/>
                  </a:lnTo>
                  <a:lnTo>
                    <a:pt x="666" y="496"/>
                  </a:lnTo>
                  <a:lnTo>
                    <a:pt x="666" y="500"/>
                  </a:lnTo>
                  <a:lnTo>
                    <a:pt x="670" y="500"/>
                  </a:lnTo>
                  <a:lnTo>
                    <a:pt x="666" y="500"/>
                  </a:lnTo>
                  <a:lnTo>
                    <a:pt x="666" y="504"/>
                  </a:lnTo>
                  <a:lnTo>
                    <a:pt x="666" y="508"/>
                  </a:lnTo>
                  <a:lnTo>
                    <a:pt x="666" y="510"/>
                  </a:lnTo>
                  <a:lnTo>
                    <a:pt x="662" y="510"/>
                  </a:lnTo>
                  <a:lnTo>
                    <a:pt x="662" y="514"/>
                  </a:lnTo>
                  <a:lnTo>
                    <a:pt x="662" y="510"/>
                  </a:lnTo>
                  <a:lnTo>
                    <a:pt x="662" y="514"/>
                  </a:lnTo>
                  <a:lnTo>
                    <a:pt x="662" y="510"/>
                  </a:lnTo>
                  <a:lnTo>
                    <a:pt x="658" y="510"/>
                  </a:lnTo>
                  <a:lnTo>
                    <a:pt x="662" y="510"/>
                  </a:lnTo>
                  <a:lnTo>
                    <a:pt x="662" y="514"/>
                  </a:lnTo>
                  <a:lnTo>
                    <a:pt x="658" y="514"/>
                  </a:lnTo>
                  <a:lnTo>
                    <a:pt x="658" y="518"/>
                  </a:lnTo>
                  <a:lnTo>
                    <a:pt x="656" y="518"/>
                  </a:lnTo>
                  <a:lnTo>
                    <a:pt x="658" y="518"/>
                  </a:lnTo>
                  <a:lnTo>
                    <a:pt x="658" y="522"/>
                  </a:lnTo>
                  <a:lnTo>
                    <a:pt x="656" y="522"/>
                  </a:lnTo>
                  <a:lnTo>
                    <a:pt x="656" y="526"/>
                  </a:lnTo>
                  <a:lnTo>
                    <a:pt x="656" y="522"/>
                  </a:lnTo>
                  <a:lnTo>
                    <a:pt x="658" y="522"/>
                  </a:lnTo>
                  <a:lnTo>
                    <a:pt x="656" y="518"/>
                  </a:lnTo>
                  <a:lnTo>
                    <a:pt x="656" y="522"/>
                  </a:lnTo>
                  <a:lnTo>
                    <a:pt x="656" y="518"/>
                  </a:lnTo>
                  <a:lnTo>
                    <a:pt x="652" y="518"/>
                  </a:lnTo>
                  <a:lnTo>
                    <a:pt x="652" y="522"/>
                  </a:lnTo>
                  <a:lnTo>
                    <a:pt x="652" y="518"/>
                  </a:lnTo>
                  <a:lnTo>
                    <a:pt x="652" y="522"/>
                  </a:lnTo>
                  <a:lnTo>
                    <a:pt x="652" y="526"/>
                  </a:lnTo>
                  <a:lnTo>
                    <a:pt x="652" y="522"/>
                  </a:lnTo>
                  <a:lnTo>
                    <a:pt x="656" y="526"/>
                  </a:lnTo>
                  <a:lnTo>
                    <a:pt x="652" y="526"/>
                  </a:lnTo>
                  <a:lnTo>
                    <a:pt x="652" y="530"/>
                  </a:lnTo>
                  <a:lnTo>
                    <a:pt x="656" y="526"/>
                  </a:lnTo>
                  <a:lnTo>
                    <a:pt x="656" y="530"/>
                  </a:lnTo>
                  <a:lnTo>
                    <a:pt x="652" y="530"/>
                  </a:lnTo>
                  <a:lnTo>
                    <a:pt x="652" y="534"/>
                  </a:lnTo>
                  <a:lnTo>
                    <a:pt x="648" y="534"/>
                  </a:lnTo>
                  <a:lnTo>
                    <a:pt x="644" y="534"/>
                  </a:lnTo>
                  <a:lnTo>
                    <a:pt x="648" y="534"/>
                  </a:lnTo>
                  <a:lnTo>
                    <a:pt x="648" y="536"/>
                  </a:lnTo>
                  <a:lnTo>
                    <a:pt x="648" y="534"/>
                  </a:lnTo>
                  <a:lnTo>
                    <a:pt x="652" y="534"/>
                  </a:lnTo>
                  <a:lnTo>
                    <a:pt x="652" y="536"/>
                  </a:lnTo>
                  <a:lnTo>
                    <a:pt x="652" y="540"/>
                  </a:lnTo>
                  <a:lnTo>
                    <a:pt x="648" y="540"/>
                  </a:lnTo>
                  <a:lnTo>
                    <a:pt x="652" y="540"/>
                  </a:lnTo>
                  <a:lnTo>
                    <a:pt x="652" y="544"/>
                  </a:lnTo>
                  <a:lnTo>
                    <a:pt x="652" y="548"/>
                  </a:lnTo>
                  <a:lnTo>
                    <a:pt x="652" y="544"/>
                  </a:lnTo>
                  <a:lnTo>
                    <a:pt x="648" y="544"/>
                  </a:lnTo>
                  <a:lnTo>
                    <a:pt x="648" y="540"/>
                  </a:lnTo>
                  <a:lnTo>
                    <a:pt x="648" y="544"/>
                  </a:lnTo>
                  <a:lnTo>
                    <a:pt x="644" y="544"/>
                  </a:lnTo>
                  <a:lnTo>
                    <a:pt x="648" y="548"/>
                  </a:lnTo>
                  <a:lnTo>
                    <a:pt x="644" y="552"/>
                  </a:lnTo>
                  <a:lnTo>
                    <a:pt x="644" y="548"/>
                  </a:lnTo>
                  <a:lnTo>
                    <a:pt x="640" y="548"/>
                  </a:lnTo>
                  <a:lnTo>
                    <a:pt x="640" y="552"/>
                  </a:lnTo>
                  <a:lnTo>
                    <a:pt x="644" y="552"/>
                  </a:lnTo>
                  <a:lnTo>
                    <a:pt x="640" y="556"/>
                  </a:lnTo>
                  <a:lnTo>
                    <a:pt x="636" y="556"/>
                  </a:lnTo>
                  <a:lnTo>
                    <a:pt x="640" y="556"/>
                  </a:lnTo>
                  <a:lnTo>
                    <a:pt x="636" y="552"/>
                  </a:lnTo>
                  <a:lnTo>
                    <a:pt x="636" y="556"/>
                  </a:lnTo>
                  <a:lnTo>
                    <a:pt x="640" y="556"/>
                  </a:lnTo>
                  <a:lnTo>
                    <a:pt x="636" y="560"/>
                  </a:lnTo>
                  <a:lnTo>
                    <a:pt x="632" y="560"/>
                  </a:lnTo>
                  <a:lnTo>
                    <a:pt x="628" y="560"/>
                  </a:lnTo>
                  <a:lnTo>
                    <a:pt x="628" y="564"/>
                  </a:lnTo>
                  <a:lnTo>
                    <a:pt x="626" y="564"/>
                  </a:lnTo>
                  <a:lnTo>
                    <a:pt x="628" y="564"/>
                  </a:lnTo>
                  <a:lnTo>
                    <a:pt x="628" y="566"/>
                  </a:lnTo>
                  <a:lnTo>
                    <a:pt x="626" y="570"/>
                  </a:lnTo>
                  <a:lnTo>
                    <a:pt x="622" y="570"/>
                  </a:lnTo>
                  <a:lnTo>
                    <a:pt x="622" y="574"/>
                  </a:lnTo>
                  <a:lnTo>
                    <a:pt x="618" y="574"/>
                  </a:lnTo>
                  <a:lnTo>
                    <a:pt x="618" y="578"/>
                  </a:lnTo>
                  <a:lnTo>
                    <a:pt x="614" y="578"/>
                  </a:lnTo>
                  <a:lnTo>
                    <a:pt x="610" y="578"/>
                  </a:lnTo>
                  <a:lnTo>
                    <a:pt x="610" y="582"/>
                  </a:lnTo>
                  <a:lnTo>
                    <a:pt x="606" y="582"/>
                  </a:lnTo>
                  <a:lnTo>
                    <a:pt x="610" y="582"/>
                  </a:lnTo>
                  <a:lnTo>
                    <a:pt x="610" y="586"/>
                  </a:lnTo>
                  <a:lnTo>
                    <a:pt x="606" y="586"/>
                  </a:lnTo>
                  <a:lnTo>
                    <a:pt x="606" y="590"/>
                  </a:lnTo>
                  <a:lnTo>
                    <a:pt x="602" y="590"/>
                  </a:lnTo>
                  <a:lnTo>
                    <a:pt x="602" y="592"/>
                  </a:lnTo>
                  <a:lnTo>
                    <a:pt x="600" y="590"/>
                  </a:lnTo>
                  <a:lnTo>
                    <a:pt x="600" y="592"/>
                  </a:lnTo>
                  <a:lnTo>
                    <a:pt x="596" y="592"/>
                  </a:lnTo>
                  <a:lnTo>
                    <a:pt x="596" y="590"/>
                  </a:lnTo>
                  <a:lnTo>
                    <a:pt x="592" y="592"/>
                  </a:lnTo>
                  <a:lnTo>
                    <a:pt x="596" y="592"/>
                  </a:lnTo>
                  <a:lnTo>
                    <a:pt x="592" y="592"/>
                  </a:lnTo>
                  <a:lnTo>
                    <a:pt x="588" y="592"/>
                  </a:lnTo>
                  <a:lnTo>
                    <a:pt x="584" y="592"/>
                  </a:lnTo>
                  <a:lnTo>
                    <a:pt x="584" y="596"/>
                  </a:lnTo>
                  <a:lnTo>
                    <a:pt x="580" y="596"/>
                  </a:lnTo>
                  <a:lnTo>
                    <a:pt x="580" y="592"/>
                  </a:lnTo>
                  <a:lnTo>
                    <a:pt x="584" y="592"/>
                  </a:lnTo>
                  <a:lnTo>
                    <a:pt x="580" y="592"/>
                  </a:lnTo>
                  <a:lnTo>
                    <a:pt x="580" y="596"/>
                  </a:lnTo>
                  <a:lnTo>
                    <a:pt x="576" y="596"/>
                  </a:lnTo>
                  <a:lnTo>
                    <a:pt x="572" y="596"/>
                  </a:lnTo>
                  <a:lnTo>
                    <a:pt x="576" y="596"/>
                  </a:lnTo>
                  <a:lnTo>
                    <a:pt x="576" y="600"/>
                  </a:lnTo>
                  <a:lnTo>
                    <a:pt x="572" y="600"/>
                  </a:lnTo>
                  <a:lnTo>
                    <a:pt x="570" y="600"/>
                  </a:lnTo>
                  <a:lnTo>
                    <a:pt x="570" y="596"/>
                  </a:lnTo>
                  <a:lnTo>
                    <a:pt x="572" y="596"/>
                  </a:lnTo>
                  <a:lnTo>
                    <a:pt x="570" y="596"/>
                  </a:lnTo>
                  <a:lnTo>
                    <a:pt x="570" y="592"/>
                  </a:lnTo>
                  <a:lnTo>
                    <a:pt x="566" y="590"/>
                  </a:lnTo>
                  <a:lnTo>
                    <a:pt x="566" y="586"/>
                  </a:lnTo>
                  <a:lnTo>
                    <a:pt x="570" y="586"/>
                  </a:lnTo>
                  <a:lnTo>
                    <a:pt x="566" y="586"/>
                  </a:lnTo>
                  <a:lnTo>
                    <a:pt x="566" y="590"/>
                  </a:lnTo>
                  <a:lnTo>
                    <a:pt x="562" y="590"/>
                  </a:lnTo>
                  <a:lnTo>
                    <a:pt x="566" y="592"/>
                  </a:lnTo>
                  <a:lnTo>
                    <a:pt x="562" y="592"/>
                  </a:lnTo>
                  <a:lnTo>
                    <a:pt x="566" y="592"/>
                  </a:lnTo>
                  <a:lnTo>
                    <a:pt x="566" y="596"/>
                  </a:lnTo>
                  <a:lnTo>
                    <a:pt x="566" y="600"/>
                  </a:lnTo>
                  <a:lnTo>
                    <a:pt x="566" y="604"/>
                  </a:lnTo>
                  <a:lnTo>
                    <a:pt x="562" y="604"/>
                  </a:lnTo>
                  <a:lnTo>
                    <a:pt x="562" y="600"/>
                  </a:lnTo>
                  <a:lnTo>
                    <a:pt x="562" y="596"/>
                  </a:lnTo>
                  <a:lnTo>
                    <a:pt x="558" y="596"/>
                  </a:lnTo>
                  <a:lnTo>
                    <a:pt x="562" y="596"/>
                  </a:lnTo>
                  <a:lnTo>
                    <a:pt x="562" y="600"/>
                  </a:lnTo>
                  <a:lnTo>
                    <a:pt x="562" y="604"/>
                  </a:lnTo>
                  <a:lnTo>
                    <a:pt x="558" y="604"/>
                  </a:lnTo>
                  <a:lnTo>
                    <a:pt x="558" y="600"/>
                  </a:lnTo>
                  <a:lnTo>
                    <a:pt x="558" y="604"/>
                  </a:lnTo>
                  <a:lnTo>
                    <a:pt x="558" y="608"/>
                  </a:lnTo>
                  <a:lnTo>
                    <a:pt x="554" y="608"/>
                  </a:lnTo>
                  <a:lnTo>
                    <a:pt x="550" y="608"/>
                  </a:lnTo>
                  <a:lnTo>
                    <a:pt x="550" y="612"/>
                  </a:lnTo>
                  <a:lnTo>
                    <a:pt x="550" y="608"/>
                  </a:lnTo>
                  <a:lnTo>
                    <a:pt x="546" y="612"/>
                  </a:lnTo>
                  <a:lnTo>
                    <a:pt x="542" y="608"/>
                  </a:lnTo>
                  <a:lnTo>
                    <a:pt x="542" y="612"/>
                  </a:lnTo>
                  <a:lnTo>
                    <a:pt x="540" y="612"/>
                  </a:lnTo>
                  <a:lnTo>
                    <a:pt x="540" y="616"/>
                  </a:lnTo>
                  <a:lnTo>
                    <a:pt x="536" y="616"/>
                  </a:lnTo>
                  <a:lnTo>
                    <a:pt x="532" y="616"/>
                  </a:lnTo>
                  <a:lnTo>
                    <a:pt x="528" y="616"/>
                  </a:lnTo>
                  <a:lnTo>
                    <a:pt x="524" y="616"/>
                  </a:lnTo>
                  <a:lnTo>
                    <a:pt x="524" y="620"/>
                  </a:lnTo>
                  <a:lnTo>
                    <a:pt x="524" y="616"/>
                  </a:lnTo>
                  <a:lnTo>
                    <a:pt x="524" y="620"/>
                  </a:lnTo>
                  <a:lnTo>
                    <a:pt x="520" y="620"/>
                  </a:lnTo>
                  <a:lnTo>
                    <a:pt x="520" y="616"/>
                  </a:lnTo>
                  <a:lnTo>
                    <a:pt x="520" y="620"/>
                  </a:lnTo>
                  <a:lnTo>
                    <a:pt x="520" y="622"/>
                  </a:lnTo>
                  <a:lnTo>
                    <a:pt x="516" y="622"/>
                  </a:lnTo>
                  <a:lnTo>
                    <a:pt x="516" y="626"/>
                  </a:lnTo>
                  <a:lnTo>
                    <a:pt x="520" y="626"/>
                  </a:lnTo>
                  <a:lnTo>
                    <a:pt x="520" y="630"/>
                  </a:lnTo>
                  <a:lnTo>
                    <a:pt x="520" y="626"/>
                  </a:lnTo>
                  <a:lnTo>
                    <a:pt x="520" y="630"/>
                  </a:lnTo>
                  <a:lnTo>
                    <a:pt x="520" y="634"/>
                  </a:lnTo>
                  <a:lnTo>
                    <a:pt x="520" y="636"/>
                  </a:lnTo>
                  <a:lnTo>
                    <a:pt x="516" y="636"/>
                  </a:lnTo>
                  <a:lnTo>
                    <a:pt x="514" y="636"/>
                  </a:lnTo>
                  <a:lnTo>
                    <a:pt x="514" y="634"/>
                  </a:lnTo>
                  <a:lnTo>
                    <a:pt x="510" y="630"/>
                  </a:lnTo>
                  <a:lnTo>
                    <a:pt x="510" y="626"/>
                  </a:lnTo>
                  <a:lnTo>
                    <a:pt x="510" y="622"/>
                  </a:lnTo>
                  <a:lnTo>
                    <a:pt x="514" y="620"/>
                  </a:lnTo>
                  <a:lnTo>
                    <a:pt x="514" y="616"/>
                  </a:lnTo>
                  <a:lnTo>
                    <a:pt x="514" y="612"/>
                  </a:lnTo>
                  <a:lnTo>
                    <a:pt x="510" y="612"/>
                  </a:lnTo>
                  <a:lnTo>
                    <a:pt x="510" y="616"/>
                  </a:lnTo>
                  <a:lnTo>
                    <a:pt x="514" y="616"/>
                  </a:lnTo>
                  <a:lnTo>
                    <a:pt x="510" y="616"/>
                  </a:lnTo>
                  <a:lnTo>
                    <a:pt x="510" y="612"/>
                  </a:lnTo>
                  <a:lnTo>
                    <a:pt x="510" y="616"/>
                  </a:lnTo>
                  <a:lnTo>
                    <a:pt x="506" y="616"/>
                  </a:lnTo>
                  <a:lnTo>
                    <a:pt x="502" y="616"/>
                  </a:lnTo>
                  <a:lnTo>
                    <a:pt x="502" y="612"/>
                  </a:lnTo>
                  <a:lnTo>
                    <a:pt x="498" y="612"/>
                  </a:lnTo>
                  <a:lnTo>
                    <a:pt x="498" y="608"/>
                  </a:lnTo>
                  <a:lnTo>
                    <a:pt x="498" y="612"/>
                  </a:lnTo>
                  <a:lnTo>
                    <a:pt x="494" y="612"/>
                  </a:lnTo>
                  <a:lnTo>
                    <a:pt x="494" y="608"/>
                  </a:lnTo>
                  <a:lnTo>
                    <a:pt x="494" y="612"/>
                  </a:lnTo>
                  <a:lnTo>
                    <a:pt x="494" y="616"/>
                  </a:lnTo>
                  <a:lnTo>
                    <a:pt x="490" y="616"/>
                  </a:lnTo>
                  <a:lnTo>
                    <a:pt x="490" y="612"/>
                  </a:lnTo>
                  <a:lnTo>
                    <a:pt x="494" y="612"/>
                  </a:lnTo>
                  <a:lnTo>
                    <a:pt x="490" y="612"/>
                  </a:lnTo>
                  <a:lnTo>
                    <a:pt x="490" y="616"/>
                  </a:lnTo>
                  <a:lnTo>
                    <a:pt x="490" y="612"/>
                  </a:lnTo>
                  <a:lnTo>
                    <a:pt x="486" y="616"/>
                  </a:lnTo>
                  <a:lnTo>
                    <a:pt x="486" y="612"/>
                  </a:lnTo>
                  <a:lnTo>
                    <a:pt x="484" y="612"/>
                  </a:lnTo>
                  <a:lnTo>
                    <a:pt x="480" y="612"/>
                  </a:lnTo>
                  <a:lnTo>
                    <a:pt x="476" y="612"/>
                  </a:lnTo>
                  <a:lnTo>
                    <a:pt x="472" y="608"/>
                  </a:lnTo>
                  <a:lnTo>
                    <a:pt x="468" y="604"/>
                  </a:lnTo>
                  <a:lnTo>
                    <a:pt x="468" y="600"/>
                  </a:lnTo>
                  <a:lnTo>
                    <a:pt x="464" y="600"/>
                  </a:lnTo>
                  <a:lnTo>
                    <a:pt x="464" y="596"/>
                  </a:lnTo>
                  <a:lnTo>
                    <a:pt x="468" y="596"/>
                  </a:lnTo>
                  <a:lnTo>
                    <a:pt x="468" y="592"/>
                  </a:lnTo>
                  <a:lnTo>
                    <a:pt x="468" y="590"/>
                  </a:lnTo>
                  <a:lnTo>
                    <a:pt x="464" y="590"/>
                  </a:lnTo>
                  <a:lnTo>
                    <a:pt x="460" y="590"/>
                  </a:lnTo>
                  <a:lnTo>
                    <a:pt x="458" y="590"/>
                  </a:lnTo>
                  <a:lnTo>
                    <a:pt x="454" y="590"/>
                  </a:lnTo>
                  <a:lnTo>
                    <a:pt x="454" y="586"/>
                  </a:lnTo>
                  <a:lnTo>
                    <a:pt x="450" y="586"/>
                  </a:lnTo>
                  <a:lnTo>
                    <a:pt x="450" y="582"/>
                  </a:lnTo>
                  <a:lnTo>
                    <a:pt x="446" y="582"/>
                  </a:lnTo>
                  <a:lnTo>
                    <a:pt x="442" y="586"/>
                  </a:lnTo>
                  <a:lnTo>
                    <a:pt x="442" y="590"/>
                  </a:lnTo>
                  <a:lnTo>
                    <a:pt x="438" y="592"/>
                  </a:lnTo>
                  <a:lnTo>
                    <a:pt x="434" y="592"/>
                  </a:lnTo>
                  <a:lnTo>
                    <a:pt x="430" y="592"/>
                  </a:lnTo>
                  <a:lnTo>
                    <a:pt x="430" y="596"/>
                  </a:lnTo>
                  <a:lnTo>
                    <a:pt x="428" y="596"/>
                  </a:lnTo>
                  <a:lnTo>
                    <a:pt x="428" y="592"/>
                  </a:lnTo>
                  <a:lnTo>
                    <a:pt x="424" y="592"/>
                  </a:lnTo>
                  <a:lnTo>
                    <a:pt x="424" y="596"/>
                  </a:lnTo>
                  <a:lnTo>
                    <a:pt x="424" y="592"/>
                  </a:lnTo>
                  <a:lnTo>
                    <a:pt x="420" y="592"/>
                  </a:lnTo>
                  <a:lnTo>
                    <a:pt x="420" y="596"/>
                  </a:lnTo>
                  <a:lnTo>
                    <a:pt x="416" y="596"/>
                  </a:lnTo>
                  <a:lnTo>
                    <a:pt x="412" y="596"/>
                  </a:lnTo>
                  <a:lnTo>
                    <a:pt x="412" y="592"/>
                  </a:lnTo>
                  <a:lnTo>
                    <a:pt x="408" y="592"/>
                  </a:lnTo>
                  <a:lnTo>
                    <a:pt x="408" y="596"/>
                  </a:lnTo>
                  <a:lnTo>
                    <a:pt x="404" y="596"/>
                  </a:lnTo>
                  <a:lnTo>
                    <a:pt x="404" y="600"/>
                  </a:lnTo>
                  <a:lnTo>
                    <a:pt x="404" y="596"/>
                  </a:lnTo>
                  <a:lnTo>
                    <a:pt x="402" y="596"/>
                  </a:lnTo>
                  <a:lnTo>
                    <a:pt x="398" y="596"/>
                  </a:lnTo>
                  <a:lnTo>
                    <a:pt x="398" y="600"/>
                  </a:lnTo>
                  <a:lnTo>
                    <a:pt x="394" y="600"/>
                  </a:lnTo>
                  <a:lnTo>
                    <a:pt x="398" y="608"/>
                  </a:lnTo>
                  <a:lnTo>
                    <a:pt x="398" y="612"/>
                  </a:lnTo>
                  <a:lnTo>
                    <a:pt x="398" y="616"/>
                  </a:lnTo>
                  <a:lnTo>
                    <a:pt x="398" y="620"/>
                  </a:lnTo>
                  <a:lnTo>
                    <a:pt x="402" y="620"/>
                  </a:lnTo>
                  <a:lnTo>
                    <a:pt x="398" y="620"/>
                  </a:lnTo>
                  <a:lnTo>
                    <a:pt x="398" y="622"/>
                  </a:lnTo>
                  <a:lnTo>
                    <a:pt x="398" y="620"/>
                  </a:lnTo>
                  <a:lnTo>
                    <a:pt x="394" y="620"/>
                  </a:lnTo>
                  <a:lnTo>
                    <a:pt x="390" y="620"/>
                  </a:lnTo>
                  <a:lnTo>
                    <a:pt x="390" y="616"/>
                  </a:lnTo>
                  <a:lnTo>
                    <a:pt x="390" y="612"/>
                  </a:lnTo>
                  <a:lnTo>
                    <a:pt x="386" y="612"/>
                  </a:lnTo>
                  <a:lnTo>
                    <a:pt x="382" y="616"/>
                  </a:lnTo>
                  <a:lnTo>
                    <a:pt x="378" y="616"/>
                  </a:lnTo>
                  <a:lnTo>
                    <a:pt x="374" y="616"/>
                  </a:lnTo>
                  <a:lnTo>
                    <a:pt x="374" y="612"/>
                  </a:lnTo>
                  <a:lnTo>
                    <a:pt x="372" y="612"/>
                  </a:lnTo>
                  <a:lnTo>
                    <a:pt x="372" y="608"/>
                  </a:lnTo>
                  <a:lnTo>
                    <a:pt x="372" y="604"/>
                  </a:lnTo>
                  <a:lnTo>
                    <a:pt x="368" y="604"/>
                  </a:lnTo>
                  <a:lnTo>
                    <a:pt x="364" y="604"/>
                  </a:lnTo>
                  <a:lnTo>
                    <a:pt x="360" y="604"/>
                  </a:lnTo>
                  <a:lnTo>
                    <a:pt x="364" y="600"/>
                  </a:lnTo>
                  <a:lnTo>
                    <a:pt x="364" y="596"/>
                  </a:lnTo>
                  <a:lnTo>
                    <a:pt x="364" y="592"/>
                  </a:lnTo>
                  <a:lnTo>
                    <a:pt x="364" y="590"/>
                  </a:lnTo>
                  <a:lnTo>
                    <a:pt x="368" y="590"/>
                  </a:lnTo>
                  <a:lnTo>
                    <a:pt x="368" y="586"/>
                  </a:lnTo>
                  <a:lnTo>
                    <a:pt x="364" y="586"/>
                  </a:lnTo>
                  <a:lnTo>
                    <a:pt x="360" y="586"/>
                  </a:lnTo>
                  <a:lnTo>
                    <a:pt x="356" y="586"/>
                  </a:lnTo>
                  <a:lnTo>
                    <a:pt x="356" y="582"/>
                  </a:lnTo>
                  <a:lnTo>
                    <a:pt x="356" y="578"/>
                  </a:lnTo>
                  <a:lnTo>
                    <a:pt x="356" y="574"/>
                  </a:lnTo>
                  <a:lnTo>
                    <a:pt x="352" y="570"/>
                  </a:lnTo>
                  <a:lnTo>
                    <a:pt x="356" y="570"/>
                  </a:lnTo>
                  <a:lnTo>
                    <a:pt x="356" y="566"/>
                  </a:lnTo>
                  <a:lnTo>
                    <a:pt x="352" y="566"/>
                  </a:lnTo>
                  <a:lnTo>
                    <a:pt x="348" y="566"/>
                  </a:lnTo>
                  <a:lnTo>
                    <a:pt x="346" y="566"/>
                  </a:lnTo>
                  <a:lnTo>
                    <a:pt x="346" y="570"/>
                  </a:lnTo>
                  <a:lnTo>
                    <a:pt x="342" y="570"/>
                  </a:lnTo>
                  <a:lnTo>
                    <a:pt x="342" y="574"/>
                  </a:lnTo>
                  <a:lnTo>
                    <a:pt x="342" y="574"/>
                  </a:lnTo>
                  <a:lnTo>
                    <a:pt x="342" y="574"/>
                  </a:lnTo>
                  <a:close/>
                  <a:moveTo>
                    <a:pt x="658" y="578"/>
                  </a:moveTo>
                  <a:lnTo>
                    <a:pt x="658" y="574"/>
                  </a:lnTo>
                  <a:lnTo>
                    <a:pt x="658" y="570"/>
                  </a:lnTo>
                  <a:lnTo>
                    <a:pt x="662" y="570"/>
                  </a:lnTo>
                  <a:lnTo>
                    <a:pt x="662" y="566"/>
                  </a:lnTo>
                  <a:lnTo>
                    <a:pt x="662" y="564"/>
                  </a:lnTo>
                  <a:lnTo>
                    <a:pt x="666" y="564"/>
                  </a:lnTo>
                  <a:lnTo>
                    <a:pt x="666" y="560"/>
                  </a:lnTo>
                  <a:lnTo>
                    <a:pt x="670" y="556"/>
                  </a:lnTo>
                  <a:lnTo>
                    <a:pt x="670" y="552"/>
                  </a:lnTo>
                  <a:lnTo>
                    <a:pt x="674" y="552"/>
                  </a:lnTo>
                  <a:lnTo>
                    <a:pt x="674" y="548"/>
                  </a:lnTo>
                  <a:lnTo>
                    <a:pt x="676" y="548"/>
                  </a:lnTo>
                  <a:lnTo>
                    <a:pt x="676" y="552"/>
                  </a:lnTo>
                  <a:lnTo>
                    <a:pt x="676" y="548"/>
                  </a:lnTo>
                  <a:lnTo>
                    <a:pt x="680" y="548"/>
                  </a:lnTo>
                  <a:lnTo>
                    <a:pt x="680" y="552"/>
                  </a:lnTo>
                  <a:lnTo>
                    <a:pt x="684" y="552"/>
                  </a:lnTo>
                  <a:lnTo>
                    <a:pt x="680" y="556"/>
                  </a:lnTo>
                  <a:lnTo>
                    <a:pt x="680" y="560"/>
                  </a:lnTo>
                  <a:lnTo>
                    <a:pt x="680" y="564"/>
                  </a:lnTo>
                  <a:lnTo>
                    <a:pt x="680" y="566"/>
                  </a:lnTo>
                  <a:lnTo>
                    <a:pt x="676" y="570"/>
                  </a:lnTo>
                  <a:lnTo>
                    <a:pt x="680" y="570"/>
                  </a:lnTo>
                  <a:lnTo>
                    <a:pt x="676" y="570"/>
                  </a:lnTo>
                  <a:lnTo>
                    <a:pt x="676" y="574"/>
                  </a:lnTo>
                  <a:lnTo>
                    <a:pt x="676" y="578"/>
                  </a:lnTo>
                  <a:lnTo>
                    <a:pt x="676" y="582"/>
                  </a:lnTo>
                  <a:lnTo>
                    <a:pt x="676" y="586"/>
                  </a:lnTo>
                  <a:lnTo>
                    <a:pt x="674" y="590"/>
                  </a:lnTo>
                  <a:lnTo>
                    <a:pt x="674" y="592"/>
                  </a:lnTo>
                  <a:lnTo>
                    <a:pt x="670" y="592"/>
                  </a:lnTo>
                  <a:lnTo>
                    <a:pt x="670" y="596"/>
                  </a:lnTo>
                  <a:lnTo>
                    <a:pt x="670" y="600"/>
                  </a:lnTo>
                  <a:lnTo>
                    <a:pt x="670" y="604"/>
                  </a:lnTo>
                  <a:lnTo>
                    <a:pt x="670" y="608"/>
                  </a:lnTo>
                  <a:lnTo>
                    <a:pt x="666" y="608"/>
                  </a:lnTo>
                  <a:lnTo>
                    <a:pt x="666" y="604"/>
                  </a:lnTo>
                  <a:lnTo>
                    <a:pt x="666" y="600"/>
                  </a:lnTo>
                  <a:lnTo>
                    <a:pt x="662" y="600"/>
                  </a:lnTo>
                  <a:lnTo>
                    <a:pt x="662" y="596"/>
                  </a:lnTo>
                  <a:lnTo>
                    <a:pt x="658" y="596"/>
                  </a:lnTo>
                  <a:lnTo>
                    <a:pt x="658" y="592"/>
                  </a:lnTo>
                  <a:lnTo>
                    <a:pt x="658" y="590"/>
                  </a:lnTo>
                  <a:lnTo>
                    <a:pt x="658" y="586"/>
                  </a:lnTo>
                  <a:lnTo>
                    <a:pt x="658" y="582"/>
                  </a:lnTo>
                  <a:lnTo>
                    <a:pt x="658" y="578"/>
                  </a:lnTo>
                  <a:lnTo>
                    <a:pt x="658" y="578"/>
                  </a:lnTo>
                  <a:lnTo>
                    <a:pt x="658" y="578"/>
                  </a:lnTo>
                  <a:close/>
                  <a:moveTo>
                    <a:pt x="510" y="670"/>
                  </a:moveTo>
                  <a:lnTo>
                    <a:pt x="510" y="674"/>
                  </a:lnTo>
                  <a:lnTo>
                    <a:pt x="510" y="670"/>
                  </a:lnTo>
                  <a:lnTo>
                    <a:pt x="506" y="670"/>
                  </a:lnTo>
                  <a:lnTo>
                    <a:pt x="502" y="670"/>
                  </a:lnTo>
                  <a:lnTo>
                    <a:pt x="498" y="670"/>
                  </a:lnTo>
                  <a:lnTo>
                    <a:pt x="498" y="666"/>
                  </a:lnTo>
                  <a:lnTo>
                    <a:pt x="494" y="666"/>
                  </a:lnTo>
                  <a:lnTo>
                    <a:pt x="494" y="662"/>
                  </a:lnTo>
                  <a:lnTo>
                    <a:pt x="498" y="662"/>
                  </a:lnTo>
                  <a:lnTo>
                    <a:pt x="494" y="662"/>
                  </a:lnTo>
                  <a:lnTo>
                    <a:pt x="494" y="660"/>
                  </a:lnTo>
                  <a:lnTo>
                    <a:pt x="494" y="656"/>
                  </a:lnTo>
                  <a:lnTo>
                    <a:pt x="494" y="652"/>
                  </a:lnTo>
                  <a:lnTo>
                    <a:pt x="498" y="652"/>
                  </a:lnTo>
                  <a:lnTo>
                    <a:pt x="498" y="648"/>
                  </a:lnTo>
                  <a:lnTo>
                    <a:pt x="502" y="648"/>
                  </a:lnTo>
                  <a:lnTo>
                    <a:pt x="506" y="644"/>
                  </a:lnTo>
                  <a:lnTo>
                    <a:pt x="502" y="644"/>
                  </a:lnTo>
                  <a:lnTo>
                    <a:pt x="506" y="640"/>
                  </a:lnTo>
                  <a:lnTo>
                    <a:pt x="506" y="644"/>
                  </a:lnTo>
                  <a:lnTo>
                    <a:pt x="510" y="644"/>
                  </a:lnTo>
                  <a:lnTo>
                    <a:pt x="510" y="640"/>
                  </a:lnTo>
                  <a:lnTo>
                    <a:pt x="514" y="640"/>
                  </a:lnTo>
                  <a:lnTo>
                    <a:pt x="516" y="640"/>
                  </a:lnTo>
                  <a:lnTo>
                    <a:pt x="520" y="640"/>
                  </a:lnTo>
                  <a:lnTo>
                    <a:pt x="524" y="640"/>
                  </a:lnTo>
                  <a:lnTo>
                    <a:pt x="524" y="636"/>
                  </a:lnTo>
                  <a:lnTo>
                    <a:pt x="524" y="640"/>
                  </a:lnTo>
                  <a:lnTo>
                    <a:pt x="528" y="640"/>
                  </a:lnTo>
                  <a:lnTo>
                    <a:pt x="528" y="648"/>
                  </a:lnTo>
                  <a:lnTo>
                    <a:pt x="524" y="652"/>
                  </a:lnTo>
                  <a:lnTo>
                    <a:pt x="524" y="656"/>
                  </a:lnTo>
                  <a:lnTo>
                    <a:pt x="520" y="656"/>
                  </a:lnTo>
                  <a:lnTo>
                    <a:pt x="524" y="656"/>
                  </a:lnTo>
                  <a:lnTo>
                    <a:pt x="520" y="660"/>
                  </a:lnTo>
                  <a:lnTo>
                    <a:pt x="520" y="662"/>
                  </a:lnTo>
                  <a:lnTo>
                    <a:pt x="516" y="662"/>
                  </a:lnTo>
                  <a:lnTo>
                    <a:pt x="516" y="666"/>
                  </a:lnTo>
                  <a:lnTo>
                    <a:pt x="516" y="670"/>
                  </a:lnTo>
                  <a:lnTo>
                    <a:pt x="514" y="670"/>
                  </a:lnTo>
                  <a:lnTo>
                    <a:pt x="514" y="666"/>
                  </a:lnTo>
                  <a:lnTo>
                    <a:pt x="514" y="670"/>
                  </a:lnTo>
                  <a:lnTo>
                    <a:pt x="510" y="670"/>
                  </a:lnTo>
                  <a:lnTo>
                    <a:pt x="510" y="670"/>
                  </a:lnTo>
                  <a:lnTo>
                    <a:pt x="510" y="670"/>
                  </a:lnTo>
                  <a:close/>
                  <a:moveTo>
                    <a:pt x="674" y="428"/>
                  </a:moveTo>
                  <a:lnTo>
                    <a:pt x="676" y="428"/>
                  </a:lnTo>
                  <a:lnTo>
                    <a:pt x="676" y="432"/>
                  </a:lnTo>
                  <a:lnTo>
                    <a:pt x="680" y="432"/>
                  </a:lnTo>
                  <a:lnTo>
                    <a:pt x="684" y="432"/>
                  </a:lnTo>
                  <a:lnTo>
                    <a:pt x="680" y="432"/>
                  </a:lnTo>
                  <a:lnTo>
                    <a:pt x="680" y="436"/>
                  </a:lnTo>
                  <a:lnTo>
                    <a:pt x="676" y="432"/>
                  </a:lnTo>
                  <a:lnTo>
                    <a:pt x="674" y="432"/>
                  </a:lnTo>
                  <a:lnTo>
                    <a:pt x="674" y="428"/>
                  </a:lnTo>
                  <a:lnTo>
                    <a:pt x="674" y="428"/>
                  </a:lnTo>
                  <a:lnTo>
                    <a:pt x="674" y="428"/>
                  </a:lnTo>
                  <a:close/>
                  <a:moveTo>
                    <a:pt x="684" y="462"/>
                  </a:moveTo>
                  <a:lnTo>
                    <a:pt x="684" y="458"/>
                  </a:lnTo>
                  <a:lnTo>
                    <a:pt x="688" y="458"/>
                  </a:lnTo>
                  <a:lnTo>
                    <a:pt x="688" y="462"/>
                  </a:lnTo>
                  <a:lnTo>
                    <a:pt x="684" y="462"/>
                  </a:lnTo>
                  <a:lnTo>
                    <a:pt x="684" y="462"/>
                  </a:lnTo>
                  <a:lnTo>
                    <a:pt x="684" y="462"/>
                  </a:lnTo>
                  <a:close/>
                  <a:moveTo>
                    <a:pt x="652" y="544"/>
                  </a:moveTo>
                  <a:lnTo>
                    <a:pt x="652" y="540"/>
                  </a:lnTo>
                  <a:lnTo>
                    <a:pt x="656" y="540"/>
                  </a:lnTo>
                  <a:lnTo>
                    <a:pt x="656" y="544"/>
                  </a:lnTo>
                  <a:lnTo>
                    <a:pt x="652" y="544"/>
                  </a:lnTo>
                  <a:lnTo>
                    <a:pt x="652" y="544"/>
                  </a:lnTo>
                  <a:lnTo>
                    <a:pt x="652" y="544"/>
                  </a:lnTo>
                  <a:close/>
                  <a:moveTo>
                    <a:pt x="622" y="574"/>
                  </a:moveTo>
                  <a:lnTo>
                    <a:pt x="622" y="578"/>
                  </a:lnTo>
                  <a:lnTo>
                    <a:pt x="618" y="578"/>
                  </a:lnTo>
                  <a:lnTo>
                    <a:pt x="618" y="574"/>
                  </a:lnTo>
                  <a:lnTo>
                    <a:pt x="622" y="574"/>
                  </a:lnTo>
                  <a:lnTo>
                    <a:pt x="622" y="574"/>
                  </a:lnTo>
                  <a:lnTo>
                    <a:pt x="622" y="574"/>
                  </a:lnTo>
                  <a:close/>
                  <a:moveTo>
                    <a:pt x="520" y="622"/>
                  </a:moveTo>
                  <a:lnTo>
                    <a:pt x="524" y="622"/>
                  </a:lnTo>
                  <a:lnTo>
                    <a:pt x="520" y="622"/>
                  </a:lnTo>
                  <a:lnTo>
                    <a:pt x="516" y="622"/>
                  </a:lnTo>
                  <a:lnTo>
                    <a:pt x="520" y="622"/>
                  </a:lnTo>
                  <a:lnTo>
                    <a:pt x="520" y="622"/>
                  </a:lnTo>
                  <a:lnTo>
                    <a:pt x="520" y="622"/>
                  </a:lnTo>
                  <a:close/>
                  <a:moveTo>
                    <a:pt x="676" y="286"/>
                  </a:moveTo>
                  <a:lnTo>
                    <a:pt x="674" y="286"/>
                  </a:lnTo>
                  <a:lnTo>
                    <a:pt x="674" y="284"/>
                  </a:lnTo>
                  <a:lnTo>
                    <a:pt x="676" y="284"/>
                  </a:lnTo>
                  <a:lnTo>
                    <a:pt x="676" y="286"/>
                  </a:lnTo>
                  <a:lnTo>
                    <a:pt x="676" y="286"/>
                  </a:lnTo>
                  <a:lnTo>
                    <a:pt x="676" y="286"/>
                  </a:lnTo>
                  <a:close/>
                  <a:moveTo>
                    <a:pt x="572" y="600"/>
                  </a:moveTo>
                  <a:lnTo>
                    <a:pt x="570" y="600"/>
                  </a:lnTo>
                  <a:lnTo>
                    <a:pt x="570" y="604"/>
                  </a:lnTo>
                  <a:lnTo>
                    <a:pt x="570" y="600"/>
                  </a:lnTo>
                  <a:lnTo>
                    <a:pt x="572" y="600"/>
                  </a:lnTo>
                  <a:lnTo>
                    <a:pt x="572" y="600"/>
                  </a:lnTo>
                  <a:lnTo>
                    <a:pt x="572" y="600"/>
                  </a:lnTo>
                  <a:close/>
                  <a:moveTo>
                    <a:pt x="652" y="422"/>
                  </a:moveTo>
                  <a:lnTo>
                    <a:pt x="656" y="422"/>
                  </a:lnTo>
                  <a:lnTo>
                    <a:pt x="656" y="424"/>
                  </a:lnTo>
                  <a:lnTo>
                    <a:pt x="656" y="422"/>
                  </a:lnTo>
                  <a:lnTo>
                    <a:pt x="652" y="422"/>
                  </a:lnTo>
                  <a:lnTo>
                    <a:pt x="652" y="422"/>
                  </a:lnTo>
                  <a:lnTo>
                    <a:pt x="652" y="422"/>
                  </a:lnTo>
                  <a:close/>
                  <a:moveTo>
                    <a:pt x="566" y="592"/>
                  </a:moveTo>
                  <a:lnTo>
                    <a:pt x="562" y="590"/>
                  </a:lnTo>
                  <a:lnTo>
                    <a:pt x="566" y="590"/>
                  </a:lnTo>
                  <a:lnTo>
                    <a:pt x="566" y="592"/>
                  </a:lnTo>
                  <a:lnTo>
                    <a:pt x="566" y="592"/>
                  </a:lnTo>
                  <a:lnTo>
                    <a:pt x="566" y="592"/>
                  </a:lnTo>
                  <a:close/>
                  <a:moveTo>
                    <a:pt x="632" y="564"/>
                  </a:moveTo>
                  <a:lnTo>
                    <a:pt x="632" y="560"/>
                  </a:lnTo>
                  <a:lnTo>
                    <a:pt x="632" y="564"/>
                  </a:lnTo>
                  <a:lnTo>
                    <a:pt x="636" y="564"/>
                  </a:lnTo>
                  <a:lnTo>
                    <a:pt x="632" y="564"/>
                  </a:lnTo>
                  <a:lnTo>
                    <a:pt x="632" y="564"/>
                  </a:lnTo>
                  <a:lnTo>
                    <a:pt x="632" y="564"/>
                  </a:lnTo>
                  <a:close/>
                  <a:moveTo>
                    <a:pt x="614" y="578"/>
                  </a:moveTo>
                  <a:lnTo>
                    <a:pt x="614" y="582"/>
                  </a:lnTo>
                  <a:lnTo>
                    <a:pt x="614" y="578"/>
                  </a:lnTo>
                  <a:lnTo>
                    <a:pt x="614" y="578"/>
                  </a:lnTo>
                  <a:lnTo>
                    <a:pt x="614" y="578"/>
                  </a:lnTo>
                  <a:close/>
                  <a:moveTo>
                    <a:pt x="540" y="616"/>
                  </a:moveTo>
                  <a:lnTo>
                    <a:pt x="540" y="612"/>
                  </a:lnTo>
                  <a:lnTo>
                    <a:pt x="542" y="612"/>
                  </a:lnTo>
                  <a:lnTo>
                    <a:pt x="540" y="616"/>
                  </a:lnTo>
                  <a:lnTo>
                    <a:pt x="540" y="616"/>
                  </a:lnTo>
                  <a:lnTo>
                    <a:pt x="540" y="616"/>
                  </a:lnTo>
                  <a:close/>
                  <a:moveTo>
                    <a:pt x="628" y="564"/>
                  </a:moveTo>
                  <a:lnTo>
                    <a:pt x="628" y="560"/>
                  </a:lnTo>
                  <a:lnTo>
                    <a:pt x="632" y="564"/>
                  </a:lnTo>
                  <a:lnTo>
                    <a:pt x="628" y="564"/>
                  </a:lnTo>
                  <a:lnTo>
                    <a:pt x="628" y="564"/>
                  </a:lnTo>
                  <a:lnTo>
                    <a:pt x="628" y="564"/>
                  </a:lnTo>
                  <a:close/>
                  <a:moveTo>
                    <a:pt x="520" y="620"/>
                  </a:moveTo>
                  <a:lnTo>
                    <a:pt x="524" y="620"/>
                  </a:lnTo>
                  <a:lnTo>
                    <a:pt x="524" y="622"/>
                  </a:lnTo>
                  <a:lnTo>
                    <a:pt x="520" y="622"/>
                  </a:lnTo>
                  <a:lnTo>
                    <a:pt x="520" y="620"/>
                  </a:lnTo>
                  <a:lnTo>
                    <a:pt x="520" y="620"/>
                  </a:lnTo>
                  <a:lnTo>
                    <a:pt x="520" y="620"/>
                  </a:lnTo>
                  <a:close/>
                  <a:moveTo>
                    <a:pt x="684" y="454"/>
                  </a:moveTo>
                  <a:lnTo>
                    <a:pt x="688" y="454"/>
                  </a:lnTo>
                  <a:lnTo>
                    <a:pt x="688" y="458"/>
                  </a:lnTo>
                  <a:lnTo>
                    <a:pt x="684" y="458"/>
                  </a:lnTo>
                  <a:lnTo>
                    <a:pt x="684" y="454"/>
                  </a:lnTo>
                  <a:lnTo>
                    <a:pt x="684" y="454"/>
                  </a:lnTo>
                  <a:lnTo>
                    <a:pt x="684" y="454"/>
                  </a:lnTo>
                  <a:close/>
                  <a:moveTo>
                    <a:pt x="684" y="466"/>
                  </a:moveTo>
                  <a:lnTo>
                    <a:pt x="688" y="466"/>
                  </a:lnTo>
                  <a:lnTo>
                    <a:pt x="688" y="470"/>
                  </a:lnTo>
                  <a:lnTo>
                    <a:pt x="684" y="466"/>
                  </a:lnTo>
                  <a:lnTo>
                    <a:pt x="684" y="466"/>
                  </a:lnTo>
                  <a:lnTo>
                    <a:pt x="684" y="466"/>
                  </a:lnTo>
                  <a:close/>
                  <a:moveTo>
                    <a:pt x="572" y="600"/>
                  </a:moveTo>
                  <a:lnTo>
                    <a:pt x="576" y="600"/>
                  </a:lnTo>
                  <a:lnTo>
                    <a:pt x="576" y="604"/>
                  </a:lnTo>
                  <a:lnTo>
                    <a:pt x="572" y="600"/>
                  </a:lnTo>
                  <a:lnTo>
                    <a:pt x="572" y="604"/>
                  </a:lnTo>
                  <a:lnTo>
                    <a:pt x="572" y="600"/>
                  </a:lnTo>
                  <a:lnTo>
                    <a:pt x="572" y="600"/>
                  </a:lnTo>
                  <a:lnTo>
                    <a:pt x="572" y="60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D5E9A50E-735B-5DC8-5600-428DDE1A5D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7622" y="2987040"/>
              <a:ext cx="66239" cy="33939"/>
            </a:xfrm>
            <a:custGeom>
              <a:avLst/>
              <a:gdLst>
                <a:gd name="T0" fmla="*/ 14 w 34"/>
                <a:gd name="T1" fmla="*/ 14 h 18"/>
                <a:gd name="T2" fmla="*/ 14 w 34"/>
                <a:gd name="T3" fmla="*/ 18 h 18"/>
                <a:gd name="T4" fmla="*/ 10 w 34"/>
                <a:gd name="T5" fmla="*/ 18 h 18"/>
                <a:gd name="T6" fmla="*/ 8 w 34"/>
                <a:gd name="T7" fmla="*/ 18 h 18"/>
                <a:gd name="T8" fmla="*/ 8 w 34"/>
                <a:gd name="T9" fmla="*/ 18 h 18"/>
                <a:gd name="T10" fmla="*/ 4 w 34"/>
                <a:gd name="T11" fmla="*/ 14 h 18"/>
                <a:gd name="T12" fmla="*/ 4 w 34"/>
                <a:gd name="T13" fmla="*/ 14 h 18"/>
                <a:gd name="T14" fmla="*/ 0 w 34"/>
                <a:gd name="T15" fmla="*/ 10 h 18"/>
                <a:gd name="T16" fmla="*/ 4 w 34"/>
                <a:gd name="T17" fmla="*/ 10 h 18"/>
                <a:gd name="T18" fmla="*/ 4 w 34"/>
                <a:gd name="T19" fmla="*/ 10 h 18"/>
                <a:gd name="T20" fmla="*/ 4 w 34"/>
                <a:gd name="T21" fmla="*/ 10 h 18"/>
                <a:gd name="T22" fmla="*/ 4 w 34"/>
                <a:gd name="T23" fmla="*/ 10 h 18"/>
                <a:gd name="T24" fmla="*/ 4 w 34"/>
                <a:gd name="T25" fmla="*/ 8 h 18"/>
                <a:gd name="T26" fmla="*/ 8 w 34"/>
                <a:gd name="T27" fmla="*/ 8 h 18"/>
                <a:gd name="T28" fmla="*/ 8 w 34"/>
                <a:gd name="T29" fmla="*/ 8 h 18"/>
                <a:gd name="T30" fmla="*/ 10 w 34"/>
                <a:gd name="T31" fmla="*/ 8 h 18"/>
                <a:gd name="T32" fmla="*/ 10 w 34"/>
                <a:gd name="T33" fmla="*/ 8 h 18"/>
                <a:gd name="T34" fmla="*/ 10 w 34"/>
                <a:gd name="T35" fmla="*/ 8 h 18"/>
                <a:gd name="T36" fmla="*/ 10 w 34"/>
                <a:gd name="T37" fmla="*/ 8 h 18"/>
                <a:gd name="T38" fmla="*/ 14 w 34"/>
                <a:gd name="T39" fmla="*/ 4 h 18"/>
                <a:gd name="T40" fmla="*/ 18 w 34"/>
                <a:gd name="T41" fmla="*/ 4 h 18"/>
                <a:gd name="T42" fmla="*/ 22 w 34"/>
                <a:gd name="T43" fmla="*/ 4 h 18"/>
                <a:gd name="T44" fmla="*/ 22 w 34"/>
                <a:gd name="T45" fmla="*/ 4 h 18"/>
                <a:gd name="T46" fmla="*/ 22 w 34"/>
                <a:gd name="T47" fmla="*/ 4 h 18"/>
                <a:gd name="T48" fmla="*/ 30 w 34"/>
                <a:gd name="T49" fmla="*/ 0 h 18"/>
                <a:gd name="T50" fmla="*/ 30 w 34"/>
                <a:gd name="T51" fmla="*/ 0 h 18"/>
                <a:gd name="T52" fmla="*/ 34 w 34"/>
                <a:gd name="T53" fmla="*/ 0 h 18"/>
                <a:gd name="T54" fmla="*/ 34 w 34"/>
                <a:gd name="T55" fmla="*/ 0 h 18"/>
                <a:gd name="T56" fmla="*/ 30 w 34"/>
                <a:gd name="T57" fmla="*/ 4 h 18"/>
                <a:gd name="T58" fmla="*/ 26 w 34"/>
                <a:gd name="T59" fmla="*/ 4 h 18"/>
                <a:gd name="T60" fmla="*/ 26 w 34"/>
                <a:gd name="T61" fmla="*/ 8 h 18"/>
                <a:gd name="T62" fmla="*/ 26 w 34"/>
                <a:gd name="T63" fmla="*/ 8 h 18"/>
                <a:gd name="T64" fmla="*/ 26 w 34"/>
                <a:gd name="T65" fmla="*/ 10 h 18"/>
                <a:gd name="T66" fmla="*/ 26 w 34"/>
                <a:gd name="T67" fmla="*/ 10 h 18"/>
                <a:gd name="T68" fmla="*/ 26 w 34"/>
                <a:gd name="T69" fmla="*/ 10 h 18"/>
                <a:gd name="T70" fmla="*/ 26 w 34"/>
                <a:gd name="T71" fmla="*/ 10 h 18"/>
                <a:gd name="T72" fmla="*/ 26 w 34"/>
                <a:gd name="T73" fmla="*/ 10 h 18"/>
                <a:gd name="T74" fmla="*/ 26 w 34"/>
                <a:gd name="T75" fmla="*/ 10 h 18"/>
                <a:gd name="T76" fmla="*/ 22 w 34"/>
                <a:gd name="T77" fmla="*/ 10 h 18"/>
                <a:gd name="T78" fmla="*/ 22 w 34"/>
                <a:gd name="T79" fmla="*/ 10 h 18"/>
                <a:gd name="T80" fmla="*/ 22 w 34"/>
                <a:gd name="T81" fmla="*/ 10 h 18"/>
                <a:gd name="T82" fmla="*/ 22 w 34"/>
                <a:gd name="T83" fmla="*/ 10 h 18"/>
                <a:gd name="T84" fmla="*/ 22 w 34"/>
                <a:gd name="T85" fmla="*/ 14 h 18"/>
                <a:gd name="T86" fmla="*/ 18 w 34"/>
                <a:gd name="T87" fmla="*/ 14 h 18"/>
                <a:gd name="T88" fmla="*/ 14 w 34"/>
                <a:gd name="T8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4" h="18">
                  <a:moveTo>
                    <a:pt x="14" y="14"/>
                  </a:moveTo>
                  <a:lnTo>
                    <a:pt x="14" y="18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4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8288DAC8-53AA-7C05-0534-67DD09D4B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6068" y="3126567"/>
              <a:ext cx="7793" cy="15084"/>
            </a:xfrm>
            <a:custGeom>
              <a:avLst/>
              <a:gdLst>
                <a:gd name="T0" fmla="*/ 4 w 4"/>
                <a:gd name="T1" fmla="*/ 0 h 8"/>
                <a:gd name="T2" fmla="*/ 4 w 4"/>
                <a:gd name="T3" fmla="*/ 0 h 8"/>
                <a:gd name="T4" fmla="*/ 4 w 4"/>
                <a:gd name="T5" fmla="*/ 0 h 8"/>
                <a:gd name="T6" fmla="*/ 4 w 4"/>
                <a:gd name="T7" fmla="*/ 0 h 8"/>
                <a:gd name="T8" fmla="*/ 4 w 4"/>
                <a:gd name="T9" fmla="*/ 4 h 8"/>
                <a:gd name="T10" fmla="*/ 4 w 4"/>
                <a:gd name="T11" fmla="*/ 4 h 8"/>
                <a:gd name="T12" fmla="*/ 0 w 4"/>
                <a:gd name="T13" fmla="*/ 4 h 8"/>
                <a:gd name="T14" fmla="*/ 0 w 4"/>
                <a:gd name="T15" fmla="*/ 4 h 8"/>
                <a:gd name="T16" fmla="*/ 0 w 4"/>
                <a:gd name="T17" fmla="*/ 8 h 8"/>
                <a:gd name="T18" fmla="*/ 0 w 4"/>
                <a:gd name="T19" fmla="*/ 8 h 8"/>
                <a:gd name="T20" fmla="*/ 0 w 4"/>
                <a:gd name="T21" fmla="*/ 4 h 8"/>
                <a:gd name="T22" fmla="*/ 0 w 4"/>
                <a:gd name="T23" fmla="*/ 4 h 8"/>
                <a:gd name="T24" fmla="*/ 0 w 4"/>
                <a:gd name="T25" fmla="*/ 4 h 8"/>
                <a:gd name="T26" fmla="*/ 0 w 4"/>
                <a:gd name="T27" fmla="*/ 4 h 8"/>
                <a:gd name="T28" fmla="*/ 4 w 4"/>
                <a:gd name="T29" fmla="*/ 4 h 8"/>
                <a:gd name="T30" fmla="*/ 4 w 4"/>
                <a:gd name="T31" fmla="*/ 0 h 8"/>
                <a:gd name="T32" fmla="*/ 4 w 4"/>
                <a:gd name="T33" fmla="*/ 0 h 8"/>
                <a:gd name="T34" fmla="*/ 4 w 4"/>
                <a:gd name="T35" fmla="*/ 0 h 8"/>
                <a:gd name="T36" fmla="*/ 4 w 4"/>
                <a:gd name="T37" fmla="*/ 0 h 8"/>
                <a:gd name="T38" fmla="*/ 4 w 4"/>
                <a:gd name="T3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1CC413BE-DD0D-A53D-0D5C-9D3AC65E12E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5822" y="2700443"/>
              <a:ext cx="183133" cy="86733"/>
            </a:xfrm>
            <a:custGeom>
              <a:avLst/>
              <a:gdLst>
                <a:gd name="T0" fmla="*/ 34 w 94"/>
                <a:gd name="T1" fmla="*/ 40 h 46"/>
                <a:gd name="T2" fmla="*/ 30 w 94"/>
                <a:gd name="T3" fmla="*/ 40 h 46"/>
                <a:gd name="T4" fmla="*/ 26 w 94"/>
                <a:gd name="T5" fmla="*/ 40 h 46"/>
                <a:gd name="T6" fmla="*/ 22 w 94"/>
                <a:gd name="T7" fmla="*/ 36 h 46"/>
                <a:gd name="T8" fmla="*/ 26 w 94"/>
                <a:gd name="T9" fmla="*/ 32 h 46"/>
                <a:gd name="T10" fmla="*/ 22 w 94"/>
                <a:gd name="T11" fmla="*/ 24 h 46"/>
                <a:gd name="T12" fmla="*/ 22 w 94"/>
                <a:gd name="T13" fmla="*/ 20 h 46"/>
                <a:gd name="T14" fmla="*/ 18 w 94"/>
                <a:gd name="T15" fmla="*/ 14 h 46"/>
                <a:gd name="T16" fmla="*/ 18 w 94"/>
                <a:gd name="T17" fmla="*/ 14 h 46"/>
                <a:gd name="T18" fmla="*/ 14 w 94"/>
                <a:gd name="T19" fmla="*/ 10 h 46"/>
                <a:gd name="T20" fmla="*/ 12 w 94"/>
                <a:gd name="T21" fmla="*/ 10 h 46"/>
                <a:gd name="T22" fmla="*/ 12 w 94"/>
                <a:gd name="T23" fmla="*/ 8 h 46"/>
                <a:gd name="T24" fmla="*/ 4 w 94"/>
                <a:gd name="T25" fmla="*/ 4 h 46"/>
                <a:gd name="T26" fmla="*/ 0 w 94"/>
                <a:gd name="T27" fmla="*/ 4 h 46"/>
                <a:gd name="T28" fmla="*/ 0 w 94"/>
                <a:gd name="T29" fmla="*/ 0 h 46"/>
                <a:gd name="T30" fmla="*/ 4 w 94"/>
                <a:gd name="T31" fmla="*/ 0 h 46"/>
                <a:gd name="T32" fmla="*/ 8 w 94"/>
                <a:gd name="T33" fmla="*/ 0 h 46"/>
                <a:gd name="T34" fmla="*/ 12 w 94"/>
                <a:gd name="T35" fmla="*/ 0 h 46"/>
                <a:gd name="T36" fmla="*/ 12 w 94"/>
                <a:gd name="T37" fmla="*/ 0 h 46"/>
                <a:gd name="T38" fmla="*/ 14 w 94"/>
                <a:gd name="T39" fmla="*/ 4 h 46"/>
                <a:gd name="T40" fmla="*/ 22 w 94"/>
                <a:gd name="T41" fmla="*/ 8 h 46"/>
                <a:gd name="T42" fmla="*/ 30 w 94"/>
                <a:gd name="T43" fmla="*/ 4 h 46"/>
                <a:gd name="T44" fmla="*/ 34 w 94"/>
                <a:gd name="T45" fmla="*/ 8 h 46"/>
                <a:gd name="T46" fmla="*/ 38 w 94"/>
                <a:gd name="T47" fmla="*/ 8 h 46"/>
                <a:gd name="T48" fmla="*/ 44 w 94"/>
                <a:gd name="T49" fmla="*/ 10 h 46"/>
                <a:gd name="T50" fmla="*/ 48 w 94"/>
                <a:gd name="T51" fmla="*/ 10 h 46"/>
                <a:gd name="T52" fmla="*/ 52 w 94"/>
                <a:gd name="T53" fmla="*/ 14 h 46"/>
                <a:gd name="T54" fmla="*/ 52 w 94"/>
                <a:gd name="T55" fmla="*/ 14 h 46"/>
                <a:gd name="T56" fmla="*/ 56 w 94"/>
                <a:gd name="T57" fmla="*/ 18 h 46"/>
                <a:gd name="T58" fmla="*/ 64 w 94"/>
                <a:gd name="T59" fmla="*/ 14 h 46"/>
                <a:gd name="T60" fmla="*/ 64 w 94"/>
                <a:gd name="T61" fmla="*/ 14 h 46"/>
                <a:gd name="T62" fmla="*/ 68 w 94"/>
                <a:gd name="T63" fmla="*/ 14 h 46"/>
                <a:gd name="T64" fmla="*/ 70 w 94"/>
                <a:gd name="T65" fmla="*/ 14 h 46"/>
                <a:gd name="T66" fmla="*/ 70 w 94"/>
                <a:gd name="T67" fmla="*/ 14 h 46"/>
                <a:gd name="T68" fmla="*/ 74 w 94"/>
                <a:gd name="T69" fmla="*/ 18 h 46"/>
                <a:gd name="T70" fmla="*/ 74 w 94"/>
                <a:gd name="T71" fmla="*/ 18 h 46"/>
                <a:gd name="T72" fmla="*/ 78 w 94"/>
                <a:gd name="T73" fmla="*/ 18 h 46"/>
                <a:gd name="T74" fmla="*/ 78 w 94"/>
                <a:gd name="T75" fmla="*/ 20 h 46"/>
                <a:gd name="T76" fmla="*/ 86 w 94"/>
                <a:gd name="T77" fmla="*/ 28 h 46"/>
                <a:gd name="T78" fmla="*/ 90 w 94"/>
                <a:gd name="T79" fmla="*/ 32 h 46"/>
                <a:gd name="T80" fmla="*/ 90 w 94"/>
                <a:gd name="T81" fmla="*/ 32 h 46"/>
                <a:gd name="T82" fmla="*/ 86 w 94"/>
                <a:gd name="T83" fmla="*/ 32 h 46"/>
                <a:gd name="T84" fmla="*/ 90 w 94"/>
                <a:gd name="T85" fmla="*/ 40 h 46"/>
                <a:gd name="T86" fmla="*/ 94 w 94"/>
                <a:gd name="T87" fmla="*/ 44 h 46"/>
                <a:gd name="T88" fmla="*/ 94 w 94"/>
                <a:gd name="T89" fmla="*/ 46 h 46"/>
                <a:gd name="T90" fmla="*/ 90 w 94"/>
                <a:gd name="T91" fmla="*/ 44 h 46"/>
                <a:gd name="T92" fmla="*/ 86 w 94"/>
                <a:gd name="T93" fmla="*/ 44 h 46"/>
                <a:gd name="T94" fmla="*/ 82 w 94"/>
                <a:gd name="T95" fmla="*/ 44 h 46"/>
                <a:gd name="T96" fmla="*/ 78 w 94"/>
                <a:gd name="T97" fmla="*/ 44 h 46"/>
                <a:gd name="T98" fmla="*/ 74 w 94"/>
                <a:gd name="T99" fmla="*/ 40 h 46"/>
                <a:gd name="T100" fmla="*/ 70 w 94"/>
                <a:gd name="T101" fmla="*/ 44 h 46"/>
                <a:gd name="T102" fmla="*/ 68 w 94"/>
                <a:gd name="T103" fmla="*/ 44 h 46"/>
                <a:gd name="T104" fmla="*/ 60 w 94"/>
                <a:gd name="T105" fmla="*/ 44 h 46"/>
                <a:gd name="T106" fmla="*/ 56 w 94"/>
                <a:gd name="T107" fmla="*/ 44 h 46"/>
                <a:gd name="T108" fmla="*/ 52 w 94"/>
                <a:gd name="T109" fmla="*/ 46 h 46"/>
                <a:gd name="T110" fmla="*/ 48 w 94"/>
                <a:gd name="T111" fmla="*/ 46 h 46"/>
                <a:gd name="T112" fmla="*/ 48 w 94"/>
                <a:gd name="T113" fmla="*/ 44 h 46"/>
                <a:gd name="T114" fmla="*/ 42 w 94"/>
                <a:gd name="T115" fmla="*/ 40 h 46"/>
                <a:gd name="T116" fmla="*/ 38 w 94"/>
                <a:gd name="T117" fmla="*/ 3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" h="46">
                  <a:moveTo>
                    <a:pt x="38" y="36"/>
                  </a:moveTo>
                  <a:lnTo>
                    <a:pt x="38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2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2" y="28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18" y="18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4"/>
                  </a:lnTo>
                  <a:lnTo>
                    <a:pt x="22" y="4"/>
                  </a:lnTo>
                  <a:lnTo>
                    <a:pt x="22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6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4" y="14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2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94" y="46"/>
                  </a:lnTo>
                  <a:lnTo>
                    <a:pt x="94" y="46"/>
                  </a:lnTo>
                  <a:lnTo>
                    <a:pt x="90" y="46"/>
                  </a:lnTo>
                  <a:lnTo>
                    <a:pt x="90" y="46"/>
                  </a:lnTo>
                  <a:lnTo>
                    <a:pt x="90" y="46"/>
                  </a:lnTo>
                  <a:lnTo>
                    <a:pt x="90" y="46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78" y="44"/>
                  </a:lnTo>
                  <a:lnTo>
                    <a:pt x="78" y="44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48" y="46"/>
                  </a:lnTo>
                  <a:lnTo>
                    <a:pt x="48" y="46"/>
                  </a:lnTo>
                  <a:lnTo>
                    <a:pt x="48" y="46"/>
                  </a:lnTo>
                  <a:lnTo>
                    <a:pt x="48" y="46"/>
                  </a:lnTo>
                  <a:lnTo>
                    <a:pt x="48" y="46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close/>
                </a:path>
              </a:pathLst>
            </a:custGeom>
            <a:solidFill>
              <a:srgbClr val="FFFF00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9C487256-E06B-DB20-C425-9905F46DDB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5434" y="3978816"/>
              <a:ext cx="1262447" cy="546797"/>
            </a:xfrm>
            <a:custGeom>
              <a:avLst/>
              <a:gdLst>
                <a:gd name="T0" fmla="*/ 316 w 648"/>
                <a:gd name="T1" fmla="*/ 34 h 290"/>
                <a:gd name="T2" fmla="*/ 122 w 648"/>
                <a:gd name="T3" fmla="*/ 108 h 290"/>
                <a:gd name="T4" fmla="*/ 434 w 648"/>
                <a:gd name="T5" fmla="*/ 138 h 290"/>
                <a:gd name="T6" fmla="*/ 550 w 648"/>
                <a:gd name="T7" fmla="*/ 204 h 290"/>
                <a:gd name="T8" fmla="*/ 520 w 648"/>
                <a:gd name="T9" fmla="*/ 222 h 290"/>
                <a:gd name="T10" fmla="*/ 398 w 648"/>
                <a:gd name="T11" fmla="*/ 276 h 290"/>
                <a:gd name="T12" fmla="*/ 152 w 648"/>
                <a:gd name="T13" fmla="*/ 156 h 290"/>
                <a:gd name="T14" fmla="*/ 106 w 648"/>
                <a:gd name="T15" fmla="*/ 178 h 290"/>
                <a:gd name="T16" fmla="*/ 50 w 648"/>
                <a:gd name="T17" fmla="*/ 78 h 290"/>
                <a:gd name="T18" fmla="*/ 22 w 648"/>
                <a:gd name="T19" fmla="*/ 10 h 290"/>
                <a:gd name="T20" fmla="*/ 84 w 648"/>
                <a:gd name="T21" fmla="*/ 64 h 290"/>
                <a:gd name="T22" fmla="*/ 118 w 648"/>
                <a:gd name="T23" fmla="*/ 108 h 290"/>
                <a:gd name="T24" fmla="*/ 276 w 648"/>
                <a:gd name="T25" fmla="*/ 70 h 290"/>
                <a:gd name="T26" fmla="*/ 312 w 648"/>
                <a:gd name="T27" fmla="*/ 48 h 290"/>
                <a:gd name="T28" fmla="*/ 316 w 648"/>
                <a:gd name="T29" fmla="*/ 116 h 290"/>
                <a:gd name="T30" fmla="*/ 278 w 648"/>
                <a:gd name="T31" fmla="*/ 170 h 290"/>
                <a:gd name="T32" fmla="*/ 212 w 648"/>
                <a:gd name="T33" fmla="*/ 150 h 290"/>
                <a:gd name="T34" fmla="*/ 200 w 648"/>
                <a:gd name="T35" fmla="*/ 70 h 290"/>
                <a:gd name="T36" fmla="*/ 18 w 648"/>
                <a:gd name="T37" fmla="*/ 64 h 290"/>
                <a:gd name="T38" fmla="*/ 464 w 648"/>
                <a:gd name="T39" fmla="*/ 66 h 290"/>
                <a:gd name="T40" fmla="*/ 468 w 648"/>
                <a:gd name="T41" fmla="*/ 116 h 290"/>
                <a:gd name="T42" fmla="*/ 386 w 648"/>
                <a:gd name="T43" fmla="*/ 156 h 290"/>
                <a:gd name="T44" fmla="*/ 358 w 648"/>
                <a:gd name="T45" fmla="*/ 160 h 290"/>
                <a:gd name="T46" fmla="*/ 334 w 648"/>
                <a:gd name="T47" fmla="*/ 152 h 290"/>
                <a:gd name="T48" fmla="*/ 358 w 648"/>
                <a:gd name="T49" fmla="*/ 90 h 290"/>
                <a:gd name="T50" fmla="*/ 412 w 648"/>
                <a:gd name="T51" fmla="*/ 92 h 290"/>
                <a:gd name="T52" fmla="*/ 368 w 648"/>
                <a:gd name="T53" fmla="*/ 122 h 290"/>
                <a:gd name="T54" fmla="*/ 36 w 648"/>
                <a:gd name="T55" fmla="*/ 82 h 290"/>
                <a:gd name="T56" fmla="*/ 114 w 648"/>
                <a:gd name="T57" fmla="*/ 90 h 290"/>
                <a:gd name="T58" fmla="*/ 134 w 648"/>
                <a:gd name="T59" fmla="*/ 100 h 290"/>
                <a:gd name="T60" fmla="*/ 498 w 648"/>
                <a:gd name="T61" fmla="*/ 104 h 290"/>
                <a:gd name="T62" fmla="*/ 130 w 648"/>
                <a:gd name="T63" fmla="*/ 112 h 290"/>
                <a:gd name="T64" fmla="*/ 576 w 648"/>
                <a:gd name="T65" fmla="*/ 182 h 290"/>
                <a:gd name="T66" fmla="*/ 528 w 648"/>
                <a:gd name="T67" fmla="*/ 156 h 290"/>
                <a:gd name="T68" fmla="*/ 516 w 648"/>
                <a:gd name="T69" fmla="*/ 116 h 290"/>
                <a:gd name="T70" fmla="*/ 572 w 648"/>
                <a:gd name="T71" fmla="*/ 156 h 290"/>
                <a:gd name="T72" fmla="*/ 648 w 648"/>
                <a:gd name="T73" fmla="*/ 212 h 290"/>
                <a:gd name="T74" fmla="*/ 502 w 648"/>
                <a:gd name="T75" fmla="*/ 108 h 290"/>
                <a:gd name="T76" fmla="*/ 58 w 648"/>
                <a:gd name="T77" fmla="*/ 130 h 290"/>
                <a:gd name="T78" fmla="*/ 394 w 648"/>
                <a:gd name="T79" fmla="*/ 122 h 290"/>
                <a:gd name="T80" fmla="*/ 156 w 648"/>
                <a:gd name="T81" fmla="*/ 146 h 290"/>
                <a:gd name="T82" fmla="*/ 420 w 648"/>
                <a:gd name="T83" fmla="*/ 134 h 290"/>
                <a:gd name="T84" fmla="*/ 70 w 648"/>
                <a:gd name="T85" fmla="*/ 150 h 290"/>
                <a:gd name="T86" fmla="*/ 484 w 648"/>
                <a:gd name="T87" fmla="*/ 160 h 290"/>
                <a:gd name="T88" fmla="*/ 164 w 648"/>
                <a:gd name="T89" fmla="*/ 152 h 290"/>
                <a:gd name="T90" fmla="*/ 458 w 648"/>
                <a:gd name="T91" fmla="*/ 156 h 290"/>
                <a:gd name="T92" fmla="*/ 386 w 648"/>
                <a:gd name="T93" fmla="*/ 196 h 290"/>
                <a:gd name="T94" fmla="*/ 104 w 648"/>
                <a:gd name="T95" fmla="*/ 196 h 290"/>
                <a:gd name="T96" fmla="*/ 182 w 648"/>
                <a:gd name="T97" fmla="*/ 234 h 290"/>
                <a:gd name="T98" fmla="*/ 186 w 648"/>
                <a:gd name="T99" fmla="*/ 212 h 290"/>
                <a:gd name="T100" fmla="*/ 268 w 648"/>
                <a:gd name="T101" fmla="*/ 234 h 290"/>
                <a:gd name="T102" fmla="*/ 558 w 648"/>
                <a:gd name="T103" fmla="*/ 212 h 290"/>
                <a:gd name="T104" fmla="*/ 260 w 648"/>
                <a:gd name="T105" fmla="*/ 226 h 290"/>
                <a:gd name="T106" fmla="*/ 602 w 648"/>
                <a:gd name="T107" fmla="*/ 238 h 290"/>
                <a:gd name="T108" fmla="*/ 378 w 648"/>
                <a:gd name="T109" fmla="*/ 252 h 290"/>
                <a:gd name="T110" fmla="*/ 334 w 648"/>
                <a:gd name="T111" fmla="*/ 252 h 290"/>
                <a:gd name="T112" fmla="*/ 334 w 648"/>
                <a:gd name="T113" fmla="*/ 246 h 290"/>
                <a:gd name="T114" fmla="*/ 298 w 648"/>
                <a:gd name="T115" fmla="*/ 250 h 290"/>
                <a:gd name="T116" fmla="*/ 342 w 648"/>
                <a:gd name="T117" fmla="*/ 264 h 290"/>
                <a:gd name="T118" fmla="*/ 398 w 648"/>
                <a:gd name="T119" fmla="*/ 280 h 290"/>
                <a:gd name="T120" fmla="*/ 412 w 648"/>
                <a:gd name="T121" fmla="*/ 242 h 290"/>
                <a:gd name="T122" fmla="*/ 402 w 648"/>
                <a:gd name="T123" fmla="*/ 268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48" h="290">
                  <a:moveTo>
                    <a:pt x="114" y="92"/>
                  </a:moveTo>
                  <a:lnTo>
                    <a:pt x="110" y="92"/>
                  </a:lnTo>
                  <a:lnTo>
                    <a:pt x="110" y="90"/>
                  </a:lnTo>
                  <a:lnTo>
                    <a:pt x="114" y="90"/>
                  </a:lnTo>
                  <a:lnTo>
                    <a:pt x="114" y="92"/>
                  </a:lnTo>
                  <a:lnTo>
                    <a:pt x="114" y="92"/>
                  </a:lnTo>
                  <a:lnTo>
                    <a:pt x="114" y="92"/>
                  </a:lnTo>
                  <a:close/>
                  <a:moveTo>
                    <a:pt x="460" y="156"/>
                  </a:moveTo>
                  <a:lnTo>
                    <a:pt x="458" y="156"/>
                  </a:lnTo>
                  <a:lnTo>
                    <a:pt x="460" y="156"/>
                  </a:lnTo>
                  <a:lnTo>
                    <a:pt x="460" y="156"/>
                  </a:lnTo>
                  <a:lnTo>
                    <a:pt x="460" y="156"/>
                  </a:lnTo>
                  <a:close/>
                  <a:moveTo>
                    <a:pt x="302" y="160"/>
                  </a:moveTo>
                  <a:lnTo>
                    <a:pt x="302" y="164"/>
                  </a:lnTo>
                  <a:lnTo>
                    <a:pt x="298" y="164"/>
                  </a:lnTo>
                  <a:lnTo>
                    <a:pt x="302" y="160"/>
                  </a:lnTo>
                  <a:lnTo>
                    <a:pt x="302" y="160"/>
                  </a:lnTo>
                  <a:lnTo>
                    <a:pt x="302" y="160"/>
                  </a:lnTo>
                  <a:close/>
                  <a:moveTo>
                    <a:pt x="446" y="34"/>
                  </a:moveTo>
                  <a:lnTo>
                    <a:pt x="446" y="30"/>
                  </a:lnTo>
                  <a:lnTo>
                    <a:pt x="446" y="26"/>
                  </a:lnTo>
                  <a:lnTo>
                    <a:pt x="450" y="30"/>
                  </a:lnTo>
                  <a:lnTo>
                    <a:pt x="446" y="30"/>
                  </a:lnTo>
                  <a:lnTo>
                    <a:pt x="446" y="34"/>
                  </a:lnTo>
                  <a:lnTo>
                    <a:pt x="446" y="34"/>
                  </a:lnTo>
                  <a:lnTo>
                    <a:pt x="446" y="34"/>
                  </a:lnTo>
                  <a:close/>
                  <a:moveTo>
                    <a:pt x="320" y="30"/>
                  </a:moveTo>
                  <a:lnTo>
                    <a:pt x="320" y="34"/>
                  </a:lnTo>
                  <a:lnTo>
                    <a:pt x="324" y="34"/>
                  </a:lnTo>
                  <a:lnTo>
                    <a:pt x="320" y="34"/>
                  </a:lnTo>
                  <a:lnTo>
                    <a:pt x="320" y="30"/>
                  </a:lnTo>
                  <a:lnTo>
                    <a:pt x="320" y="30"/>
                  </a:lnTo>
                  <a:lnTo>
                    <a:pt x="320" y="30"/>
                  </a:lnTo>
                  <a:close/>
                  <a:moveTo>
                    <a:pt x="316" y="34"/>
                  </a:moveTo>
                  <a:lnTo>
                    <a:pt x="320" y="34"/>
                  </a:lnTo>
                  <a:lnTo>
                    <a:pt x="316" y="34"/>
                  </a:lnTo>
                  <a:lnTo>
                    <a:pt x="316" y="34"/>
                  </a:lnTo>
                  <a:lnTo>
                    <a:pt x="316" y="34"/>
                  </a:lnTo>
                  <a:close/>
                  <a:moveTo>
                    <a:pt x="446" y="36"/>
                  </a:moveTo>
                  <a:lnTo>
                    <a:pt x="442" y="34"/>
                  </a:lnTo>
                  <a:lnTo>
                    <a:pt x="446" y="34"/>
                  </a:lnTo>
                  <a:lnTo>
                    <a:pt x="446" y="36"/>
                  </a:lnTo>
                  <a:lnTo>
                    <a:pt x="446" y="36"/>
                  </a:lnTo>
                  <a:lnTo>
                    <a:pt x="446" y="36"/>
                  </a:lnTo>
                  <a:close/>
                  <a:moveTo>
                    <a:pt x="434" y="44"/>
                  </a:moveTo>
                  <a:lnTo>
                    <a:pt x="430" y="44"/>
                  </a:lnTo>
                  <a:lnTo>
                    <a:pt x="430" y="40"/>
                  </a:lnTo>
                  <a:lnTo>
                    <a:pt x="430" y="36"/>
                  </a:lnTo>
                  <a:lnTo>
                    <a:pt x="430" y="40"/>
                  </a:lnTo>
                  <a:lnTo>
                    <a:pt x="434" y="44"/>
                  </a:lnTo>
                  <a:lnTo>
                    <a:pt x="434" y="44"/>
                  </a:lnTo>
                  <a:lnTo>
                    <a:pt x="434" y="44"/>
                  </a:lnTo>
                  <a:close/>
                  <a:moveTo>
                    <a:pt x="312" y="40"/>
                  </a:moveTo>
                  <a:lnTo>
                    <a:pt x="316" y="44"/>
                  </a:lnTo>
                  <a:lnTo>
                    <a:pt x="312" y="44"/>
                  </a:lnTo>
                  <a:lnTo>
                    <a:pt x="312" y="40"/>
                  </a:lnTo>
                  <a:lnTo>
                    <a:pt x="312" y="40"/>
                  </a:lnTo>
                  <a:lnTo>
                    <a:pt x="312" y="40"/>
                  </a:lnTo>
                  <a:close/>
                  <a:moveTo>
                    <a:pt x="316" y="44"/>
                  </a:moveTo>
                  <a:lnTo>
                    <a:pt x="320" y="44"/>
                  </a:lnTo>
                  <a:lnTo>
                    <a:pt x="316" y="48"/>
                  </a:lnTo>
                  <a:lnTo>
                    <a:pt x="316" y="44"/>
                  </a:lnTo>
                  <a:lnTo>
                    <a:pt x="316" y="44"/>
                  </a:lnTo>
                  <a:lnTo>
                    <a:pt x="316" y="44"/>
                  </a:lnTo>
                  <a:close/>
                  <a:moveTo>
                    <a:pt x="488" y="108"/>
                  </a:moveTo>
                  <a:lnTo>
                    <a:pt x="484" y="104"/>
                  </a:lnTo>
                  <a:lnTo>
                    <a:pt x="484" y="100"/>
                  </a:lnTo>
                  <a:lnTo>
                    <a:pt x="488" y="104"/>
                  </a:lnTo>
                  <a:lnTo>
                    <a:pt x="488" y="108"/>
                  </a:lnTo>
                  <a:lnTo>
                    <a:pt x="488" y="108"/>
                  </a:lnTo>
                  <a:lnTo>
                    <a:pt x="488" y="108"/>
                  </a:lnTo>
                  <a:close/>
                  <a:moveTo>
                    <a:pt x="122" y="108"/>
                  </a:moveTo>
                  <a:lnTo>
                    <a:pt x="118" y="108"/>
                  </a:lnTo>
                  <a:lnTo>
                    <a:pt x="122" y="108"/>
                  </a:lnTo>
                  <a:lnTo>
                    <a:pt x="122" y="108"/>
                  </a:lnTo>
                  <a:lnTo>
                    <a:pt x="122" y="108"/>
                  </a:lnTo>
                  <a:close/>
                  <a:moveTo>
                    <a:pt x="454" y="108"/>
                  </a:moveTo>
                  <a:lnTo>
                    <a:pt x="454" y="112"/>
                  </a:lnTo>
                  <a:lnTo>
                    <a:pt x="450" y="112"/>
                  </a:lnTo>
                  <a:lnTo>
                    <a:pt x="450" y="108"/>
                  </a:lnTo>
                  <a:lnTo>
                    <a:pt x="454" y="108"/>
                  </a:lnTo>
                  <a:lnTo>
                    <a:pt x="454" y="108"/>
                  </a:lnTo>
                  <a:lnTo>
                    <a:pt x="454" y="108"/>
                  </a:lnTo>
                  <a:close/>
                  <a:moveTo>
                    <a:pt x="378" y="108"/>
                  </a:moveTo>
                  <a:lnTo>
                    <a:pt x="374" y="108"/>
                  </a:lnTo>
                  <a:lnTo>
                    <a:pt x="378" y="108"/>
                  </a:lnTo>
                  <a:lnTo>
                    <a:pt x="378" y="108"/>
                  </a:lnTo>
                  <a:lnTo>
                    <a:pt x="378" y="108"/>
                  </a:lnTo>
                  <a:close/>
                  <a:moveTo>
                    <a:pt x="378" y="112"/>
                  </a:moveTo>
                  <a:lnTo>
                    <a:pt x="374" y="112"/>
                  </a:lnTo>
                  <a:lnTo>
                    <a:pt x="374" y="108"/>
                  </a:lnTo>
                  <a:lnTo>
                    <a:pt x="378" y="108"/>
                  </a:lnTo>
                  <a:lnTo>
                    <a:pt x="378" y="112"/>
                  </a:lnTo>
                  <a:lnTo>
                    <a:pt x="378" y="112"/>
                  </a:lnTo>
                  <a:lnTo>
                    <a:pt x="378" y="112"/>
                  </a:lnTo>
                  <a:close/>
                  <a:moveTo>
                    <a:pt x="454" y="112"/>
                  </a:moveTo>
                  <a:lnTo>
                    <a:pt x="454" y="116"/>
                  </a:lnTo>
                  <a:lnTo>
                    <a:pt x="454" y="112"/>
                  </a:lnTo>
                  <a:lnTo>
                    <a:pt x="454" y="112"/>
                  </a:lnTo>
                  <a:lnTo>
                    <a:pt x="454" y="112"/>
                  </a:lnTo>
                  <a:close/>
                  <a:moveTo>
                    <a:pt x="562" y="120"/>
                  </a:moveTo>
                  <a:lnTo>
                    <a:pt x="562" y="122"/>
                  </a:lnTo>
                  <a:lnTo>
                    <a:pt x="562" y="120"/>
                  </a:lnTo>
                  <a:lnTo>
                    <a:pt x="562" y="120"/>
                  </a:lnTo>
                  <a:lnTo>
                    <a:pt x="562" y="120"/>
                  </a:lnTo>
                  <a:close/>
                  <a:moveTo>
                    <a:pt x="434" y="138"/>
                  </a:moveTo>
                  <a:lnTo>
                    <a:pt x="434" y="142"/>
                  </a:lnTo>
                  <a:lnTo>
                    <a:pt x="434" y="146"/>
                  </a:lnTo>
                  <a:lnTo>
                    <a:pt x="434" y="142"/>
                  </a:lnTo>
                  <a:lnTo>
                    <a:pt x="434" y="138"/>
                  </a:lnTo>
                  <a:lnTo>
                    <a:pt x="434" y="138"/>
                  </a:lnTo>
                  <a:lnTo>
                    <a:pt x="434" y="138"/>
                  </a:lnTo>
                  <a:close/>
                  <a:moveTo>
                    <a:pt x="472" y="164"/>
                  </a:moveTo>
                  <a:lnTo>
                    <a:pt x="476" y="164"/>
                  </a:lnTo>
                  <a:lnTo>
                    <a:pt x="472" y="164"/>
                  </a:lnTo>
                  <a:lnTo>
                    <a:pt x="472" y="164"/>
                  </a:lnTo>
                  <a:lnTo>
                    <a:pt x="472" y="164"/>
                  </a:lnTo>
                  <a:close/>
                  <a:moveTo>
                    <a:pt x="540" y="170"/>
                  </a:moveTo>
                  <a:lnTo>
                    <a:pt x="540" y="174"/>
                  </a:lnTo>
                  <a:lnTo>
                    <a:pt x="544" y="174"/>
                  </a:lnTo>
                  <a:lnTo>
                    <a:pt x="540" y="174"/>
                  </a:lnTo>
                  <a:lnTo>
                    <a:pt x="540" y="170"/>
                  </a:lnTo>
                  <a:lnTo>
                    <a:pt x="540" y="170"/>
                  </a:lnTo>
                  <a:lnTo>
                    <a:pt x="540" y="170"/>
                  </a:lnTo>
                  <a:close/>
                  <a:moveTo>
                    <a:pt x="536" y="194"/>
                  </a:moveTo>
                  <a:lnTo>
                    <a:pt x="536" y="196"/>
                  </a:lnTo>
                  <a:lnTo>
                    <a:pt x="536" y="200"/>
                  </a:lnTo>
                  <a:lnTo>
                    <a:pt x="532" y="204"/>
                  </a:lnTo>
                  <a:lnTo>
                    <a:pt x="532" y="200"/>
                  </a:lnTo>
                  <a:lnTo>
                    <a:pt x="536" y="196"/>
                  </a:lnTo>
                  <a:lnTo>
                    <a:pt x="536" y="194"/>
                  </a:lnTo>
                  <a:lnTo>
                    <a:pt x="536" y="194"/>
                  </a:lnTo>
                  <a:lnTo>
                    <a:pt x="536" y="194"/>
                  </a:lnTo>
                  <a:close/>
                  <a:moveTo>
                    <a:pt x="532" y="200"/>
                  </a:moveTo>
                  <a:lnTo>
                    <a:pt x="532" y="204"/>
                  </a:lnTo>
                  <a:lnTo>
                    <a:pt x="528" y="204"/>
                  </a:lnTo>
                  <a:lnTo>
                    <a:pt x="528" y="200"/>
                  </a:lnTo>
                  <a:lnTo>
                    <a:pt x="528" y="196"/>
                  </a:lnTo>
                  <a:lnTo>
                    <a:pt x="532" y="196"/>
                  </a:lnTo>
                  <a:lnTo>
                    <a:pt x="532" y="200"/>
                  </a:lnTo>
                  <a:lnTo>
                    <a:pt x="532" y="200"/>
                  </a:lnTo>
                  <a:lnTo>
                    <a:pt x="532" y="200"/>
                  </a:lnTo>
                  <a:close/>
                  <a:moveTo>
                    <a:pt x="550" y="204"/>
                  </a:moveTo>
                  <a:lnTo>
                    <a:pt x="550" y="208"/>
                  </a:lnTo>
                  <a:lnTo>
                    <a:pt x="554" y="208"/>
                  </a:lnTo>
                  <a:lnTo>
                    <a:pt x="554" y="212"/>
                  </a:lnTo>
                  <a:lnTo>
                    <a:pt x="550" y="208"/>
                  </a:lnTo>
                  <a:lnTo>
                    <a:pt x="550" y="204"/>
                  </a:lnTo>
                  <a:lnTo>
                    <a:pt x="550" y="204"/>
                  </a:lnTo>
                  <a:lnTo>
                    <a:pt x="550" y="204"/>
                  </a:lnTo>
                  <a:close/>
                  <a:moveTo>
                    <a:pt x="554" y="208"/>
                  </a:moveTo>
                  <a:lnTo>
                    <a:pt x="558" y="212"/>
                  </a:lnTo>
                  <a:lnTo>
                    <a:pt x="554" y="212"/>
                  </a:lnTo>
                  <a:lnTo>
                    <a:pt x="554" y="208"/>
                  </a:lnTo>
                  <a:lnTo>
                    <a:pt x="554" y="208"/>
                  </a:lnTo>
                  <a:lnTo>
                    <a:pt x="554" y="208"/>
                  </a:lnTo>
                  <a:close/>
                  <a:moveTo>
                    <a:pt x="562" y="208"/>
                  </a:moveTo>
                  <a:lnTo>
                    <a:pt x="562" y="212"/>
                  </a:lnTo>
                  <a:lnTo>
                    <a:pt x="562" y="208"/>
                  </a:lnTo>
                  <a:lnTo>
                    <a:pt x="562" y="208"/>
                  </a:lnTo>
                  <a:lnTo>
                    <a:pt x="562" y="208"/>
                  </a:lnTo>
                  <a:close/>
                  <a:moveTo>
                    <a:pt x="558" y="216"/>
                  </a:moveTo>
                  <a:lnTo>
                    <a:pt x="558" y="220"/>
                  </a:lnTo>
                  <a:lnTo>
                    <a:pt x="558" y="216"/>
                  </a:lnTo>
                  <a:lnTo>
                    <a:pt x="558" y="216"/>
                  </a:lnTo>
                  <a:lnTo>
                    <a:pt x="558" y="216"/>
                  </a:lnTo>
                  <a:close/>
                  <a:moveTo>
                    <a:pt x="614" y="216"/>
                  </a:moveTo>
                  <a:lnTo>
                    <a:pt x="614" y="220"/>
                  </a:lnTo>
                  <a:lnTo>
                    <a:pt x="618" y="220"/>
                  </a:lnTo>
                  <a:lnTo>
                    <a:pt x="614" y="220"/>
                  </a:lnTo>
                  <a:lnTo>
                    <a:pt x="614" y="216"/>
                  </a:lnTo>
                  <a:lnTo>
                    <a:pt x="614" y="216"/>
                  </a:lnTo>
                  <a:lnTo>
                    <a:pt x="614" y="216"/>
                  </a:lnTo>
                  <a:close/>
                  <a:moveTo>
                    <a:pt x="472" y="222"/>
                  </a:moveTo>
                  <a:lnTo>
                    <a:pt x="472" y="226"/>
                  </a:lnTo>
                  <a:lnTo>
                    <a:pt x="472" y="222"/>
                  </a:lnTo>
                  <a:lnTo>
                    <a:pt x="472" y="222"/>
                  </a:lnTo>
                  <a:lnTo>
                    <a:pt x="472" y="222"/>
                  </a:lnTo>
                  <a:close/>
                  <a:moveTo>
                    <a:pt x="520" y="222"/>
                  </a:moveTo>
                  <a:lnTo>
                    <a:pt x="520" y="226"/>
                  </a:lnTo>
                  <a:lnTo>
                    <a:pt x="520" y="222"/>
                  </a:lnTo>
                  <a:lnTo>
                    <a:pt x="516" y="222"/>
                  </a:lnTo>
                  <a:lnTo>
                    <a:pt x="520" y="222"/>
                  </a:lnTo>
                  <a:lnTo>
                    <a:pt x="520" y="222"/>
                  </a:lnTo>
                  <a:lnTo>
                    <a:pt x="520" y="222"/>
                  </a:lnTo>
                  <a:close/>
                  <a:moveTo>
                    <a:pt x="364" y="226"/>
                  </a:moveTo>
                  <a:lnTo>
                    <a:pt x="360" y="226"/>
                  </a:lnTo>
                  <a:lnTo>
                    <a:pt x="364" y="226"/>
                  </a:lnTo>
                  <a:lnTo>
                    <a:pt x="364" y="226"/>
                  </a:lnTo>
                  <a:lnTo>
                    <a:pt x="364" y="226"/>
                  </a:lnTo>
                  <a:close/>
                  <a:moveTo>
                    <a:pt x="506" y="230"/>
                  </a:moveTo>
                  <a:lnTo>
                    <a:pt x="510" y="226"/>
                  </a:lnTo>
                  <a:lnTo>
                    <a:pt x="510" y="230"/>
                  </a:lnTo>
                  <a:lnTo>
                    <a:pt x="506" y="230"/>
                  </a:lnTo>
                  <a:lnTo>
                    <a:pt x="506" y="230"/>
                  </a:lnTo>
                  <a:lnTo>
                    <a:pt x="506" y="230"/>
                  </a:lnTo>
                  <a:close/>
                  <a:moveTo>
                    <a:pt x="458" y="230"/>
                  </a:moveTo>
                  <a:lnTo>
                    <a:pt x="454" y="234"/>
                  </a:lnTo>
                  <a:lnTo>
                    <a:pt x="454" y="230"/>
                  </a:lnTo>
                  <a:lnTo>
                    <a:pt x="458" y="230"/>
                  </a:lnTo>
                  <a:lnTo>
                    <a:pt x="458" y="230"/>
                  </a:lnTo>
                  <a:lnTo>
                    <a:pt x="458" y="230"/>
                  </a:lnTo>
                  <a:close/>
                  <a:moveTo>
                    <a:pt x="502" y="246"/>
                  </a:moveTo>
                  <a:lnTo>
                    <a:pt x="506" y="242"/>
                  </a:lnTo>
                  <a:lnTo>
                    <a:pt x="510" y="242"/>
                  </a:lnTo>
                  <a:lnTo>
                    <a:pt x="506" y="242"/>
                  </a:lnTo>
                  <a:lnTo>
                    <a:pt x="506" y="246"/>
                  </a:lnTo>
                  <a:lnTo>
                    <a:pt x="502" y="246"/>
                  </a:lnTo>
                  <a:lnTo>
                    <a:pt x="502" y="246"/>
                  </a:lnTo>
                  <a:lnTo>
                    <a:pt x="502" y="246"/>
                  </a:lnTo>
                  <a:close/>
                  <a:moveTo>
                    <a:pt x="290" y="252"/>
                  </a:moveTo>
                  <a:lnTo>
                    <a:pt x="286" y="252"/>
                  </a:lnTo>
                  <a:lnTo>
                    <a:pt x="286" y="250"/>
                  </a:lnTo>
                  <a:lnTo>
                    <a:pt x="290" y="250"/>
                  </a:lnTo>
                  <a:lnTo>
                    <a:pt x="290" y="252"/>
                  </a:lnTo>
                  <a:lnTo>
                    <a:pt x="290" y="252"/>
                  </a:lnTo>
                  <a:lnTo>
                    <a:pt x="290" y="252"/>
                  </a:lnTo>
                  <a:close/>
                  <a:moveTo>
                    <a:pt x="398" y="276"/>
                  </a:moveTo>
                  <a:lnTo>
                    <a:pt x="402" y="276"/>
                  </a:lnTo>
                  <a:lnTo>
                    <a:pt x="398" y="280"/>
                  </a:lnTo>
                  <a:lnTo>
                    <a:pt x="398" y="276"/>
                  </a:lnTo>
                  <a:lnTo>
                    <a:pt x="398" y="276"/>
                  </a:lnTo>
                  <a:lnTo>
                    <a:pt x="398" y="276"/>
                  </a:lnTo>
                  <a:close/>
                  <a:moveTo>
                    <a:pt x="4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118" y="116"/>
                  </a:moveTo>
                  <a:lnTo>
                    <a:pt x="118" y="120"/>
                  </a:lnTo>
                  <a:lnTo>
                    <a:pt x="122" y="120"/>
                  </a:lnTo>
                  <a:lnTo>
                    <a:pt x="126" y="120"/>
                  </a:lnTo>
                  <a:lnTo>
                    <a:pt x="130" y="120"/>
                  </a:lnTo>
                  <a:lnTo>
                    <a:pt x="130" y="122"/>
                  </a:lnTo>
                  <a:lnTo>
                    <a:pt x="130" y="126"/>
                  </a:lnTo>
                  <a:lnTo>
                    <a:pt x="130" y="130"/>
                  </a:lnTo>
                  <a:lnTo>
                    <a:pt x="134" y="130"/>
                  </a:lnTo>
                  <a:lnTo>
                    <a:pt x="134" y="134"/>
                  </a:lnTo>
                  <a:lnTo>
                    <a:pt x="130" y="134"/>
                  </a:lnTo>
                  <a:lnTo>
                    <a:pt x="134" y="134"/>
                  </a:lnTo>
                  <a:lnTo>
                    <a:pt x="136" y="138"/>
                  </a:lnTo>
                  <a:lnTo>
                    <a:pt x="136" y="142"/>
                  </a:lnTo>
                  <a:lnTo>
                    <a:pt x="134" y="142"/>
                  </a:lnTo>
                  <a:lnTo>
                    <a:pt x="134" y="146"/>
                  </a:lnTo>
                  <a:lnTo>
                    <a:pt x="134" y="150"/>
                  </a:lnTo>
                  <a:lnTo>
                    <a:pt x="134" y="146"/>
                  </a:lnTo>
                  <a:lnTo>
                    <a:pt x="136" y="146"/>
                  </a:lnTo>
                  <a:lnTo>
                    <a:pt x="136" y="142"/>
                  </a:lnTo>
                  <a:lnTo>
                    <a:pt x="140" y="142"/>
                  </a:lnTo>
                  <a:lnTo>
                    <a:pt x="144" y="142"/>
                  </a:lnTo>
                  <a:lnTo>
                    <a:pt x="148" y="142"/>
                  </a:lnTo>
                  <a:lnTo>
                    <a:pt x="148" y="146"/>
                  </a:lnTo>
                  <a:lnTo>
                    <a:pt x="148" y="150"/>
                  </a:lnTo>
                  <a:lnTo>
                    <a:pt x="148" y="152"/>
                  </a:lnTo>
                  <a:lnTo>
                    <a:pt x="152" y="152"/>
                  </a:lnTo>
                  <a:lnTo>
                    <a:pt x="156" y="156"/>
                  </a:lnTo>
                  <a:lnTo>
                    <a:pt x="152" y="156"/>
                  </a:lnTo>
                  <a:lnTo>
                    <a:pt x="152" y="160"/>
                  </a:lnTo>
                  <a:lnTo>
                    <a:pt x="152" y="164"/>
                  </a:lnTo>
                  <a:lnTo>
                    <a:pt x="152" y="166"/>
                  </a:lnTo>
                  <a:lnTo>
                    <a:pt x="152" y="170"/>
                  </a:lnTo>
                  <a:lnTo>
                    <a:pt x="152" y="174"/>
                  </a:lnTo>
                  <a:lnTo>
                    <a:pt x="152" y="178"/>
                  </a:lnTo>
                  <a:lnTo>
                    <a:pt x="152" y="182"/>
                  </a:lnTo>
                  <a:lnTo>
                    <a:pt x="152" y="186"/>
                  </a:lnTo>
                  <a:lnTo>
                    <a:pt x="152" y="190"/>
                  </a:lnTo>
                  <a:lnTo>
                    <a:pt x="152" y="196"/>
                  </a:lnTo>
                  <a:lnTo>
                    <a:pt x="152" y="200"/>
                  </a:lnTo>
                  <a:lnTo>
                    <a:pt x="148" y="200"/>
                  </a:lnTo>
                  <a:lnTo>
                    <a:pt x="148" y="204"/>
                  </a:lnTo>
                  <a:lnTo>
                    <a:pt x="148" y="200"/>
                  </a:lnTo>
                  <a:lnTo>
                    <a:pt x="144" y="196"/>
                  </a:lnTo>
                  <a:lnTo>
                    <a:pt x="144" y="194"/>
                  </a:lnTo>
                  <a:lnTo>
                    <a:pt x="140" y="194"/>
                  </a:lnTo>
                  <a:lnTo>
                    <a:pt x="140" y="196"/>
                  </a:lnTo>
                  <a:lnTo>
                    <a:pt x="140" y="200"/>
                  </a:lnTo>
                  <a:lnTo>
                    <a:pt x="136" y="200"/>
                  </a:lnTo>
                  <a:lnTo>
                    <a:pt x="136" y="196"/>
                  </a:lnTo>
                  <a:lnTo>
                    <a:pt x="134" y="196"/>
                  </a:lnTo>
                  <a:lnTo>
                    <a:pt x="134" y="200"/>
                  </a:lnTo>
                  <a:lnTo>
                    <a:pt x="134" y="204"/>
                  </a:lnTo>
                  <a:lnTo>
                    <a:pt x="134" y="200"/>
                  </a:lnTo>
                  <a:lnTo>
                    <a:pt x="130" y="200"/>
                  </a:lnTo>
                  <a:lnTo>
                    <a:pt x="130" y="196"/>
                  </a:lnTo>
                  <a:lnTo>
                    <a:pt x="126" y="196"/>
                  </a:lnTo>
                  <a:lnTo>
                    <a:pt x="126" y="194"/>
                  </a:lnTo>
                  <a:lnTo>
                    <a:pt x="122" y="190"/>
                  </a:lnTo>
                  <a:lnTo>
                    <a:pt x="122" y="186"/>
                  </a:lnTo>
                  <a:lnTo>
                    <a:pt x="118" y="186"/>
                  </a:lnTo>
                  <a:lnTo>
                    <a:pt x="114" y="186"/>
                  </a:lnTo>
                  <a:lnTo>
                    <a:pt x="114" y="182"/>
                  </a:lnTo>
                  <a:lnTo>
                    <a:pt x="110" y="182"/>
                  </a:lnTo>
                  <a:lnTo>
                    <a:pt x="110" y="178"/>
                  </a:lnTo>
                  <a:lnTo>
                    <a:pt x="106" y="178"/>
                  </a:lnTo>
                  <a:lnTo>
                    <a:pt x="106" y="174"/>
                  </a:lnTo>
                  <a:lnTo>
                    <a:pt x="104" y="174"/>
                  </a:lnTo>
                  <a:lnTo>
                    <a:pt x="104" y="170"/>
                  </a:lnTo>
                  <a:lnTo>
                    <a:pt x="100" y="170"/>
                  </a:lnTo>
                  <a:lnTo>
                    <a:pt x="100" y="166"/>
                  </a:lnTo>
                  <a:lnTo>
                    <a:pt x="100" y="164"/>
                  </a:lnTo>
                  <a:lnTo>
                    <a:pt x="96" y="164"/>
                  </a:lnTo>
                  <a:lnTo>
                    <a:pt x="96" y="160"/>
                  </a:lnTo>
                  <a:lnTo>
                    <a:pt x="92" y="156"/>
                  </a:lnTo>
                  <a:lnTo>
                    <a:pt x="88" y="156"/>
                  </a:lnTo>
                  <a:lnTo>
                    <a:pt x="88" y="152"/>
                  </a:lnTo>
                  <a:lnTo>
                    <a:pt x="88" y="150"/>
                  </a:lnTo>
                  <a:lnTo>
                    <a:pt x="84" y="150"/>
                  </a:lnTo>
                  <a:lnTo>
                    <a:pt x="84" y="146"/>
                  </a:lnTo>
                  <a:lnTo>
                    <a:pt x="80" y="146"/>
                  </a:lnTo>
                  <a:lnTo>
                    <a:pt x="80" y="142"/>
                  </a:lnTo>
                  <a:lnTo>
                    <a:pt x="80" y="138"/>
                  </a:lnTo>
                  <a:lnTo>
                    <a:pt x="80" y="134"/>
                  </a:lnTo>
                  <a:lnTo>
                    <a:pt x="78" y="130"/>
                  </a:lnTo>
                  <a:lnTo>
                    <a:pt x="78" y="126"/>
                  </a:lnTo>
                  <a:lnTo>
                    <a:pt x="74" y="122"/>
                  </a:lnTo>
                  <a:lnTo>
                    <a:pt x="74" y="120"/>
                  </a:lnTo>
                  <a:lnTo>
                    <a:pt x="74" y="116"/>
                  </a:lnTo>
                  <a:lnTo>
                    <a:pt x="70" y="116"/>
                  </a:lnTo>
                  <a:lnTo>
                    <a:pt x="70" y="112"/>
                  </a:lnTo>
                  <a:lnTo>
                    <a:pt x="66" y="112"/>
                  </a:lnTo>
                  <a:lnTo>
                    <a:pt x="66" y="108"/>
                  </a:lnTo>
                  <a:lnTo>
                    <a:pt x="66" y="104"/>
                  </a:lnTo>
                  <a:lnTo>
                    <a:pt x="62" y="100"/>
                  </a:lnTo>
                  <a:lnTo>
                    <a:pt x="58" y="96"/>
                  </a:lnTo>
                  <a:lnTo>
                    <a:pt x="58" y="100"/>
                  </a:lnTo>
                  <a:lnTo>
                    <a:pt x="54" y="96"/>
                  </a:lnTo>
                  <a:lnTo>
                    <a:pt x="54" y="92"/>
                  </a:lnTo>
                  <a:lnTo>
                    <a:pt x="54" y="90"/>
                  </a:lnTo>
                  <a:lnTo>
                    <a:pt x="54" y="86"/>
                  </a:lnTo>
                  <a:lnTo>
                    <a:pt x="50" y="82"/>
                  </a:lnTo>
                  <a:lnTo>
                    <a:pt x="50" y="78"/>
                  </a:lnTo>
                  <a:lnTo>
                    <a:pt x="50" y="74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48" y="66"/>
                  </a:lnTo>
                  <a:lnTo>
                    <a:pt x="44" y="66"/>
                  </a:lnTo>
                  <a:lnTo>
                    <a:pt x="40" y="66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4" y="56"/>
                  </a:lnTo>
                  <a:lnTo>
                    <a:pt x="34" y="52"/>
                  </a:lnTo>
                  <a:lnTo>
                    <a:pt x="30" y="52"/>
                  </a:lnTo>
                  <a:lnTo>
                    <a:pt x="30" y="48"/>
                  </a:lnTo>
                  <a:lnTo>
                    <a:pt x="26" y="44"/>
                  </a:lnTo>
                  <a:lnTo>
                    <a:pt x="26" y="40"/>
                  </a:lnTo>
                  <a:lnTo>
                    <a:pt x="22" y="36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4" y="34"/>
                  </a:lnTo>
                  <a:lnTo>
                    <a:pt x="14" y="30"/>
                  </a:lnTo>
                  <a:lnTo>
                    <a:pt x="10" y="30"/>
                  </a:lnTo>
                  <a:lnTo>
                    <a:pt x="10" y="26"/>
                  </a:lnTo>
                  <a:lnTo>
                    <a:pt x="8" y="26"/>
                  </a:lnTo>
                  <a:lnTo>
                    <a:pt x="8" y="22"/>
                  </a:lnTo>
                  <a:lnTo>
                    <a:pt x="4" y="18"/>
                  </a:lnTo>
                  <a:lnTo>
                    <a:pt x="4" y="14"/>
                  </a:lnTo>
                  <a:lnTo>
                    <a:pt x="0" y="10"/>
                  </a:lnTo>
                  <a:lnTo>
                    <a:pt x="0" y="6"/>
                  </a:lnTo>
                  <a:lnTo>
                    <a:pt x="4" y="6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0" y="10"/>
                  </a:lnTo>
                  <a:lnTo>
                    <a:pt x="14" y="10"/>
                  </a:lnTo>
                  <a:lnTo>
                    <a:pt x="18" y="14"/>
                  </a:lnTo>
                  <a:lnTo>
                    <a:pt x="22" y="14"/>
                  </a:lnTo>
                  <a:lnTo>
                    <a:pt x="22" y="10"/>
                  </a:lnTo>
                  <a:lnTo>
                    <a:pt x="26" y="10"/>
                  </a:lnTo>
                  <a:lnTo>
                    <a:pt x="30" y="14"/>
                  </a:lnTo>
                  <a:lnTo>
                    <a:pt x="34" y="14"/>
                  </a:lnTo>
                  <a:lnTo>
                    <a:pt x="34" y="10"/>
                  </a:lnTo>
                  <a:lnTo>
                    <a:pt x="34" y="14"/>
                  </a:lnTo>
                  <a:lnTo>
                    <a:pt x="36" y="14"/>
                  </a:lnTo>
                  <a:lnTo>
                    <a:pt x="36" y="18"/>
                  </a:lnTo>
                  <a:lnTo>
                    <a:pt x="40" y="18"/>
                  </a:lnTo>
                  <a:lnTo>
                    <a:pt x="40" y="22"/>
                  </a:lnTo>
                  <a:lnTo>
                    <a:pt x="40" y="26"/>
                  </a:lnTo>
                  <a:lnTo>
                    <a:pt x="44" y="26"/>
                  </a:lnTo>
                  <a:lnTo>
                    <a:pt x="44" y="30"/>
                  </a:lnTo>
                  <a:lnTo>
                    <a:pt x="44" y="34"/>
                  </a:lnTo>
                  <a:lnTo>
                    <a:pt x="48" y="34"/>
                  </a:lnTo>
                  <a:lnTo>
                    <a:pt x="48" y="36"/>
                  </a:lnTo>
                  <a:lnTo>
                    <a:pt x="50" y="36"/>
                  </a:lnTo>
                  <a:lnTo>
                    <a:pt x="50" y="40"/>
                  </a:lnTo>
                  <a:lnTo>
                    <a:pt x="54" y="40"/>
                  </a:lnTo>
                  <a:lnTo>
                    <a:pt x="58" y="40"/>
                  </a:lnTo>
                  <a:lnTo>
                    <a:pt x="62" y="48"/>
                  </a:lnTo>
                  <a:lnTo>
                    <a:pt x="66" y="48"/>
                  </a:lnTo>
                  <a:lnTo>
                    <a:pt x="66" y="52"/>
                  </a:lnTo>
                  <a:lnTo>
                    <a:pt x="66" y="56"/>
                  </a:lnTo>
                  <a:lnTo>
                    <a:pt x="70" y="60"/>
                  </a:lnTo>
                  <a:lnTo>
                    <a:pt x="70" y="56"/>
                  </a:lnTo>
                  <a:lnTo>
                    <a:pt x="66" y="56"/>
                  </a:lnTo>
                  <a:lnTo>
                    <a:pt x="70" y="56"/>
                  </a:lnTo>
                  <a:lnTo>
                    <a:pt x="70" y="60"/>
                  </a:lnTo>
                  <a:lnTo>
                    <a:pt x="70" y="56"/>
                  </a:lnTo>
                  <a:lnTo>
                    <a:pt x="74" y="60"/>
                  </a:lnTo>
                  <a:lnTo>
                    <a:pt x="74" y="64"/>
                  </a:lnTo>
                  <a:lnTo>
                    <a:pt x="78" y="66"/>
                  </a:lnTo>
                  <a:lnTo>
                    <a:pt x="80" y="66"/>
                  </a:lnTo>
                  <a:lnTo>
                    <a:pt x="80" y="70"/>
                  </a:lnTo>
                  <a:lnTo>
                    <a:pt x="80" y="66"/>
                  </a:lnTo>
                  <a:lnTo>
                    <a:pt x="80" y="64"/>
                  </a:lnTo>
                  <a:lnTo>
                    <a:pt x="84" y="64"/>
                  </a:lnTo>
                  <a:lnTo>
                    <a:pt x="80" y="64"/>
                  </a:lnTo>
                  <a:lnTo>
                    <a:pt x="84" y="64"/>
                  </a:lnTo>
                  <a:lnTo>
                    <a:pt x="84" y="66"/>
                  </a:lnTo>
                  <a:lnTo>
                    <a:pt x="88" y="66"/>
                  </a:lnTo>
                  <a:lnTo>
                    <a:pt x="88" y="70"/>
                  </a:lnTo>
                  <a:lnTo>
                    <a:pt x="88" y="74"/>
                  </a:lnTo>
                  <a:lnTo>
                    <a:pt x="92" y="74"/>
                  </a:lnTo>
                  <a:lnTo>
                    <a:pt x="96" y="74"/>
                  </a:lnTo>
                  <a:lnTo>
                    <a:pt x="96" y="78"/>
                  </a:lnTo>
                  <a:lnTo>
                    <a:pt x="100" y="78"/>
                  </a:lnTo>
                  <a:lnTo>
                    <a:pt x="100" y="82"/>
                  </a:lnTo>
                  <a:lnTo>
                    <a:pt x="100" y="86"/>
                  </a:lnTo>
                  <a:lnTo>
                    <a:pt x="104" y="90"/>
                  </a:lnTo>
                  <a:lnTo>
                    <a:pt x="106" y="90"/>
                  </a:lnTo>
                  <a:lnTo>
                    <a:pt x="110" y="90"/>
                  </a:lnTo>
                  <a:lnTo>
                    <a:pt x="110" y="92"/>
                  </a:lnTo>
                  <a:lnTo>
                    <a:pt x="110" y="96"/>
                  </a:lnTo>
                  <a:lnTo>
                    <a:pt x="106" y="96"/>
                  </a:lnTo>
                  <a:lnTo>
                    <a:pt x="104" y="100"/>
                  </a:lnTo>
                  <a:lnTo>
                    <a:pt x="104" y="96"/>
                  </a:lnTo>
                  <a:lnTo>
                    <a:pt x="104" y="100"/>
                  </a:lnTo>
                  <a:lnTo>
                    <a:pt x="106" y="100"/>
                  </a:lnTo>
                  <a:lnTo>
                    <a:pt x="106" y="96"/>
                  </a:lnTo>
                  <a:lnTo>
                    <a:pt x="110" y="96"/>
                  </a:lnTo>
                  <a:lnTo>
                    <a:pt x="114" y="96"/>
                  </a:lnTo>
                  <a:lnTo>
                    <a:pt x="114" y="92"/>
                  </a:lnTo>
                  <a:lnTo>
                    <a:pt x="118" y="92"/>
                  </a:lnTo>
                  <a:lnTo>
                    <a:pt x="122" y="96"/>
                  </a:lnTo>
                  <a:lnTo>
                    <a:pt x="122" y="100"/>
                  </a:lnTo>
                  <a:lnTo>
                    <a:pt x="122" y="104"/>
                  </a:lnTo>
                  <a:lnTo>
                    <a:pt x="118" y="104"/>
                  </a:lnTo>
                  <a:lnTo>
                    <a:pt x="114" y="104"/>
                  </a:lnTo>
                  <a:lnTo>
                    <a:pt x="114" y="108"/>
                  </a:lnTo>
                  <a:lnTo>
                    <a:pt x="118" y="104"/>
                  </a:lnTo>
                  <a:lnTo>
                    <a:pt x="118" y="108"/>
                  </a:lnTo>
                  <a:lnTo>
                    <a:pt x="114" y="108"/>
                  </a:lnTo>
                  <a:lnTo>
                    <a:pt x="118" y="108"/>
                  </a:lnTo>
                  <a:lnTo>
                    <a:pt x="118" y="112"/>
                  </a:lnTo>
                  <a:lnTo>
                    <a:pt x="114" y="112"/>
                  </a:lnTo>
                  <a:lnTo>
                    <a:pt x="114" y="116"/>
                  </a:lnTo>
                  <a:lnTo>
                    <a:pt x="118" y="116"/>
                  </a:lnTo>
                  <a:lnTo>
                    <a:pt x="118" y="116"/>
                  </a:lnTo>
                  <a:lnTo>
                    <a:pt x="118" y="116"/>
                  </a:lnTo>
                  <a:close/>
                  <a:moveTo>
                    <a:pt x="204" y="66"/>
                  </a:moveTo>
                  <a:lnTo>
                    <a:pt x="204" y="70"/>
                  </a:lnTo>
                  <a:lnTo>
                    <a:pt x="204" y="74"/>
                  </a:lnTo>
                  <a:lnTo>
                    <a:pt x="208" y="78"/>
                  </a:lnTo>
                  <a:lnTo>
                    <a:pt x="208" y="82"/>
                  </a:lnTo>
                  <a:lnTo>
                    <a:pt x="212" y="82"/>
                  </a:lnTo>
                  <a:lnTo>
                    <a:pt x="216" y="86"/>
                  </a:lnTo>
                  <a:lnTo>
                    <a:pt x="216" y="90"/>
                  </a:lnTo>
                  <a:lnTo>
                    <a:pt x="220" y="90"/>
                  </a:lnTo>
                  <a:lnTo>
                    <a:pt x="220" y="86"/>
                  </a:lnTo>
                  <a:lnTo>
                    <a:pt x="222" y="86"/>
                  </a:lnTo>
                  <a:lnTo>
                    <a:pt x="226" y="86"/>
                  </a:lnTo>
                  <a:lnTo>
                    <a:pt x="230" y="86"/>
                  </a:lnTo>
                  <a:lnTo>
                    <a:pt x="234" y="86"/>
                  </a:lnTo>
                  <a:lnTo>
                    <a:pt x="238" y="86"/>
                  </a:lnTo>
                  <a:lnTo>
                    <a:pt x="238" y="82"/>
                  </a:lnTo>
                  <a:lnTo>
                    <a:pt x="242" y="82"/>
                  </a:lnTo>
                  <a:lnTo>
                    <a:pt x="242" y="78"/>
                  </a:lnTo>
                  <a:lnTo>
                    <a:pt x="246" y="74"/>
                  </a:lnTo>
                  <a:lnTo>
                    <a:pt x="248" y="74"/>
                  </a:lnTo>
                  <a:lnTo>
                    <a:pt x="252" y="74"/>
                  </a:lnTo>
                  <a:lnTo>
                    <a:pt x="252" y="78"/>
                  </a:lnTo>
                  <a:lnTo>
                    <a:pt x="256" y="78"/>
                  </a:lnTo>
                  <a:lnTo>
                    <a:pt x="260" y="82"/>
                  </a:lnTo>
                  <a:lnTo>
                    <a:pt x="264" y="82"/>
                  </a:lnTo>
                  <a:lnTo>
                    <a:pt x="264" y="78"/>
                  </a:lnTo>
                  <a:lnTo>
                    <a:pt x="268" y="78"/>
                  </a:lnTo>
                  <a:lnTo>
                    <a:pt x="272" y="78"/>
                  </a:lnTo>
                  <a:lnTo>
                    <a:pt x="276" y="78"/>
                  </a:lnTo>
                  <a:lnTo>
                    <a:pt x="276" y="74"/>
                  </a:lnTo>
                  <a:lnTo>
                    <a:pt x="276" y="70"/>
                  </a:lnTo>
                  <a:lnTo>
                    <a:pt x="278" y="70"/>
                  </a:lnTo>
                  <a:lnTo>
                    <a:pt x="278" y="66"/>
                  </a:lnTo>
                  <a:lnTo>
                    <a:pt x="278" y="64"/>
                  </a:lnTo>
                  <a:lnTo>
                    <a:pt x="282" y="60"/>
                  </a:lnTo>
                  <a:lnTo>
                    <a:pt x="282" y="52"/>
                  </a:lnTo>
                  <a:lnTo>
                    <a:pt x="286" y="52"/>
                  </a:lnTo>
                  <a:lnTo>
                    <a:pt x="286" y="48"/>
                  </a:lnTo>
                  <a:lnTo>
                    <a:pt x="286" y="44"/>
                  </a:lnTo>
                  <a:lnTo>
                    <a:pt x="290" y="44"/>
                  </a:lnTo>
                  <a:lnTo>
                    <a:pt x="290" y="40"/>
                  </a:lnTo>
                  <a:lnTo>
                    <a:pt x="290" y="36"/>
                  </a:lnTo>
                  <a:lnTo>
                    <a:pt x="290" y="34"/>
                  </a:lnTo>
                  <a:lnTo>
                    <a:pt x="290" y="30"/>
                  </a:lnTo>
                  <a:lnTo>
                    <a:pt x="294" y="30"/>
                  </a:lnTo>
                  <a:lnTo>
                    <a:pt x="294" y="26"/>
                  </a:lnTo>
                  <a:lnTo>
                    <a:pt x="294" y="30"/>
                  </a:lnTo>
                  <a:lnTo>
                    <a:pt x="298" y="30"/>
                  </a:lnTo>
                  <a:lnTo>
                    <a:pt x="302" y="30"/>
                  </a:lnTo>
                  <a:lnTo>
                    <a:pt x="304" y="30"/>
                  </a:lnTo>
                  <a:lnTo>
                    <a:pt x="308" y="30"/>
                  </a:lnTo>
                  <a:lnTo>
                    <a:pt x="312" y="30"/>
                  </a:lnTo>
                  <a:lnTo>
                    <a:pt x="316" y="30"/>
                  </a:lnTo>
                  <a:lnTo>
                    <a:pt x="316" y="34"/>
                  </a:lnTo>
                  <a:lnTo>
                    <a:pt x="316" y="30"/>
                  </a:lnTo>
                  <a:lnTo>
                    <a:pt x="312" y="34"/>
                  </a:lnTo>
                  <a:lnTo>
                    <a:pt x="316" y="34"/>
                  </a:lnTo>
                  <a:lnTo>
                    <a:pt x="316" y="36"/>
                  </a:lnTo>
                  <a:lnTo>
                    <a:pt x="320" y="36"/>
                  </a:lnTo>
                  <a:lnTo>
                    <a:pt x="320" y="40"/>
                  </a:lnTo>
                  <a:lnTo>
                    <a:pt x="316" y="40"/>
                  </a:lnTo>
                  <a:lnTo>
                    <a:pt x="312" y="40"/>
                  </a:lnTo>
                  <a:lnTo>
                    <a:pt x="308" y="40"/>
                  </a:lnTo>
                  <a:lnTo>
                    <a:pt x="312" y="40"/>
                  </a:lnTo>
                  <a:lnTo>
                    <a:pt x="312" y="44"/>
                  </a:lnTo>
                  <a:lnTo>
                    <a:pt x="316" y="44"/>
                  </a:lnTo>
                  <a:lnTo>
                    <a:pt x="312" y="44"/>
                  </a:lnTo>
                  <a:lnTo>
                    <a:pt x="312" y="48"/>
                  </a:lnTo>
                  <a:lnTo>
                    <a:pt x="316" y="48"/>
                  </a:lnTo>
                  <a:lnTo>
                    <a:pt x="320" y="52"/>
                  </a:lnTo>
                  <a:lnTo>
                    <a:pt x="320" y="56"/>
                  </a:lnTo>
                  <a:lnTo>
                    <a:pt x="320" y="60"/>
                  </a:lnTo>
                  <a:lnTo>
                    <a:pt x="324" y="60"/>
                  </a:lnTo>
                  <a:lnTo>
                    <a:pt x="324" y="64"/>
                  </a:lnTo>
                  <a:lnTo>
                    <a:pt x="324" y="66"/>
                  </a:lnTo>
                  <a:lnTo>
                    <a:pt x="320" y="66"/>
                  </a:lnTo>
                  <a:lnTo>
                    <a:pt x="320" y="70"/>
                  </a:lnTo>
                  <a:lnTo>
                    <a:pt x="324" y="74"/>
                  </a:lnTo>
                  <a:lnTo>
                    <a:pt x="328" y="74"/>
                  </a:lnTo>
                  <a:lnTo>
                    <a:pt x="328" y="78"/>
                  </a:lnTo>
                  <a:lnTo>
                    <a:pt x="332" y="78"/>
                  </a:lnTo>
                  <a:lnTo>
                    <a:pt x="334" y="82"/>
                  </a:lnTo>
                  <a:lnTo>
                    <a:pt x="334" y="86"/>
                  </a:lnTo>
                  <a:lnTo>
                    <a:pt x="338" y="86"/>
                  </a:lnTo>
                  <a:lnTo>
                    <a:pt x="334" y="86"/>
                  </a:lnTo>
                  <a:lnTo>
                    <a:pt x="334" y="90"/>
                  </a:lnTo>
                  <a:lnTo>
                    <a:pt x="332" y="90"/>
                  </a:lnTo>
                  <a:lnTo>
                    <a:pt x="328" y="90"/>
                  </a:lnTo>
                  <a:lnTo>
                    <a:pt x="324" y="86"/>
                  </a:lnTo>
                  <a:lnTo>
                    <a:pt x="324" y="82"/>
                  </a:lnTo>
                  <a:lnTo>
                    <a:pt x="320" y="82"/>
                  </a:lnTo>
                  <a:lnTo>
                    <a:pt x="320" y="86"/>
                  </a:lnTo>
                  <a:lnTo>
                    <a:pt x="324" y="86"/>
                  </a:lnTo>
                  <a:lnTo>
                    <a:pt x="324" y="90"/>
                  </a:lnTo>
                  <a:lnTo>
                    <a:pt x="320" y="90"/>
                  </a:lnTo>
                  <a:lnTo>
                    <a:pt x="320" y="92"/>
                  </a:lnTo>
                  <a:lnTo>
                    <a:pt x="316" y="92"/>
                  </a:lnTo>
                  <a:lnTo>
                    <a:pt x="316" y="96"/>
                  </a:lnTo>
                  <a:lnTo>
                    <a:pt x="316" y="100"/>
                  </a:lnTo>
                  <a:lnTo>
                    <a:pt x="316" y="104"/>
                  </a:lnTo>
                  <a:lnTo>
                    <a:pt x="316" y="108"/>
                  </a:lnTo>
                  <a:lnTo>
                    <a:pt x="316" y="112"/>
                  </a:lnTo>
                  <a:lnTo>
                    <a:pt x="316" y="108"/>
                  </a:lnTo>
                  <a:lnTo>
                    <a:pt x="316" y="112"/>
                  </a:lnTo>
                  <a:lnTo>
                    <a:pt x="316" y="116"/>
                  </a:lnTo>
                  <a:lnTo>
                    <a:pt x="312" y="116"/>
                  </a:lnTo>
                  <a:lnTo>
                    <a:pt x="312" y="120"/>
                  </a:lnTo>
                  <a:lnTo>
                    <a:pt x="308" y="120"/>
                  </a:lnTo>
                  <a:lnTo>
                    <a:pt x="308" y="122"/>
                  </a:lnTo>
                  <a:lnTo>
                    <a:pt x="304" y="122"/>
                  </a:lnTo>
                  <a:lnTo>
                    <a:pt x="304" y="120"/>
                  </a:lnTo>
                  <a:lnTo>
                    <a:pt x="304" y="122"/>
                  </a:lnTo>
                  <a:lnTo>
                    <a:pt x="304" y="126"/>
                  </a:lnTo>
                  <a:lnTo>
                    <a:pt x="302" y="126"/>
                  </a:lnTo>
                  <a:lnTo>
                    <a:pt x="302" y="130"/>
                  </a:lnTo>
                  <a:lnTo>
                    <a:pt x="298" y="130"/>
                  </a:lnTo>
                  <a:lnTo>
                    <a:pt x="298" y="134"/>
                  </a:lnTo>
                  <a:lnTo>
                    <a:pt x="302" y="134"/>
                  </a:lnTo>
                  <a:lnTo>
                    <a:pt x="302" y="138"/>
                  </a:lnTo>
                  <a:lnTo>
                    <a:pt x="298" y="138"/>
                  </a:lnTo>
                  <a:lnTo>
                    <a:pt x="302" y="142"/>
                  </a:lnTo>
                  <a:lnTo>
                    <a:pt x="302" y="138"/>
                  </a:lnTo>
                  <a:lnTo>
                    <a:pt x="302" y="142"/>
                  </a:lnTo>
                  <a:lnTo>
                    <a:pt x="304" y="142"/>
                  </a:lnTo>
                  <a:lnTo>
                    <a:pt x="302" y="142"/>
                  </a:lnTo>
                  <a:lnTo>
                    <a:pt x="302" y="146"/>
                  </a:lnTo>
                  <a:lnTo>
                    <a:pt x="298" y="146"/>
                  </a:lnTo>
                  <a:lnTo>
                    <a:pt x="302" y="150"/>
                  </a:lnTo>
                  <a:lnTo>
                    <a:pt x="302" y="152"/>
                  </a:lnTo>
                  <a:lnTo>
                    <a:pt x="298" y="152"/>
                  </a:lnTo>
                  <a:lnTo>
                    <a:pt x="298" y="150"/>
                  </a:lnTo>
                  <a:lnTo>
                    <a:pt x="298" y="152"/>
                  </a:lnTo>
                  <a:lnTo>
                    <a:pt x="298" y="156"/>
                  </a:lnTo>
                  <a:lnTo>
                    <a:pt x="298" y="160"/>
                  </a:lnTo>
                  <a:lnTo>
                    <a:pt x="294" y="160"/>
                  </a:lnTo>
                  <a:lnTo>
                    <a:pt x="294" y="164"/>
                  </a:lnTo>
                  <a:lnTo>
                    <a:pt x="290" y="164"/>
                  </a:lnTo>
                  <a:lnTo>
                    <a:pt x="290" y="166"/>
                  </a:lnTo>
                  <a:lnTo>
                    <a:pt x="286" y="166"/>
                  </a:lnTo>
                  <a:lnTo>
                    <a:pt x="282" y="166"/>
                  </a:lnTo>
                  <a:lnTo>
                    <a:pt x="282" y="170"/>
                  </a:lnTo>
                  <a:lnTo>
                    <a:pt x="278" y="170"/>
                  </a:lnTo>
                  <a:lnTo>
                    <a:pt x="276" y="174"/>
                  </a:lnTo>
                  <a:lnTo>
                    <a:pt x="276" y="170"/>
                  </a:lnTo>
                  <a:lnTo>
                    <a:pt x="276" y="166"/>
                  </a:lnTo>
                  <a:lnTo>
                    <a:pt x="276" y="164"/>
                  </a:lnTo>
                  <a:lnTo>
                    <a:pt x="272" y="164"/>
                  </a:lnTo>
                  <a:lnTo>
                    <a:pt x="272" y="160"/>
                  </a:lnTo>
                  <a:lnTo>
                    <a:pt x="268" y="160"/>
                  </a:lnTo>
                  <a:lnTo>
                    <a:pt x="264" y="160"/>
                  </a:lnTo>
                  <a:lnTo>
                    <a:pt x="260" y="160"/>
                  </a:lnTo>
                  <a:lnTo>
                    <a:pt x="260" y="156"/>
                  </a:lnTo>
                  <a:lnTo>
                    <a:pt x="256" y="156"/>
                  </a:lnTo>
                  <a:lnTo>
                    <a:pt x="252" y="156"/>
                  </a:lnTo>
                  <a:lnTo>
                    <a:pt x="252" y="152"/>
                  </a:lnTo>
                  <a:lnTo>
                    <a:pt x="252" y="156"/>
                  </a:lnTo>
                  <a:lnTo>
                    <a:pt x="248" y="160"/>
                  </a:lnTo>
                  <a:lnTo>
                    <a:pt x="246" y="160"/>
                  </a:lnTo>
                  <a:lnTo>
                    <a:pt x="242" y="160"/>
                  </a:lnTo>
                  <a:lnTo>
                    <a:pt x="238" y="160"/>
                  </a:lnTo>
                  <a:lnTo>
                    <a:pt x="238" y="164"/>
                  </a:lnTo>
                  <a:lnTo>
                    <a:pt x="234" y="164"/>
                  </a:lnTo>
                  <a:lnTo>
                    <a:pt x="234" y="160"/>
                  </a:lnTo>
                  <a:lnTo>
                    <a:pt x="234" y="156"/>
                  </a:lnTo>
                  <a:lnTo>
                    <a:pt x="234" y="152"/>
                  </a:lnTo>
                  <a:lnTo>
                    <a:pt x="234" y="150"/>
                  </a:lnTo>
                  <a:lnTo>
                    <a:pt x="234" y="152"/>
                  </a:lnTo>
                  <a:lnTo>
                    <a:pt x="230" y="152"/>
                  </a:lnTo>
                  <a:lnTo>
                    <a:pt x="226" y="152"/>
                  </a:lnTo>
                  <a:lnTo>
                    <a:pt x="226" y="156"/>
                  </a:lnTo>
                  <a:lnTo>
                    <a:pt x="222" y="156"/>
                  </a:lnTo>
                  <a:lnTo>
                    <a:pt x="220" y="152"/>
                  </a:lnTo>
                  <a:lnTo>
                    <a:pt x="222" y="152"/>
                  </a:lnTo>
                  <a:lnTo>
                    <a:pt x="220" y="152"/>
                  </a:lnTo>
                  <a:lnTo>
                    <a:pt x="220" y="156"/>
                  </a:lnTo>
                  <a:lnTo>
                    <a:pt x="220" y="152"/>
                  </a:lnTo>
                  <a:lnTo>
                    <a:pt x="216" y="152"/>
                  </a:lnTo>
                  <a:lnTo>
                    <a:pt x="212" y="152"/>
                  </a:lnTo>
                  <a:lnTo>
                    <a:pt x="212" y="150"/>
                  </a:lnTo>
                  <a:lnTo>
                    <a:pt x="212" y="146"/>
                  </a:lnTo>
                  <a:lnTo>
                    <a:pt x="212" y="142"/>
                  </a:lnTo>
                  <a:lnTo>
                    <a:pt x="212" y="138"/>
                  </a:lnTo>
                  <a:lnTo>
                    <a:pt x="212" y="134"/>
                  </a:lnTo>
                  <a:lnTo>
                    <a:pt x="208" y="134"/>
                  </a:lnTo>
                  <a:lnTo>
                    <a:pt x="208" y="130"/>
                  </a:lnTo>
                  <a:lnTo>
                    <a:pt x="212" y="130"/>
                  </a:lnTo>
                  <a:lnTo>
                    <a:pt x="212" y="126"/>
                  </a:lnTo>
                  <a:lnTo>
                    <a:pt x="212" y="122"/>
                  </a:lnTo>
                  <a:lnTo>
                    <a:pt x="208" y="122"/>
                  </a:lnTo>
                  <a:lnTo>
                    <a:pt x="208" y="120"/>
                  </a:lnTo>
                  <a:lnTo>
                    <a:pt x="204" y="120"/>
                  </a:lnTo>
                  <a:lnTo>
                    <a:pt x="200" y="116"/>
                  </a:lnTo>
                  <a:lnTo>
                    <a:pt x="200" y="120"/>
                  </a:lnTo>
                  <a:lnTo>
                    <a:pt x="200" y="116"/>
                  </a:lnTo>
                  <a:lnTo>
                    <a:pt x="204" y="116"/>
                  </a:lnTo>
                  <a:lnTo>
                    <a:pt x="200" y="112"/>
                  </a:lnTo>
                  <a:lnTo>
                    <a:pt x="196" y="112"/>
                  </a:lnTo>
                  <a:lnTo>
                    <a:pt x="196" y="108"/>
                  </a:lnTo>
                  <a:lnTo>
                    <a:pt x="196" y="104"/>
                  </a:lnTo>
                  <a:lnTo>
                    <a:pt x="196" y="100"/>
                  </a:lnTo>
                  <a:lnTo>
                    <a:pt x="196" y="96"/>
                  </a:lnTo>
                  <a:lnTo>
                    <a:pt x="192" y="96"/>
                  </a:lnTo>
                  <a:lnTo>
                    <a:pt x="192" y="92"/>
                  </a:lnTo>
                  <a:lnTo>
                    <a:pt x="192" y="90"/>
                  </a:lnTo>
                  <a:lnTo>
                    <a:pt x="192" y="86"/>
                  </a:lnTo>
                  <a:lnTo>
                    <a:pt x="196" y="86"/>
                  </a:lnTo>
                  <a:lnTo>
                    <a:pt x="192" y="86"/>
                  </a:lnTo>
                  <a:lnTo>
                    <a:pt x="192" y="82"/>
                  </a:lnTo>
                  <a:lnTo>
                    <a:pt x="196" y="82"/>
                  </a:lnTo>
                  <a:lnTo>
                    <a:pt x="200" y="78"/>
                  </a:lnTo>
                  <a:lnTo>
                    <a:pt x="196" y="78"/>
                  </a:lnTo>
                  <a:lnTo>
                    <a:pt x="196" y="82"/>
                  </a:lnTo>
                  <a:lnTo>
                    <a:pt x="196" y="78"/>
                  </a:lnTo>
                  <a:lnTo>
                    <a:pt x="196" y="74"/>
                  </a:lnTo>
                  <a:lnTo>
                    <a:pt x="200" y="74"/>
                  </a:lnTo>
                  <a:lnTo>
                    <a:pt x="200" y="70"/>
                  </a:lnTo>
                  <a:lnTo>
                    <a:pt x="204" y="66"/>
                  </a:lnTo>
                  <a:lnTo>
                    <a:pt x="204" y="66"/>
                  </a:lnTo>
                  <a:lnTo>
                    <a:pt x="204" y="66"/>
                  </a:lnTo>
                  <a:close/>
                  <a:moveTo>
                    <a:pt x="182" y="36"/>
                  </a:moveTo>
                  <a:lnTo>
                    <a:pt x="182" y="34"/>
                  </a:lnTo>
                  <a:lnTo>
                    <a:pt x="182" y="30"/>
                  </a:lnTo>
                  <a:lnTo>
                    <a:pt x="186" y="30"/>
                  </a:lnTo>
                  <a:lnTo>
                    <a:pt x="186" y="34"/>
                  </a:lnTo>
                  <a:lnTo>
                    <a:pt x="186" y="36"/>
                  </a:lnTo>
                  <a:lnTo>
                    <a:pt x="186" y="40"/>
                  </a:lnTo>
                  <a:lnTo>
                    <a:pt x="182" y="40"/>
                  </a:lnTo>
                  <a:lnTo>
                    <a:pt x="182" y="36"/>
                  </a:lnTo>
                  <a:lnTo>
                    <a:pt x="186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close/>
                  <a:moveTo>
                    <a:pt x="148" y="52"/>
                  </a:moveTo>
                  <a:lnTo>
                    <a:pt x="148" y="48"/>
                  </a:lnTo>
                  <a:lnTo>
                    <a:pt x="152" y="52"/>
                  </a:lnTo>
                  <a:lnTo>
                    <a:pt x="148" y="52"/>
                  </a:lnTo>
                  <a:lnTo>
                    <a:pt x="148" y="56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48" y="52"/>
                  </a:lnTo>
                  <a:close/>
                  <a:moveTo>
                    <a:pt x="18" y="64"/>
                  </a:moveTo>
                  <a:lnTo>
                    <a:pt x="14" y="64"/>
                  </a:lnTo>
                  <a:lnTo>
                    <a:pt x="14" y="60"/>
                  </a:lnTo>
                  <a:lnTo>
                    <a:pt x="10" y="60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10" y="52"/>
                  </a:lnTo>
                  <a:lnTo>
                    <a:pt x="10" y="56"/>
                  </a:lnTo>
                  <a:lnTo>
                    <a:pt x="14" y="56"/>
                  </a:lnTo>
                  <a:lnTo>
                    <a:pt x="14" y="60"/>
                  </a:lnTo>
                  <a:lnTo>
                    <a:pt x="18" y="60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8" y="64"/>
                  </a:lnTo>
                  <a:close/>
                  <a:moveTo>
                    <a:pt x="468" y="66"/>
                  </a:moveTo>
                  <a:lnTo>
                    <a:pt x="468" y="64"/>
                  </a:lnTo>
                  <a:lnTo>
                    <a:pt x="468" y="60"/>
                  </a:lnTo>
                  <a:lnTo>
                    <a:pt x="472" y="56"/>
                  </a:lnTo>
                  <a:lnTo>
                    <a:pt x="472" y="60"/>
                  </a:lnTo>
                  <a:lnTo>
                    <a:pt x="472" y="64"/>
                  </a:lnTo>
                  <a:lnTo>
                    <a:pt x="472" y="66"/>
                  </a:lnTo>
                  <a:lnTo>
                    <a:pt x="468" y="66"/>
                  </a:lnTo>
                  <a:lnTo>
                    <a:pt x="468" y="66"/>
                  </a:lnTo>
                  <a:lnTo>
                    <a:pt x="468" y="66"/>
                  </a:lnTo>
                  <a:close/>
                  <a:moveTo>
                    <a:pt x="30" y="66"/>
                  </a:moveTo>
                  <a:lnTo>
                    <a:pt x="30" y="64"/>
                  </a:lnTo>
                  <a:lnTo>
                    <a:pt x="26" y="64"/>
                  </a:lnTo>
                  <a:lnTo>
                    <a:pt x="30" y="64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0" y="66"/>
                  </a:lnTo>
                  <a:close/>
                  <a:moveTo>
                    <a:pt x="460" y="112"/>
                  </a:moveTo>
                  <a:lnTo>
                    <a:pt x="460" y="108"/>
                  </a:lnTo>
                  <a:lnTo>
                    <a:pt x="458" y="104"/>
                  </a:lnTo>
                  <a:lnTo>
                    <a:pt x="460" y="104"/>
                  </a:lnTo>
                  <a:lnTo>
                    <a:pt x="460" y="100"/>
                  </a:lnTo>
                  <a:lnTo>
                    <a:pt x="458" y="96"/>
                  </a:lnTo>
                  <a:lnTo>
                    <a:pt x="458" y="92"/>
                  </a:lnTo>
                  <a:lnTo>
                    <a:pt x="458" y="90"/>
                  </a:lnTo>
                  <a:lnTo>
                    <a:pt x="458" y="86"/>
                  </a:lnTo>
                  <a:lnTo>
                    <a:pt x="454" y="86"/>
                  </a:lnTo>
                  <a:lnTo>
                    <a:pt x="454" y="82"/>
                  </a:lnTo>
                  <a:lnTo>
                    <a:pt x="458" y="82"/>
                  </a:lnTo>
                  <a:lnTo>
                    <a:pt x="458" y="78"/>
                  </a:lnTo>
                  <a:lnTo>
                    <a:pt x="458" y="74"/>
                  </a:lnTo>
                  <a:lnTo>
                    <a:pt x="458" y="70"/>
                  </a:lnTo>
                  <a:lnTo>
                    <a:pt x="460" y="70"/>
                  </a:lnTo>
                  <a:lnTo>
                    <a:pt x="460" y="66"/>
                  </a:lnTo>
                  <a:lnTo>
                    <a:pt x="464" y="64"/>
                  </a:lnTo>
                  <a:lnTo>
                    <a:pt x="464" y="66"/>
                  </a:lnTo>
                  <a:lnTo>
                    <a:pt x="460" y="70"/>
                  </a:lnTo>
                  <a:lnTo>
                    <a:pt x="464" y="70"/>
                  </a:lnTo>
                  <a:lnTo>
                    <a:pt x="464" y="74"/>
                  </a:lnTo>
                  <a:lnTo>
                    <a:pt x="464" y="78"/>
                  </a:lnTo>
                  <a:lnTo>
                    <a:pt x="460" y="82"/>
                  </a:lnTo>
                  <a:lnTo>
                    <a:pt x="458" y="86"/>
                  </a:lnTo>
                  <a:lnTo>
                    <a:pt x="460" y="90"/>
                  </a:lnTo>
                  <a:lnTo>
                    <a:pt x="460" y="86"/>
                  </a:lnTo>
                  <a:lnTo>
                    <a:pt x="464" y="86"/>
                  </a:lnTo>
                  <a:lnTo>
                    <a:pt x="464" y="82"/>
                  </a:lnTo>
                  <a:lnTo>
                    <a:pt x="464" y="78"/>
                  </a:lnTo>
                  <a:lnTo>
                    <a:pt x="468" y="78"/>
                  </a:lnTo>
                  <a:lnTo>
                    <a:pt x="468" y="74"/>
                  </a:lnTo>
                  <a:lnTo>
                    <a:pt x="472" y="74"/>
                  </a:lnTo>
                  <a:lnTo>
                    <a:pt x="472" y="82"/>
                  </a:lnTo>
                  <a:lnTo>
                    <a:pt x="472" y="86"/>
                  </a:lnTo>
                  <a:lnTo>
                    <a:pt x="468" y="86"/>
                  </a:lnTo>
                  <a:lnTo>
                    <a:pt x="468" y="90"/>
                  </a:lnTo>
                  <a:lnTo>
                    <a:pt x="468" y="92"/>
                  </a:lnTo>
                  <a:lnTo>
                    <a:pt x="472" y="92"/>
                  </a:lnTo>
                  <a:lnTo>
                    <a:pt x="472" y="96"/>
                  </a:lnTo>
                  <a:lnTo>
                    <a:pt x="476" y="96"/>
                  </a:lnTo>
                  <a:lnTo>
                    <a:pt x="476" y="100"/>
                  </a:lnTo>
                  <a:lnTo>
                    <a:pt x="476" y="96"/>
                  </a:lnTo>
                  <a:lnTo>
                    <a:pt x="472" y="96"/>
                  </a:lnTo>
                  <a:lnTo>
                    <a:pt x="468" y="96"/>
                  </a:lnTo>
                  <a:lnTo>
                    <a:pt x="464" y="96"/>
                  </a:lnTo>
                  <a:lnTo>
                    <a:pt x="464" y="92"/>
                  </a:lnTo>
                  <a:lnTo>
                    <a:pt x="460" y="92"/>
                  </a:lnTo>
                  <a:lnTo>
                    <a:pt x="460" y="96"/>
                  </a:lnTo>
                  <a:lnTo>
                    <a:pt x="460" y="100"/>
                  </a:lnTo>
                  <a:lnTo>
                    <a:pt x="460" y="104"/>
                  </a:lnTo>
                  <a:lnTo>
                    <a:pt x="464" y="108"/>
                  </a:lnTo>
                  <a:lnTo>
                    <a:pt x="464" y="112"/>
                  </a:lnTo>
                  <a:lnTo>
                    <a:pt x="468" y="116"/>
                  </a:lnTo>
                  <a:lnTo>
                    <a:pt x="468" y="120"/>
                  </a:lnTo>
                  <a:lnTo>
                    <a:pt x="468" y="116"/>
                  </a:lnTo>
                  <a:lnTo>
                    <a:pt x="464" y="116"/>
                  </a:lnTo>
                  <a:lnTo>
                    <a:pt x="464" y="112"/>
                  </a:lnTo>
                  <a:lnTo>
                    <a:pt x="460" y="112"/>
                  </a:lnTo>
                  <a:lnTo>
                    <a:pt x="460" y="112"/>
                  </a:lnTo>
                  <a:lnTo>
                    <a:pt x="460" y="112"/>
                  </a:lnTo>
                  <a:close/>
                  <a:moveTo>
                    <a:pt x="92" y="70"/>
                  </a:moveTo>
                  <a:lnTo>
                    <a:pt x="92" y="74"/>
                  </a:lnTo>
                  <a:lnTo>
                    <a:pt x="88" y="74"/>
                  </a:lnTo>
                  <a:lnTo>
                    <a:pt x="88" y="70"/>
                  </a:lnTo>
                  <a:lnTo>
                    <a:pt x="88" y="66"/>
                  </a:lnTo>
                  <a:lnTo>
                    <a:pt x="92" y="66"/>
                  </a:lnTo>
                  <a:lnTo>
                    <a:pt x="92" y="70"/>
                  </a:lnTo>
                  <a:lnTo>
                    <a:pt x="92" y="70"/>
                  </a:lnTo>
                  <a:lnTo>
                    <a:pt x="92" y="70"/>
                  </a:lnTo>
                  <a:close/>
                  <a:moveTo>
                    <a:pt x="398" y="120"/>
                  </a:moveTo>
                  <a:lnTo>
                    <a:pt x="394" y="120"/>
                  </a:lnTo>
                  <a:lnTo>
                    <a:pt x="390" y="120"/>
                  </a:lnTo>
                  <a:lnTo>
                    <a:pt x="390" y="122"/>
                  </a:lnTo>
                  <a:lnTo>
                    <a:pt x="386" y="122"/>
                  </a:lnTo>
                  <a:lnTo>
                    <a:pt x="386" y="126"/>
                  </a:lnTo>
                  <a:lnTo>
                    <a:pt x="382" y="126"/>
                  </a:lnTo>
                  <a:lnTo>
                    <a:pt x="382" y="130"/>
                  </a:lnTo>
                  <a:lnTo>
                    <a:pt x="378" y="130"/>
                  </a:lnTo>
                  <a:lnTo>
                    <a:pt x="374" y="130"/>
                  </a:lnTo>
                  <a:lnTo>
                    <a:pt x="374" y="134"/>
                  </a:lnTo>
                  <a:lnTo>
                    <a:pt x="372" y="134"/>
                  </a:lnTo>
                  <a:lnTo>
                    <a:pt x="368" y="134"/>
                  </a:lnTo>
                  <a:lnTo>
                    <a:pt x="368" y="138"/>
                  </a:lnTo>
                  <a:lnTo>
                    <a:pt x="372" y="138"/>
                  </a:lnTo>
                  <a:lnTo>
                    <a:pt x="374" y="138"/>
                  </a:lnTo>
                  <a:lnTo>
                    <a:pt x="374" y="142"/>
                  </a:lnTo>
                  <a:lnTo>
                    <a:pt x="378" y="146"/>
                  </a:lnTo>
                  <a:lnTo>
                    <a:pt x="378" y="150"/>
                  </a:lnTo>
                  <a:lnTo>
                    <a:pt x="382" y="150"/>
                  </a:lnTo>
                  <a:lnTo>
                    <a:pt x="382" y="152"/>
                  </a:lnTo>
                  <a:lnTo>
                    <a:pt x="382" y="156"/>
                  </a:lnTo>
                  <a:lnTo>
                    <a:pt x="386" y="156"/>
                  </a:lnTo>
                  <a:lnTo>
                    <a:pt x="382" y="156"/>
                  </a:lnTo>
                  <a:lnTo>
                    <a:pt x="382" y="160"/>
                  </a:lnTo>
                  <a:lnTo>
                    <a:pt x="382" y="164"/>
                  </a:lnTo>
                  <a:lnTo>
                    <a:pt x="382" y="166"/>
                  </a:lnTo>
                  <a:lnTo>
                    <a:pt x="386" y="166"/>
                  </a:lnTo>
                  <a:lnTo>
                    <a:pt x="386" y="170"/>
                  </a:lnTo>
                  <a:lnTo>
                    <a:pt x="390" y="170"/>
                  </a:lnTo>
                  <a:lnTo>
                    <a:pt x="390" y="174"/>
                  </a:lnTo>
                  <a:lnTo>
                    <a:pt x="390" y="170"/>
                  </a:lnTo>
                  <a:lnTo>
                    <a:pt x="390" y="174"/>
                  </a:lnTo>
                  <a:lnTo>
                    <a:pt x="390" y="178"/>
                  </a:lnTo>
                  <a:lnTo>
                    <a:pt x="386" y="178"/>
                  </a:lnTo>
                  <a:lnTo>
                    <a:pt x="382" y="178"/>
                  </a:lnTo>
                  <a:lnTo>
                    <a:pt x="378" y="178"/>
                  </a:lnTo>
                  <a:lnTo>
                    <a:pt x="378" y="182"/>
                  </a:lnTo>
                  <a:lnTo>
                    <a:pt x="378" y="186"/>
                  </a:lnTo>
                  <a:lnTo>
                    <a:pt x="374" y="186"/>
                  </a:lnTo>
                  <a:lnTo>
                    <a:pt x="372" y="182"/>
                  </a:lnTo>
                  <a:lnTo>
                    <a:pt x="372" y="178"/>
                  </a:lnTo>
                  <a:lnTo>
                    <a:pt x="372" y="174"/>
                  </a:lnTo>
                  <a:lnTo>
                    <a:pt x="374" y="174"/>
                  </a:lnTo>
                  <a:lnTo>
                    <a:pt x="374" y="170"/>
                  </a:lnTo>
                  <a:lnTo>
                    <a:pt x="372" y="170"/>
                  </a:lnTo>
                  <a:lnTo>
                    <a:pt x="368" y="170"/>
                  </a:lnTo>
                  <a:lnTo>
                    <a:pt x="368" y="166"/>
                  </a:lnTo>
                  <a:lnTo>
                    <a:pt x="364" y="164"/>
                  </a:lnTo>
                  <a:lnTo>
                    <a:pt x="364" y="160"/>
                  </a:lnTo>
                  <a:lnTo>
                    <a:pt x="364" y="156"/>
                  </a:lnTo>
                  <a:lnTo>
                    <a:pt x="364" y="152"/>
                  </a:lnTo>
                  <a:lnTo>
                    <a:pt x="364" y="150"/>
                  </a:lnTo>
                  <a:lnTo>
                    <a:pt x="360" y="146"/>
                  </a:lnTo>
                  <a:lnTo>
                    <a:pt x="360" y="150"/>
                  </a:lnTo>
                  <a:lnTo>
                    <a:pt x="358" y="152"/>
                  </a:lnTo>
                  <a:lnTo>
                    <a:pt x="354" y="152"/>
                  </a:lnTo>
                  <a:lnTo>
                    <a:pt x="354" y="156"/>
                  </a:lnTo>
                  <a:lnTo>
                    <a:pt x="358" y="156"/>
                  </a:lnTo>
                  <a:lnTo>
                    <a:pt x="358" y="160"/>
                  </a:lnTo>
                  <a:lnTo>
                    <a:pt x="358" y="164"/>
                  </a:lnTo>
                  <a:lnTo>
                    <a:pt x="358" y="166"/>
                  </a:lnTo>
                  <a:lnTo>
                    <a:pt x="358" y="170"/>
                  </a:lnTo>
                  <a:lnTo>
                    <a:pt x="358" y="174"/>
                  </a:lnTo>
                  <a:lnTo>
                    <a:pt x="358" y="178"/>
                  </a:lnTo>
                  <a:lnTo>
                    <a:pt x="358" y="182"/>
                  </a:lnTo>
                  <a:lnTo>
                    <a:pt x="358" y="186"/>
                  </a:lnTo>
                  <a:lnTo>
                    <a:pt x="354" y="190"/>
                  </a:lnTo>
                  <a:lnTo>
                    <a:pt x="358" y="194"/>
                  </a:lnTo>
                  <a:lnTo>
                    <a:pt x="358" y="196"/>
                  </a:lnTo>
                  <a:lnTo>
                    <a:pt x="354" y="196"/>
                  </a:lnTo>
                  <a:lnTo>
                    <a:pt x="350" y="196"/>
                  </a:lnTo>
                  <a:lnTo>
                    <a:pt x="350" y="200"/>
                  </a:lnTo>
                  <a:lnTo>
                    <a:pt x="346" y="200"/>
                  </a:lnTo>
                  <a:lnTo>
                    <a:pt x="346" y="196"/>
                  </a:lnTo>
                  <a:lnTo>
                    <a:pt x="342" y="196"/>
                  </a:lnTo>
                  <a:lnTo>
                    <a:pt x="342" y="194"/>
                  </a:lnTo>
                  <a:lnTo>
                    <a:pt x="342" y="190"/>
                  </a:lnTo>
                  <a:lnTo>
                    <a:pt x="346" y="186"/>
                  </a:lnTo>
                  <a:lnTo>
                    <a:pt x="342" y="186"/>
                  </a:lnTo>
                  <a:lnTo>
                    <a:pt x="342" y="182"/>
                  </a:lnTo>
                  <a:lnTo>
                    <a:pt x="346" y="182"/>
                  </a:lnTo>
                  <a:lnTo>
                    <a:pt x="346" y="178"/>
                  </a:lnTo>
                  <a:lnTo>
                    <a:pt x="346" y="174"/>
                  </a:lnTo>
                  <a:lnTo>
                    <a:pt x="346" y="170"/>
                  </a:lnTo>
                  <a:lnTo>
                    <a:pt x="346" y="166"/>
                  </a:lnTo>
                  <a:lnTo>
                    <a:pt x="342" y="164"/>
                  </a:lnTo>
                  <a:lnTo>
                    <a:pt x="346" y="164"/>
                  </a:lnTo>
                  <a:lnTo>
                    <a:pt x="342" y="160"/>
                  </a:lnTo>
                  <a:lnTo>
                    <a:pt x="338" y="160"/>
                  </a:lnTo>
                  <a:lnTo>
                    <a:pt x="338" y="164"/>
                  </a:lnTo>
                  <a:lnTo>
                    <a:pt x="338" y="160"/>
                  </a:lnTo>
                  <a:lnTo>
                    <a:pt x="338" y="164"/>
                  </a:lnTo>
                  <a:lnTo>
                    <a:pt x="334" y="164"/>
                  </a:lnTo>
                  <a:lnTo>
                    <a:pt x="334" y="160"/>
                  </a:lnTo>
                  <a:lnTo>
                    <a:pt x="334" y="156"/>
                  </a:lnTo>
                  <a:lnTo>
                    <a:pt x="334" y="152"/>
                  </a:lnTo>
                  <a:lnTo>
                    <a:pt x="334" y="150"/>
                  </a:lnTo>
                  <a:lnTo>
                    <a:pt x="338" y="146"/>
                  </a:lnTo>
                  <a:lnTo>
                    <a:pt x="338" y="142"/>
                  </a:lnTo>
                  <a:lnTo>
                    <a:pt x="338" y="138"/>
                  </a:lnTo>
                  <a:lnTo>
                    <a:pt x="342" y="138"/>
                  </a:lnTo>
                  <a:lnTo>
                    <a:pt x="342" y="134"/>
                  </a:lnTo>
                  <a:lnTo>
                    <a:pt x="342" y="138"/>
                  </a:lnTo>
                  <a:lnTo>
                    <a:pt x="342" y="134"/>
                  </a:lnTo>
                  <a:lnTo>
                    <a:pt x="342" y="130"/>
                  </a:lnTo>
                  <a:lnTo>
                    <a:pt x="342" y="126"/>
                  </a:lnTo>
                  <a:lnTo>
                    <a:pt x="342" y="122"/>
                  </a:lnTo>
                  <a:lnTo>
                    <a:pt x="342" y="120"/>
                  </a:lnTo>
                  <a:lnTo>
                    <a:pt x="346" y="120"/>
                  </a:lnTo>
                  <a:lnTo>
                    <a:pt x="346" y="116"/>
                  </a:lnTo>
                  <a:lnTo>
                    <a:pt x="346" y="112"/>
                  </a:lnTo>
                  <a:lnTo>
                    <a:pt x="350" y="116"/>
                  </a:lnTo>
                  <a:lnTo>
                    <a:pt x="350" y="120"/>
                  </a:lnTo>
                  <a:lnTo>
                    <a:pt x="350" y="116"/>
                  </a:lnTo>
                  <a:lnTo>
                    <a:pt x="350" y="112"/>
                  </a:lnTo>
                  <a:lnTo>
                    <a:pt x="346" y="112"/>
                  </a:lnTo>
                  <a:lnTo>
                    <a:pt x="346" y="108"/>
                  </a:lnTo>
                  <a:lnTo>
                    <a:pt x="350" y="108"/>
                  </a:lnTo>
                  <a:lnTo>
                    <a:pt x="350" y="104"/>
                  </a:lnTo>
                  <a:lnTo>
                    <a:pt x="346" y="104"/>
                  </a:lnTo>
                  <a:lnTo>
                    <a:pt x="346" y="100"/>
                  </a:lnTo>
                  <a:lnTo>
                    <a:pt x="346" y="104"/>
                  </a:lnTo>
                  <a:lnTo>
                    <a:pt x="350" y="104"/>
                  </a:lnTo>
                  <a:lnTo>
                    <a:pt x="350" y="100"/>
                  </a:lnTo>
                  <a:lnTo>
                    <a:pt x="350" y="96"/>
                  </a:lnTo>
                  <a:lnTo>
                    <a:pt x="350" y="92"/>
                  </a:lnTo>
                  <a:lnTo>
                    <a:pt x="354" y="92"/>
                  </a:lnTo>
                  <a:lnTo>
                    <a:pt x="350" y="92"/>
                  </a:lnTo>
                  <a:lnTo>
                    <a:pt x="350" y="90"/>
                  </a:lnTo>
                  <a:lnTo>
                    <a:pt x="354" y="90"/>
                  </a:lnTo>
                  <a:lnTo>
                    <a:pt x="354" y="86"/>
                  </a:lnTo>
                  <a:lnTo>
                    <a:pt x="358" y="86"/>
                  </a:lnTo>
                  <a:lnTo>
                    <a:pt x="358" y="90"/>
                  </a:lnTo>
                  <a:lnTo>
                    <a:pt x="360" y="90"/>
                  </a:lnTo>
                  <a:lnTo>
                    <a:pt x="360" y="86"/>
                  </a:lnTo>
                  <a:lnTo>
                    <a:pt x="364" y="82"/>
                  </a:lnTo>
                  <a:lnTo>
                    <a:pt x="360" y="82"/>
                  </a:lnTo>
                  <a:lnTo>
                    <a:pt x="364" y="78"/>
                  </a:lnTo>
                  <a:lnTo>
                    <a:pt x="368" y="78"/>
                  </a:lnTo>
                  <a:lnTo>
                    <a:pt x="368" y="82"/>
                  </a:lnTo>
                  <a:lnTo>
                    <a:pt x="372" y="82"/>
                  </a:lnTo>
                  <a:lnTo>
                    <a:pt x="372" y="86"/>
                  </a:lnTo>
                  <a:lnTo>
                    <a:pt x="374" y="86"/>
                  </a:lnTo>
                  <a:lnTo>
                    <a:pt x="378" y="82"/>
                  </a:lnTo>
                  <a:lnTo>
                    <a:pt x="378" y="86"/>
                  </a:lnTo>
                  <a:lnTo>
                    <a:pt x="382" y="86"/>
                  </a:lnTo>
                  <a:lnTo>
                    <a:pt x="386" y="86"/>
                  </a:lnTo>
                  <a:lnTo>
                    <a:pt x="390" y="86"/>
                  </a:lnTo>
                  <a:lnTo>
                    <a:pt x="390" y="90"/>
                  </a:lnTo>
                  <a:lnTo>
                    <a:pt x="394" y="86"/>
                  </a:lnTo>
                  <a:lnTo>
                    <a:pt x="398" y="86"/>
                  </a:lnTo>
                  <a:lnTo>
                    <a:pt x="402" y="86"/>
                  </a:lnTo>
                  <a:lnTo>
                    <a:pt x="402" y="90"/>
                  </a:lnTo>
                  <a:lnTo>
                    <a:pt x="402" y="86"/>
                  </a:lnTo>
                  <a:lnTo>
                    <a:pt x="404" y="90"/>
                  </a:lnTo>
                  <a:lnTo>
                    <a:pt x="408" y="86"/>
                  </a:lnTo>
                  <a:lnTo>
                    <a:pt x="412" y="86"/>
                  </a:lnTo>
                  <a:lnTo>
                    <a:pt x="412" y="82"/>
                  </a:lnTo>
                  <a:lnTo>
                    <a:pt x="416" y="82"/>
                  </a:lnTo>
                  <a:lnTo>
                    <a:pt x="416" y="78"/>
                  </a:lnTo>
                  <a:lnTo>
                    <a:pt x="420" y="78"/>
                  </a:lnTo>
                  <a:lnTo>
                    <a:pt x="420" y="74"/>
                  </a:lnTo>
                  <a:lnTo>
                    <a:pt x="424" y="74"/>
                  </a:lnTo>
                  <a:lnTo>
                    <a:pt x="424" y="78"/>
                  </a:lnTo>
                  <a:lnTo>
                    <a:pt x="424" y="82"/>
                  </a:lnTo>
                  <a:lnTo>
                    <a:pt x="420" y="82"/>
                  </a:lnTo>
                  <a:lnTo>
                    <a:pt x="420" y="86"/>
                  </a:lnTo>
                  <a:lnTo>
                    <a:pt x="416" y="90"/>
                  </a:lnTo>
                  <a:lnTo>
                    <a:pt x="416" y="92"/>
                  </a:lnTo>
                  <a:lnTo>
                    <a:pt x="412" y="92"/>
                  </a:lnTo>
                  <a:lnTo>
                    <a:pt x="412" y="96"/>
                  </a:lnTo>
                  <a:lnTo>
                    <a:pt x="408" y="96"/>
                  </a:lnTo>
                  <a:lnTo>
                    <a:pt x="404" y="96"/>
                  </a:lnTo>
                  <a:lnTo>
                    <a:pt x="402" y="96"/>
                  </a:lnTo>
                  <a:lnTo>
                    <a:pt x="398" y="96"/>
                  </a:lnTo>
                  <a:lnTo>
                    <a:pt x="394" y="96"/>
                  </a:lnTo>
                  <a:lnTo>
                    <a:pt x="394" y="92"/>
                  </a:lnTo>
                  <a:lnTo>
                    <a:pt x="390" y="92"/>
                  </a:lnTo>
                  <a:lnTo>
                    <a:pt x="386" y="92"/>
                  </a:lnTo>
                  <a:lnTo>
                    <a:pt x="382" y="92"/>
                  </a:lnTo>
                  <a:lnTo>
                    <a:pt x="378" y="92"/>
                  </a:lnTo>
                  <a:lnTo>
                    <a:pt x="378" y="96"/>
                  </a:lnTo>
                  <a:lnTo>
                    <a:pt x="374" y="96"/>
                  </a:lnTo>
                  <a:lnTo>
                    <a:pt x="374" y="92"/>
                  </a:lnTo>
                  <a:lnTo>
                    <a:pt x="372" y="92"/>
                  </a:lnTo>
                  <a:lnTo>
                    <a:pt x="368" y="92"/>
                  </a:lnTo>
                  <a:lnTo>
                    <a:pt x="368" y="96"/>
                  </a:lnTo>
                  <a:lnTo>
                    <a:pt x="364" y="96"/>
                  </a:lnTo>
                  <a:lnTo>
                    <a:pt x="364" y="92"/>
                  </a:lnTo>
                  <a:lnTo>
                    <a:pt x="360" y="92"/>
                  </a:lnTo>
                  <a:lnTo>
                    <a:pt x="358" y="92"/>
                  </a:lnTo>
                  <a:lnTo>
                    <a:pt x="358" y="96"/>
                  </a:lnTo>
                  <a:lnTo>
                    <a:pt x="354" y="96"/>
                  </a:lnTo>
                  <a:lnTo>
                    <a:pt x="354" y="100"/>
                  </a:lnTo>
                  <a:lnTo>
                    <a:pt x="354" y="104"/>
                  </a:lnTo>
                  <a:lnTo>
                    <a:pt x="350" y="104"/>
                  </a:lnTo>
                  <a:lnTo>
                    <a:pt x="350" y="108"/>
                  </a:lnTo>
                  <a:lnTo>
                    <a:pt x="354" y="112"/>
                  </a:lnTo>
                  <a:lnTo>
                    <a:pt x="354" y="116"/>
                  </a:lnTo>
                  <a:lnTo>
                    <a:pt x="354" y="120"/>
                  </a:lnTo>
                  <a:lnTo>
                    <a:pt x="358" y="120"/>
                  </a:lnTo>
                  <a:lnTo>
                    <a:pt x="360" y="120"/>
                  </a:lnTo>
                  <a:lnTo>
                    <a:pt x="360" y="122"/>
                  </a:lnTo>
                  <a:lnTo>
                    <a:pt x="360" y="126"/>
                  </a:lnTo>
                  <a:lnTo>
                    <a:pt x="364" y="126"/>
                  </a:lnTo>
                  <a:lnTo>
                    <a:pt x="368" y="126"/>
                  </a:lnTo>
                  <a:lnTo>
                    <a:pt x="368" y="122"/>
                  </a:lnTo>
                  <a:lnTo>
                    <a:pt x="372" y="120"/>
                  </a:lnTo>
                  <a:lnTo>
                    <a:pt x="372" y="116"/>
                  </a:lnTo>
                  <a:lnTo>
                    <a:pt x="374" y="116"/>
                  </a:lnTo>
                  <a:lnTo>
                    <a:pt x="374" y="120"/>
                  </a:lnTo>
                  <a:lnTo>
                    <a:pt x="378" y="120"/>
                  </a:lnTo>
                  <a:lnTo>
                    <a:pt x="382" y="120"/>
                  </a:lnTo>
                  <a:lnTo>
                    <a:pt x="382" y="116"/>
                  </a:lnTo>
                  <a:lnTo>
                    <a:pt x="386" y="116"/>
                  </a:lnTo>
                  <a:lnTo>
                    <a:pt x="390" y="116"/>
                  </a:lnTo>
                  <a:lnTo>
                    <a:pt x="394" y="116"/>
                  </a:lnTo>
                  <a:lnTo>
                    <a:pt x="390" y="116"/>
                  </a:lnTo>
                  <a:lnTo>
                    <a:pt x="390" y="112"/>
                  </a:lnTo>
                  <a:lnTo>
                    <a:pt x="394" y="112"/>
                  </a:lnTo>
                  <a:lnTo>
                    <a:pt x="398" y="112"/>
                  </a:lnTo>
                  <a:lnTo>
                    <a:pt x="398" y="116"/>
                  </a:lnTo>
                  <a:lnTo>
                    <a:pt x="398" y="120"/>
                  </a:lnTo>
                  <a:lnTo>
                    <a:pt x="398" y="120"/>
                  </a:lnTo>
                  <a:lnTo>
                    <a:pt x="398" y="120"/>
                  </a:lnTo>
                  <a:close/>
                  <a:moveTo>
                    <a:pt x="104" y="78"/>
                  </a:moveTo>
                  <a:lnTo>
                    <a:pt x="104" y="82"/>
                  </a:lnTo>
                  <a:lnTo>
                    <a:pt x="104" y="78"/>
                  </a:lnTo>
                  <a:lnTo>
                    <a:pt x="100" y="78"/>
                  </a:lnTo>
                  <a:lnTo>
                    <a:pt x="96" y="78"/>
                  </a:lnTo>
                  <a:lnTo>
                    <a:pt x="96" y="74"/>
                  </a:lnTo>
                  <a:lnTo>
                    <a:pt x="100" y="74"/>
                  </a:lnTo>
                  <a:lnTo>
                    <a:pt x="104" y="78"/>
                  </a:lnTo>
                  <a:lnTo>
                    <a:pt x="104" y="78"/>
                  </a:lnTo>
                  <a:lnTo>
                    <a:pt x="104" y="78"/>
                  </a:lnTo>
                  <a:close/>
                  <a:moveTo>
                    <a:pt x="36" y="92"/>
                  </a:moveTo>
                  <a:lnTo>
                    <a:pt x="36" y="90"/>
                  </a:lnTo>
                  <a:lnTo>
                    <a:pt x="34" y="90"/>
                  </a:lnTo>
                  <a:lnTo>
                    <a:pt x="34" y="86"/>
                  </a:lnTo>
                  <a:lnTo>
                    <a:pt x="30" y="86"/>
                  </a:lnTo>
                  <a:lnTo>
                    <a:pt x="30" y="82"/>
                  </a:lnTo>
                  <a:lnTo>
                    <a:pt x="30" y="78"/>
                  </a:lnTo>
                  <a:lnTo>
                    <a:pt x="34" y="78"/>
                  </a:lnTo>
                  <a:lnTo>
                    <a:pt x="36" y="82"/>
                  </a:lnTo>
                  <a:lnTo>
                    <a:pt x="40" y="86"/>
                  </a:lnTo>
                  <a:lnTo>
                    <a:pt x="36" y="90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close/>
                  <a:moveTo>
                    <a:pt x="104" y="82"/>
                  </a:moveTo>
                  <a:lnTo>
                    <a:pt x="104" y="86"/>
                  </a:lnTo>
                  <a:lnTo>
                    <a:pt x="100" y="86"/>
                  </a:lnTo>
                  <a:lnTo>
                    <a:pt x="100" y="82"/>
                  </a:lnTo>
                  <a:lnTo>
                    <a:pt x="100" y="78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4" y="82"/>
                  </a:lnTo>
                  <a:close/>
                  <a:moveTo>
                    <a:pt x="134" y="86"/>
                  </a:moveTo>
                  <a:lnTo>
                    <a:pt x="134" y="90"/>
                  </a:lnTo>
                  <a:lnTo>
                    <a:pt x="134" y="86"/>
                  </a:lnTo>
                  <a:lnTo>
                    <a:pt x="130" y="86"/>
                  </a:lnTo>
                  <a:lnTo>
                    <a:pt x="130" y="82"/>
                  </a:lnTo>
                  <a:lnTo>
                    <a:pt x="134" y="82"/>
                  </a:lnTo>
                  <a:lnTo>
                    <a:pt x="134" y="86"/>
                  </a:lnTo>
                  <a:lnTo>
                    <a:pt x="134" y="86"/>
                  </a:lnTo>
                  <a:lnTo>
                    <a:pt x="134" y="86"/>
                  </a:lnTo>
                  <a:close/>
                  <a:moveTo>
                    <a:pt x="126" y="82"/>
                  </a:moveTo>
                  <a:lnTo>
                    <a:pt x="126" y="86"/>
                  </a:lnTo>
                  <a:lnTo>
                    <a:pt x="122" y="86"/>
                  </a:lnTo>
                  <a:lnTo>
                    <a:pt x="122" y="82"/>
                  </a:lnTo>
                  <a:lnTo>
                    <a:pt x="126" y="82"/>
                  </a:lnTo>
                  <a:lnTo>
                    <a:pt x="126" y="82"/>
                  </a:lnTo>
                  <a:lnTo>
                    <a:pt x="126" y="82"/>
                  </a:lnTo>
                  <a:close/>
                  <a:moveTo>
                    <a:pt x="110" y="90"/>
                  </a:moveTo>
                  <a:lnTo>
                    <a:pt x="110" y="86"/>
                  </a:lnTo>
                  <a:lnTo>
                    <a:pt x="106" y="86"/>
                  </a:lnTo>
                  <a:lnTo>
                    <a:pt x="106" y="82"/>
                  </a:lnTo>
                  <a:lnTo>
                    <a:pt x="110" y="82"/>
                  </a:lnTo>
                  <a:lnTo>
                    <a:pt x="110" y="86"/>
                  </a:lnTo>
                  <a:lnTo>
                    <a:pt x="114" y="86"/>
                  </a:lnTo>
                  <a:lnTo>
                    <a:pt x="114" y="90"/>
                  </a:lnTo>
                  <a:lnTo>
                    <a:pt x="110" y="90"/>
                  </a:lnTo>
                  <a:lnTo>
                    <a:pt x="110" y="90"/>
                  </a:lnTo>
                  <a:lnTo>
                    <a:pt x="110" y="90"/>
                  </a:lnTo>
                  <a:close/>
                  <a:moveTo>
                    <a:pt x="110" y="90"/>
                  </a:moveTo>
                  <a:lnTo>
                    <a:pt x="106" y="90"/>
                  </a:lnTo>
                  <a:lnTo>
                    <a:pt x="104" y="90"/>
                  </a:lnTo>
                  <a:lnTo>
                    <a:pt x="104" y="86"/>
                  </a:lnTo>
                  <a:lnTo>
                    <a:pt x="104" y="82"/>
                  </a:lnTo>
                  <a:lnTo>
                    <a:pt x="104" y="86"/>
                  </a:lnTo>
                  <a:lnTo>
                    <a:pt x="106" y="86"/>
                  </a:lnTo>
                  <a:lnTo>
                    <a:pt x="110" y="86"/>
                  </a:lnTo>
                  <a:lnTo>
                    <a:pt x="110" y="90"/>
                  </a:lnTo>
                  <a:lnTo>
                    <a:pt x="110" y="90"/>
                  </a:lnTo>
                  <a:lnTo>
                    <a:pt x="110" y="90"/>
                  </a:lnTo>
                  <a:close/>
                  <a:moveTo>
                    <a:pt x="118" y="86"/>
                  </a:moveTo>
                  <a:lnTo>
                    <a:pt x="114" y="86"/>
                  </a:lnTo>
                  <a:lnTo>
                    <a:pt x="114" y="82"/>
                  </a:lnTo>
                  <a:lnTo>
                    <a:pt x="114" y="86"/>
                  </a:lnTo>
                  <a:lnTo>
                    <a:pt x="118" y="86"/>
                  </a:lnTo>
                  <a:lnTo>
                    <a:pt x="118" y="86"/>
                  </a:lnTo>
                  <a:lnTo>
                    <a:pt x="118" y="86"/>
                  </a:lnTo>
                  <a:close/>
                  <a:moveTo>
                    <a:pt x="126" y="90"/>
                  </a:moveTo>
                  <a:lnTo>
                    <a:pt x="126" y="86"/>
                  </a:lnTo>
                  <a:lnTo>
                    <a:pt x="130" y="90"/>
                  </a:lnTo>
                  <a:lnTo>
                    <a:pt x="126" y="90"/>
                  </a:lnTo>
                  <a:lnTo>
                    <a:pt x="126" y="90"/>
                  </a:lnTo>
                  <a:lnTo>
                    <a:pt x="126" y="90"/>
                  </a:lnTo>
                  <a:close/>
                  <a:moveTo>
                    <a:pt x="118" y="90"/>
                  </a:moveTo>
                  <a:lnTo>
                    <a:pt x="118" y="92"/>
                  </a:lnTo>
                  <a:lnTo>
                    <a:pt x="114" y="92"/>
                  </a:lnTo>
                  <a:lnTo>
                    <a:pt x="114" y="90"/>
                  </a:lnTo>
                  <a:lnTo>
                    <a:pt x="114" y="86"/>
                  </a:lnTo>
                  <a:lnTo>
                    <a:pt x="114" y="90"/>
                  </a:lnTo>
                  <a:lnTo>
                    <a:pt x="118" y="90"/>
                  </a:lnTo>
                  <a:lnTo>
                    <a:pt x="118" y="90"/>
                  </a:lnTo>
                  <a:lnTo>
                    <a:pt x="118" y="90"/>
                  </a:lnTo>
                  <a:close/>
                  <a:moveTo>
                    <a:pt x="134" y="100"/>
                  </a:moveTo>
                  <a:lnTo>
                    <a:pt x="134" y="96"/>
                  </a:lnTo>
                  <a:lnTo>
                    <a:pt x="134" y="100"/>
                  </a:lnTo>
                  <a:lnTo>
                    <a:pt x="134" y="100"/>
                  </a:lnTo>
                  <a:lnTo>
                    <a:pt x="134" y="100"/>
                  </a:lnTo>
                  <a:close/>
                  <a:moveTo>
                    <a:pt x="50" y="100"/>
                  </a:moveTo>
                  <a:lnTo>
                    <a:pt x="48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0"/>
                  </a:lnTo>
                  <a:close/>
                  <a:moveTo>
                    <a:pt x="136" y="108"/>
                  </a:moveTo>
                  <a:lnTo>
                    <a:pt x="134" y="108"/>
                  </a:lnTo>
                  <a:lnTo>
                    <a:pt x="134" y="104"/>
                  </a:lnTo>
                  <a:lnTo>
                    <a:pt x="134" y="108"/>
                  </a:lnTo>
                  <a:lnTo>
                    <a:pt x="130" y="108"/>
                  </a:lnTo>
                  <a:lnTo>
                    <a:pt x="130" y="104"/>
                  </a:lnTo>
                  <a:lnTo>
                    <a:pt x="134" y="104"/>
                  </a:lnTo>
                  <a:lnTo>
                    <a:pt x="134" y="100"/>
                  </a:lnTo>
                  <a:lnTo>
                    <a:pt x="134" y="104"/>
                  </a:lnTo>
                  <a:lnTo>
                    <a:pt x="136" y="104"/>
                  </a:lnTo>
                  <a:lnTo>
                    <a:pt x="136" y="108"/>
                  </a:lnTo>
                  <a:lnTo>
                    <a:pt x="136" y="108"/>
                  </a:lnTo>
                  <a:lnTo>
                    <a:pt x="136" y="108"/>
                  </a:lnTo>
                  <a:close/>
                  <a:moveTo>
                    <a:pt x="48" y="108"/>
                  </a:moveTo>
                  <a:lnTo>
                    <a:pt x="44" y="104"/>
                  </a:lnTo>
                  <a:lnTo>
                    <a:pt x="44" y="100"/>
                  </a:lnTo>
                  <a:lnTo>
                    <a:pt x="44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close/>
                  <a:moveTo>
                    <a:pt x="502" y="112"/>
                  </a:moveTo>
                  <a:lnTo>
                    <a:pt x="502" y="108"/>
                  </a:lnTo>
                  <a:lnTo>
                    <a:pt x="498" y="108"/>
                  </a:lnTo>
                  <a:lnTo>
                    <a:pt x="494" y="108"/>
                  </a:lnTo>
                  <a:lnTo>
                    <a:pt x="494" y="104"/>
                  </a:lnTo>
                  <a:lnTo>
                    <a:pt x="498" y="108"/>
                  </a:lnTo>
                  <a:lnTo>
                    <a:pt x="498" y="104"/>
                  </a:lnTo>
                  <a:lnTo>
                    <a:pt x="494" y="104"/>
                  </a:lnTo>
                  <a:lnTo>
                    <a:pt x="498" y="104"/>
                  </a:lnTo>
                  <a:lnTo>
                    <a:pt x="502" y="104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0" y="108"/>
                  </a:lnTo>
                  <a:lnTo>
                    <a:pt x="506" y="108"/>
                  </a:lnTo>
                  <a:lnTo>
                    <a:pt x="502" y="104"/>
                  </a:lnTo>
                  <a:lnTo>
                    <a:pt x="502" y="108"/>
                  </a:lnTo>
                  <a:lnTo>
                    <a:pt x="506" y="108"/>
                  </a:lnTo>
                  <a:lnTo>
                    <a:pt x="506" y="112"/>
                  </a:lnTo>
                  <a:lnTo>
                    <a:pt x="502" y="112"/>
                  </a:lnTo>
                  <a:lnTo>
                    <a:pt x="502" y="112"/>
                  </a:lnTo>
                  <a:lnTo>
                    <a:pt x="502" y="112"/>
                  </a:lnTo>
                  <a:close/>
                  <a:moveTo>
                    <a:pt x="48" y="112"/>
                  </a:moveTo>
                  <a:lnTo>
                    <a:pt x="44" y="112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close/>
                  <a:moveTo>
                    <a:pt x="458" y="108"/>
                  </a:moveTo>
                  <a:lnTo>
                    <a:pt x="460" y="112"/>
                  </a:lnTo>
                  <a:lnTo>
                    <a:pt x="458" y="112"/>
                  </a:lnTo>
                  <a:lnTo>
                    <a:pt x="458" y="116"/>
                  </a:lnTo>
                  <a:lnTo>
                    <a:pt x="460" y="116"/>
                  </a:lnTo>
                  <a:lnTo>
                    <a:pt x="460" y="120"/>
                  </a:lnTo>
                  <a:lnTo>
                    <a:pt x="460" y="116"/>
                  </a:lnTo>
                  <a:lnTo>
                    <a:pt x="458" y="116"/>
                  </a:lnTo>
                  <a:lnTo>
                    <a:pt x="454" y="112"/>
                  </a:lnTo>
                  <a:lnTo>
                    <a:pt x="454" y="108"/>
                  </a:lnTo>
                  <a:lnTo>
                    <a:pt x="458" y="108"/>
                  </a:lnTo>
                  <a:lnTo>
                    <a:pt x="458" y="108"/>
                  </a:lnTo>
                  <a:lnTo>
                    <a:pt x="458" y="108"/>
                  </a:lnTo>
                  <a:close/>
                  <a:moveTo>
                    <a:pt x="134" y="108"/>
                  </a:moveTo>
                  <a:lnTo>
                    <a:pt x="134" y="112"/>
                  </a:lnTo>
                  <a:lnTo>
                    <a:pt x="130" y="112"/>
                  </a:lnTo>
                  <a:lnTo>
                    <a:pt x="130" y="108"/>
                  </a:lnTo>
                  <a:lnTo>
                    <a:pt x="134" y="108"/>
                  </a:lnTo>
                  <a:lnTo>
                    <a:pt x="134" y="108"/>
                  </a:lnTo>
                  <a:lnTo>
                    <a:pt x="134" y="108"/>
                  </a:lnTo>
                  <a:close/>
                  <a:moveTo>
                    <a:pt x="622" y="226"/>
                  </a:moveTo>
                  <a:lnTo>
                    <a:pt x="622" y="222"/>
                  </a:lnTo>
                  <a:lnTo>
                    <a:pt x="622" y="226"/>
                  </a:lnTo>
                  <a:lnTo>
                    <a:pt x="618" y="222"/>
                  </a:lnTo>
                  <a:lnTo>
                    <a:pt x="614" y="220"/>
                  </a:lnTo>
                  <a:lnTo>
                    <a:pt x="618" y="220"/>
                  </a:lnTo>
                  <a:lnTo>
                    <a:pt x="622" y="220"/>
                  </a:lnTo>
                  <a:lnTo>
                    <a:pt x="622" y="222"/>
                  </a:lnTo>
                  <a:lnTo>
                    <a:pt x="622" y="220"/>
                  </a:lnTo>
                  <a:lnTo>
                    <a:pt x="618" y="220"/>
                  </a:lnTo>
                  <a:lnTo>
                    <a:pt x="614" y="216"/>
                  </a:lnTo>
                  <a:lnTo>
                    <a:pt x="614" y="212"/>
                  </a:lnTo>
                  <a:lnTo>
                    <a:pt x="610" y="212"/>
                  </a:lnTo>
                  <a:lnTo>
                    <a:pt x="610" y="208"/>
                  </a:lnTo>
                  <a:lnTo>
                    <a:pt x="610" y="204"/>
                  </a:lnTo>
                  <a:lnTo>
                    <a:pt x="610" y="200"/>
                  </a:lnTo>
                  <a:lnTo>
                    <a:pt x="606" y="200"/>
                  </a:lnTo>
                  <a:lnTo>
                    <a:pt x="610" y="200"/>
                  </a:lnTo>
                  <a:lnTo>
                    <a:pt x="610" y="196"/>
                  </a:lnTo>
                  <a:lnTo>
                    <a:pt x="610" y="200"/>
                  </a:lnTo>
                  <a:lnTo>
                    <a:pt x="606" y="200"/>
                  </a:lnTo>
                  <a:lnTo>
                    <a:pt x="606" y="196"/>
                  </a:lnTo>
                  <a:lnTo>
                    <a:pt x="606" y="194"/>
                  </a:lnTo>
                  <a:lnTo>
                    <a:pt x="606" y="196"/>
                  </a:lnTo>
                  <a:lnTo>
                    <a:pt x="602" y="194"/>
                  </a:lnTo>
                  <a:lnTo>
                    <a:pt x="600" y="190"/>
                  </a:lnTo>
                  <a:lnTo>
                    <a:pt x="596" y="190"/>
                  </a:lnTo>
                  <a:lnTo>
                    <a:pt x="596" y="186"/>
                  </a:lnTo>
                  <a:lnTo>
                    <a:pt x="592" y="186"/>
                  </a:lnTo>
                  <a:lnTo>
                    <a:pt x="588" y="186"/>
                  </a:lnTo>
                  <a:lnTo>
                    <a:pt x="584" y="182"/>
                  </a:lnTo>
                  <a:lnTo>
                    <a:pt x="580" y="182"/>
                  </a:lnTo>
                  <a:lnTo>
                    <a:pt x="576" y="182"/>
                  </a:lnTo>
                  <a:lnTo>
                    <a:pt x="576" y="178"/>
                  </a:lnTo>
                  <a:lnTo>
                    <a:pt x="572" y="178"/>
                  </a:lnTo>
                  <a:lnTo>
                    <a:pt x="570" y="178"/>
                  </a:lnTo>
                  <a:lnTo>
                    <a:pt x="566" y="178"/>
                  </a:lnTo>
                  <a:lnTo>
                    <a:pt x="562" y="174"/>
                  </a:lnTo>
                  <a:lnTo>
                    <a:pt x="558" y="174"/>
                  </a:lnTo>
                  <a:lnTo>
                    <a:pt x="558" y="170"/>
                  </a:lnTo>
                  <a:lnTo>
                    <a:pt x="562" y="170"/>
                  </a:lnTo>
                  <a:lnTo>
                    <a:pt x="558" y="166"/>
                  </a:lnTo>
                  <a:lnTo>
                    <a:pt x="558" y="170"/>
                  </a:lnTo>
                  <a:lnTo>
                    <a:pt x="554" y="170"/>
                  </a:lnTo>
                  <a:lnTo>
                    <a:pt x="554" y="166"/>
                  </a:lnTo>
                  <a:lnTo>
                    <a:pt x="554" y="170"/>
                  </a:lnTo>
                  <a:lnTo>
                    <a:pt x="550" y="170"/>
                  </a:lnTo>
                  <a:lnTo>
                    <a:pt x="550" y="166"/>
                  </a:lnTo>
                  <a:lnTo>
                    <a:pt x="546" y="166"/>
                  </a:lnTo>
                  <a:lnTo>
                    <a:pt x="546" y="164"/>
                  </a:lnTo>
                  <a:lnTo>
                    <a:pt x="544" y="164"/>
                  </a:lnTo>
                  <a:lnTo>
                    <a:pt x="544" y="160"/>
                  </a:lnTo>
                  <a:lnTo>
                    <a:pt x="544" y="156"/>
                  </a:lnTo>
                  <a:lnTo>
                    <a:pt x="546" y="156"/>
                  </a:lnTo>
                  <a:lnTo>
                    <a:pt x="546" y="152"/>
                  </a:lnTo>
                  <a:lnTo>
                    <a:pt x="544" y="152"/>
                  </a:lnTo>
                  <a:lnTo>
                    <a:pt x="544" y="156"/>
                  </a:lnTo>
                  <a:lnTo>
                    <a:pt x="544" y="160"/>
                  </a:lnTo>
                  <a:lnTo>
                    <a:pt x="544" y="164"/>
                  </a:lnTo>
                  <a:lnTo>
                    <a:pt x="540" y="166"/>
                  </a:lnTo>
                  <a:lnTo>
                    <a:pt x="540" y="170"/>
                  </a:lnTo>
                  <a:lnTo>
                    <a:pt x="536" y="170"/>
                  </a:lnTo>
                  <a:lnTo>
                    <a:pt x="532" y="170"/>
                  </a:lnTo>
                  <a:lnTo>
                    <a:pt x="532" y="166"/>
                  </a:lnTo>
                  <a:lnTo>
                    <a:pt x="532" y="164"/>
                  </a:lnTo>
                  <a:lnTo>
                    <a:pt x="532" y="160"/>
                  </a:lnTo>
                  <a:lnTo>
                    <a:pt x="532" y="156"/>
                  </a:lnTo>
                  <a:lnTo>
                    <a:pt x="532" y="160"/>
                  </a:lnTo>
                  <a:lnTo>
                    <a:pt x="528" y="160"/>
                  </a:lnTo>
                  <a:lnTo>
                    <a:pt x="528" y="156"/>
                  </a:lnTo>
                  <a:lnTo>
                    <a:pt x="528" y="152"/>
                  </a:lnTo>
                  <a:lnTo>
                    <a:pt x="524" y="152"/>
                  </a:lnTo>
                  <a:lnTo>
                    <a:pt x="520" y="152"/>
                  </a:lnTo>
                  <a:lnTo>
                    <a:pt x="520" y="150"/>
                  </a:lnTo>
                  <a:lnTo>
                    <a:pt x="524" y="150"/>
                  </a:lnTo>
                  <a:lnTo>
                    <a:pt x="528" y="150"/>
                  </a:lnTo>
                  <a:lnTo>
                    <a:pt x="532" y="150"/>
                  </a:lnTo>
                  <a:lnTo>
                    <a:pt x="536" y="146"/>
                  </a:lnTo>
                  <a:lnTo>
                    <a:pt x="540" y="146"/>
                  </a:lnTo>
                  <a:lnTo>
                    <a:pt x="544" y="146"/>
                  </a:lnTo>
                  <a:lnTo>
                    <a:pt x="544" y="150"/>
                  </a:lnTo>
                  <a:lnTo>
                    <a:pt x="544" y="146"/>
                  </a:lnTo>
                  <a:lnTo>
                    <a:pt x="546" y="146"/>
                  </a:lnTo>
                  <a:lnTo>
                    <a:pt x="546" y="150"/>
                  </a:lnTo>
                  <a:lnTo>
                    <a:pt x="546" y="146"/>
                  </a:lnTo>
                  <a:lnTo>
                    <a:pt x="546" y="142"/>
                  </a:lnTo>
                  <a:lnTo>
                    <a:pt x="546" y="138"/>
                  </a:lnTo>
                  <a:lnTo>
                    <a:pt x="544" y="142"/>
                  </a:lnTo>
                  <a:lnTo>
                    <a:pt x="540" y="142"/>
                  </a:lnTo>
                  <a:lnTo>
                    <a:pt x="536" y="142"/>
                  </a:lnTo>
                  <a:lnTo>
                    <a:pt x="532" y="142"/>
                  </a:lnTo>
                  <a:lnTo>
                    <a:pt x="528" y="142"/>
                  </a:lnTo>
                  <a:lnTo>
                    <a:pt x="524" y="142"/>
                  </a:lnTo>
                  <a:lnTo>
                    <a:pt x="524" y="138"/>
                  </a:lnTo>
                  <a:lnTo>
                    <a:pt x="520" y="138"/>
                  </a:lnTo>
                  <a:lnTo>
                    <a:pt x="520" y="134"/>
                  </a:lnTo>
                  <a:lnTo>
                    <a:pt x="520" y="130"/>
                  </a:lnTo>
                  <a:lnTo>
                    <a:pt x="516" y="130"/>
                  </a:lnTo>
                  <a:lnTo>
                    <a:pt x="514" y="126"/>
                  </a:lnTo>
                  <a:lnTo>
                    <a:pt x="510" y="126"/>
                  </a:lnTo>
                  <a:lnTo>
                    <a:pt x="506" y="126"/>
                  </a:lnTo>
                  <a:lnTo>
                    <a:pt x="506" y="122"/>
                  </a:lnTo>
                  <a:lnTo>
                    <a:pt x="510" y="122"/>
                  </a:lnTo>
                  <a:lnTo>
                    <a:pt x="510" y="120"/>
                  </a:lnTo>
                  <a:lnTo>
                    <a:pt x="510" y="116"/>
                  </a:lnTo>
                  <a:lnTo>
                    <a:pt x="514" y="116"/>
                  </a:lnTo>
                  <a:lnTo>
                    <a:pt x="516" y="116"/>
                  </a:lnTo>
                  <a:lnTo>
                    <a:pt x="520" y="116"/>
                  </a:lnTo>
                  <a:lnTo>
                    <a:pt x="520" y="112"/>
                  </a:lnTo>
                  <a:lnTo>
                    <a:pt x="524" y="108"/>
                  </a:lnTo>
                  <a:lnTo>
                    <a:pt x="528" y="108"/>
                  </a:lnTo>
                  <a:lnTo>
                    <a:pt x="532" y="108"/>
                  </a:lnTo>
                  <a:lnTo>
                    <a:pt x="532" y="112"/>
                  </a:lnTo>
                  <a:lnTo>
                    <a:pt x="536" y="112"/>
                  </a:lnTo>
                  <a:lnTo>
                    <a:pt x="540" y="112"/>
                  </a:lnTo>
                  <a:lnTo>
                    <a:pt x="540" y="116"/>
                  </a:lnTo>
                  <a:lnTo>
                    <a:pt x="544" y="116"/>
                  </a:lnTo>
                  <a:lnTo>
                    <a:pt x="546" y="116"/>
                  </a:lnTo>
                  <a:lnTo>
                    <a:pt x="550" y="116"/>
                  </a:lnTo>
                  <a:lnTo>
                    <a:pt x="550" y="120"/>
                  </a:lnTo>
                  <a:lnTo>
                    <a:pt x="550" y="122"/>
                  </a:lnTo>
                  <a:lnTo>
                    <a:pt x="554" y="126"/>
                  </a:lnTo>
                  <a:lnTo>
                    <a:pt x="550" y="126"/>
                  </a:lnTo>
                  <a:lnTo>
                    <a:pt x="550" y="130"/>
                  </a:lnTo>
                  <a:lnTo>
                    <a:pt x="550" y="134"/>
                  </a:lnTo>
                  <a:lnTo>
                    <a:pt x="550" y="138"/>
                  </a:lnTo>
                  <a:lnTo>
                    <a:pt x="550" y="142"/>
                  </a:lnTo>
                  <a:lnTo>
                    <a:pt x="550" y="146"/>
                  </a:lnTo>
                  <a:lnTo>
                    <a:pt x="554" y="146"/>
                  </a:lnTo>
                  <a:lnTo>
                    <a:pt x="554" y="150"/>
                  </a:lnTo>
                  <a:lnTo>
                    <a:pt x="554" y="152"/>
                  </a:lnTo>
                  <a:lnTo>
                    <a:pt x="558" y="150"/>
                  </a:lnTo>
                  <a:lnTo>
                    <a:pt x="554" y="150"/>
                  </a:lnTo>
                  <a:lnTo>
                    <a:pt x="554" y="146"/>
                  </a:lnTo>
                  <a:lnTo>
                    <a:pt x="558" y="146"/>
                  </a:lnTo>
                  <a:lnTo>
                    <a:pt x="558" y="150"/>
                  </a:lnTo>
                  <a:lnTo>
                    <a:pt x="558" y="152"/>
                  </a:lnTo>
                  <a:lnTo>
                    <a:pt x="562" y="152"/>
                  </a:lnTo>
                  <a:lnTo>
                    <a:pt x="562" y="156"/>
                  </a:lnTo>
                  <a:lnTo>
                    <a:pt x="562" y="160"/>
                  </a:lnTo>
                  <a:lnTo>
                    <a:pt x="566" y="160"/>
                  </a:lnTo>
                  <a:lnTo>
                    <a:pt x="570" y="160"/>
                  </a:lnTo>
                  <a:lnTo>
                    <a:pt x="570" y="156"/>
                  </a:lnTo>
                  <a:lnTo>
                    <a:pt x="572" y="156"/>
                  </a:lnTo>
                  <a:lnTo>
                    <a:pt x="572" y="152"/>
                  </a:lnTo>
                  <a:lnTo>
                    <a:pt x="576" y="152"/>
                  </a:lnTo>
                  <a:lnTo>
                    <a:pt x="576" y="150"/>
                  </a:lnTo>
                  <a:lnTo>
                    <a:pt x="580" y="150"/>
                  </a:lnTo>
                  <a:lnTo>
                    <a:pt x="580" y="146"/>
                  </a:lnTo>
                  <a:lnTo>
                    <a:pt x="580" y="142"/>
                  </a:lnTo>
                  <a:lnTo>
                    <a:pt x="584" y="142"/>
                  </a:lnTo>
                  <a:lnTo>
                    <a:pt x="588" y="142"/>
                  </a:lnTo>
                  <a:lnTo>
                    <a:pt x="592" y="138"/>
                  </a:lnTo>
                  <a:lnTo>
                    <a:pt x="596" y="138"/>
                  </a:lnTo>
                  <a:lnTo>
                    <a:pt x="596" y="134"/>
                  </a:lnTo>
                  <a:lnTo>
                    <a:pt x="592" y="134"/>
                  </a:lnTo>
                  <a:lnTo>
                    <a:pt x="596" y="134"/>
                  </a:lnTo>
                  <a:lnTo>
                    <a:pt x="596" y="130"/>
                  </a:lnTo>
                  <a:lnTo>
                    <a:pt x="600" y="130"/>
                  </a:lnTo>
                  <a:lnTo>
                    <a:pt x="602" y="126"/>
                  </a:lnTo>
                  <a:lnTo>
                    <a:pt x="606" y="126"/>
                  </a:lnTo>
                  <a:lnTo>
                    <a:pt x="606" y="130"/>
                  </a:lnTo>
                  <a:lnTo>
                    <a:pt x="610" y="130"/>
                  </a:lnTo>
                  <a:lnTo>
                    <a:pt x="614" y="134"/>
                  </a:lnTo>
                  <a:lnTo>
                    <a:pt x="618" y="134"/>
                  </a:lnTo>
                  <a:lnTo>
                    <a:pt x="618" y="138"/>
                  </a:lnTo>
                  <a:lnTo>
                    <a:pt x="622" y="138"/>
                  </a:lnTo>
                  <a:lnTo>
                    <a:pt x="626" y="138"/>
                  </a:lnTo>
                  <a:lnTo>
                    <a:pt x="626" y="142"/>
                  </a:lnTo>
                  <a:lnTo>
                    <a:pt x="628" y="142"/>
                  </a:lnTo>
                  <a:lnTo>
                    <a:pt x="632" y="142"/>
                  </a:lnTo>
                  <a:lnTo>
                    <a:pt x="636" y="142"/>
                  </a:lnTo>
                  <a:lnTo>
                    <a:pt x="636" y="146"/>
                  </a:lnTo>
                  <a:lnTo>
                    <a:pt x="640" y="146"/>
                  </a:lnTo>
                  <a:lnTo>
                    <a:pt x="644" y="146"/>
                  </a:lnTo>
                  <a:lnTo>
                    <a:pt x="644" y="150"/>
                  </a:lnTo>
                  <a:lnTo>
                    <a:pt x="644" y="146"/>
                  </a:lnTo>
                  <a:lnTo>
                    <a:pt x="648" y="146"/>
                  </a:lnTo>
                  <a:lnTo>
                    <a:pt x="648" y="186"/>
                  </a:lnTo>
                  <a:lnTo>
                    <a:pt x="648" y="204"/>
                  </a:lnTo>
                  <a:lnTo>
                    <a:pt x="648" y="212"/>
                  </a:lnTo>
                  <a:lnTo>
                    <a:pt x="648" y="216"/>
                  </a:lnTo>
                  <a:lnTo>
                    <a:pt x="648" y="220"/>
                  </a:lnTo>
                  <a:lnTo>
                    <a:pt x="648" y="256"/>
                  </a:lnTo>
                  <a:lnTo>
                    <a:pt x="644" y="256"/>
                  </a:lnTo>
                  <a:lnTo>
                    <a:pt x="644" y="252"/>
                  </a:lnTo>
                  <a:lnTo>
                    <a:pt x="640" y="250"/>
                  </a:lnTo>
                  <a:lnTo>
                    <a:pt x="640" y="246"/>
                  </a:lnTo>
                  <a:lnTo>
                    <a:pt x="636" y="246"/>
                  </a:lnTo>
                  <a:lnTo>
                    <a:pt x="632" y="242"/>
                  </a:lnTo>
                  <a:lnTo>
                    <a:pt x="636" y="242"/>
                  </a:lnTo>
                  <a:lnTo>
                    <a:pt x="636" y="238"/>
                  </a:lnTo>
                  <a:lnTo>
                    <a:pt x="632" y="238"/>
                  </a:lnTo>
                  <a:lnTo>
                    <a:pt x="632" y="242"/>
                  </a:lnTo>
                  <a:lnTo>
                    <a:pt x="628" y="242"/>
                  </a:lnTo>
                  <a:lnTo>
                    <a:pt x="626" y="242"/>
                  </a:lnTo>
                  <a:lnTo>
                    <a:pt x="622" y="242"/>
                  </a:lnTo>
                  <a:lnTo>
                    <a:pt x="618" y="242"/>
                  </a:lnTo>
                  <a:lnTo>
                    <a:pt x="618" y="246"/>
                  </a:lnTo>
                  <a:lnTo>
                    <a:pt x="618" y="242"/>
                  </a:lnTo>
                  <a:lnTo>
                    <a:pt x="618" y="238"/>
                  </a:lnTo>
                  <a:lnTo>
                    <a:pt x="622" y="234"/>
                  </a:lnTo>
                  <a:lnTo>
                    <a:pt x="618" y="234"/>
                  </a:lnTo>
                  <a:lnTo>
                    <a:pt x="622" y="234"/>
                  </a:lnTo>
                  <a:lnTo>
                    <a:pt x="622" y="230"/>
                  </a:lnTo>
                  <a:lnTo>
                    <a:pt x="618" y="230"/>
                  </a:lnTo>
                  <a:lnTo>
                    <a:pt x="618" y="226"/>
                  </a:lnTo>
                  <a:lnTo>
                    <a:pt x="614" y="226"/>
                  </a:lnTo>
                  <a:lnTo>
                    <a:pt x="614" y="222"/>
                  </a:lnTo>
                  <a:lnTo>
                    <a:pt x="618" y="226"/>
                  </a:lnTo>
                  <a:lnTo>
                    <a:pt x="622" y="226"/>
                  </a:lnTo>
                  <a:lnTo>
                    <a:pt x="622" y="226"/>
                  </a:lnTo>
                  <a:lnTo>
                    <a:pt x="622" y="226"/>
                  </a:lnTo>
                  <a:close/>
                  <a:moveTo>
                    <a:pt x="502" y="108"/>
                  </a:moveTo>
                  <a:lnTo>
                    <a:pt x="502" y="112"/>
                  </a:lnTo>
                  <a:lnTo>
                    <a:pt x="498" y="112"/>
                  </a:lnTo>
                  <a:lnTo>
                    <a:pt x="502" y="108"/>
                  </a:lnTo>
                  <a:lnTo>
                    <a:pt x="502" y="108"/>
                  </a:lnTo>
                  <a:lnTo>
                    <a:pt x="502" y="108"/>
                  </a:lnTo>
                  <a:close/>
                  <a:moveTo>
                    <a:pt x="570" y="116"/>
                  </a:moveTo>
                  <a:lnTo>
                    <a:pt x="572" y="116"/>
                  </a:lnTo>
                  <a:lnTo>
                    <a:pt x="576" y="116"/>
                  </a:lnTo>
                  <a:lnTo>
                    <a:pt x="576" y="120"/>
                  </a:lnTo>
                  <a:lnTo>
                    <a:pt x="580" y="120"/>
                  </a:lnTo>
                  <a:lnTo>
                    <a:pt x="580" y="122"/>
                  </a:lnTo>
                  <a:lnTo>
                    <a:pt x="584" y="122"/>
                  </a:lnTo>
                  <a:lnTo>
                    <a:pt x="580" y="122"/>
                  </a:lnTo>
                  <a:lnTo>
                    <a:pt x="576" y="122"/>
                  </a:lnTo>
                  <a:lnTo>
                    <a:pt x="572" y="122"/>
                  </a:lnTo>
                  <a:lnTo>
                    <a:pt x="572" y="120"/>
                  </a:lnTo>
                  <a:lnTo>
                    <a:pt x="572" y="116"/>
                  </a:lnTo>
                  <a:lnTo>
                    <a:pt x="570" y="116"/>
                  </a:lnTo>
                  <a:lnTo>
                    <a:pt x="570" y="112"/>
                  </a:lnTo>
                  <a:lnTo>
                    <a:pt x="570" y="116"/>
                  </a:lnTo>
                  <a:lnTo>
                    <a:pt x="570" y="116"/>
                  </a:lnTo>
                  <a:lnTo>
                    <a:pt x="570" y="116"/>
                  </a:lnTo>
                  <a:close/>
                  <a:moveTo>
                    <a:pt x="506" y="116"/>
                  </a:moveTo>
                  <a:lnTo>
                    <a:pt x="502" y="120"/>
                  </a:lnTo>
                  <a:lnTo>
                    <a:pt x="498" y="120"/>
                  </a:lnTo>
                  <a:lnTo>
                    <a:pt x="498" y="116"/>
                  </a:lnTo>
                  <a:lnTo>
                    <a:pt x="502" y="116"/>
                  </a:lnTo>
                  <a:lnTo>
                    <a:pt x="506" y="116"/>
                  </a:lnTo>
                  <a:lnTo>
                    <a:pt x="506" y="116"/>
                  </a:lnTo>
                  <a:lnTo>
                    <a:pt x="506" y="116"/>
                  </a:lnTo>
                  <a:close/>
                  <a:moveTo>
                    <a:pt x="506" y="120"/>
                  </a:moveTo>
                  <a:lnTo>
                    <a:pt x="506" y="122"/>
                  </a:lnTo>
                  <a:lnTo>
                    <a:pt x="506" y="126"/>
                  </a:lnTo>
                  <a:lnTo>
                    <a:pt x="502" y="122"/>
                  </a:lnTo>
                  <a:lnTo>
                    <a:pt x="502" y="120"/>
                  </a:lnTo>
                  <a:lnTo>
                    <a:pt x="506" y="120"/>
                  </a:lnTo>
                  <a:lnTo>
                    <a:pt x="506" y="120"/>
                  </a:lnTo>
                  <a:lnTo>
                    <a:pt x="506" y="120"/>
                  </a:lnTo>
                  <a:close/>
                  <a:moveTo>
                    <a:pt x="58" y="130"/>
                  </a:moveTo>
                  <a:lnTo>
                    <a:pt x="54" y="130"/>
                  </a:lnTo>
                  <a:lnTo>
                    <a:pt x="58" y="130"/>
                  </a:lnTo>
                  <a:lnTo>
                    <a:pt x="58" y="134"/>
                  </a:lnTo>
                  <a:lnTo>
                    <a:pt x="54" y="134"/>
                  </a:lnTo>
                  <a:lnTo>
                    <a:pt x="50" y="130"/>
                  </a:lnTo>
                  <a:lnTo>
                    <a:pt x="50" y="126"/>
                  </a:lnTo>
                  <a:lnTo>
                    <a:pt x="48" y="122"/>
                  </a:lnTo>
                  <a:lnTo>
                    <a:pt x="48" y="120"/>
                  </a:lnTo>
                  <a:lnTo>
                    <a:pt x="50" y="120"/>
                  </a:lnTo>
                  <a:lnTo>
                    <a:pt x="54" y="122"/>
                  </a:lnTo>
                  <a:lnTo>
                    <a:pt x="54" y="126"/>
                  </a:lnTo>
                  <a:lnTo>
                    <a:pt x="58" y="130"/>
                  </a:lnTo>
                  <a:lnTo>
                    <a:pt x="58" y="130"/>
                  </a:lnTo>
                  <a:lnTo>
                    <a:pt x="58" y="130"/>
                  </a:lnTo>
                  <a:close/>
                  <a:moveTo>
                    <a:pt x="208" y="120"/>
                  </a:moveTo>
                  <a:lnTo>
                    <a:pt x="208" y="122"/>
                  </a:lnTo>
                  <a:lnTo>
                    <a:pt x="204" y="122"/>
                  </a:lnTo>
                  <a:lnTo>
                    <a:pt x="200" y="122"/>
                  </a:lnTo>
                  <a:lnTo>
                    <a:pt x="200" y="120"/>
                  </a:lnTo>
                  <a:lnTo>
                    <a:pt x="204" y="120"/>
                  </a:lnTo>
                  <a:lnTo>
                    <a:pt x="208" y="120"/>
                  </a:lnTo>
                  <a:lnTo>
                    <a:pt x="208" y="120"/>
                  </a:lnTo>
                  <a:lnTo>
                    <a:pt x="208" y="120"/>
                  </a:lnTo>
                  <a:close/>
                  <a:moveTo>
                    <a:pt x="490" y="122"/>
                  </a:moveTo>
                  <a:lnTo>
                    <a:pt x="488" y="122"/>
                  </a:lnTo>
                  <a:lnTo>
                    <a:pt x="490" y="122"/>
                  </a:lnTo>
                  <a:lnTo>
                    <a:pt x="490" y="122"/>
                  </a:lnTo>
                  <a:lnTo>
                    <a:pt x="490" y="122"/>
                  </a:lnTo>
                  <a:close/>
                  <a:moveTo>
                    <a:pt x="402" y="122"/>
                  </a:moveTo>
                  <a:lnTo>
                    <a:pt x="402" y="126"/>
                  </a:lnTo>
                  <a:lnTo>
                    <a:pt x="398" y="126"/>
                  </a:lnTo>
                  <a:lnTo>
                    <a:pt x="398" y="130"/>
                  </a:lnTo>
                  <a:lnTo>
                    <a:pt x="394" y="130"/>
                  </a:lnTo>
                  <a:lnTo>
                    <a:pt x="394" y="126"/>
                  </a:lnTo>
                  <a:lnTo>
                    <a:pt x="394" y="130"/>
                  </a:lnTo>
                  <a:lnTo>
                    <a:pt x="390" y="130"/>
                  </a:lnTo>
                  <a:lnTo>
                    <a:pt x="390" y="126"/>
                  </a:lnTo>
                  <a:lnTo>
                    <a:pt x="390" y="122"/>
                  </a:lnTo>
                  <a:lnTo>
                    <a:pt x="394" y="122"/>
                  </a:lnTo>
                  <a:lnTo>
                    <a:pt x="398" y="122"/>
                  </a:lnTo>
                  <a:lnTo>
                    <a:pt x="398" y="126"/>
                  </a:lnTo>
                  <a:lnTo>
                    <a:pt x="398" y="122"/>
                  </a:lnTo>
                  <a:lnTo>
                    <a:pt x="402" y="122"/>
                  </a:lnTo>
                  <a:lnTo>
                    <a:pt x="402" y="122"/>
                  </a:lnTo>
                  <a:lnTo>
                    <a:pt x="402" y="122"/>
                  </a:lnTo>
                  <a:close/>
                  <a:moveTo>
                    <a:pt x="464" y="130"/>
                  </a:moveTo>
                  <a:lnTo>
                    <a:pt x="460" y="130"/>
                  </a:lnTo>
                  <a:lnTo>
                    <a:pt x="458" y="130"/>
                  </a:lnTo>
                  <a:lnTo>
                    <a:pt x="454" y="130"/>
                  </a:lnTo>
                  <a:lnTo>
                    <a:pt x="454" y="126"/>
                  </a:lnTo>
                  <a:lnTo>
                    <a:pt x="458" y="126"/>
                  </a:lnTo>
                  <a:lnTo>
                    <a:pt x="460" y="126"/>
                  </a:lnTo>
                  <a:lnTo>
                    <a:pt x="464" y="130"/>
                  </a:lnTo>
                  <a:lnTo>
                    <a:pt x="464" y="130"/>
                  </a:lnTo>
                  <a:lnTo>
                    <a:pt x="464" y="130"/>
                  </a:lnTo>
                  <a:close/>
                  <a:moveTo>
                    <a:pt x="160" y="152"/>
                  </a:moveTo>
                  <a:lnTo>
                    <a:pt x="156" y="152"/>
                  </a:lnTo>
                  <a:lnTo>
                    <a:pt x="152" y="150"/>
                  </a:lnTo>
                  <a:lnTo>
                    <a:pt x="152" y="146"/>
                  </a:lnTo>
                  <a:lnTo>
                    <a:pt x="152" y="142"/>
                  </a:lnTo>
                  <a:lnTo>
                    <a:pt x="148" y="138"/>
                  </a:lnTo>
                  <a:lnTo>
                    <a:pt x="144" y="138"/>
                  </a:lnTo>
                  <a:lnTo>
                    <a:pt x="140" y="138"/>
                  </a:lnTo>
                  <a:lnTo>
                    <a:pt x="140" y="134"/>
                  </a:lnTo>
                  <a:lnTo>
                    <a:pt x="144" y="134"/>
                  </a:lnTo>
                  <a:lnTo>
                    <a:pt x="144" y="130"/>
                  </a:lnTo>
                  <a:lnTo>
                    <a:pt x="148" y="130"/>
                  </a:lnTo>
                  <a:lnTo>
                    <a:pt x="148" y="134"/>
                  </a:lnTo>
                  <a:lnTo>
                    <a:pt x="152" y="134"/>
                  </a:lnTo>
                  <a:lnTo>
                    <a:pt x="148" y="130"/>
                  </a:lnTo>
                  <a:lnTo>
                    <a:pt x="152" y="126"/>
                  </a:lnTo>
                  <a:lnTo>
                    <a:pt x="152" y="130"/>
                  </a:lnTo>
                  <a:lnTo>
                    <a:pt x="156" y="134"/>
                  </a:lnTo>
                  <a:lnTo>
                    <a:pt x="156" y="138"/>
                  </a:lnTo>
                  <a:lnTo>
                    <a:pt x="156" y="142"/>
                  </a:lnTo>
                  <a:lnTo>
                    <a:pt x="156" y="146"/>
                  </a:lnTo>
                  <a:lnTo>
                    <a:pt x="160" y="146"/>
                  </a:lnTo>
                  <a:lnTo>
                    <a:pt x="164" y="146"/>
                  </a:lnTo>
                  <a:lnTo>
                    <a:pt x="164" y="150"/>
                  </a:lnTo>
                  <a:lnTo>
                    <a:pt x="164" y="152"/>
                  </a:lnTo>
                  <a:lnTo>
                    <a:pt x="164" y="156"/>
                  </a:lnTo>
                  <a:lnTo>
                    <a:pt x="160" y="156"/>
                  </a:lnTo>
                  <a:lnTo>
                    <a:pt x="160" y="152"/>
                  </a:lnTo>
                  <a:lnTo>
                    <a:pt x="160" y="152"/>
                  </a:lnTo>
                  <a:lnTo>
                    <a:pt x="160" y="152"/>
                  </a:lnTo>
                  <a:close/>
                  <a:moveTo>
                    <a:pt x="192" y="130"/>
                  </a:moveTo>
                  <a:lnTo>
                    <a:pt x="196" y="130"/>
                  </a:lnTo>
                  <a:lnTo>
                    <a:pt x="192" y="130"/>
                  </a:lnTo>
                  <a:lnTo>
                    <a:pt x="192" y="130"/>
                  </a:lnTo>
                  <a:lnTo>
                    <a:pt x="192" y="130"/>
                  </a:lnTo>
                  <a:close/>
                  <a:moveTo>
                    <a:pt x="570" y="130"/>
                  </a:moveTo>
                  <a:lnTo>
                    <a:pt x="572" y="130"/>
                  </a:lnTo>
                  <a:lnTo>
                    <a:pt x="576" y="130"/>
                  </a:lnTo>
                  <a:lnTo>
                    <a:pt x="580" y="130"/>
                  </a:lnTo>
                  <a:lnTo>
                    <a:pt x="584" y="130"/>
                  </a:lnTo>
                  <a:lnTo>
                    <a:pt x="588" y="130"/>
                  </a:lnTo>
                  <a:lnTo>
                    <a:pt x="588" y="134"/>
                  </a:lnTo>
                  <a:lnTo>
                    <a:pt x="592" y="134"/>
                  </a:lnTo>
                  <a:lnTo>
                    <a:pt x="588" y="134"/>
                  </a:lnTo>
                  <a:lnTo>
                    <a:pt x="584" y="134"/>
                  </a:lnTo>
                  <a:lnTo>
                    <a:pt x="580" y="134"/>
                  </a:lnTo>
                  <a:lnTo>
                    <a:pt x="576" y="134"/>
                  </a:lnTo>
                  <a:lnTo>
                    <a:pt x="572" y="130"/>
                  </a:lnTo>
                  <a:lnTo>
                    <a:pt x="570" y="130"/>
                  </a:lnTo>
                  <a:lnTo>
                    <a:pt x="570" y="130"/>
                  </a:lnTo>
                  <a:lnTo>
                    <a:pt x="570" y="130"/>
                  </a:lnTo>
                  <a:close/>
                  <a:moveTo>
                    <a:pt x="412" y="130"/>
                  </a:moveTo>
                  <a:lnTo>
                    <a:pt x="416" y="130"/>
                  </a:lnTo>
                  <a:lnTo>
                    <a:pt x="420" y="130"/>
                  </a:lnTo>
                  <a:lnTo>
                    <a:pt x="424" y="130"/>
                  </a:lnTo>
                  <a:lnTo>
                    <a:pt x="428" y="134"/>
                  </a:lnTo>
                  <a:lnTo>
                    <a:pt x="424" y="134"/>
                  </a:lnTo>
                  <a:lnTo>
                    <a:pt x="420" y="134"/>
                  </a:lnTo>
                  <a:lnTo>
                    <a:pt x="416" y="134"/>
                  </a:lnTo>
                  <a:lnTo>
                    <a:pt x="416" y="138"/>
                  </a:lnTo>
                  <a:lnTo>
                    <a:pt x="412" y="138"/>
                  </a:lnTo>
                  <a:lnTo>
                    <a:pt x="412" y="134"/>
                  </a:lnTo>
                  <a:lnTo>
                    <a:pt x="412" y="130"/>
                  </a:lnTo>
                  <a:lnTo>
                    <a:pt x="412" y="130"/>
                  </a:lnTo>
                  <a:lnTo>
                    <a:pt x="412" y="130"/>
                  </a:lnTo>
                  <a:close/>
                  <a:moveTo>
                    <a:pt x="498" y="130"/>
                  </a:moveTo>
                  <a:lnTo>
                    <a:pt x="498" y="134"/>
                  </a:lnTo>
                  <a:lnTo>
                    <a:pt x="498" y="138"/>
                  </a:lnTo>
                  <a:lnTo>
                    <a:pt x="494" y="138"/>
                  </a:lnTo>
                  <a:lnTo>
                    <a:pt x="490" y="138"/>
                  </a:lnTo>
                  <a:lnTo>
                    <a:pt x="488" y="134"/>
                  </a:lnTo>
                  <a:lnTo>
                    <a:pt x="490" y="134"/>
                  </a:lnTo>
                  <a:lnTo>
                    <a:pt x="490" y="130"/>
                  </a:lnTo>
                  <a:lnTo>
                    <a:pt x="494" y="130"/>
                  </a:lnTo>
                  <a:lnTo>
                    <a:pt x="498" y="130"/>
                  </a:lnTo>
                  <a:lnTo>
                    <a:pt x="498" y="130"/>
                  </a:lnTo>
                  <a:lnTo>
                    <a:pt x="498" y="130"/>
                  </a:lnTo>
                  <a:close/>
                  <a:moveTo>
                    <a:pt x="428" y="134"/>
                  </a:moveTo>
                  <a:lnTo>
                    <a:pt x="430" y="134"/>
                  </a:lnTo>
                  <a:lnTo>
                    <a:pt x="434" y="134"/>
                  </a:lnTo>
                  <a:lnTo>
                    <a:pt x="438" y="134"/>
                  </a:lnTo>
                  <a:lnTo>
                    <a:pt x="434" y="134"/>
                  </a:lnTo>
                  <a:lnTo>
                    <a:pt x="430" y="134"/>
                  </a:lnTo>
                  <a:lnTo>
                    <a:pt x="428" y="134"/>
                  </a:lnTo>
                  <a:lnTo>
                    <a:pt x="428" y="134"/>
                  </a:lnTo>
                  <a:lnTo>
                    <a:pt x="428" y="134"/>
                  </a:lnTo>
                  <a:close/>
                  <a:moveTo>
                    <a:pt x="66" y="142"/>
                  </a:moveTo>
                  <a:lnTo>
                    <a:pt x="62" y="142"/>
                  </a:lnTo>
                  <a:lnTo>
                    <a:pt x="62" y="138"/>
                  </a:lnTo>
                  <a:lnTo>
                    <a:pt x="66" y="142"/>
                  </a:lnTo>
                  <a:lnTo>
                    <a:pt x="66" y="142"/>
                  </a:lnTo>
                  <a:lnTo>
                    <a:pt x="66" y="142"/>
                  </a:lnTo>
                  <a:close/>
                  <a:moveTo>
                    <a:pt x="70" y="150"/>
                  </a:moveTo>
                  <a:lnTo>
                    <a:pt x="70" y="152"/>
                  </a:lnTo>
                  <a:lnTo>
                    <a:pt x="70" y="150"/>
                  </a:lnTo>
                  <a:lnTo>
                    <a:pt x="66" y="150"/>
                  </a:lnTo>
                  <a:lnTo>
                    <a:pt x="66" y="146"/>
                  </a:lnTo>
                  <a:lnTo>
                    <a:pt x="70" y="146"/>
                  </a:lnTo>
                  <a:lnTo>
                    <a:pt x="70" y="150"/>
                  </a:lnTo>
                  <a:lnTo>
                    <a:pt x="70" y="150"/>
                  </a:lnTo>
                  <a:lnTo>
                    <a:pt x="70" y="150"/>
                  </a:lnTo>
                  <a:close/>
                  <a:moveTo>
                    <a:pt x="186" y="152"/>
                  </a:moveTo>
                  <a:lnTo>
                    <a:pt x="186" y="156"/>
                  </a:lnTo>
                  <a:lnTo>
                    <a:pt x="182" y="156"/>
                  </a:lnTo>
                  <a:lnTo>
                    <a:pt x="178" y="156"/>
                  </a:lnTo>
                  <a:lnTo>
                    <a:pt x="178" y="152"/>
                  </a:lnTo>
                  <a:lnTo>
                    <a:pt x="178" y="156"/>
                  </a:lnTo>
                  <a:lnTo>
                    <a:pt x="174" y="156"/>
                  </a:lnTo>
                  <a:lnTo>
                    <a:pt x="174" y="152"/>
                  </a:lnTo>
                  <a:lnTo>
                    <a:pt x="174" y="150"/>
                  </a:lnTo>
                  <a:lnTo>
                    <a:pt x="178" y="146"/>
                  </a:lnTo>
                  <a:lnTo>
                    <a:pt x="182" y="146"/>
                  </a:lnTo>
                  <a:lnTo>
                    <a:pt x="186" y="150"/>
                  </a:lnTo>
                  <a:lnTo>
                    <a:pt x="186" y="152"/>
                  </a:lnTo>
                  <a:lnTo>
                    <a:pt x="186" y="152"/>
                  </a:lnTo>
                  <a:lnTo>
                    <a:pt x="186" y="152"/>
                  </a:lnTo>
                  <a:close/>
                  <a:moveTo>
                    <a:pt x="74" y="160"/>
                  </a:moveTo>
                  <a:lnTo>
                    <a:pt x="74" y="156"/>
                  </a:lnTo>
                  <a:lnTo>
                    <a:pt x="70" y="152"/>
                  </a:lnTo>
                  <a:lnTo>
                    <a:pt x="70" y="150"/>
                  </a:lnTo>
                  <a:lnTo>
                    <a:pt x="74" y="152"/>
                  </a:lnTo>
                  <a:lnTo>
                    <a:pt x="74" y="156"/>
                  </a:lnTo>
                  <a:lnTo>
                    <a:pt x="74" y="160"/>
                  </a:lnTo>
                  <a:lnTo>
                    <a:pt x="74" y="160"/>
                  </a:lnTo>
                  <a:lnTo>
                    <a:pt x="74" y="160"/>
                  </a:lnTo>
                  <a:close/>
                  <a:moveTo>
                    <a:pt x="502" y="166"/>
                  </a:moveTo>
                  <a:lnTo>
                    <a:pt x="498" y="166"/>
                  </a:lnTo>
                  <a:lnTo>
                    <a:pt x="498" y="164"/>
                  </a:lnTo>
                  <a:lnTo>
                    <a:pt x="494" y="164"/>
                  </a:lnTo>
                  <a:lnTo>
                    <a:pt x="490" y="160"/>
                  </a:lnTo>
                  <a:lnTo>
                    <a:pt x="488" y="160"/>
                  </a:lnTo>
                  <a:lnTo>
                    <a:pt x="484" y="160"/>
                  </a:lnTo>
                  <a:lnTo>
                    <a:pt x="488" y="160"/>
                  </a:lnTo>
                  <a:lnTo>
                    <a:pt x="484" y="160"/>
                  </a:lnTo>
                  <a:lnTo>
                    <a:pt x="480" y="160"/>
                  </a:lnTo>
                  <a:lnTo>
                    <a:pt x="476" y="160"/>
                  </a:lnTo>
                  <a:lnTo>
                    <a:pt x="476" y="156"/>
                  </a:lnTo>
                  <a:lnTo>
                    <a:pt x="476" y="160"/>
                  </a:lnTo>
                  <a:lnTo>
                    <a:pt x="472" y="160"/>
                  </a:lnTo>
                  <a:lnTo>
                    <a:pt x="468" y="160"/>
                  </a:lnTo>
                  <a:lnTo>
                    <a:pt x="468" y="156"/>
                  </a:lnTo>
                  <a:lnTo>
                    <a:pt x="464" y="156"/>
                  </a:lnTo>
                  <a:lnTo>
                    <a:pt x="464" y="160"/>
                  </a:lnTo>
                  <a:lnTo>
                    <a:pt x="460" y="164"/>
                  </a:lnTo>
                  <a:lnTo>
                    <a:pt x="460" y="160"/>
                  </a:lnTo>
                  <a:lnTo>
                    <a:pt x="460" y="156"/>
                  </a:lnTo>
                  <a:lnTo>
                    <a:pt x="464" y="156"/>
                  </a:lnTo>
                  <a:lnTo>
                    <a:pt x="464" y="152"/>
                  </a:lnTo>
                  <a:lnTo>
                    <a:pt x="468" y="152"/>
                  </a:lnTo>
                  <a:lnTo>
                    <a:pt x="472" y="152"/>
                  </a:lnTo>
                  <a:lnTo>
                    <a:pt x="476" y="152"/>
                  </a:lnTo>
                  <a:lnTo>
                    <a:pt x="480" y="152"/>
                  </a:lnTo>
                  <a:lnTo>
                    <a:pt x="484" y="152"/>
                  </a:lnTo>
                  <a:lnTo>
                    <a:pt x="484" y="150"/>
                  </a:lnTo>
                  <a:lnTo>
                    <a:pt x="488" y="150"/>
                  </a:lnTo>
                  <a:lnTo>
                    <a:pt x="488" y="152"/>
                  </a:lnTo>
                  <a:lnTo>
                    <a:pt x="490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502" y="156"/>
                  </a:lnTo>
                  <a:lnTo>
                    <a:pt x="502" y="160"/>
                  </a:lnTo>
                  <a:lnTo>
                    <a:pt x="506" y="164"/>
                  </a:lnTo>
                  <a:lnTo>
                    <a:pt x="502" y="166"/>
                  </a:lnTo>
                  <a:lnTo>
                    <a:pt x="502" y="166"/>
                  </a:lnTo>
                  <a:lnTo>
                    <a:pt x="502" y="166"/>
                  </a:lnTo>
                  <a:close/>
                  <a:moveTo>
                    <a:pt x="164" y="152"/>
                  </a:moveTo>
                  <a:lnTo>
                    <a:pt x="166" y="152"/>
                  </a:lnTo>
                  <a:lnTo>
                    <a:pt x="164" y="152"/>
                  </a:lnTo>
                  <a:lnTo>
                    <a:pt x="164" y="152"/>
                  </a:lnTo>
                  <a:lnTo>
                    <a:pt x="164" y="152"/>
                  </a:lnTo>
                  <a:close/>
                  <a:moveTo>
                    <a:pt x="438" y="156"/>
                  </a:moveTo>
                  <a:lnTo>
                    <a:pt x="442" y="156"/>
                  </a:lnTo>
                  <a:lnTo>
                    <a:pt x="446" y="156"/>
                  </a:lnTo>
                  <a:lnTo>
                    <a:pt x="450" y="156"/>
                  </a:lnTo>
                  <a:lnTo>
                    <a:pt x="450" y="160"/>
                  </a:lnTo>
                  <a:lnTo>
                    <a:pt x="454" y="160"/>
                  </a:lnTo>
                  <a:lnTo>
                    <a:pt x="454" y="164"/>
                  </a:lnTo>
                  <a:lnTo>
                    <a:pt x="450" y="164"/>
                  </a:lnTo>
                  <a:lnTo>
                    <a:pt x="450" y="166"/>
                  </a:lnTo>
                  <a:lnTo>
                    <a:pt x="446" y="166"/>
                  </a:lnTo>
                  <a:lnTo>
                    <a:pt x="442" y="166"/>
                  </a:lnTo>
                  <a:lnTo>
                    <a:pt x="438" y="164"/>
                  </a:lnTo>
                  <a:lnTo>
                    <a:pt x="434" y="160"/>
                  </a:lnTo>
                  <a:lnTo>
                    <a:pt x="434" y="156"/>
                  </a:lnTo>
                  <a:lnTo>
                    <a:pt x="438" y="156"/>
                  </a:lnTo>
                  <a:lnTo>
                    <a:pt x="438" y="156"/>
                  </a:lnTo>
                  <a:lnTo>
                    <a:pt x="438" y="156"/>
                  </a:lnTo>
                  <a:close/>
                  <a:moveTo>
                    <a:pt x="298" y="160"/>
                  </a:moveTo>
                  <a:lnTo>
                    <a:pt x="298" y="164"/>
                  </a:lnTo>
                  <a:lnTo>
                    <a:pt x="298" y="166"/>
                  </a:lnTo>
                  <a:lnTo>
                    <a:pt x="298" y="170"/>
                  </a:lnTo>
                  <a:lnTo>
                    <a:pt x="294" y="170"/>
                  </a:lnTo>
                  <a:lnTo>
                    <a:pt x="298" y="166"/>
                  </a:lnTo>
                  <a:lnTo>
                    <a:pt x="294" y="166"/>
                  </a:lnTo>
                  <a:lnTo>
                    <a:pt x="294" y="164"/>
                  </a:lnTo>
                  <a:lnTo>
                    <a:pt x="294" y="160"/>
                  </a:lnTo>
                  <a:lnTo>
                    <a:pt x="298" y="160"/>
                  </a:lnTo>
                  <a:lnTo>
                    <a:pt x="298" y="156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0"/>
                  </a:lnTo>
                  <a:close/>
                  <a:moveTo>
                    <a:pt x="458" y="156"/>
                  </a:moveTo>
                  <a:lnTo>
                    <a:pt x="458" y="160"/>
                  </a:lnTo>
                  <a:lnTo>
                    <a:pt x="458" y="156"/>
                  </a:lnTo>
                  <a:lnTo>
                    <a:pt x="458" y="156"/>
                  </a:lnTo>
                  <a:lnTo>
                    <a:pt x="458" y="156"/>
                  </a:lnTo>
                  <a:close/>
                  <a:moveTo>
                    <a:pt x="464" y="164"/>
                  </a:moveTo>
                  <a:lnTo>
                    <a:pt x="468" y="164"/>
                  </a:lnTo>
                  <a:lnTo>
                    <a:pt x="468" y="166"/>
                  </a:lnTo>
                  <a:lnTo>
                    <a:pt x="464" y="166"/>
                  </a:lnTo>
                  <a:lnTo>
                    <a:pt x="468" y="164"/>
                  </a:lnTo>
                  <a:lnTo>
                    <a:pt x="464" y="164"/>
                  </a:lnTo>
                  <a:lnTo>
                    <a:pt x="464" y="166"/>
                  </a:lnTo>
                  <a:lnTo>
                    <a:pt x="460" y="166"/>
                  </a:lnTo>
                  <a:lnTo>
                    <a:pt x="460" y="164"/>
                  </a:lnTo>
                  <a:lnTo>
                    <a:pt x="464" y="164"/>
                  </a:lnTo>
                  <a:lnTo>
                    <a:pt x="464" y="164"/>
                  </a:lnTo>
                  <a:lnTo>
                    <a:pt x="464" y="164"/>
                  </a:lnTo>
                  <a:close/>
                  <a:moveTo>
                    <a:pt x="468" y="164"/>
                  </a:moveTo>
                  <a:lnTo>
                    <a:pt x="472" y="164"/>
                  </a:lnTo>
                  <a:lnTo>
                    <a:pt x="468" y="164"/>
                  </a:lnTo>
                  <a:lnTo>
                    <a:pt x="468" y="164"/>
                  </a:lnTo>
                  <a:lnTo>
                    <a:pt x="468" y="164"/>
                  </a:lnTo>
                  <a:close/>
                  <a:moveTo>
                    <a:pt x="394" y="170"/>
                  </a:moveTo>
                  <a:lnTo>
                    <a:pt x="398" y="170"/>
                  </a:lnTo>
                  <a:lnTo>
                    <a:pt x="394" y="174"/>
                  </a:lnTo>
                  <a:lnTo>
                    <a:pt x="394" y="170"/>
                  </a:lnTo>
                  <a:lnTo>
                    <a:pt x="394" y="170"/>
                  </a:lnTo>
                  <a:lnTo>
                    <a:pt x="394" y="170"/>
                  </a:lnTo>
                  <a:close/>
                  <a:moveTo>
                    <a:pt x="394" y="178"/>
                  </a:moveTo>
                  <a:lnTo>
                    <a:pt x="398" y="178"/>
                  </a:lnTo>
                  <a:lnTo>
                    <a:pt x="398" y="182"/>
                  </a:lnTo>
                  <a:lnTo>
                    <a:pt x="398" y="186"/>
                  </a:lnTo>
                  <a:lnTo>
                    <a:pt x="394" y="182"/>
                  </a:lnTo>
                  <a:lnTo>
                    <a:pt x="394" y="186"/>
                  </a:lnTo>
                  <a:lnTo>
                    <a:pt x="394" y="190"/>
                  </a:lnTo>
                  <a:lnTo>
                    <a:pt x="398" y="194"/>
                  </a:lnTo>
                  <a:lnTo>
                    <a:pt x="394" y="194"/>
                  </a:lnTo>
                  <a:lnTo>
                    <a:pt x="390" y="194"/>
                  </a:lnTo>
                  <a:lnTo>
                    <a:pt x="390" y="196"/>
                  </a:lnTo>
                  <a:lnTo>
                    <a:pt x="390" y="200"/>
                  </a:lnTo>
                  <a:lnTo>
                    <a:pt x="386" y="200"/>
                  </a:lnTo>
                  <a:lnTo>
                    <a:pt x="386" y="196"/>
                  </a:lnTo>
                  <a:lnTo>
                    <a:pt x="386" y="194"/>
                  </a:lnTo>
                  <a:lnTo>
                    <a:pt x="390" y="194"/>
                  </a:lnTo>
                  <a:lnTo>
                    <a:pt x="390" y="190"/>
                  </a:lnTo>
                  <a:lnTo>
                    <a:pt x="390" y="186"/>
                  </a:lnTo>
                  <a:lnTo>
                    <a:pt x="390" y="182"/>
                  </a:lnTo>
                  <a:lnTo>
                    <a:pt x="390" y="178"/>
                  </a:lnTo>
                  <a:lnTo>
                    <a:pt x="394" y="178"/>
                  </a:lnTo>
                  <a:lnTo>
                    <a:pt x="394" y="178"/>
                  </a:lnTo>
                  <a:lnTo>
                    <a:pt x="394" y="178"/>
                  </a:lnTo>
                  <a:close/>
                  <a:moveTo>
                    <a:pt x="390" y="182"/>
                  </a:moveTo>
                  <a:lnTo>
                    <a:pt x="390" y="186"/>
                  </a:lnTo>
                  <a:lnTo>
                    <a:pt x="386" y="190"/>
                  </a:lnTo>
                  <a:lnTo>
                    <a:pt x="386" y="194"/>
                  </a:lnTo>
                  <a:lnTo>
                    <a:pt x="382" y="194"/>
                  </a:lnTo>
                  <a:lnTo>
                    <a:pt x="382" y="190"/>
                  </a:lnTo>
                  <a:lnTo>
                    <a:pt x="382" y="186"/>
                  </a:lnTo>
                  <a:lnTo>
                    <a:pt x="382" y="182"/>
                  </a:lnTo>
                  <a:lnTo>
                    <a:pt x="386" y="182"/>
                  </a:lnTo>
                  <a:lnTo>
                    <a:pt x="390" y="182"/>
                  </a:lnTo>
                  <a:lnTo>
                    <a:pt x="390" y="182"/>
                  </a:lnTo>
                  <a:lnTo>
                    <a:pt x="390" y="182"/>
                  </a:lnTo>
                  <a:close/>
                  <a:moveTo>
                    <a:pt x="378" y="190"/>
                  </a:moveTo>
                  <a:lnTo>
                    <a:pt x="378" y="194"/>
                  </a:lnTo>
                  <a:lnTo>
                    <a:pt x="378" y="196"/>
                  </a:lnTo>
                  <a:lnTo>
                    <a:pt x="374" y="194"/>
                  </a:lnTo>
                  <a:lnTo>
                    <a:pt x="374" y="190"/>
                  </a:lnTo>
                  <a:lnTo>
                    <a:pt x="378" y="190"/>
                  </a:lnTo>
                  <a:lnTo>
                    <a:pt x="378" y="190"/>
                  </a:lnTo>
                  <a:lnTo>
                    <a:pt x="378" y="190"/>
                  </a:lnTo>
                  <a:close/>
                  <a:moveTo>
                    <a:pt x="104" y="196"/>
                  </a:moveTo>
                  <a:lnTo>
                    <a:pt x="100" y="196"/>
                  </a:lnTo>
                  <a:lnTo>
                    <a:pt x="96" y="194"/>
                  </a:lnTo>
                  <a:lnTo>
                    <a:pt x="100" y="194"/>
                  </a:lnTo>
                  <a:lnTo>
                    <a:pt x="104" y="194"/>
                  </a:lnTo>
                  <a:lnTo>
                    <a:pt x="104" y="196"/>
                  </a:lnTo>
                  <a:lnTo>
                    <a:pt x="104" y="196"/>
                  </a:lnTo>
                  <a:lnTo>
                    <a:pt x="104" y="196"/>
                  </a:lnTo>
                  <a:close/>
                  <a:moveTo>
                    <a:pt x="554" y="194"/>
                  </a:moveTo>
                  <a:lnTo>
                    <a:pt x="558" y="194"/>
                  </a:lnTo>
                  <a:lnTo>
                    <a:pt x="558" y="196"/>
                  </a:lnTo>
                  <a:lnTo>
                    <a:pt x="558" y="200"/>
                  </a:lnTo>
                  <a:lnTo>
                    <a:pt x="558" y="204"/>
                  </a:lnTo>
                  <a:lnTo>
                    <a:pt x="554" y="204"/>
                  </a:lnTo>
                  <a:lnTo>
                    <a:pt x="554" y="200"/>
                  </a:lnTo>
                  <a:lnTo>
                    <a:pt x="550" y="200"/>
                  </a:lnTo>
                  <a:lnTo>
                    <a:pt x="554" y="200"/>
                  </a:lnTo>
                  <a:lnTo>
                    <a:pt x="554" y="196"/>
                  </a:lnTo>
                  <a:lnTo>
                    <a:pt x="554" y="194"/>
                  </a:lnTo>
                  <a:lnTo>
                    <a:pt x="554" y="194"/>
                  </a:lnTo>
                  <a:lnTo>
                    <a:pt x="554" y="194"/>
                  </a:lnTo>
                  <a:close/>
                  <a:moveTo>
                    <a:pt x="248" y="200"/>
                  </a:moveTo>
                  <a:lnTo>
                    <a:pt x="246" y="200"/>
                  </a:lnTo>
                  <a:lnTo>
                    <a:pt x="248" y="200"/>
                  </a:lnTo>
                  <a:lnTo>
                    <a:pt x="248" y="200"/>
                  </a:lnTo>
                  <a:lnTo>
                    <a:pt x="248" y="200"/>
                  </a:lnTo>
                  <a:close/>
                  <a:moveTo>
                    <a:pt x="358" y="200"/>
                  </a:moveTo>
                  <a:lnTo>
                    <a:pt x="358" y="204"/>
                  </a:lnTo>
                  <a:lnTo>
                    <a:pt x="360" y="204"/>
                  </a:lnTo>
                  <a:lnTo>
                    <a:pt x="358" y="208"/>
                  </a:lnTo>
                  <a:lnTo>
                    <a:pt x="358" y="212"/>
                  </a:lnTo>
                  <a:lnTo>
                    <a:pt x="358" y="208"/>
                  </a:lnTo>
                  <a:lnTo>
                    <a:pt x="358" y="204"/>
                  </a:lnTo>
                  <a:lnTo>
                    <a:pt x="358" y="200"/>
                  </a:lnTo>
                  <a:lnTo>
                    <a:pt x="358" y="200"/>
                  </a:lnTo>
                  <a:lnTo>
                    <a:pt x="358" y="200"/>
                  </a:lnTo>
                  <a:close/>
                  <a:moveTo>
                    <a:pt x="212" y="238"/>
                  </a:moveTo>
                  <a:lnTo>
                    <a:pt x="208" y="238"/>
                  </a:lnTo>
                  <a:lnTo>
                    <a:pt x="204" y="234"/>
                  </a:lnTo>
                  <a:lnTo>
                    <a:pt x="200" y="234"/>
                  </a:lnTo>
                  <a:lnTo>
                    <a:pt x="196" y="234"/>
                  </a:lnTo>
                  <a:lnTo>
                    <a:pt x="192" y="234"/>
                  </a:lnTo>
                  <a:lnTo>
                    <a:pt x="190" y="234"/>
                  </a:lnTo>
                  <a:lnTo>
                    <a:pt x="186" y="234"/>
                  </a:lnTo>
                  <a:lnTo>
                    <a:pt x="182" y="234"/>
                  </a:lnTo>
                  <a:lnTo>
                    <a:pt x="178" y="234"/>
                  </a:lnTo>
                  <a:lnTo>
                    <a:pt x="178" y="230"/>
                  </a:lnTo>
                  <a:lnTo>
                    <a:pt x="174" y="230"/>
                  </a:lnTo>
                  <a:lnTo>
                    <a:pt x="170" y="230"/>
                  </a:lnTo>
                  <a:lnTo>
                    <a:pt x="166" y="230"/>
                  </a:lnTo>
                  <a:lnTo>
                    <a:pt x="164" y="230"/>
                  </a:lnTo>
                  <a:lnTo>
                    <a:pt x="160" y="230"/>
                  </a:lnTo>
                  <a:lnTo>
                    <a:pt x="160" y="226"/>
                  </a:lnTo>
                  <a:lnTo>
                    <a:pt x="160" y="222"/>
                  </a:lnTo>
                  <a:lnTo>
                    <a:pt x="160" y="220"/>
                  </a:lnTo>
                  <a:lnTo>
                    <a:pt x="160" y="222"/>
                  </a:lnTo>
                  <a:lnTo>
                    <a:pt x="156" y="222"/>
                  </a:lnTo>
                  <a:lnTo>
                    <a:pt x="156" y="220"/>
                  </a:lnTo>
                  <a:lnTo>
                    <a:pt x="152" y="220"/>
                  </a:lnTo>
                  <a:lnTo>
                    <a:pt x="148" y="220"/>
                  </a:lnTo>
                  <a:lnTo>
                    <a:pt x="144" y="220"/>
                  </a:lnTo>
                  <a:lnTo>
                    <a:pt x="140" y="220"/>
                  </a:lnTo>
                  <a:lnTo>
                    <a:pt x="144" y="220"/>
                  </a:lnTo>
                  <a:lnTo>
                    <a:pt x="144" y="216"/>
                  </a:lnTo>
                  <a:lnTo>
                    <a:pt x="144" y="220"/>
                  </a:lnTo>
                  <a:lnTo>
                    <a:pt x="148" y="216"/>
                  </a:lnTo>
                  <a:lnTo>
                    <a:pt x="148" y="212"/>
                  </a:lnTo>
                  <a:lnTo>
                    <a:pt x="152" y="212"/>
                  </a:lnTo>
                  <a:lnTo>
                    <a:pt x="152" y="208"/>
                  </a:lnTo>
                  <a:lnTo>
                    <a:pt x="152" y="204"/>
                  </a:lnTo>
                  <a:lnTo>
                    <a:pt x="152" y="200"/>
                  </a:lnTo>
                  <a:lnTo>
                    <a:pt x="156" y="200"/>
                  </a:lnTo>
                  <a:lnTo>
                    <a:pt x="156" y="204"/>
                  </a:lnTo>
                  <a:lnTo>
                    <a:pt x="160" y="204"/>
                  </a:lnTo>
                  <a:lnTo>
                    <a:pt x="164" y="204"/>
                  </a:lnTo>
                  <a:lnTo>
                    <a:pt x="166" y="204"/>
                  </a:lnTo>
                  <a:lnTo>
                    <a:pt x="170" y="204"/>
                  </a:lnTo>
                  <a:lnTo>
                    <a:pt x="174" y="204"/>
                  </a:lnTo>
                  <a:lnTo>
                    <a:pt x="174" y="208"/>
                  </a:lnTo>
                  <a:lnTo>
                    <a:pt x="178" y="208"/>
                  </a:lnTo>
                  <a:lnTo>
                    <a:pt x="182" y="212"/>
                  </a:lnTo>
                  <a:lnTo>
                    <a:pt x="186" y="212"/>
                  </a:lnTo>
                  <a:lnTo>
                    <a:pt x="186" y="208"/>
                  </a:lnTo>
                  <a:lnTo>
                    <a:pt x="186" y="212"/>
                  </a:lnTo>
                  <a:lnTo>
                    <a:pt x="190" y="212"/>
                  </a:lnTo>
                  <a:lnTo>
                    <a:pt x="190" y="216"/>
                  </a:lnTo>
                  <a:lnTo>
                    <a:pt x="190" y="220"/>
                  </a:lnTo>
                  <a:lnTo>
                    <a:pt x="192" y="220"/>
                  </a:lnTo>
                  <a:lnTo>
                    <a:pt x="196" y="220"/>
                  </a:lnTo>
                  <a:lnTo>
                    <a:pt x="200" y="220"/>
                  </a:lnTo>
                  <a:lnTo>
                    <a:pt x="204" y="220"/>
                  </a:lnTo>
                  <a:lnTo>
                    <a:pt x="208" y="220"/>
                  </a:lnTo>
                  <a:lnTo>
                    <a:pt x="212" y="220"/>
                  </a:lnTo>
                  <a:lnTo>
                    <a:pt x="216" y="220"/>
                  </a:lnTo>
                  <a:lnTo>
                    <a:pt x="216" y="222"/>
                  </a:lnTo>
                  <a:lnTo>
                    <a:pt x="216" y="220"/>
                  </a:lnTo>
                  <a:lnTo>
                    <a:pt x="220" y="220"/>
                  </a:lnTo>
                  <a:lnTo>
                    <a:pt x="220" y="216"/>
                  </a:lnTo>
                  <a:lnTo>
                    <a:pt x="220" y="212"/>
                  </a:lnTo>
                  <a:lnTo>
                    <a:pt x="222" y="212"/>
                  </a:lnTo>
                  <a:lnTo>
                    <a:pt x="226" y="216"/>
                  </a:lnTo>
                  <a:lnTo>
                    <a:pt x="230" y="216"/>
                  </a:lnTo>
                  <a:lnTo>
                    <a:pt x="234" y="216"/>
                  </a:lnTo>
                  <a:lnTo>
                    <a:pt x="234" y="220"/>
                  </a:lnTo>
                  <a:lnTo>
                    <a:pt x="238" y="220"/>
                  </a:lnTo>
                  <a:lnTo>
                    <a:pt x="242" y="220"/>
                  </a:lnTo>
                  <a:lnTo>
                    <a:pt x="246" y="220"/>
                  </a:lnTo>
                  <a:lnTo>
                    <a:pt x="246" y="222"/>
                  </a:lnTo>
                  <a:lnTo>
                    <a:pt x="248" y="222"/>
                  </a:lnTo>
                  <a:lnTo>
                    <a:pt x="248" y="226"/>
                  </a:lnTo>
                  <a:lnTo>
                    <a:pt x="246" y="222"/>
                  </a:lnTo>
                  <a:lnTo>
                    <a:pt x="246" y="226"/>
                  </a:lnTo>
                  <a:lnTo>
                    <a:pt x="248" y="226"/>
                  </a:lnTo>
                  <a:lnTo>
                    <a:pt x="248" y="230"/>
                  </a:lnTo>
                  <a:lnTo>
                    <a:pt x="252" y="234"/>
                  </a:lnTo>
                  <a:lnTo>
                    <a:pt x="256" y="234"/>
                  </a:lnTo>
                  <a:lnTo>
                    <a:pt x="260" y="234"/>
                  </a:lnTo>
                  <a:lnTo>
                    <a:pt x="264" y="234"/>
                  </a:lnTo>
                  <a:lnTo>
                    <a:pt x="268" y="234"/>
                  </a:lnTo>
                  <a:lnTo>
                    <a:pt x="268" y="230"/>
                  </a:lnTo>
                  <a:lnTo>
                    <a:pt x="268" y="234"/>
                  </a:lnTo>
                  <a:lnTo>
                    <a:pt x="272" y="234"/>
                  </a:lnTo>
                  <a:lnTo>
                    <a:pt x="272" y="238"/>
                  </a:lnTo>
                  <a:lnTo>
                    <a:pt x="272" y="242"/>
                  </a:lnTo>
                  <a:lnTo>
                    <a:pt x="272" y="246"/>
                  </a:lnTo>
                  <a:lnTo>
                    <a:pt x="272" y="250"/>
                  </a:lnTo>
                  <a:lnTo>
                    <a:pt x="276" y="250"/>
                  </a:lnTo>
                  <a:lnTo>
                    <a:pt x="276" y="252"/>
                  </a:lnTo>
                  <a:lnTo>
                    <a:pt x="272" y="252"/>
                  </a:lnTo>
                  <a:lnTo>
                    <a:pt x="272" y="250"/>
                  </a:lnTo>
                  <a:lnTo>
                    <a:pt x="268" y="250"/>
                  </a:lnTo>
                  <a:lnTo>
                    <a:pt x="264" y="250"/>
                  </a:lnTo>
                  <a:lnTo>
                    <a:pt x="260" y="246"/>
                  </a:lnTo>
                  <a:lnTo>
                    <a:pt x="256" y="246"/>
                  </a:lnTo>
                  <a:lnTo>
                    <a:pt x="256" y="242"/>
                  </a:lnTo>
                  <a:lnTo>
                    <a:pt x="252" y="242"/>
                  </a:lnTo>
                  <a:lnTo>
                    <a:pt x="252" y="246"/>
                  </a:lnTo>
                  <a:lnTo>
                    <a:pt x="248" y="246"/>
                  </a:lnTo>
                  <a:lnTo>
                    <a:pt x="246" y="246"/>
                  </a:lnTo>
                  <a:lnTo>
                    <a:pt x="242" y="246"/>
                  </a:lnTo>
                  <a:lnTo>
                    <a:pt x="238" y="246"/>
                  </a:lnTo>
                  <a:lnTo>
                    <a:pt x="234" y="242"/>
                  </a:lnTo>
                  <a:lnTo>
                    <a:pt x="234" y="246"/>
                  </a:lnTo>
                  <a:lnTo>
                    <a:pt x="230" y="246"/>
                  </a:lnTo>
                  <a:lnTo>
                    <a:pt x="230" y="242"/>
                  </a:lnTo>
                  <a:lnTo>
                    <a:pt x="226" y="242"/>
                  </a:lnTo>
                  <a:lnTo>
                    <a:pt x="222" y="242"/>
                  </a:lnTo>
                  <a:lnTo>
                    <a:pt x="220" y="242"/>
                  </a:lnTo>
                  <a:lnTo>
                    <a:pt x="216" y="242"/>
                  </a:lnTo>
                  <a:lnTo>
                    <a:pt x="212" y="238"/>
                  </a:lnTo>
                  <a:lnTo>
                    <a:pt x="212" y="238"/>
                  </a:lnTo>
                  <a:lnTo>
                    <a:pt x="212" y="238"/>
                  </a:lnTo>
                  <a:close/>
                  <a:moveTo>
                    <a:pt x="554" y="204"/>
                  </a:moveTo>
                  <a:lnTo>
                    <a:pt x="558" y="204"/>
                  </a:lnTo>
                  <a:lnTo>
                    <a:pt x="558" y="208"/>
                  </a:lnTo>
                  <a:lnTo>
                    <a:pt x="558" y="212"/>
                  </a:lnTo>
                  <a:lnTo>
                    <a:pt x="554" y="208"/>
                  </a:lnTo>
                  <a:lnTo>
                    <a:pt x="554" y="204"/>
                  </a:lnTo>
                  <a:lnTo>
                    <a:pt x="554" y="204"/>
                  </a:lnTo>
                  <a:lnTo>
                    <a:pt x="554" y="204"/>
                  </a:lnTo>
                  <a:close/>
                  <a:moveTo>
                    <a:pt x="550" y="208"/>
                  </a:moveTo>
                  <a:lnTo>
                    <a:pt x="554" y="208"/>
                  </a:lnTo>
                  <a:lnTo>
                    <a:pt x="554" y="212"/>
                  </a:lnTo>
                  <a:lnTo>
                    <a:pt x="554" y="216"/>
                  </a:lnTo>
                  <a:lnTo>
                    <a:pt x="554" y="220"/>
                  </a:lnTo>
                  <a:lnTo>
                    <a:pt x="550" y="220"/>
                  </a:lnTo>
                  <a:lnTo>
                    <a:pt x="550" y="212"/>
                  </a:lnTo>
                  <a:lnTo>
                    <a:pt x="550" y="208"/>
                  </a:lnTo>
                  <a:lnTo>
                    <a:pt x="550" y="208"/>
                  </a:lnTo>
                  <a:lnTo>
                    <a:pt x="550" y="208"/>
                  </a:lnTo>
                  <a:close/>
                  <a:moveTo>
                    <a:pt x="140" y="212"/>
                  </a:moveTo>
                  <a:lnTo>
                    <a:pt x="140" y="216"/>
                  </a:lnTo>
                  <a:lnTo>
                    <a:pt x="140" y="212"/>
                  </a:lnTo>
                  <a:lnTo>
                    <a:pt x="140" y="212"/>
                  </a:lnTo>
                  <a:lnTo>
                    <a:pt x="140" y="212"/>
                  </a:lnTo>
                  <a:close/>
                  <a:moveTo>
                    <a:pt x="286" y="220"/>
                  </a:moveTo>
                  <a:lnTo>
                    <a:pt x="290" y="220"/>
                  </a:lnTo>
                  <a:lnTo>
                    <a:pt x="286" y="220"/>
                  </a:lnTo>
                  <a:lnTo>
                    <a:pt x="286" y="222"/>
                  </a:lnTo>
                  <a:lnTo>
                    <a:pt x="282" y="222"/>
                  </a:lnTo>
                  <a:lnTo>
                    <a:pt x="282" y="220"/>
                  </a:lnTo>
                  <a:lnTo>
                    <a:pt x="286" y="220"/>
                  </a:lnTo>
                  <a:lnTo>
                    <a:pt x="286" y="220"/>
                  </a:lnTo>
                  <a:lnTo>
                    <a:pt x="286" y="220"/>
                  </a:lnTo>
                  <a:close/>
                  <a:moveTo>
                    <a:pt x="252" y="220"/>
                  </a:moveTo>
                  <a:lnTo>
                    <a:pt x="256" y="220"/>
                  </a:lnTo>
                  <a:lnTo>
                    <a:pt x="260" y="220"/>
                  </a:lnTo>
                  <a:lnTo>
                    <a:pt x="264" y="220"/>
                  </a:lnTo>
                  <a:lnTo>
                    <a:pt x="268" y="220"/>
                  </a:lnTo>
                  <a:lnTo>
                    <a:pt x="268" y="222"/>
                  </a:lnTo>
                  <a:lnTo>
                    <a:pt x="264" y="222"/>
                  </a:lnTo>
                  <a:lnTo>
                    <a:pt x="260" y="222"/>
                  </a:lnTo>
                  <a:lnTo>
                    <a:pt x="260" y="226"/>
                  </a:lnTo>
                  <a:lnTo>
                    <a:pt x="256" y="226"/>
                  </a:lnTo>
                  <a:lnTo>
                    <a:pt x="252" y="226"/>
                  </a:lnTo>
                  <a:lnTo>
                    <a:pt x="252" y="222"/>
                  </a:lnTo>
                  <a:lnTo>
                    <a:pt x="252" y="226"/>
                  </a:lnTo>
                  <a:lnTo>
                    <a:pt x="248" y="222"/>
                  </a:lnTo>
                  <a:lnTo>
                    <a:pt x="248" y="220"/>
                  </a:lnTo>
                  <a:lnTo>
                    <a:pt x="252" y="220"/>
                  </a:lnTo>
                  <a:lnTo>
                    <a:pt x="252" y="220"/>
                  </a:lnTo>
                  <a:lnTo>
                    <a:pt x="252" y="220"/>
                  </a:lnTo>
                  <a:close/>
                  <a:moveTo>
                    <a:pt x="516" y="222"/>
                  </a:moveTo>
                  <a:lnTo>
                    <a:pt x="516" y="226"/>
                  </a:lnTo>
                  <a:lnTo>
                    <a:pt x="516" y="230"/>
                  </a:lnTo>
                  <a:lnTo>
                    <a:pt x="514" y="234"/>
                  </a:lnTo>
                  <a:lnTo>
                    <a:pt x="514" y="238"/>
                  </a:lnTo>
                  <a:lnTo>
                    <a:pt x="510" y="238"/>
                  </a:lnTo>
                  <a:lnTo>
                    <a:pt x="506" y="238"/>
                  </a:lnTo>
                  <a:lnTo>
                    <a:pt x="510" y="234"/>
                  </a:lnTo>
                  <a:lnTo>
                    <a:pt x="510" y="230"/>
                  </a:lnTo>
                  <a:lnTo>
                    <a:pt x="514" y="226"/>
                  </a:lnTo>
                  <a:lnTo>
                    <a:pt x="514" y="222"/>
                  </a:lnTo>
                  <a:lnTo>
                    <a:pt x="516" y="222"/>
                  </a:lnTo>
                  <a:lnTo>
                    <a:pt x="516" y="222"/>
                  </a:lnTo>
                  <a:lnTo>
                    <a:pt x="516" y="222"/>
                  </a:lnTo>
                  <a:close/>
                  <a:moveTo>
                    <a:pt x="614" y="226"/>
                  </a:moveTo>
                  <a:lnTo>
                    <a:pt x="618" y="226"/>
                  </a:lnTo>
                  <a:lnTo>
                    <a:pt x="618" y="230"/>
                  </a:lnTo>
                  <a:lnTo>
                    <a:pt x="622" y="230"/>
                  </a:lnTo>
                  <a:lnTo>
                    <a:pt x="618" y="234"/>
                  </a:lnTo>
                  <a:lnTo>
                    <a:pt x="618" y="238"/>
                  </a:lnTo>
                  <a:lnTo>
                    <a:pt x="618" y="242"/>
                  </a:lnTo>
                  <a:lnTo>
                    <a:pt x="614" y="242"/>
                  </a:lnTo>
                  <a:lnTo>
                    <a:pt x="610" y="246"/>
                  </a:lnTo>
                  <a:lnTo>
                    <a:pt x="606" y="246"/>
                  </a:lnTo>
                  <a:lnTo>
                    <a:pt x="602" y="246"/>
                  </a:lnTo>
                  <a:lnTo>
                    <a:pt x="600" y="246"/>
                  </a:lnTo>
                  <a:lnTo>
                    <a:pt x="602" y="242"/>
                  </a:lnTo>
                  <a:lnTo>
                    <a:pt x="602" y="238"/>
                  </a:lnTo>
                  <a:lnTo>
                    <a:pt x="602" y="234"/>
                  </a:lnTo>
                  <a:lnTo>
                    <a:pt x="606" y="230"/>
                  </a:lnTo>
                  <a:lnTo>
                    <a:pt x="610" y="230"/>
                  </a:lnTo>
                  <a:lnTo>
                    <a:pt x="610" y="226"/>
                  </a:lnTo>
                  <a:lnTo>
                    <a:pt x="614" y="226"/>
                  </a:lnTo>
                  <a:lnTo>
                    <a:pt x="614" y="226"/>
                  </a:lnTo>
                  <a:lnTo>
                    <a:pt x="614" y="226"/>
                  </a:lnTo>
                  <a:close/>
                  <a:moveTo>
                    <a:pt x="488" y="234"/>
                  </a:moveTo>
                  <a:lnTo>
                    <a:pt x="490" y="234"/>
                  </a:lnTo>
                  <a:lnTo>
                    <a:pt x="490" y="238"/>
                  </a:lnTo>
                  <a:lnTo>
                    <a:pt x="488" y="238"/>
                  </a:lnTo>
                  <a:lnTo>
                    <a:pt x="488" y="234"/>
                  </a:lnTo>
                  <a:lnTo>
                    <a:pt x="488" y="234"/>
                  </a:lnTo>
                  <a:lnTo>
                    <a:pt x="488" y="234"/>
                  </a:lnTo>
                  <a:close/>
                  <a:moveTo>
                    <a:pt x="272" y="242"/>
                  </a:moveTo>
                  <a:lnTo>
                    <a:pt x="276" y="242"/>
                  </a:lnTo>
                  <a:lnTo>
                    <a:pt x="278" y="242"/>
                  </a:lnTo>
                  <a:lnTo>
                    <a:pt x="282" y="242"/>
                  </a:lnTo>
                  <a:lnTo>
                    <a:pt x="282" y="238"/>
                  </a:lnTo>
                  <a:lnTo>
                    <a:pt x="286" y="242"/>
                  </a:lnTo>
                  <a:lnTo>
                    <a:pt x="290" y="242"/>
                  </a:lnTo>
                  <a:lnTo>
                    <a:pt x="290" y="246"/>
                  </a:lnTo>
                  <a:lnTo>
                    <a:pt x="286" y="250"/>
                  </a:lnTo>
                  <a:lnTo>
                    <a:pt x="282" y="250"/>
                  </a:lnTo>
                  <a:lnTo>
                    <a:pt x="282" y="252"/>
                  </a:lnTo>
                  <a:lnTo>
                    <a:pt x="282" y="250"/>
                  </a:lnTo>
                  <a:lnTo>
                    <a:pt x="278" y="246"/>
                  </a:lnTo>
                  <a:lnTo>
                    <a:pt x="276" y="246"/>
                  </a:lnTo>
                  <a:lnTo>
                    <a:pt x="276" y="242"/>
                  </a:lnTo>
                  <a:lnTo>
                    <a:pt x="272" y="242"/>
                  </a:lnTo>
                  <a:lnTo>
                    <a:pt x="272" y="242"/>
                  </a:lnTo>
                  <a:lnTo>
                    <a:pt x="272" y="242"/>
                  </a:lnTo>
                  <a:close/>
                  <a:moveTo>
                    <a:pt x="390" y="250"/>
                  </a:moveTo>
                  <a:lnTo>
                    <a:pt x="386" y="250"/>
                  </a:lnTo>
                  <a:lnTo>
                    <a:pt x="386" y="252"/>
                  </a:lnTo>
                  <a:lnTo>
                    <a:pt x="382" y="252"/>
                  </a:lnTo>
                  <a:lnTo>
                    <a:pt x="378" y="252"/>
                  </a:lnTo>
                  <a:lnTo>
                    <a:pt x="374" y="252"/>
                  </a:lnTo>
                  <a:lnTo>
                    <a:pt x="372" y="252"/>
                  </a:lnTo>
                  <a:lnTo>
                    <a:pt x="368" y="252"/>
                  </a:lnTo>
                  <a:lnTo>
                    <a:pt x="364" y="256"/>
                  </a:lnTo>
                  <a:lnTo>
                    <a:pt x="364" y="252"/>
                  </a:lnTo>
                  <a:lnTo>
                    <a:pt x="360" y="252"/>
                  </a:lnTo>
                  <a:lnTo>
                    <a:pt x="358" y="252"/>
                  </a:lnTo>
                  <a:lnTo>
                    <a:pt x="354" y="252"/>
                  </a:lnTo>
                  <a:lnTo>
                    <a:pt x="350" y="252"/>
                  </a:lnTo>
                  <a:lnTo>
                    <a:pt x="350" y="250"/>
                  </a:lnTo>
                  <a:lnTo>
                    <a:pt x="350" y="246"/>
                  </a:lnTo>
                  <a:lnTo>
                    <a:pt x="354" y="246"/>
                  </a:lnTo>
                  <a:lnTo>
                    <a:pt x="354" y="242"/>
                  </a:lnTo>
                  <a:lnTo>
                    <a:pt x="358" y="242"/>
                  </a:lnTo>
                  <a:lnTo>
                    <a:pt x="360" y="246"/>
                  </a:lnTo>
                  <a:lnTo>
                    <a:pt x="364" y="246"/>
                  </a:lnTo>
                  <a:lnTo>
                    <a:pt x="368" y="246"/>
                  </a:lnTo>
                  <a:lnTo>
                    <a:pt x="368" y="250"/>
                  </a:lnTo>
                  <a:lnTo>
                    <a:pt x="372" y="250"/>
                  </a:lnTo>
                  <a:lnTo>
                    <a:pt x="374" y="246"/>
                  </a:lnTo>
                  <a:lnTo>
                    <a:pt x="378" y="246"/>
                  </a:lnTo>
                  <a:lnTo>
                    <a:pt x="378" y="250"/>
                  </a:lnTo>
                  <a:lnTo>
                    <a:pt x="382" y="250"/>
                  </a:lnTo>
                  <a:lnTo>
                    <a:pt x="386" y="250"/>
                  </a:lnTo>
                  <a:lnTo>
                    <a:pt x="386" y="246"/>
                  </a:lnTo>
                  <a:lnTo>
                    <a:pt x="390" y="246"/>
                  </a:lnTo>
                  <a:lnTo>
                    <a:pt x="394" y="242"/>
                  </a:lnTo>
                  <a:lnTo>
                    <a:pt x="390" y="242"/>
                  </a:lnTo>
                  <a:lnTo>
                    <a:pt x="394" y="242"/>
                  </a:lnTo>
                  <a:lnTo>
                    <a:pt x="394" y="246"/>
                  </a:lnTo>
                  <a:lnTo>
                    <a:pt x="390" y="246"/>
                  </a:lnTo>
                  <a:lnTo>
                    <a:pt x="390" y="250"/>
                  </a:lnTo>
                  <a:lnTo>
                    <a:pt x="390" y="250"/>
                  </a:lnTo>
                  <a:lnTo>
                    <a:pt x="390" y="250"/>
                  </a:lnTo>
                  <a:close/>
                  <a:moveTo>
                    <a:pt x="338" y="250"/>
                  </a:moveTo>
                  <a:lnTo>
                    <a:pt x="338" y="252"/>
                  </a:lnTo>
                  <a:lnTo>
                    <a:pt x="334" y="252"/>
                  </a:lnTo>
                  <a:lnTo>
                    <a:pt x="334" y="250"/>
                  </a:lnTo>
                  <a:lnTo>
                    <a:pt x="332" y="252"/>
                  </a:lnTo>
                  <a:lnTo>
                    <a:pt x="334" y="252"/>
                  </a:lnTo>
                  <a:lnTo>
                    <a:pt x="332" y="252"/>
                  </a:lnTo>
                  <a:lnTo>
                    <a:pt x="328" y="252"/>
                  </a:lnTo>
                  <a:lnTo>
                    <a:pt x="328" y="250"/>
                  </a:lnTo>
                  <a:lnTo>
                    <a:pt x="328" y="252"/>
                  </a:lnTo>
                  <a:lnTo>
                    <a:pt x="324" y="252"/>
                  </a:lnTo>
                  <a:lnTo>
                    <a:pt x="320" y="256"/>
                  </a:lnTo>
                  <a:lnTo>
                    <a:pt x="320" y="252"/>
                  </a:lnTo>
                  <a:lnTo>
                    <a:pt x="316" y="256"/>
                  </a:lnTo>
                  <a:lnTo>
                    <a:pt x="312" y="256"/>
                  </a:lnTo>
                  <a:lnTo>
                    <a:pt x="308" y="256"/>
                  </a:lnTo>
                  <a:lnTo>
                    <a:pt x="304" y="256"/>
                  </a:lnTo>
                  <a:lnTo>
                    <a:pt x="304" y="252"/>
                  </a:lnTo>
                  <a:lnTo>
                    <a:pt x="304" y="250"/>
                  </a:lnTo>
                  <a:lnTo>
                    <a:pt x="308" y="250"/>
                  </a:lnTo>
                  <a:lnTo>
                    <a:pt x="308" y="246"/>
                  </a:lnTo>
                  <a:lnTo>
                    <a:pt x="312" y="246"/>
                  </a:lnTo>
                  <a:lnTo>
                    <a:pt x="316" y="246"/>
                  </a:lnTo>
                  <a:lnTo>
                    <a:pt x="316" y="250"/>
                  </a:lnTo>
                  <a:lnTo>
                    <a:pt x="320" y="250"/>
                  </a:lnTo>
                  <a:lnTo>
                    <a:pt x="324" y="252"/>
                  </a:lnTo>
                  <a:lnTo>
                    <a:pt x="324" y="250"/>
                  </a:lnTo>
                  <a:lnTo>
                    <a:pt x="328" y="250"/>
                  </a:lnTo>
                  <a:lnTo>
                    <a:pt x="324" y="246"/>
                  </a:lnTo>
                  <a:lnTo>
                    <a:pt x="320" y="246"/>
                  </a:lnTo>
                  <a:lnTo>
                    <a:pt x="320" y="242"/>
                  </a:lnTo>
                  <a:lnTo>
                    <a:pt x="324" y="242"/>
                  </a:lnTo>
                  <a:lnTo>
                    <a:pt x="328" y="242"/>
                  </a:lnTo>
                  <a:lnTo>
                    <a:pt x="328" y="246"/>
                  </a:lnTo>
                  <a:lnTo>
                    <a:pt x="328" y="242"/>
                  </a:lnTo>
                  <a:lnTo>
                    <a:pt x="332" y="242"/>
                  </a:lnTo>
                  <a:lnTo>
                    <a:pt x="332" y="246"/>
                  </a:lnTo>
                  <a:lnTo>
                    <a:pt x="332" y="250"/>
                  </a:lnTo>
                  <a:lnTo>
                    <a:pt x="332" y="246"/>
                  </a:lnTo>
                  <a:lnTo>
                    <a:pt x="334" y="246"/>
                  </a:lnTo>
                  <a:lnTo>
                    <a:pt x="338" y="246"/>
                  </a:lnTo>
                  <a:lnTo>
                    <a:pt x="338" y="250"/>
                  </a:lnTo>
                  <a:lnTo>
                    <a:pt x="338" y="250"/>
                  </a:lnTo>
                  <a:lnTo>
                    <a:pt x="338" y="250"/>
                  </a:lnTo>
                  <a:close/>
                  <a:moveTo>
                    <a:pt x="460" y="242"/>
                  </a:moveTo>
                  <a:lnTo>
                    <a:pt x="464" y="242"/>
                  </a:lnTo>
                  <a:lnTo>
                    <a:pt x="460" y="242"/>
                  </a:lnTo>
                  <a:lnTo>
                    <a:pt x="460" y="242"/>
                  </a:lnTo>
                  <a:lnTo>
                    <a:pt x="460" y="242"/>
                  </a:lnTo>
                  <a:close/>
                  <a:moveTo>
                    <a:pt x="316" y="246"/>
                  </a:moveTo>
                  <a:lnTo>
                    <a:pt x="316" y="242"/>
                  </a:lnTo>
                  <a:lnTo>
                    <a:pt x="320" y="242"/>
                  </a:lnTo>
                  <a:lnTo>
                    <a:pt x="316" y="242"/>
                  </a:lnTo>
                  <a:lnTo>
                    <a:pt x="316" y="246"/>
                  </a:lnTo>
                  <a:lnTo>
                    <a:pt x="316" y="246"/>
                  </a:lnTo>
                  <a:lnTo>
                    <a:pt x="316" y="246"/>
                  </a:lnTo>
                  <a:close/>
                  <a:moveTo>
                    <a:pt x="618" y="242"/>
                  </a:moveTo>
                  <a:lnTo>
                    <a:pt x="618" y="246"/>
                  </a:lnTo>
                  <a:lnTo>
                    <a:pt x="614" y="246"/>
                  </a:lnTo>
                  <a:lnTo>
                    <a:pt x="614" y="242"/>
                  </a:lnTo>
                  <a:lnTo>
                    <a:pt x="618" y="242"/>
                  </a:lnTo>
                  <a:lnTo>
                    <a:pt x="618" y="242"/>
                  </a:lnTo>
                  <a:lnTo>
                    <a:pt x="618" y="242"/>
                  </a:lnTo>
                  <a:close/>
                  <a:moveTo>
                    <a:pt x="476" y="242"/>
                  </a:moveTo>
                  <a:lnTo>
                    <a:pt x="480" y="242"/>
                  </a:lnTo>
                  <a:lnTo>
                    <a:pt x="476" y="242"/>
                  </a:lnTo>
                  <a:lnTo>
                    <a:pt x="476" y="242"/>
                  </a:lnTo>
                  <a:lnTo>
                    <a:pt x="476" y="242"/>
                  </a:lnTo>
                  <a:close/>
                  <a:moveTo>
                    <a:pt x="298" y="242"/>
                  </a:moveTo>
                  <a:lnTo>
                    <a:pt x="302" y="242"/>
                  </a:lnTo>
                  <a:lnTo>
                    <a:pt x="304" y="246"/>
                  </a:lnTo>
                  <a:lnTo>
                    <a:pt x="304" y="250"/>
                  </a:lnTo>
                  <a:lnTo>
                    <a:pt x="302" y="250"/>
                  </a:lnTo>
                  <a:lnTo>
                    <a:pt x="302" y="252"/>
                  </a:lnTo>
                  <a:lnTo>
                    <a:pt x="298" y="252"/>
                  </a:lnTo>
                  <a:lnTo>
                    <a:pt x="294" y="252"/>
                  </a:lnTo>
                  <a:lnTo>
                    <a:pt x="298" y="250"/>
                  </a:lnTo>
                  <a:lnTo>
                    <a:pt x="294" y="250"/>
                  </a:lnTo>
                  <a:lnTo>
                    <a:pt x="298" y="246"/>
                  </a:lnTo>
                  <a:lnTo>
                    <a:pt x="298" y="242"/>
                  </a:lnTo>
                  <a:lnTo>
                    <a:pt x="298" y="242"/>
                  </a:lnTo>
                  <a:lnTo>
                    <a:pt x="298" y="242"/>
                  </a:lnTo>
                  <a:close/>
                  <a:moveTo>
                    <a:pt x="394" y="246"/>
                  </a:moveTo>
                  <a:lnTo>
                    <a:pt x="394" y="242"/>
                  </a:lnTo>
                  <a:lnTo>
                    <a:pt x="398" y="242"/>
                  </a:lnTo>
                  <a:lnTo>
                    <a:pt x="398" y="246"/>
                  </a:lnTo>
                  <a:lnTo>
                    <a:pt x="394" y="246"/>
                  </a:lnTo>
                  <a:lnTo>
                    <a:pt x="394" y="246"/>
                  </a:lnTo>
                  <a:lnTo>
                    <a:pt x="394" y="246"/>
                  </a:lnTo>
                  <a:close/>
                  <a:moveTo>
                    <a:pt x="342" y="246"/>
                  </a:moveTo>
                  <a:lnTo>
                    <a:pt x="346" y="246"/>
                  </a:lnTo>
                  <a:lnTo>
                    <a:pt x="346" y="250"/>
                  </a:lnTo>
                  <a:lnTo>
                    <a:pt x="342" y="250"/>
                  </a:lnTo>
                  <a:lnTo>
                    <a:pt x="342" y="252"/>
                  </a:lnTo>
                  <a:lnTo>
                    <a:pt x="342" y="250"/>
                  </a:lnTo>
                  <a:lnTo>
                    <a:pt x="342" y="246"/>
                  </a:lnTo>
                  <a:lnTo>
                    <a:pt x="342" y="246"/>
                  </a:lnTo>
                  <a:lnTo>
                    <a:pt x="342" y="246"/>
                  </a:lnTo>
                  <a:close/>
                  <a:moveTo>
                    <a:pt x="390" y="250"/>
                  </a:moveTo>
                  <a:lnTo>
                    <a:pt x="394" y="246"/>
                  </a:lnTo>
                  <a:lnTo>
                    <a:pt x="394" y="250"/>
                  </a:lnTo>
                  <a:lnTo>
                    <a:pt x="390" y="250"/>
                  </a:lnTo>
                  <a:lnTo>
                    <a:pt x="390" y="250"/>
                  </a:lnTo>
                  <a:lnTo>
                    <a:pt x="390" y="250"/>
                  </a:lnTo>
                  <a:close/>
                  <a:moveTo>
                    <a:pt x="346" y="252"/>
                  </a:moveTo>
                  <a:lnTo>
                    <a:pt x="346" y="250"/>
                  </a:lnTo>
                  <a:lnTo>
                    <a:pt x="346" y="252"/>
                  </a:lnTo>
                  <a:lnTo>
                    <a:pt x="346" y="252"/>
                  </a:lnTo>
                  <a:lnTo>
                    <a:pt x="346" y="252"/>
                  </a:lnTo>
                  <a:close/>
                  <a:moveTo>
                    <a:pt x="338" y="268"/>
                  </a:moveTo>
                  <a:lnTo>
                    <a:pt x="334" y="264"/>
                  </a:lnTo>
                  <a:lnTo>
                    <a:pt x="338" y="264"/>
                  </a:lnTo>
                  <a:lnTo>
                    <a:pt x="342" y="260"/>
                  </a:lnTo>
                  <a:lnTo>
                    <a:pt x="342" y="264"/>
                  </a:lnTo>
                  <a:lnTo>
                    <a:pt x="346" y="260"/>
                  </a:lnTo>
                  <a:lnTo>
                    <a:pt x="346" y="264"/>
                  </a:lnTo>
                  <a:lnTo>
                    <a:pt x="350" y="264"/>
                  </a:lnTo>
                  <a:lnTo>
                    <a:pt x="350" y="260"/>
                  </a:lnTo>
                  <a:lnTo>
                    <a:pt x="350" y="264"/>
                  </a:lnTo>
                  <a:lnTo>
                    <a:pt x="354" y="264"/>
                  </a:lnTo>
                  <a:lnTo>
                    <a:pt x="354" y="268"/>
                  </a:lnTo>
                  <a:lnTo>
                    <a:pt x="358" y="268"/>
                  </a:lnTo>
                  <a:lnTo>
                    <a:pt x="360" y="268"/>
                  </a:lnTo>
                  <a:lnTo>
                    <a:pt x="360" y="272"/>
                  </a:lnTo>
                  <a:lnTo>
                    <a:pt x="364" y="272"/>
                  </a:lnTo>
                  <a:lnTo>
                    <a:pt x="364" y="276"/>
                  </a:lnTo>
                  <a:lnTo>
                    <a:pt x="360" y="276"/>
                  </a:lnTo>
                  <a:lnTo>
                    <a:pt x="360" y="280"/>
                  </a:lnTo>
                  <a:lnTo>
                    <a:pt x="358" y="280"/>
                  </a:lnTo>
                  <a:lnTo>
                    <a:pt x="354" y="280"/>
                  </a:lnTo>
                  <a:lnTo>
                    <a:pt x="354" y="276"/>
                  </a:lnTo>
                  <a:lnTo>
                    <a:pt x="350" y="276"/>
                  </a:lnTo>
                  <a:lnTo>
                    <a:pt x="350" y="272"/>
                  </a:lnTo>
                  <a:lnTo>
                    <a:pt x="346" y="272"/>
                  </a:lnTo>
                  <a:lnTo>
                    <a:pt x="346" y="268"/>
                  </a:lnTo>
                  <a:lnTo>
                    <a:pt x="342" y="268"/>
                  </a:lnTo>
                  <a:lnTo>
                    <a:pt x="338" y="268"/>
                  </a:lnTo>
                  <a:lnTo>
                    <a:pt x="338" y="268"/>
                  </a:lnTo>
                  <a:lnTo>
                    <a:pt x="338" y="268"/>
                  </a:lnTo>
                  <a:close/>
                  <a:moveTo>
                    <a:pt x="374" y="282"/>
                  </a:moveTo>
                  <a:lnTo>
                    <a:pt x="374" y="280"/>
                  </a:lnTo>
                  <a:lnTo>
                    <a:pt x="378" y="280"/>
                  </a:lnTo>
                  <a:lnTo>
                    <a:pt x="378" y="282"/>
                  </a:lnTo>
                  <a:lnTo>
                    <a:pt x="374" y="282"/>
                  </a:lnTo>
                  <a:lnTo>
                    <a:pt x="374" y="282"/>
                  </a:lnTo>
                  <a:lnTo>
                    <a:pt x="374" y="282"/>
                  </a:lnTo>
                  <a:close/>
                  <a:moveTo>
                    <a:pt x="390" y="286"/>
                  </a:moveTo>
                  <a:lnTo>
                    <a:pt x="394" y="286"/>
                  </a:lnTo>
                  <a:lnTo>
                    <a:pt x="394" y="282"/>
                  </a:lnTo>
                  <a:lnTo>
                    <a:pt x="398" y="282"/>
                  </a:lnTo>
                  <a:lnTo>
                    <a:pt x="398" y="280"/>
                  </a:lnTo>
                  <a:lnTo>
                    <a:pt x="398" y="282"/>
                  </a:lnTo>
                  <a:lnTo>
                    <a:pt x="398" y="286"/>
                  </a:lnTo>
                  <a:lnTo>
                    <a:pt x="394" y="286"/>
                  </a:lnTo>
                  <a:lnTo>
                    <a:pt x="394" y="290"/>
                  </a:lnTo>
                  <a:lnTo>
                    <a:pt x="390" y="290"/>
                  </a:lnTo>
                  <a:lnTo>
                    <a:pt x="390" y="286"/>
                  </a:lnTo>
                  <a:lnTo>
                    <a:pt x="390" y="286"/>
                  </a:lnTo>
                  <a:lnTo>
                    <a:pt x="390" y="286"/>
                  </a:lnTo>
                  <a:close/>
                  <a:moveTo>
                    <a:pt x="434" y="234"/>
                  </a:moveTo>
                  <a:lnTo>
                    <a:pt x="438" y="234"/>
                  </a:lnTo>
                  <a:lnTo>
                    <a:pt x="442" y="234"/>
                  </a:lnTo>
                  <a:lnTo>
                    <a:pt x="442" y="230"/>
                  </a:lnTo>
                  <a:lnTo>
                    <a:pt x="446" y="230"/>
                  </a:lnTo>
                  <a:lnTo>
                    <a:pt x="446" y="234"/>
                  </a:lnTo>
                  <a:lnTo>
                    <a:pt x="442" y="234"/>
                  </a:lnTo>
                  <a:lnTo>
                    <a:pt x="442" y="238"/>
                  </a:lnTo>
                  <a:lnTo>
                    <a:pt x="438" y="238"/>
                  </a:lnTo>
                  <a:lnTo>
                    <a:pt x="434" y="238"/>
                  </a:lnTo>
                  <a:lnTo>
                    <a:pt x="430" y="238"/>
                  </a:lnTo>
                  <a:lnTo>
                    <a:pt x="434" y="234"/>
                  </a:lnTo>
                  <a:lnTo>
                    <a:pt x="434" y="234"/>
                  </a:lnTo>
                  <a:lnTo>
                    <a:pt x="434" y="234"/>
                  </a:lnTo>
                  <a:close/>
                  <a:moveTo>
                    <a:pt x="412" y="242"/>
                  </a:moveTo>
                  <a:lnTo>
                    <a:pt x="416" y="242"/>
                  </a:lnTo>
                  <a:lnTo>
                    <a:pt x="420" y="242"/>
                  </a:lnTo>
                  <a:lnTo>
                    <a:pt x="424" y="242"/>
                  </a:lnTo>
                  <a:lnTo>
                    <a:pt x="424" y="246"/>
                  </a:lnTo>
                  <a:lnTo>
                    <a:pt x="420" y="246"/>
                  </a:lnTo>
                  <a:lnTo>
                    <a:pt x="416" y="246"/>
                  </a:lnTo>
                  <a:lnTo>
                    <a:pt x="412" y="246"/>
                  </a:lnTo>
                  <a:lnTo>
                    <a:pt x="412" y="242"/>
                  </a:lnTo>
                  <a:lnTo>
                    <a:pt x="412" y="242"/>
                  </a:lnTo>
                  <a:lnTo>
                    <a:pt x="412" y="242"/>
                  </a:lnTo>
                  <a:close/>
                  <a:moveTo>
                    <a:pt x="404" y="246"/>
                  </a:moveTo>
                  <a:lnTo>
                    <a:pt x="408" y="246"/>
                  </a:lnTo>
                  <a:lnTo>
                    <a:pt x="408" y="242"/>
                  </a:lnTo>
                  <a:lnTo>
                    <a:pt x="412" y="242"/>
                  </a:lnTo>
                  <a:lnTo>
                    <a:pt x="412" y="246"/>
                  </a:lnTo>
                  <a:lnTo>
                    <a:pt x="408" y="246"/>
                  </a:lnTo>
                  <a:lnTo>
                    <a:pt x="408" y="250"/>
                  </a:lnTo>
                  <a:lnTo>
                    <a:pt x="408" y="246"/>
                  </a:lnTo>
                  <a:lnTo>
                    <a:pt x="404" y="246"/>
                  </a:lnTo>
                  <a:lnTo>
                    <a:pt x="404" y="246"/>
                  </a:lnTo>
                  <a:lnTo>
                    <a:pt x="404" y="246"/>
                  </a:lnTo>
                  <a:close/>
                  <a:moveTo>
                    <a:pt x="398" y="250"/>
                  </a:moveTo>
                  <a:lnTo>
                    <a:pt x="398" y="246"/>
                  </a:lnTo>
                  <a:lnTo>
                    <a:pt x="402" y="246"/>
                  </a:lnTo>
                  <a:lnTo>
                    <a:pt x="398" y="246"/>
                  </a:lnTo>
                  <a:lnTo>
                    <a:pt x="398" y="242"/>
                  </a:lnTo>
                  <a:lnTo>
                    <a:pt x="402" y="242"/>
                  </a:lnTo>
                  <a:lnTo>
                    <a:pt x="402" y="246"/>
                  </a:lnTo>
                  <a:lnTo>
                    <a:pt x="404" y="242"/>
                  </a:lnTo>
                  <a:lnTo>
                    <a:pt x="404" y="246"/>
                  </a:lnTo>
                  <a:lnTo>
                    <a:pt x="402" y="246"/>
                  </a:lnTo>
                  <a:lnTo>
                    <a:pt x="402" y="250"/>
                  </a:lnTo>
                  <a:lnTo>
                    <a:pt x="398" y="250"/>
                  </a:lnTo>
                  <a:lnTo>
                    <a:pt x="398" y="250"/>
                  </a:lnTo>
                  <a:lnTo>
                    <a:pt x="398" y="250"/>
                  </a:lnTo>
                  <a:close/>
                  <a:moveTo>
                    <a:pt x="424" y="264"/>
                  </a:moveTo>
                  <a:lnTo>
                    <a:pt x="420" y="264"/>
                  </a:lnTo>
                  <a:lnTo>
                    <a:pt x="420" y="268"/>
                  </a:lnTo>
                  <a:lnTo>
                    <a:pt x="420" y="272"/>
                  </a:lnTo>
                  <a:lnTo>
                    <a:pt x="416" y="272"/>
                  </a:lnTo>
                  <a:lnTo>
                    <a:pt x="416" y="276"/>
                  </a:lnTo>
                  <a:lnTo>
                    <a:pt x="412" y="276"/>
                  </a:lnTo>
                  <a:lnTo>
                    <a:pt x="408" y="276"/>
                  </a:lnTo>
                  <a:lnTo>
                    <a:pt x="408" y="280"/>
                  </a:lnTo>
                  <a:lnTo>
                    <a:pt x="404" y="280"/>
                  </a:lnTo>
                  <a:lnTo>
                    <a:pt x="402" y="280"/>
                  </a:lnTo>
                  <a:lnTo>
                    <a:pt x="402" y="276"/>
                  </a:lnTo>
                  <a:lnTo>
                    <a:pt x="404" y="276"/>
                  </a:lnTo>
                  <a:lnTo>
                    <a:pt x="402" y="276"/>
                  </a:lnTo>
                  <a:lnTo>
                    <a:pt x="402" y="272"/>
                  </a:lnTo>
                  <a:lnTo>
                    <a:pt x="402" y="268"/>
                  </a:lnTo>
                  <a:lnTo>
                    <a:pt x="404" y="264"/>
                  </a:lnTo>
                  <a:lnTo>
                    <a:pt x="404" y="260"/>
                  </a:lnTo>
                  <a:lnTo>
                    <a:pt x="408" y="260"/>
                  </a:lnTo>
                  <a:lnTo>
                    <a:pt x="408" y="264"/>
                  </a:lnTo>
                  <a:lnTo>
                    <a:pt x="412" y="264"/>
                  </a:lnTo>
                  <a:lnTo>
                    <a:pt x="412" y="260"/>
                  </a:lnTo>
                  <a:lnTo>
                    <a:pt x="416" y="260"/>
                  </a:lnTo>
                  <a:lnTo>
                    <a:pt x="416" y="256"/>
                  </a:lnTo>
                  <a:lnTo>
                    <a:pt x="420" y="256"/>
                  </a:lnTo>
                  <a:lnTo>
                    <a:pt x="424" y="256"/>
                  </a:lnTo>
                  <a:lnTo>
                    <a:pt x="424" y="260"/>
                  </a:lnTo>
                  <a:lnTo>
                    <a:pt x="420" y="260"/>
                  </a:lnTo>
                  <a:lnTo>
                    <a:pt x="424" y="264"/>
                  </a:lnTo>
                  <a:lnTo>
                    <a:pt x="424" y="264"/>
                  </a:lnTo>
                  <a:lnTo>
                    <a:pt x="424" y="264"/>
                  </a:lnTo>
                  <a:close/>
                </a:path>
              </a:pathLst>
            </a:custGeom>
            <a:solidFill>
              <a:srgbClr val="FFFF00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2413DFBA-5DAE-C2A2-83B7-9320DECDDA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04923" y="2839970"/>
              <a:ext cx="529916" cy="512858"/>
            </a:xfrm>
            <a:custGeom>
              <a:avLst/>
              <a:gdLst>
                <a:gd name="T0" fmla="*/ 250 w 272"/>
                <a:gd name="T1" fmla="*/ 156 h 272"/>
                <a:gd name="T2" fmla="*/ 242 w 272"/>
                <a:gd name="T3" fmla="*/ 178 h 272"/>
                <a:gd name="T4" fmla="*/ 246 w 272"/>
                <a:gd name="T5" fmla="*/ 198 h 272"/>
                <a:gd name="T6" fmla="*/ 264 w 272"/>
                <a:gd name="T7" fmla="*/ 212 h 272"/>
                <a:gd name="T8" fmla="*/ 268 w 272"/>
                <a:gd name="T9" fmla="*/ 232 h 272"/>
                <a:gd name="T10" fmla="*/ 264 w 272"/>
                <a:gd name="T11" fmla="*/ 242 h 272"/>
                <a:gd name="T12" fmla="*/ 258 w 272"/>
                <a:gd name="T13" fmla="*/ 250 h 272"/>
                <a:gd name="T14" fmla="*/ 250 w 272"/>
                <a:gd name="T15" fmla="*/ 264 h 272"/>
                <a:gd name="T16" fmla="*/ 238 w 272"/>
                <a:gd name="T17" fmla="*/ 268 h 272"/>
                <a:gd name="T18" fmla="*/ 228 w 272"/>
                <a:gd name="T19" fmla="*/ 264 h 272"/>
                <a:gd name="T20" fmla="*/ 204 w 272"/>
                <a:gd name="T21" fmla="*/ 262 h 272"/>
                <a:gd name="T22" fmla="*/ 190 w 272"/>
                <a:gd name="T23" fmla="*/ 258 h 272"/>
                <a:gd name="T24" fmla="*/ 182 w 272"/>
                <a:gd name="T25" fmla="*/ 234 h 272"/>
                <a:gd name="T26" fmla="*/ 164 w 272"/>
                <a:gd name="T27" fmla="*/ 238 h 272"/>
                <a:gd name="T28" fmla="*/ 144 w 272"/>
                <a:gd name="T29" fmla="*/ 242 h 272"/>
                <a:gd name="T30" fmla="*/ 126 w 272"/>
                <a:gd name="T31" fmla="*/ 234 h 272"/>
                <a:gd name="T32" fmla="*/ 116 w 272"/>
                <a:gd name="T33" fmla="*/ 224 h 272"/>
                <a:gd name="T34" fmla="*/ 100 w 272"/>
                <a:gd name="T35" fmla="*/ 208 h 272"/>
                <a:gd name="T36" fmla="*/ 94 w 272"/>
                <a:gd name="T37" fmla="*/ 194 h 272"/>
                <a:gd name="T38" fmla="*/ 86 w 272"/>
                <a:gd name="T39" fmla="*/ 178 h 272"/>
                <a:gd name="T40" fmla="*/ 74 w 272"/>
                <a:gd name="T41" fmla="*/ 176 h 272"/>
                <a:gd name="T42" fmla="*/ 68 w 272"/>
                <a:gd name="T43" fmla="*/ 182 h 272"/>
                <a:gd name="T44" fmla="*/ 56 w 272"/>
                <a:gd name="T45" fmla="*/ 164 h 272"/>
                <a:gd name="T46" fmla="*/ 52 w 272"/>
                <a:gd name="T47" fmla="*/ 148 h 272"/>
                <a:gd name="T48" fmla="*/ 44 w 272"/>
                <a:gd name="T49" fmla="*/ 134 h 272"/>
                <a:gd name="T50" fmla="*/ 30 w 272"/>
                <a:gd name="T51" fmla="*/ 120 h 272"/>
                <a:gd name="T52" fmla="*/ 18 w 272"/>
                <a:gd name="T53" fmla="*/ 108 h 272"/>
                <a:gd name="T54" fmla="*/ 26 w 272"/>
                <a:gd name="T55" fmla="*/ 96 h 272"/>
                <a:gd name="T56" fmla="*/ 26 w 272"/>
                <a:gd name="T57" fmla="*/ 90 h 272"/>
                <a:gd name="T58" fmla="*/ 30 w 272"/>
                <a:gd name="T59" fmla="*/ 74 h 272"/>
                <a:gd name="T60" fmla="*/ 18 w 272"/>
                <a:gd name="T61" fmla="*/ 66 h 272"/>
                <a:gd name="T62" fmla="*/ 12 w 272"/>
                <a:gd name="T63" fmla="*/ 52 h 272"/>
                <a:gd name="T64" fmla="*/ 4 w 272"/>
                <a:gd name="T65" fmla="*/ 34 h 272"/>
                <a:gd name="T66" fmla="*/ 4 w 272"/>
                <a:gd name="T67" fmla="*/ 14 h 272"/>
                <a:gd name="T68" fmla="*/ 4 w 272"/>
                <a:gd name="T69" fmla="*/ 4 h 272"/>
                <a:gd name="T70" fmla="*/ 14 w 272"/>
                <a:gd name="T71" fmla="*/ 8 h 272"/>
                <a:gd name="T72" fmla="*/ 34 w 272"/>
                <a:gd name="T73" fmla="*/ 14 h 272"/>
                <a:gd name="T74" fmla="*/ 48 w 272"/>
                <a:gd name="T75" fmla="*/ 4 h 272"/>
                <a:gd name="T76" fmla="*/ 60 w 272"/>
                <a:gd name="T77" fmla="*/ 10 h 272"/>
                <a:gd name="T78" fmla="*/ 64 w 272"/>
                <a:gd name="T79" fmla="*/ 26 h 272"/>
                <a:gd name="T80" fmla="*/ 90 w 272"/>
                <a:gd name="T81" fmla="*/ 26 h 272"/>
                <a:gd name="T82" fmla="*/ 108 w 272"/>
                <a:gd name="T83" fmla="*/ 26 h 272"/>
                <a:gd name="T84" fmla="*/ 122 w 272"/>
                <a:gd name="T85" fmla="*/ 36 h 272"/>
                <a:gd name="T86" fmla="*/ 142 w 272"/>
                <a:gd name="T87" fmla="*/ 44 h 272"/>
                <a:gd name="T88" fmla="*/ 156 w 272"/>
                <a:gd name="T89" fmla="*/ 34 h 272"/>
                <a:gd name="T90" fmla="*/ 174 w 272"/>
                <a:gd name="T91" fmla="*/ 30 h 272"/>
                <a:gd name="T92" fmla="*/ 186 w 272"/>
                <a:gd name="T93" fmla="*/ 26 h 272"/>
                <a:gd name="T94" fmla="*/ 208 w 272"/>
                <a:gd name="T95" fmla="*/ 36 h 272"/>
                <a:gd name="T96" fmla="*/ 216 w 272"/>
                <a:gd name="T97" fmla="*/ 44 h 272"/>
                <a:gd name="T98" fmla="*/ 234 w 272"/>
                <a:gd name="T99" fmla="*/ 60 h 272"/>
                <a:gd name="T100" fmla="*/ 242 w 272"/>
                <a:gd name="T101" fmla="*/ 74 h 272"/>
                <a:gd name="T102" fmla="*/ 242 w 272"/>
                <a:gd name="T103" fmla="*/ 92 h 272"/>
                <a:gd name="T104" fmla="*/ 234 w 272"/>
                <a:gd name="T105" fmla="*/ 108 h 272"/>
                <a:gd name="T106" fmla="*/ 234 w 272"/>
                <a:gd name="T107" fmla="*/ 122 h 272"/>
                <a:gd name="T108" fmla="*/ 238 w 272"/>
                <a:gd name="T109" fmla="*/ 146 h 272"/>
                <a:gd name="T110" fmla="*/ 168 w 272"/>
                <a:gd name="T111" fmla="*/ 238 h 272"/>
                <a:gd name="T112" fmla="*/ 172 w 272"/>
                <a:gd name="T113" fmla="*/ 242 h 272"/>
                <a:gd name="T114" fmla="*/ 168 w 272"/>
                <a:gd name="T115" fmla="*/ 242 h 272"/>
                <a:gd name="T116" fmla="*/ 174 w 272"/>
                <a:gd name="T117" fmla="*/ 238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2" h="272">
                  <a:moveTo>
                    <a:pt x="238" y="146"/>
                  </a:moveTo>
                  <a:lnTo>
                    <a:pt x="238" y="148"/>
                  </a:lnTo>
                  <a:lnTo>
                    <a:pt x="238" y="152"/>
                  </a:lnTo>
                  <a:lnTo>
                    <a:pt x="242" y="156"/>
                  </a:lnTo>
                  <a:lnTo>
                    <a:pt x="246" y="156"/>
                  </a:lnTo>
                  <a:lnTo>
                    <a:pt x="250" y="156"/>
                  </a:lnTo>
                  <a:lnTo>
                    <a:pt x="250" y="160"/>
                  </a:lnTo>
                  <a:lnTo>
                    <a:pt x="254" y="160"/>
                  </a:lnTo>
                  <a:lnTo>
                    <a:pt x="254" y="164"/>
                  </a:lnTo>
                  <a:lnTo>
                    <a:pt x="250" y="168"/>
                  </a:lnTo>
                  <a:lnTo>
                    <a:pt x="246" y="176"/>
                  </a:lnTo>
                  <a:lnTo>
                    <a:pt x="242" y="178"/>
                  </a:lnTo>
                  <a:lnTo>
                    <a:pt x="242" y="182"/>
                  </a:lnTo>
                  <a:lnTo>
                    <a:pt x="238" y="182"/>
                  </a:lnTo>
                  <a:lnTo>
                    <a:pt x="238" y="186"/>
                  </a:lnTo>
                  <a:lnTo>
                    <a:pt x="242" y="186"/>
                  </a:lnTo>
                  <a:lnTo>
                    <a:pt x="246" y="194"/>
                  </a:lnTo>
                  <a:lnTo>
                    <a:pt x="246" y="198"/>
                  </a:lnTo>
                  <a:lnTo>
                    <a:pt x="250" y="202"/>
                  </a:lnTo>
                  <a:lnTo>
                    <a:pt x="250" y="206"/>
                  </a:lnTo>
                  <a:lnTo>
                    <a:pt x="254" y="208"/>
                  </a:lnTo>
                  <a:lnTo>
                    <a:pt x="258" y="208"/>
                  </a:lnTo>
                  <a:lnTo>
                    <a:pt x="262" y="212"/>
                  </a:lnTo>
                  <a:lnTo>
                    <a:pt x="264" y="212"/>
                  </a:lnTo>
                  <a:lnTo>
                    <a:pt x="264" y="216"/>
                  </a:lnTo>
                  <a:lnTo>
                    <a:pt x="264" y="220"/>
                  </a:lnTo>
                  <a:lnTo>
                    <a:pt x="264" y="224"/>
                  </a:lnTo>
                  <a:lnTo>
                    <a:pt x="264" y="228"/>
                  </a:lnTo>
                  <a:lnTo>
                    <a:pt x="264" y="232"/>
                  </a:lnTo>
                  <a:lnTo>
                    <a:pt x="268" y="232"/>
                  </a:lnTo>
                  <a:lnTo>
                    <a:pt x="272" y="232"/>
                  </a:lnTo>
                  <a:lnTo>
                    <a:pt x="272" y="234"/>
                  </a:lnTo>
                  <a:lnTo>
                    <a:pt x="272" y="238"/>
                  </a:lnTo>
                  <a:lnTo>
                    <a:pt x="272" y="242"/>
                  </a:lnTo>
                  <a:lnTo>
                    <a:pt x="268" y="242"/>
                  </a:lnTo>
                  <a:lnTo>
                    <a:pt x="264" y="242"/>
                  </a:lnTo>
                  <a:lnTo>
                    <a:pt x="264" y="246"/>
                  </a:lnTo>
                  <a:lnTo>
                    <a:pt x="262" y="246"/>
                  </a:lnTo>
                  <a:lnTo>
                    <a:pt x="258" y="246"/>
                  </a:lnTo>
                  <a:lnTo>
                    <a:pt x="258" y="250"/>
                  </a:lnTo>
                  <a:lnTo>
                    <a:pt x="258" y="246"/>
                  </a:lnTo>
                  <a:lnTo>
                    <a:pt x="258" y="250"/>
                  </a:lnTo>
                  <a:lnTo>
                    <a:pt x="254" y="250"/>
                  </a:lnTo>
                  <a:lnTo>
                    <a:pt x="254" y="254"/>
                  </a:lnTo>
                  <a:lnTo>
                    <a:pt x="254" y="258"/>
                  </a:lnTo>
                  <a:lnTo>
                    <a:pt x="250" y="258"/>
                  </a:lnTo>
                  <a:lnTo>
                    <a:pt x="250" y="262"/>
                  </a:lnTo>
                  <a:lnTo>
                    <a:pt x="250" y="264"/>
                  </a:lnTo>
                  <a:lnTo>
                    <a:pt x="250" y="268"/>
                  </a:lnTo>
                  <a:lnTo>
                    <a:pt x="246" y="268"/>
                  </a:lnTo>
                  <a:lnTo>
                    <a:pt x="246" y="272"/>
                  </a:lnTo>
                  <a:lnTo>
                    <a:pt x="242" y="272"/>
                  </a:lnTo>
                  <a:lnTo>
                    <a:pt x="242" y="268"/>
                  </a:lnTo>
                  <a:lnTo>
                    <a:pt x="238" y="268"/>
                  </a:lnTo>
                  <a:lnTo>
                    <a:pt x="234" y="268"/>
                  </a:lnTo>
                  <a:lnTo>
                    <a:pt x="234" y="264"/>
                  </a:lnTo>
                  <a:lnTo>
                    <a:pt x="232" y="264"/>
                  </a:lnTo>
                  <a:lnTo>
                    <a:pt x="232" y="268"/>
                  </a:lnTo>
                  <a:lnTo>
                    <a:pt x="232" y="264"/>
                  </a:lnTo>
                  <a:lnTo>
                    <a:pt x="228" y="264"/>
                  </a:lnTo>
                  <a:lnTo>
                    <a:pt x="224" y="264"/>
                  </a:lnTo>
                  <a:lnTo>
                    <a:pt x="220" y="264"/>
                  </a:lnTo>
                  <a:lnTo>
                    <a:pt x="216" y="264"/>
                  </a:lnTo>
                  <a:lnTo>
                    <a:pt x="212" y="264"/>
                  </a:lnTo>
                  <a:lnTo>
                    <a:pt x="208" y="262"/>
                  </a:lnTo>
                  <a:lnTo>
                    <a:pt x="204" y="262"/>
                  </a:lnTo>
                  <a:lnTo>
                    <a:pt x="202" y="262"/>
                  </a:lnTo>
                  <a:lnTo>
                    <a:pt x="202" y="264"/>
                  </a:lnTo>
                  <a:lnTo>
                    <a:pt x="198" y="262"/>
                  </a:lnTo>
                  <a:lnTo>
                    <a:pt x="194" y="262"/>
                  </a:lnTo>
                  <a:lnTo>
                    <a:pt x="190" y="262"/>
                  </a:lnTo>
                  <a:lnTo>
                    <a:pt x="190" y="258"/>
                  </a:lnTo>
                  <a:lnTo>
                    <a:pt x="186" y="258"/>
                  </a:lnTo>
                  <a:lnTo>
                    <a:pt x="186" y="254"/>
                  </a:lnTo>
                  <a:lnTo>
                    <a:pt x="186" y="246"/>
                  </a:lnTo>
                  <a:lnTo>
                    <a:pt x="186" y="242"/>
                  </a:lnTo>
                  <a:lnTo>
                    <a:pt x="182" y="238"/>
                  </a:lnTo>
                  <a:lnTo>
                    <a:pt x="182" y="234"/>
                  </a:lnTo>
                  <a:lnTo>
                    <a:pt x="178" y="234"/>
                  </a:lnTo>
                  <a:lnTo>
                    <a:pt x="174" y="234"/>
                  </a:lnTo>
                  <a:lnTo>
                    <a:pt x="172" y="234"/>
                  </a:lnTo>
                  <a:lnTo>
                    <a:pt x="168" y="234"/>
                  </a:lnTo>
                  <a:lnTo>
                    <a:pt x="164" y="234"/>
                  </a:lnTo>
                  <a:lnTo>
                    <a:pt x="164" y="238"/>
                  </a:lnTo>
                  <a:lnTo>
                    <a:pt x="164" y="242"/>
                  </a:lnTo>
                  <a:lnTo>
                    <a:pt x="160" y="242"/>
                  </a:lnTo>
                  <a:lnTo>
                    <a:pt x="156" y="242"/>
                  </a:lnTo>
                  <a:lnTo>
                    <a:pt x="152" y="246"/>
                  </a:lnTo>
                  <a:lnTo>
                    <a:pt x="148" y="242"/>
                  </a:lnTo>
                  <a:lnTo>
                    <a:pt x="144" y="242"/>
                  </a:lnTo>
                  <a:lnTo>
                    <a:pt x="142" y="242"/>
                  </a:lnTo>
                  <a:lnTo>
                    <a:pt x="138" y="242"/>
                  </a:lnTo>
                  <a:lnTo>
                    <a:pt x="134" y="238"/>
                  </a:lnTo>
                  <a:lnTo>
                    <a:pt x="134" y="234"/>
                  </a:lnTo>
                  <a:lnTo>
                    <a:pt x="130" y="234"/>
                  </a:lnTo>
                  <a:lnTo>
                    <a:pt x="126" y="234"/>
                  </a:lnTo>
                  <a:lnTo>
                    <a:pt x="126" y="232"/>
                  </a:lnTo>
                  <a:lnTo>
                    <a:pt x="122" y="232"/>
                  </a:lnTo>
                  <a:lnTo>
                    <a:pt x="122" y="228"/>
                  </a:lnTo>
                  <a:lnTo>
                    <a:pt x="118" y="228"/>
                  </a:lnTo>
                  <a:lnTo>
                    <a:pt x="118" y="224"/>
                  </a:lnTo>
                  <a:lnTo>
                    <a:pt x="116" y="224"/>
                  </a:lnTo>
                  <a:lnTo>
                    <a:pt x="112" y="220"/>
                  </a:lnTo>
                  <a:lnTo>
                    <a:pt x="108" y="220"/>
                  </a:lnTo>
                  <a:lnTo>
                    <a:pt x="104" y="220"/>
                  </a:lnTo>
                  <a:lnTo>
                    <a:pt x="104" y="216"/>
                  </a:lnTo>
                  <a:lnTo>
                    <a:pt x="100" y="212"/>
                  </a:lnTo>
                  <a:lnTo>
                    <a:pt x="100" y="208"/>
                  </a:lnTo>
                  <a:lnTo>
                    <a:pt x="100" y="206"/>
                  </a:lnTo>
                  <a:lnTo>
                    <a:pt x="98" y="206"/>
                  </a:lnTo>
                  <a:lnTo>
                    <a:pt x="98" y="202"/>
                  </a:lnTo>
                  <a:lnTo>
                    <a:pt x="98" y="198"/>
                  </a:lnTo>
                  <a:lnTo>
                    <a:pt x="94" y="198"/>
                  </a:lnTo>
                  <a:lnTo>
                    <a:pt x="94" y="194"/>
                  </a:lnTo>
                  <a:lnTo>
                    <a:pt x="94" y="190"/>
                  </a:lnTo>
                  <a:lnTo>
                    <a:pt x="90" y="190"/>
                  </a:lnTo>
                  <a:lnTo>
                    <a:pt x="90" y="186"/>
                  </a:lnTo>
                  <a:lnTo>
                    <a:pt x="90" y="182"/>
                  </a:lnTo>
                  <a:lnTo>
                    <a:pt x="86" y="182"/>
                  </a:lnTo>
                  <a:lnTo>
                    <a:pt x="86" y="178"/>
                  </a:lnTo>
                  <a:lnTo>
                    <a:pt x="82" y="178"/>
                  </a:lnTo>
                  <a:lnTo>
                    <a:pt x="78" y="182"/>
                  </a:lnTo>
                  <a:lnTo>
                    <a:pt x="78" y="178"/>
                  </a:lnTo>
                  <a:lnTo>
                    <a:pt x="74" y="178"/>
                  </a:lnTo>
                  <a:lnTo>
                    <a:pt x="70" y="176"/>
                  </a:lnTo>
                  <a:lnTo>
                    <a:pt x="74" y="176"/>
                  </a:lnTo>
                  <a:lnTo>
                    <a:pt x="74" y="172"/>
                  </a:lnTo>
                  <a:lnTo>
                    <a:pt x="70" y="172"/>
                  </a:lnTo>
                  <a:lnTo>
                    <a:pt x="68" y="176"/>
                  </a:lnTo>
                  <a:lnTo>
                    <a:pt x="70" y="178"/>
                  </a:lnTo>
                  <a:lnTo>
                    <a:pt x="70" y="182"/>
                  </a:lnTo>
                  <a:lnTo>
                    <a:pt x="68" y="182"/>
                  </a:lnTo>
                  <a:lnTo>
                    <a:pt x="64" y="182"/>
                  </a:lnTo>
                  <a:lnTo>
                    <a:pt x="64" y="178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6" y="172"/>
                  </a:lnTo>
                  <a:lnTo>
                    <a:pt x="56" y="164"/>
                  </a:lnTo>
                  <a:lnTo>
                    <a:pt x="52" y="164"/>
                  </a:lnTo>
                  <a:lnTo>
                    <a:pt x="52" y="160"/>
                  </a:lnTo>
                  <a:lnTo>
                    <a:pt x="52" y="156"/>
                  </a:lnTo>
                  <a:lnTo>
                    <a:pt x="52" y="152"/>
                  </a:lnTo>
                  <a:lnTo>
                    <a:pt x="56" y="148"/>
                  </a:lnTo>
                  <a:lnTo>
                    <a:pt x="52" y="148"/>
                  </a:lnTo>
                  <a:lnTo>
                    <a:pt x="52" y="146"/>
                  </a:lnTo>
                  <a:lnTo>
                    <a:pt x="52" y="142"/>
                  </a:lnTo>
                  <a:lnTo>
                    <a:pt x="48" y="142"/>
                  </a:lnTo>
                  <a:lnTo>
                    <a:pt x="48" y="138"/>
                  </a:lnTo>
                  <a:lnTo>
                    <a:pt x="44" y="138"/>
                  </a:lnTo>
                  <a:lnTo>
                    <a:pt x="44" y="134"/>
                  </a:lnTo>
                  <a:lnTo>
                    <a:pt x="40" y="134"/>
                  </a:lnTo>
                  <a:lnTo>
                    <a:pt x="38" y="130"/>
                  </a:lnTo>
                  <a:lnTo>
                    <a:pt x="34" y="126"/>
                  </a:lnTo>
                  <a:lnTo>
                    <a:pt x="30" y="126"/>
                  </a:lnTo>
                  <a:lnTo>
                    <a:pt x="30" y="122"/>
                  </a:lnTo>
                  <a:lnTo>
                    <a:pt x="30" y="120"/>
                  </a:lnTo>
                  <a:lnTo>
                    <a:pt x="26" y="120"/>
                  </a:lnTo>
                  <a:lnTo>
                    <a:pt x="26" y="116"/>
                  </a:lnTo>
                  <a:lnTo>
                    <a:pt x="22" y="116"/>
                  </a:lnTo>
                  <a:lnTo>
                    <a:pt x="22" y="112"/>
                  </a:lnTo>
                  <a:lnTo>
                    <a:pt x="22" y="108"/>
                  </a:lnTo>
                  <a:lnTo>
                    <a:pt x="18" y="108"/>
                  </a:lnTo>
                  <a:lnTo>
                    <a:pt x="22" y="108"/>
                  </a:lnTo>
                  <a:lnTo>
                    <a:pt x="22" y="104"/>
                  </a:lnTo>
                  <a:lnTo>
                    <a:pt x="22" y="100"/>
                  </a:lnTo>
                  <a:lnTo>
                    <a:pt x="18" y="100"/>
                  </a:lnTo>
                  <a:lnTo>
                    <a:pt x="22" y="96"/>
                  </a:lnTo>
                  <a:lnTo>
                    <a:pt x="26" y="96"/>
                  </a:lnTo>
                  <a:lnTo>
                    <a:pt x="22" y="96"/>
                  </a:lnTo>
                  <a:lnTo>
                    <a:pt x="22" y="92"/>
                  </a:lnTo>
                  <a:lnTo>
                    <a:pt x="26" y="92"/>
                  </a:lnTo>
                  <a:lnTo>
                    <a:pt x="26" y="90"/>
                  </a:lnTo>
                  <a:lnTo>
                    <a:pt x="26" y="92"/>
                  </a:lnTo>
                  <a:lnTo>
                    <a:pt x="26" y="90"/>
                  </a:lnTo>
                  <a:lnTo>
                    <a:pt x="30" y="90"/>
                  </a:lnTo>
                  <a:lnTo>
                    <a:pt x="30" y="86"/>
                  </a:lnTo>
                  <a:lnTo>
                    <a:pt x="30" y="82"/>
                  </a:lnTo>
                  <a:lnTo>
                    <a:pt x="26" y="78"/>
                  </a:lnTo>
                  <a:lnTo>
                    <a:pt x="30" y="78"/>
                  </a:lnTo>
                  <a:lnTo>
                    <a:pt x="30" y="74"/>
                  </a:lnTo>
                  <a:lnTo>
                    <a:pt x="34" y="74"/>
                  </a:lnTo>
                  <a:lnTo>
                    <a:pt x="30" y="74"/>
                  </a:lnTo>
                  <a:lnTo>
                    <a:pt x="26" y="74"/>
                  </a:lnTo>
                  <a:lnTo>
                    <a:pt x="22" y="70"/>
                  </a:lnTo>
                  <a:lnTo>
                    <a:pt x="18" y="70"/>
                  </a:lnTo>
                  <a:lnTo>
                    <a:pt x="18" y="66"/>
                  </a:lnTo>
                  <a:lnTo>
                    <a:pt x="18" y="64"/>
                  </a:lnTo>
                  <a:lnTo>
                    <a:pt x="14" y="64"/>
                  </a:lnTo>
                  <a:lnTo>
                    <a:pt x="14" y="60"/>
                  </a:lnTo>
                  <a:lnTo>
                    <a:pt x="14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4"/>
                  </a:lnTo>
                  <a:lnTo>
                    <a:pt x="4" y="30"/>
                  </a:lnTo>
                  <a:lnTo>
                    <a:pt x="8" y="26"/>
                  </a:lnTo>
                  <a:lnTo>
                    <a:pt x="4" y="26"/>
                  </a:lnTo>
                  <a:lnTo>
                    <a:pt x="4" y="22"/>
                  </a:lnTo>
                  <a:lnTo>
                    <a:pt x="4" y="18"/>
                  </a:lnTo>
                  <a:lnTo>
                    <a:pt x="4" y="14"/>
                  </a:lnTo>
                  <a:lnTo>
                    <a:pt x="4" y="10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4" y="8"/>
                  </a:lnTo>
                  <a:lnTo>
                    <a:pt x="18" y="10"/>
                  </a:lnTo>
                  <a:lnTo>
                    <a:pt x="18" y="14"/>
                  </a:lnTo>
                  <a:lnTo>
                    <a:pt x="22" y="14"/>
                  </a:lnTo>
                  <a:lnTo>
                    <a:pt x="26" y="14"/>
                  </a:lnTo>
                  <a:lnTo>
                    <a:pt x="30" y="14"/>
                  </a:lnTo>
                  <a:lnTo>
                    <a:pt x="34" y="14"/>
                  </a:lnTo>
                  <a:lnTo>
                    <a:pt x="38" y="14"/>
                  </a:lnTo>
                  <a:lnTo>
                    <a:pt x="38" y="10"/>
                  </a:lnTo>
                  <a:lnTo>
                    <a:pt x="40" y="10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4"/>
                  </a:lnTo>
                  <a:lnTo>
                    <a:pt x="64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0" y="14"/>
                  </a:lnTo>
                  <a:lnTo>
                    <a:pt x="56" y="14"/>
                  </a:lnTo>
                  <a:lnTo>
                    <a:pt x="60" y="18"/>
                  </a:lnTo>
                  <a:lnTo>
                    <a:pt x="60" y="22"/>
                  </a:lnTo>
                  <a:lnTo>
                    <a:pt x="64" y="22"/>
                  </a:lnTo>
                  <a:lnTo>
                    <a:pt x="64" y="26"/>
                  </a:lnTo>
                  <a:lnTo>
                    <a:pt x="68" y="26"/>
                  </a:lnTo>
                  <a:lnTo>
                    <a:pt x="68" y="22"/>
                  </a:lnTo>
                  <a:lnTo>
                    <a:pt x="70" y="22"/>
                  </a:lnTo>
                  <a:lnTo>
                    <a:pt x="82" y="26"/>
                  </a:lnTo>
                  <a:lnTo>
                    <a:pt x="86" y="26"/>
                  </a:lnTo>
                  <a:lnTo>
                    <a:pt x="90" y="26"/>
                  </a:lnTo>
                  <a:lnTo>
                    <a:pt x="94" y="22"/>
                  </a:lnTo>
                  <a:lnTo>
                    <a:pt x="98" y="22"/>
                  </a:lnTo>
                  <a:lnTo>
                    <a:pt x="100" y="22"/>
                  </a:lnTo>
                  <a:lnTo>
                    <a:pt x="104" y="18"/>
                  </a:lnTo>
                  <a:lnTo>
                    <a:pt x="104" y="22"/>
                  </a:lnTo>
                  <a:lnTo>
                    <a:pt x="108" y="26"/>
                  </a:lnTo>
                  <a:lnTo>
                    <a:pt x="112" y="30"/>
                  </a:lnTo>
                  <a:lnTo>
                    <a:pt x="112" y="34"/>
                  </a:lnTo>
                  <a:lnTo>
                    <a:pt x="116" y="34"/>
                  </a:lnTo>
                  <a:lnTo>
                    <a:pt x="116" y="36"/>
                  </a:lnTo>
                  <a:lnTo>
                    <a:pt x="118" y="36"/>
                  </a:lnTo>
                  <a:lnTo>
                    <a:pt x="122" y="36"/>
                  </a:lnTo>
                  <a:lnTo>
                    <a:pt x="126" y="36"/>
                  </a:lnTo>
                  <a:lnTo>
                    <a:pt x="126" y="40"/>
                  </a:lnTo>
                  <a:lnTo>
                    <a:pt x="130" y="40"/>
                  </a:lnTo>
                  <a:lnTo>
                    <a:pt x="134" y="44"/>
                  </a:lnTo>
                  <a:lnTo>
                    <a:pt x="138" y="44"/>
                  </a:lnTo>
                  <a:lnTo>
                    <a:pt x="142" y="44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52" y="40"/>
                  </a:lnTo>
                  <a:lnTo>
                    <a:pt x="152" y="36"/>
                  </a:lnTo>
                  <a:lnTo>
                    <a:pt x="156" y="36"/>
                  </a:lnTo>
                  <a:lnTo>
                    <a:pt x="156" y="34"/>
                  </a:lnTo>
                  <a:lnTo>
                    <a:pt x="160" y="34"/>
                  </a:lnTo>
                  <a:lnTo>
                    <a:pt x="160" y="30"/>
                  </a:lnTo>
                  <a:lnTo>
                    <a:pt x="164" y="30"/>
                  </a:lnTo>
                  <a:lnTo>
                    <a:pt x="168" y="30"/>
                  </a:lnTo>
                  <a:lnTo>
                    <a:pt x="172" y="30"/>
                  </a:lnTo>
                  <a:lnTo>
                    <a:pt x="174" y="30"/>
                  </a:lnTo>
                  <a:lnTo>
                    <a:pt x="174" y="26"/>
                  </a:lnTo>
                  <a:lnTo>
                    <a:pt x="178" y="26"/>
                  </a:lnTo>
                  <a:lnTo>
                    <a:pt x="182" y="26"/>
                  </a:lnTo>
                  <a:lnTo>
                    <a:pt x="182" y="30"/>
                  </a:lnTo>
                  <a:lnTo>
                    <a:pt x="186" y="30"/>
                  </a:lnTo>
                  <a:lnTo>
                    <a:pt x="186" y="26"/>
                  </a:lnTo>
                  <a:lnTo>
                    <a:pt x="190" y="30"/>
                  </a:lnTo>
                  <a:lnTo>
                    <a:pt x="190" y="34"/>
                  </a:lnTo>
                  <a:lnTo>
                    <a:pt x="194" y="34"/>
                  </a:lnTo>
                  <a:lnTo>
                    <a:pt x="202" y="36"/>
                  </a:lnTo>
                  <a:lnTo>
                    <a:pt x="204" y="40"/>
                  </a:lnTo>
                  <a:lnTo>
                    <a:pt x="208" y="36"/>
                  </a:lnTo>
                  <a:lnTo>
                    <a:pt x="208" y="40"/>
                  </a:lnTo>
                  <a:lnTo>
                    <a:pt x="208" y="36"/>
                  </a:lnTo>
                  <a:lnTo>
                    <a:pt x="212" y="36"/>
                  </a:lnTo>
                  <a:lnTo>
                    <a:pt x="212" y="40"/>
                  </a:lnTo>
                  <a:lnTo>
                    <a:pt x="216" y="40"/>
                  </a:lnTo>
                  <a:lnTo>
                    <a:pt x="216" y="44"/>
                  </a:lnTo>
                  <a:lnTo>
                    <a:pt x="220" y="48"/>
                  </a:lnTo>
                  <a:lnTo>
                    <a:pt x="224" y="48"/>
                  </a:lnTo>
                  <a:lnTo>
                    <a:pt x="228" y="52"/>
                  </a:lnTo>
                  <a:lnTo>
                    <a:pt x="228" y="56"/>
                  </a:lnTo>
                  <a:lnTo>
                    <a:pt x="232" y="60"/>
                  </a:lnTo>
                  <a:lnTo>
                    <a:pt x="234" y="60"/>
                  </a:lnTo>
                  <a:lnTo>
                    <a:pt x="238" y="60"/>
                  </a:lnTo>
                  <a:lnTo>
                    <a:pt x="242" y="60"/>
                  </a:lnTo>
                  <a:lnTo>
                    <a:pt x="242" y="64"/>
                  </a:lnTo>
                  <a:lnTo>
                    <a:pt x="242" y="66"/>
                  </a:lnTo>
                  <a:lnTo>
                    <a:pt x="242" y="70"/>
                  </a:lnTo>
                  <a:lnTo>
                    <a:pt x="242" y="74"/>
                  </a:lnTo>
                  <a:lnTo>
                    <a:pt x="242" y="78"/>
                  </a:lnTo>
                  <a:lnTo>
                    <a:pt x="246" y="78"/>
                  </a:lnTo>
                  <a:lnTo>
                    <a:pt x="242" y="82"/>
                  </a:lnTo>
                  <a:lnTo>
                    <a:pt x="242" y="86"/>
                  </a:lnTo>
                  <a:lnTo>
                    <a:pt x="242" y="90"/>
                  </a:lnTo>
                  <a:lnTo>
                    <a:pt x="242" y="92"/>
                  </a:lnTo>
                  <a:lnTo>
                    <a:pt x="238" y="96"/>
                  </a:lnTo>
                  <a:lnTo>
                    <a:pt x="234" y="96"/>
                  </a:lnTo>
                  <a:lnTo>
                    <a:pt x="238" y="100"/>
                  </a:lnTo>
                  <a:lnTo>
                    <a:pt x="234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4" y="112"/>
                  </a:lnTo>
                  <a:lnTo>
                    <a:pt x="234" y="116"/>
                  </a:lnTo>
                  <a:lnTo>
                    <a:pt x="238" y="116"/>
                  </a:lnTo>
                  <a:lnTo>
                    <a:pt x="238" y="120"/>
                  </a:lnTo>
                  <a:lnTo>
                    <a:pt x="234" y="120"/>
                  </a:lnTo>
                  <a:lnTo>
                    <a:pt x="234" y="122"/>
                  </a:lnTo>
                  <a:lnTo>
                    <a:pt x="234" y="126"/>
                  </a:lnTo>
                  <a:lnTo>
                    <a:pt x="234" y="130"/>
                  </a:lnTo>
                  <a:lnTo>
                    <a:pt x="234" y="134"/>
                  </a:lnTo>
                  <a:lnTo>
                    <a:pt x="238" y="138"/>
                  </a:lnTo>
                  <a:lnTo>
                    <a:pt x="238" y="142"/>
                  </a:lnTo>
                  <a:lnTo>
                    <a:pt x="238" y="146"/>
                  </a:lnTo>
                  <a:lnTo>
                    <a:pt x="238" y="146"/>
                  </a:lnTo>
                  <a:lnTo>
                    <a:pt x="238" y="146"/>
                  </a:lnTo>
                  <a:close/>
                  <a:moveTo>
                    <a:pt x="164" y="238"/>
                  </a:moveTo>
                  <a:lnTo>
                    <a:pt x="164" y="242"/>
                  </a:lnTo>
                  <a:lnTo>
                    <a:pt x="164" y="238"/>
                  </a:lnTo>
                  <a:lnTo>
                    <a:pt x="168" y="238"/>
                  </a:lnTo>
                  <a:lnTo>
                    <a:pt x="164" y="238"/>
                  </a:lnTo>
                  <a:lnTo>
                    <a:pt x="164" y="238"/>
                  </a:lnTo>
                  <a:lnTo>
                    <a:pt x="164" y="238"/>
                  </a:lnTo>
                  <a:close/>
                  <a:moveTo>
                    <a:pt x="174" y="238"/>
                  </a:moveTo>
                  <a:lnTo>
                    <a:pt x="172" y="238"/>
                  </a:lnTo>
                  <a:lnTo>
                    <a:pt x="172" y="242"/>
                  </a:lnTo>
                  <a:lnTo>
                    <a:pt x="168" y="242"/>
                  </a:lnTo>
                  <a:lnTo>
                    <a:pt x="164" y="242"/>
                  </a:lnTo>
                  <a:lnTo>
                    <a:pt x="160" y="246"/>
                  </a:lnTo>
                  <a:lnTo>
                    <a:pt x="160" y="242"/>
                  </a:lnTo>
                  <a:lnTo>
                    <a:pt x="164" y="242"/>
                  </a:lnTo>
                  <a:lnTo>
                    <a:pt x="168" y="242"/>
                  </a:lnTo>
                  <a:lnTo>
                    <a:pt x="168" y="238"/>
                  </a:lnTo>
                  <a:lnTo>
                    <a:pt x="172" y="238"/>
                  </a:lnTo>
                  <a:lnTo>
                    <a:pt x="172" y="234"/>
                  </a:lnTo>
                  <a:lnTo>
                    <a:pt x="174" y="238"/>
                  </a:lnTo>
                  <a:lnTo>
                    <a:pt x="174" y="238"/>
                  </a:lnTo>
                  <a:lnTo>
                    <a:pt x="174" y="238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4E8CEE1E-0A1C-1923-F8C2-BBC9B0E5EB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0754" y="2922932"/>
              <a:ext cx="268854" cy="290368"/>
            </a:xfrm>
            <a:custGeom>
              <a:avLst/>
              <a:gdLst>
                <a:gd name="T0" fmla="*/ 4 w 138"/>
                <a:gd name="T1" fmla="*/ 90 h 154"/>
                <a:gd name="T2" fmla="*/ 14 w 138"/>
                <a:gd name="T3" fmla="*/ 68 h 154"/>
                <a:gd name="T4" fmla="*/ 34 w 138"/>
                <a:gd name="T5" fmla="*/ 56 h 154"/>
                <a:gd name="T6" fmla="*/ 34 w 138"/>
                <a:gd name="T7" fmla="*/ 40 h 154"/>
                <a:gd name="T8" fmla="*/ 38 w 138"/>
                <a:gd name="T9" fmla="*/ 38 h 154"/>
                <a:gd name="T10" fmla="*/ 38 w 138"/>
                <a:gd name="T11" fmla="*/ 34 h 154"/>
                <a:gd name="T12" fmla="*/ 38 w 138"/>
                <a:gd name="T13" fmla="*/ 18 h 154"/>
                <a:gd name="T14" fmla="*/ 52 w 138"/>
                <a:gd name="T15" fmla="*/ 4 h 154"/>
                <a:gd name="T16" fmla="*/ 56 w 138"/>
                <a:gd name="T17" fmla="*/ 0 h 154"/>
                <a:gd name="T18" fmla="*/ 60 w 138"/>
                <a:gd name="T19" fmla="*/ 0 h 154"/>
                <a:gd name="T20" fmla="*/ 74 w 138"/>
                <a:gd name="T21" fmla="*/ 4 h 154"/>
                <a:gd name="T22" fmla="*/ 74 w 138"/>
                <a:gd name="T23" fmla="*/ 0 h 154"/>
                <a:gd name="T24" fmla="*/ 78 w 138"/>
                <a:gd name="T25" fmla="*/ 4 h 154"/>
                <a:gd name="T26" fmla="*/ 82 w 138"/>
                <a:gd name="T27" fmla="*/ 4 h 154"/>
                <a:gd name="T28" fmla="*/ 86 w 138"/>
                <a:gd name="T29" fmla="*/ 4 h 154"/>
                <a:gd name="T30" fmla="*/ 86 w 138"/>
                <a:gd name="T31" fmla="*/ 8 h 154"/>
                <a:gd name="T32" fmla="*/ 86 w 138"/>
                <a:gd name="T33" fmla="*/ 10 h 154"/>
                <a:gd name="T34" fmla="*/ 90 w 138"/>
                <a:gd name="T35" fmla="*/ 14 h 154"/>
                <a:gd name="T36" fmla="*/ 90 w 138"/>
                <a:gd name="T37" fmla="*/ 18 h 154"/>
                <a:gd name="T38" fmla="*/ 94 w 138"/>
                <a:gd name="T39" fmla="*/ 18 h 154"/>
                <a:gd name="T40" fmla="*/ 96 w 138"/>
                <a:gd name="T41" fmla="*/ 26 h 154"/>
                <a:gd name="T42" fmla="*/ 100 w 138"/>
                <a:gd name="T43" fmla="*/ 30 h 154"/>
                <a:gd name="T44" fmla="*/ 104 w 138"/>
                <a:gd name="T45" fmla="*/ 30 h 154"/>
                <a:gd name="T46" fmla="*/ 108 w 138"/>
                <a:gd name="T47" fmla="*/ 30 h 154"/>
                <a:gd name="T48" fmla="*/ 104 w 138"/>
                <a:gd name="T49" fmla="*/ 30 h 154"/>
                <a:gd name="T50" fmla="*/ 104 w 138"/>
                <a:gd name="T51" fmla="*/ 38 h 154"/>
                <a:gd name="T52" fmla="*/ 104 w 138"/>
                <a:gd name="T53" fmla="*/ 40 h 154"/>
                <a:gd name="T54" fmla="*/ 100 w 138"/>
                <a:gd name="T55" fmla="*/ 44 h 154"/>
                <a:gd name="T56" fmla="*/ 96 w 138"/>
                <a:gd name="T57" fmla="*/ 48 h 154"/>
                <a:gd name="T58" fmla="*/ 100 w 138"/>
                <a:gd name="T59" fmla="*/ 52 h 154"/>
                <a:gd name="T60" fmla="*/ 96 w 138"/>
                <a:gd name="T61" fmla="*/ 56 h 154"/>
                <a:gd name="T62" fmla="*/ 96 w 138"/>
                <a:gd name="T63" fmla="*/ 60 h 154"/>
                <a:gd name="T64" fmla="*/ 96 w 138"/>
                <a:gd name="T65" fmla="*/ 64 h 154"/>
                <a:gd name="T66" fmla="*/ 100 w 138"/>
                <a:gd name="T67" fmla="*/ 70 h 154"/>
                <a:gd name="T68" fmla="*/ 100 w 138"/>
                <a:gd name="T69" fmla="*/ 74 h 154"/>
                <a:gd name="T70" fmla="*/ 104 w 138"/>
                <a:gd name="T71" fmla="*/ 74 h 154"/>
                <a:gd name="T72" fmla="*/ 104 w 138"/>
                <a:gd name="T73" fmla="*/ 78 h 154"/>
                <a:gd name="T74" fmla="*/ 104 w 138"/>
                <a:gd name="T75" fmla="*/ 82 h 154"/>
                <a:gd name="T76" fmla="*/ 108 w 138"/>
                <a:gd name="T77" fmla="*/ 82 h 154"/>
                <a:gd name="T78" fmla="*/ 112 w 138"/>
                <a:gd name="T79" fmla="*/ 86 h 154"/>
                <a:gd name="T80" fmla="*/ 116 w 138"/>
                <a:gd name="T81" fmla="*/ 90 h 154"/>
                <a:gd name="T82" fmla="*/ 120 w 138"/>
                <a:gd name="T83" fmla="*/ 94 h 154"/>
                <a:gd name="T84" fmla="*/ 126 w 138"/>
                <a:gd name="T85" fmla="*/ 98 h 154"/>
                <a:gd name="T86" fmla="*/ 130 w 138"/>
                <a:gd name="T87" fmla="*/ 104 h 154"/>
                <a:gd name="T88" fmla="*/ 126 w 138"/>
                <a:gd name="T89" fmla="*/ 116 h 154"/>
                <a:gd name="T90" fmla="*/ 130 w 138"/>
                <a:gd name="T91" fmla="*/ 120 h 154"/>
                <a:gd name="T92" fmla="*/ 130 w 138"/>
                <a:gd name="T93" fmla="*/ 130 h 154"/>
                <a:gd name="T94" fmla="*/ 138 w 138"/>
                <a:gd name="T95" fmla="*/ 134 h 154"/>
                <a:gd name="T96" fmla="*/ 138 w 138"/>
                <a:gd name="T97" fmla="*/ 138 h 154"/>
                <a:gd name="T98" fmla="*/ 134 w 138"/>
                <a:gd name="T99" fmla="*/ 138 h 154"/>
                <a:gd name="T100" fmla="*/ 130 w 138"/>
                <a:gd name="T101" fmla="*/ 138 h 154"/>
                <a:gd name="T102" fmla="*/ 124 w 138"/>
                <a:gd name="T103" fmla="*/ 134 h 154"/>
                <a:gd name="T104" fmla="*/ 120 w 138"/>
                <a:gd name="T105" fmla="*/ 138 h 154"/>
                <a:gd name="T106" fmla="*/ 116 w 138"/>
                <a:gd name="T107" fmla="*/ 150 h 154"/>
                <a:gd name="T108" fmla="*/ 112 w 138"/>
                <a:gd name="T109" fmla="*/ 154 h 154"/>
                <a:gd name="T110" fmla="*/ 104 w 138"/>
                <a:gd name="T111" fmla="*/ 154 h 154"/>
                <a:gd name="T112" fmla="*/ 38 w 138"/>
                <a:gd name="T113" fmla="*/ 112 h 154"/>
                <a:gd name="T114" fmla="*/ 8 w 138"/>
                <a:gd name="T115" fmla="*/ 9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8" h="154">
                  <a:moveTo>
                    <a:pt x="8" y="98"/>
                  </a:moveTo>
                  <a:lnTo>
                    <a:pt x="8" y="98"/>
                  </a:lnTo>
                  <a:lnTo>
                    <a:pt x="8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0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4" y="74"/>
                  </a:lnTo>
                  <a:lnTo>
                    <a:pt x="8" y="70"/>
                  </a:lnTo>
                  <a:lnTo>
                    <a:pt x="12" y="68"/>
                  </a:lnTo>
                  <a:lnTo>
                    <a:pt x="14" y="68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22" y="64"/>
                  </a:lnTo>
                  <a:lnTo>
                    <a:pt x="26" y="60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2"/>
                  </a:lnTo>
                  <a:lnTo>
                    <a:pt x="34" y="48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4"/>
                  </a:lnTo>
                  <a:lnTo>
                    <a:pt x="44" y="1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8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82" y="8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4" y="34"/>
                  </a:lnTo>
                  <a:lnTo>
                    <a:pt x="100" y="34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8"/>
                  </a:lnTo>
                  <a:lnTo>
                    <a:pt x="100" y="44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4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6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6" y="64"/>
                  </a:lnTo>
                  <a:lnTo>
                    <a:pt x="96" y="64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4" y="74"/>
                  </a:lnTo>
                  <a:lnTo>
                    <a:pt x="104" y="74"/>
                  </a:lnTo>
                  <a:lnTo>
                    <a:pt x="104" y="74"/>
                  </a:lnTo>
                  <a:lnTo>
                    <a:pt x="104" y="74"/>
                  </a:lnTo>
                  <a:lnTo>
                    <a:pt x="104" y="74"/>
                  </a:lnTo>
                  <a:lnTo>
                    <a:pt x="104" y="74"/>
                  </a:lnTo>
                  <a:lnTo>
                    <a:pt x="104" y="78"/>
                  </a:lnTo>
                  <a:lnTo>
                    <a:pt x="104" y="78"/>
                  </a:lnTo>
                  <a:lnTo>
                    <a:pt x="104" y="78"/>
                  </a:lnTo>
                  <a:lnTo>
                    <a:pt x="104" y="78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12" y="86"/>
                  </a:lnTo>
                  <a:lnTo>
                    <a:pt x="112" y="86"/>
                  </a:lnTo>
                  <a:lnTo>
                    <a:pt x="112" y="86"/>
                  </a:lnTo>
                  <a:lnTo>
                    <a:pt x="112" y="86"/>
                  </a:lnTo>
                  <a:lnTo>
                    <a:pt x="112" y="86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4"/>
                  </a:lnTo>
                  <a:lnTo>
                    <a:pt x="120" y="94"/>
                  </a:lnTo>
                  <a:lnTo>
                    <a:pt x="120" y="94"/>
                  </a:lnTo>
                  <a:lnTo>
                    <a:pt x="120" y="94"/>
                  </a:lnTo>
                  <a:lnTo>
                    <a:pt x="120" y="94"/>
                  </a:lnTo>
                  <a:lnTo>
                    <a:pt x="124" y="94"/>
                  </a:lnTo>
                  <a:lnTo>
                    <a:pt x="124" y="94"/>
                  </a:lnTo>
                  <a:lnTo>
                    <a:pt x="124" y="94"/>
                  </a:lnTo>
                  <a:lnTo>
                    <a:pt x="124" y="98"/>
                  </a:lnTo>
                  <a:lnTo>
                    <a:pt x="126" y="98"/>
                  </a:lnTo>
                  <a:lnTo>
                    <a:pt x="126" y="100"/>
                  </a:lnTo>
                  <a:lnTo>
                    <a:pt x="126" y="100"/>
                  </a:lnTo>
                  <a:lnTo>
                    <a:pt x="126" y="104"/>
                  </a:lnTo>
                  <a:lnTo>
                    <a:pt x="130" y="104"/>
                  </a:lnTo>
                  <a:lnTo>
                    <a:pt x="130" y="104"/>
                  </a:lnTo>
                  <a:lnTo>
                    <a:pt x="130" y="104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6" y="116"/>
                  </a:lnTo>
                  <a:lnTo>
                    <a:pt x="126" y="116"/>
                  </a:lnTo>
                  <a:lnTo>
                    <a:pt x="126" y="116"/>
                  </a:lnTo>
                  <a:lnTo>
                    <a:pt x="126" y="116"/>
                  </a:lnTo>
                  <a:lnTo>
                    <a:pt x="126" y="120"/>
                  </a:lnTo>
                  <a:lnTo>
                    <a:pt x="130" y="120"/>
                  </a:lnTo>
                  <a:lnTo>
                    <a:pt x="130" y="120"/>
                  </a:lnTo>
                  <a:lnTo>
                    <a:pt x="130" y="120"/>
                  </a:lnTo>
                  <a:lnTo>
                    <a:pt x="130" y="120"/>
                  </a:lnTo>
                  <a:lnTo>
                    <a:pt x="130" y="128"/>
                  </a:lnTo>
                  <a:lnTo>
                    <a:pt x="130" y="128"/>
                  </a:lnTo>
                  <a:lnTo>
                    <a:pt x="130" y="128"/>
                  </a:lnTo>
                  <a:lnTo>
                    <a:pt x="130" y="130"/>
                  </a:lnTo>
                  <a:lnTo>
                    <a:pt x="134" y="130"/>
                  </a:lnTo>
                  <a:lnTo>
                    <a:pt x="134" y="130"/>
                  </a:lnTo>
                  <a:lnTo>
                    <a:pt x="134" y="130"/>
                  </a:lnTo>
                  <a:lnTo>
                    <a:pt x="134" y="130"/>
                  </a:lnTo>
                  <a:lnTo>
                    <a:pt x="138" y="134"/>
                  </a:lnTo>
                  <a:lnTo>
                    <a:pt x="138" y="134"/>
                  </a:lnTo>
                  <a:lnTo>
                    <a:pt x="138" y="134"/>
                  </a:lnTo>
                  <a:lnTo>
                    <a:pt x="138" y="138"/>
                  </a:lnTo>
                  <a:lnTo>
                    <a:pt x="138" y="138"/>
                  </a:lnTo>
                  <a:lnTo>
                    <a:pt x="138" y="138"/>
                  </a:lnTo>
                  <a:lnTo>
                    <a:pt x="138" y="138"/>
                  </a:lnTo>
                  <a:lnTo>
                    <a:pt x="138" y="138"/>
                  </a:lnTo>
                  <a:lnTo>
                    <a:pt x="138" y="138"/>
                  </a:lnTo>
                  <a:lnTo>
                    <a:pt x="138" y="138"/>
                  </a:lnTo>
                  <a:lnTo>
                    <a:pt x="134" y="138"/>
                  </a:lnTo>
                  <a:lnTo>
                    <a:pt x="134" y="138"/>
                  </a:lnTo>
                  <a:lnTo>
                    <a:pt x="134" y="138"/>
                  </a:lnTo>
                  <a:lnTo>
                    <a:pt x="134" y="138"/>
                  </a:lnTo>
                  <a:lnTo>
                    <a:pt x="134" y="138"/>
                  </a:lnTo>
                  <a:lnTo>
                    <a:pt x="134" y="138"/>
                  </a:lnTo>
                  <a:lnTo>
                    <a:pt x="134" y="138"/>
                  </a:lnTo>
                  <a:lnTo>
                    <a:pt x="134" y="138"/>
                  </a:lnTo>
                  <a:lnTo>
                    <a:pt x="130" y="138"/>
                  </a:lnTo>
                  <a:lnTo>
                    <a:pt x="130" y="138"/>
                  </a:lnTo>
                  <a:lnTo>
                    <a:pt x="130" y="138"/>
                  </a:lnTo>
                  <a:lnTo>
                    <a:pt x="130" y="138"/>
                  </a:lnTo>
                  <a:lnTo>
                    <a:pt x="126" y="134"/>
                  </a:lnTo>
                  <a:lnTo>
                    <a:pt x="124" y="134"/>
                  </a:lnTo>
                  <a:lnTo>
                    <a:pt x="124" y="134"/>
                  </a:lnTo>
                  <a:lnTo>
                    <a:pt x="124" y="134"/>
                  </a:lnTo>
                  <a:lnTo>
                    <a:pt x="120" y="138"/>
                  </a:lnTo>
                  <a:lnTo>
                    <a:pt x="120" y="138"/>
                  </a:lnTo>
                  <a:lnTo>
                    <a:pt x="120" y="138"/>
                  </a:lnTo>
                  <a:lnTo>
                    <a:pt x="120" y="138"/>
                  </a:lnTo>
                  <a:lnTo>
                    <a:pt x="120" y="138"/>
                  </a:lnTo>
                  <a:lnTo>
                    <a:pt x="120" y="138"/>
                  </a:lnTo>
                  <a:lnTo>
                    <a:pt x="120" y="142"/>
                  </a:lnTo>
                  <a:lnTo>
                    <a:pt x="116" y="146"/>
                  </a:lnTo>
                  <a:lnTo>
                    <a:pt x="116" y="146"/>
                  </a:lnTo>
                  <a:lnTo>
                    <a:pt x="116" y="146"/>
                  </a:lnTo>
                  <a:lnTo>
                    <a:pt x="116" y="146"/>
                  </a:lnTo>
                  <a:lnTo>
                    <a:pt x="116" y="150"/>
                  </a:lnTo>
                  <a:lnTo>
                    <a:pt x="116" y="150"/>
                  </a:lnTo>
                  <a:lnTo>
                    <a:pt x="112" y="150"/>
                  </a:lnTo>
                  <a:lnTo>
                    <a:pt x="112" y="154"/>
                  </a:lnTo>
                  <a:lnTo>
                    <a:pt x="112" y="154"/>
                  </a:lnTo>
                  <a:lnTo>
                    <a:pt x="112" y="154"/>
                  </a:lnTo>
                  <a:lnTo>
                    <a:pt x="112" y="154"/>
                  </a:lnTo>
                  <a:lnTo>
                    <a:pt x="112" y="154"/>
                  </a:lnTo>
                  <a:lnTo>
                    <a:pt x="112" y="154"/>
                  </a:lnTo>
                  <a:lnTo>
                    <a:pt x="112" y="154"/>
                  </a:lnTo>
                  <a:lnTo>
                    <a:pt x="112" y="154"/>
                  </a:lnTo>
                  <a:lnTo>
                    <a:pt x="108" y="154"/>
                  </a:lnTo>
                  <a:lnTo>
                    <a:pt x="104" y="154"/>
                  </a:lnTo>
                  <a:lnTo>
                    <a:pt x="86" y="154"/>
                  </a:lnTo>
                  <a:lnTo>
                    <a:pt x="70" y="138"/>
                  </a:lnTo>
                  <a:lnTo>
                    <a:pt x="60" y="130"/>
                  </a:lnTo>
                  <a:lnTo>
                    <a:pt x="60" y="128"/>
                  </a:lnTo>
                  <a:lnTo>
                    <a:pt x="48" y="116"/>
                  </a:lnTo>
                  <a:lnTo>
                    <a:pt x="38" y="112"/>
                  </a:lnTo>
                  <a:lnTo>
                    <a:pt x="22" y="100"/>
                  </a:lnTo>
                  <a:lnTo>
                    <a:pt x="18" y="100"/>
                  </a:lnTo>
                  <a:lnTo>
                    <a:pt x="12" y="98"/>
                  </a:lnTo>
                  <a:lnTo>
                    <a:pt x="8" y="98"/>
                  </a:lnTo>
                  <a:lnTo>
                    <a:pt x="8" y="98"/>
                  </a:lnTo>
                  <a:lnTo>
                    <a:pt x="8" y="9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81CAC250-CB46-368D-C7C5-589C6DAE29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36068" y="3070002"/>
              <a:ext cx="35068" cy="128214"/>
            </a:xfrm>
            <a:custGeom>
              <a:avLst/>
              <a:gdLst>
                <a:gd name="T0" fmla="*/ 14 w 18"/>
                <a:gd name="T1" fmla="*/ 46 h 68"/>
                <a:gd name="T2" fmla="*/ 14 w 18"/>
                <a:gd name="T3" fmla="*/ 50 h 68"/>
                <a:gd name="T4" fmla="*/ 12 w 18"/>
                <a:gd name="T5" fmla="*/ 56 h 68"/>
                <a:gd name="T6" fmla="*/ 12 w 18"/>
                <a:gd name="T7" fmla="*/ 60 h 68"/>
                <a:gd name="T8" fmla="*/ 12 w 18"/>
                <a:gd name="T9" fmla="*/ 60 h 68"/>
                <a:gd name="T10" fmla="*/ 12 w 18"/>
                <a:gd name="T11" fmla="*/ 68 h 68"/>
                <a:gd name="T12" fmla="*/ 8 w 18"/>
                <a:gd name="T13" fmla="*/ 68 h 68"/>
                <a:gd name="T14" fmla="*/ 8 w 18"/>
                <a:gd name="T15" fmla="*/ 68 h 68"/>
                <a:gd name="T16" fmla="*/ 4 w 18"/>
                <a:gd name="T17" fmla="*/ 52 h 68"/>
                <a:gd name="T18" fmla="*/ 4 w 18"/>
                <a:gd name="T19" fmla="*/ 46 h 68"/>
                <a:gd name="T20" fmla="*/ 0 w 18"/>
                <a:gd name="T21" fmla="*/ 38 h 68"/>
                <a:gd name="T22" fmla="*/ 4 w 18"/>
                <a:gd name="T23" fmla="*/ 34 h 68"/>
                <a:gd name="T24" fmla="*/ 4 w 18"/>
                <a:gd name="T25" fmla="*/ 30 h 68"/>
                <a:gd name="T26" fmla="*/ 4 w 18"/>
                <a:gd name="T27" fmla="*/ 26 h 68"/>
                <a:gd name="T28" fmla="*/ 8 w 18"/>
                <a:gd name="T29" fmla="*/ 22 h 68"/>
                <a:gd name="T30" fmla="*/ 8 w 18"/>
                <a:gd name="T31" fmla="*/ 20 h 68"/>
                <a:gd name="T32" fmla="*/ 12 w 18"/>
                <a:gd name="T33" fmla="*/ 8 h 68"/>
                <a:gd name="T34" fmla="*/ 12 w 18"/>
                <a:gd name="T35" fmla="*/ 8 h 68"/>
                <a:gd name="T36" fmla="*/ 12 w 18"/>
                <a:gd name="T37" fmla="*/ 8 h 68"/>
                <a:gd name="T38" fmla="*/ 12 w 18"/>
                <a:gd name="T39" fmla="*/ 4 h 68"/>
                <a:gd name="T40" fmla="*/ 14 w 18"/>
                <a:gd name="T41" fmla="*/ 4 h 68"/>
                <a:gd name="T42" fmla="*/ 18 w 18"/>
                <a:gd name="T43" fmla="*/ 4 h 68"/>
                <a:gd name="T44" fmla="*/ 18 w 18"/>
                <a:gd name="T45" fmla="*/ 0 h 68"/>
                <a:gd name="T46" fmla="*/ 18 w 18"/>
                <a:gd name="T47" fmla="*/ 0 h 68"/>
                <a:gd name="T48" fmla="*/ 18 w 18"/>
                <a:gd name="T49" fmla="*/ 0 h 68"/>
                <a:gd name="T50" fmla="*/ 18 w 18"/>
                <a:gd name="T51" fmla="*/ 4 h 68"/>
                <a:gd name="T52" fmla="*/ 18 w 18"/>
                <a:gd name="T53" fmla="*/ 8 h 68"/>
                <a:gd name="T54" fmla="*/ 18 w 18"/>
                <a:gd name="T55" fmla="*/ 8 h 68"/>
                <a:gd name="T56" fmla="*/ 18 w 18"/>
                <a:gd name="T57" fmla="*/ 12 h 68"/>
                <a:gd name="T58" fmla="*/ 18 w 18"/>
                <a:gd name="T59" fmla="*/ 16 h 68"/>
                <a:gd name="T60" fmla="*/ 14 w 18"/>
                <a:gd name="T61" fmla="*/ 12 h 68"/>
                <a:gd name="T62" fmla="*/ 14 w 18"/>
                <a:gd name="T63" fmla="*/ 12 h 68"/>
                <a:gd name="T64" fmla="*/ 12 w 18"/>
                <a:gd name="T65" fmla="*/ 16 h 68"/>
                <a:gd name="T66" fmla="*/ 12 w 18"/>
                <a:gd name="T67" fmla="*/ 20 h 68"/>
                <a:gd name="T68" fmla="*/ 12 w 18"/>
                <a:gd name="T69" fmla="*/ 22 h 68"/>
                <a:gd name="T70" fmla="*/ 12 w 18"/>
                <a:gd name="T71" fmla="*/ 26 h 68"/>
                <a:gd name="T72" fmla="*/ 12 w 18"/>
                <a:gd name="T73" fmla="*/ 26 h 68"/>
                <a:gd name="T74" fmla="*/ 12 w 18"/>
                <a:gd name="T75" fmla="*/ 26 h 68"/>
                <a:gd name="T76" fmla="*/ 12 w 18"/>
                <a:gd name="T77" fmla="*/ 30 h 68"/>
                <a:gd name="T78" fmla="*/ 8 w 18"/>
                <a:gd name="T79" fmla="*/ 34 h 68"/>
                <a:gd name="T80" fmla="*/ 12 w 18"/>
                <a:gd name="T81" fmla="*/ 34 h 68"/>
                <a:gd name="T82" fmla="*/ 14 w 18"/>
                <a:gd name="T83" fmla="*/ 34 h 68"/>
                <a:gd name="T84" fmla="*/ 18 w 18"/>
                <a:gd name="T85" fmla="*/ 30 h 68"/>
                <a:gd name="T86" fmla="*/ 18 w 18"/>
                <a:gd name="T87" fmla="*/ 34 h 68"/>
                <a:gd name="T88" fmla="*/ 18 w 18"/>
                <a:gd name="T89" fmla="*/ 38 h 68"/>
                <a:gd name="T90" fmla="*/ 14 w 18"/>
                <a:gd name="T91" fmla="*/ 42 h 68"/>
                <a:gd name="T92" fmla="*/ 14 w 18"/>
                <a:gd name="T93" fmla="*/ 26 h 68"/>
                <a:gd name="T94" fmla="*/ 14 w 18"/>
                <a:gd name="T95" fmla="*/ 26 h 68"/>
                <a:gd name="T96" fmla="*/ 14 w 18"/>
                <a:gd name="T97" fmla="*/ 2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" h="68">
                  <a:moveTo>
                    <a:pt x="14" y="42"/>
                  </a:moveTo>
                  <a:lnTo>
                    <a:pt x="14" y="42"/>
                  </a:lnTo>
                  <a:lnTo>
                    <a:pt x="14" y="42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0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4" y="16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close/>
                  <a:moveTo>
                    <a:pt x="14" y="26"/>
                  </a:move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2" name="Freeform 32">
              <a:extLst>
                <a:ext uri="{FF2B5EF4-FFF2-40B4-BE49-F238E27FC236}">
                  <a16:creationId xmlns:a16="http://schemas.microsoft.com/office/drawing/2014/main" id="{87A9871D-5B80-6CF4-47B6-62F5713F3E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94722" y="2621251"/>
              <a:ext cx="611741" cy="757974"/>
            </a:xfrm>
            <a:custGeom>
              <a:avLst/>
              <a:gdLst>
                <a:gd name="T0" fmla="*/ 98 w 314"/>
                <a:gd name="T1" fmla="*/ 250 h 402"/>
                <a:gd name="T2" fmla="*/ 278 w 314"/>
                <a:gd name="T3" fmla="*/ 70 h 402"/>
                <a:gd name="T4" fmla="*/ 240 w 314"/>
                <a:gd name="T5" fmla="*/ 60 h 402"/>
                <a:gd name="T6" fmla="*/ 248 w 314"/>
                <a:gd name="T7" fmla="*/ 78 h 402"/>
                <a:gd name="T8" fmla="*/ 228 w 314"/>
                <a:gd name="T9" fmla="*/ 66 h 402"/>
                <a:gd name="T10" fmla="*/ 244 w 314"/>
                <a:gd name="T11" fmla="*/ 48 h 402"/>
                <a:gd name="T12" fmla="*/ 258 w 314"/>
                <a:gd name="T13" fmla="*/ 26 h 402"/>
                <a:gd name="T14" fmla="*/ 270 w 314"/>
                <a:gd name="T15" fmla="*/ 12 h 402"/>
                <a:gd name="T16" fmla="*/ 296 w 314"/>
                <a:gd name="T17" fmla="*/ 34 h 402"/>
                <a:gd name="T18" fmla="*/ 310 w 314"/>
                <a:gd name="T19" fmla="*/ 42 h 402"/>
                <a:gd name="T20" fmla="*/ 296 w 314"/>
                <a:gd name="T21" fmla="*/ 52 h 402"/>
                <a:gd name="T22" fmla="*/ 252 w 314"/>
                <a:gd name="T23" fmla="*/ 8 h 402"/>
                <a:gd name="T24" fmla="*/ 226 w 314"/>
                <a:gd name="T25" fmla="*/ 66 h 402"/>
                <a:gd name="T26" fmla="*/ 136 w 314"/>
                <a:gd name="T27" fmla="*/ 216 h 402"/>
                <a:gd name="T28" fmla="*/ 116 w 314"/>
                <a:gd name="T29" fmla="*/ 224 h 402"/>
                <a:gd name="T30" fmla="*/ 120 w 314"/>
                <a:gd name="T31" fmla="*/ 208 h 402"/>
                <a:gd name="T32" fmla="*/ 136 w 314"/>
                <a:gd name="T33" fmla="*/ 194 h 402"/>
                <a:gd name="T34" fmla="*/ 166 w 314"/>
                <a:gd name="T35" fmla="*/ 190 h 402"/>
                <a:gd name="T36" fmla="*/ 176 w 314"/>
                <a:gd name="T37" fmla="*/ 194 h 402"/>
                <a:gd name="T38" fmla="*/ 188 w 314"/>
                <a:gd name="T39" fmla="*/ 164 h 402"/>
                <a:gd name="T40" fmla="*/ 192 w 314"/>
                <a:gd name="T41" fmla="*/ 172 h 402"/>
                <a:gd name="T42" fmla="*/ 218 w 314"/>
                <a:gd name="T43" fmla="*/ 148 h 402"/>
                <a:gd name="T44" fmla="*/ 236 w 314"/>
                <a:gd name="T45" fmla="*/ 118 h 402"/>
                <a:gd name="T46" fmla="*/ 232 w 314"/>
                <a:gd name="T47" fmla="*/ 96 h 402"/>
                <a:gd name="T48" fmla="*/ 248 w 314"/>
                <a:gd name="T49" fmla="*/ 90 h 402"/>
                <a:gd name="T50" fmla="*/ 252 w 314"/>
                <a:gd name="T51" fmla="*/ 82 h 402"/>
                <a:gd name="T52" fmla="*/ 262 w 314"/>
                <a:gd name="T53" fmla="*/ 116 h 402"/>
                <a:gd name="T54" fmla="*/ 254 w 314"/>
                <a:gd name="T55" fmla="*/ 142 h 402"/>
                <a:gd name="T56" fmla="*/ 244 w 314"/>
                <a:gd name="T57" fmla="*/ 172 h 402"/>
                <a:gd name="T58" fmla="*/ 236 w 314"/>
                <a:gd name="T59" fmla="*/ 202 h 402"/>
                <a:gd name="T60" fmla="*/ 228 w 314"/>
                <a:gd name="T61" fmla="*/ 198 h 402"/>
                <a:gd name="T62" fmla="*/ 214 w 314"/>
                <a:gd name="T63" fmla="*/ 202 h 402"/>
                <a:gd name="T64" fmla="*/ 196 w 314"/>
                <a:gd name="T65" fmla="*/ 208 h 402"/>
                <a:gd name="T66" fmla="*/ 184 w 314"/>
                <a:gd name="T67" fmla="*/ 212 h 402"/>
                <a:gd name="T68" fmla="*/ 176 w 314"/>
                <a:gd name="T69" fmla="*/ 230 h 402"/>
                <a:gd name="T70" fmla="*/ 166 w 314"/>
                <a:gd name="T71" fmla="*/ 212 h 402"/>
                <a:gd name="T72" fmla="*/ 210 w 314"/>
                <a:gd name="T73" fmla="*/ 148 h 402"/>
                <a:gd name="T74" fmla="*/ 214 w 314"/>
                <a:gd name="T75" fmla="*/ 142 h 402"/>
                <a:gd name="T76" fmla="*/ 80 w 314"/>
                <a:gd name="T77" fmla="*/ 216 h 402"/>
                <a:gd name="T78" fmla="*/ 158 w 314"/>
                <a:gd name="T79" fmla="*/ 220 h 402"/>
                <a:gd name="T80" fmla="*/ 150 w 314"/>
                <a:gd name="T81" fmla="*/ 234 h 402"/>
                <a:gd name="T82" fmla="*/ 132 w 314"/>
                <a:gd name="T83" fmla="*/ 246 h 402"/>
                <a:gd name="T84" fmla="*/ 124 w 314"/>
                <a:gd name="T85" fmla="*/ 234 h 402"/>
                <a:gd name="T86" fmla="*/ 146 w 314"/>
                <a:gd name="T87" fmla="*/ 220 h 402"/>
                <a:gd name="T88" fmla="*/ 80 w 314"/>
                <a:gd name="T89" fmla="*/ 224 h 402"/>
                <a:gd name="T90" fmla="*/ 128 w 314"/>
                <a:gd name="T91" fmla="*/ 220 h 402"/>
                <a:gd name="T92" fmla="*/ 90 w 314"/>
                <a:gd name="T93" fmla="*/ 238 h 402"/>
                <a:gd name="T94" fmla="*/ 106 w 314"/>
                <a:gd name="T95" fmla="*/ 230 h 402"/>
                <a:gd name="T96" fmla="*/ 120 w 314"/>
                <a:gd name="T97" fmla="*/ 246 h 402"/>
                <a:gd name="T98" fmla="*/ 106 w 314"/>
                <a:gd name="T99" fmla="*/ 272 h 402"/>
                <a:gd name="T100" fmla="*/ 98 w 314"/>
                <a:gd name="T101" fmla="*/ 272 h 402"/>
                <a:gd name="T102" fmla="*/ 98 w 314"/>
                <a:gd name="T103" fmla="*/ 258 h 402"/>
                <a:gd name="T104" fmla="*/ 98 w 314"/>
                <a:gd name="T105" fmla="*/ 246 h 402"/>
                <a:gd name="T106" fmla="*/ 90 w 314"/>
                <a:gd name="T107" fmla="*/ 228 h 402"/>
                <a:gd name="T108" fmla="*/ 86 w 314"/>
                <a:gd name="T109" fmla="*/ 234 h 402"/>
                <a:gd name="T110" fmla="*/ 76 w 314"/>
                <a:gd name="T111" fmla="*/ 250 h 402"/>
                <a:gd name="T112" fmla="*/ 90 w 314"/>
                <a:gd name="T113" fmla="*/ 258 h 402"/>
                <a:gd name="T114" fmla="*/ 98 w 314"/>
                <a:gd name="T115" fmla="*/ 294 h 402"/>
                <a:gd name="T116" fmla="*/ 86 w 314"/>
                <a:gd name="T117" fmla="*/ 324 h 402"/>
                <a:gd name="T118" fmla="*/ 60 w 314"/>
                <a:gd name="T119" fmla="*/ 362 h 402"/>
                <a:gd name="T120" fmla="*/ 68 w 314"/>
                <a:gd name="T121" fmla="*/ 354 h 402"/>
                <a:gd name="T122" fmla="*/ 12 w 314"/>
                <a:gd name="T123" fmla="*/ 398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4" h="402">
                  <a:moveTo>
                    <a:pt x="128" y="228"/>
                  </a:moveTo>
                  <a:lnTo>
                    <a:pt x="124" y="228"/>
                  </a:lnTo>
                  <a:lnTo>
                    <a:pt x="124" y="224"/>
                  </a:lnTo>
                  <a:lnTo>
                    <a:pt x="124" y="228"/>
                  </a:lnTo>
                  <a:lnTo>
                    <a:pt x="124" y="224"/>
                  </a:lnTo>
                  <a:lnTo>
                    <a:pt x="128" y="224"/>
                  </a:lnTo>
                  <a:lnTo>
                    <a:pt x="128" y="228"/>
                  </a:lnTo>
                  <a:lnTo>
                    <a:pt x="128" y="228"/>
                  </a:lnTo>
                  <a:lnTo>
                    <a:pt x="128" y="228"/>
                  </a:lnTo>
                  <a:close/>
                  <a:moveTo>
                    <a:pt x="94" y="254"/>
                  </a:moveTo>
                  <a:lnTo>
                    <a:pt x="98" y="250"/>
                  </a:lnTo>
                  <a:lnTo>
                    <a:pt x="98" y="254"/>
                  </a:lnTo>
                  <a:lnTo>
                    <a:pt x="94" y="254"/>
                  </a:lnTo>
                  <a:lnTo>
                    <a:pt x="94" y="254"/>
                  </a:lnTo>
                  <a:lnTo>
                    <a:pt x="94" y="254"/>
                  </a:lnTo>
                  <a:close/>
                  <a:moveTo>
                    <a:pt x="288" y="56"/>
                  </a:moveTo>
                  <a:lnTo>
                    <a:pt x="284" y="60"/>
                  </a:lnTo>
                  <a:lnTo>
                    <a:pt x="282" y="60"/>
                  </a:lnTo>
                  <a:lnTo>
                    <a:pt x="282" y="62"/>
                  </a:lnTo>
                  <a:lnTo>
                    <a:pt x="282" y="66"/>
                  </a:lnTo>
                  <a:lnTo>
                    <a:pt x="282" y="70"/>
                  </a:lnTo>
                  <a:lnTo>
                    <a:pt x="278" y="70"/>
                  </a:lnTo>
                  <a:lnTo>
                    <a:pt x="274" y="66"/>
                  </a:lnTo>
                  <a:lnTo>
                    <a:pt x="270" y="66"/>
                  </a:lnTo>
                  <a:lnTo>
                    <a:pt x="266" y="62"/>
                  </a:lnTo>
                  <a:lnTo>
                    <a:pt x="262" y="62"/>
                  </a:lnTo>
                  <a:lnTo>
                    <a:pt x="262" y="60"/>
                  </a:lnTo>
                  <a:lnTo>
                    <a:pt x="258" y="60"/>
                  </a:lnTo>
                  <a:lnTo>
                    <a:pt x="254" y="60"/>
                  </a:lnTo>
                  <a:lnTo>
                    <a:pt x="252" y="62"/>
                  </a:lnTo>
                  <a:lnTo>
                    <a:pt x="248" y="62"/>
                  </a:lnTo>
                  <a:lnTo>
                    <a:pt x="244" y="60"/>
                  </a:lnTo>
                  <a:lnTo>
                    <a:pt x="240" y="60"/>
                  </a:lnTo>
                  <a:lnTo>
                    <a:pt x="240" y="62"/>
                  </a:lnTo>
                  <a:lnTo>
                    <a:pt x="236" y="62"/>
                  </a:lnTo>
                  <a:lnTo>
                    <a:pt x="236" y="66"/>
                  </a:lnTo>
                  <a:lnTo>
                    <a:pt x="240" y="66"/>
                  </a:lnTo>
                  <a:lnTo>
                    <a:pt x="244" y="66"/>
                  </a:lnTo>
                  <a:lnTo>
                    <a:pt x="244" y="70"/>
                  </a:lnTo>
                  <a:lnTo>
                    <a:pt x="248" y="70"/>
                  </a:lnTo>
                  <a:lnTo>
                    <a:pt x="248" y="74"/>
                  </a:lnTo>
                  <a:lnTo>
                    <a:pt x="252" y="74"/>
                  </a:lnTo>
                  <a:lnTo>
                    <a:pt x="248" y="74"/>
                  </a:lnTo>
                  <a:lnTo>
                    <a:pt x="248" y="78"/>
                  </a:lnTo>
                  <a:lnTo>
                    <a:pt x="244" y="74"/>
                  </a:lnTo>
                  <a:lnTo>
                    <a:pt x="240" y="78"/>
                  </a:lnTo>
                  <a:lnTo>
                    <a:pt x="240" y="82"/>
                  </a:lnTo>
                  <a:lnTo>
                    <a:pt x="236" y="82"/>
                  </a:lnTo>
                  <a:lnTo>
                    <a:pt x="232" y="82"/>
                  </a:lnTo>
                  <a:lnTo>
                    <a:pt x="232" y="78"/>
                  </a:lnTo>
                  <a:lnTo>
                    <a:pt x="236" y="74"/>
                  </a:lnTo>
                  <a:lnTo>
                    <a:pt x="236" y="70"/>
                  </a:lnTo>
                  <a:lnTo>
                    <a:pt x="232" y="70"/>
                  </a:lnTo>
                  <a:lnTo>
                    <a:pt x="232" y="66"/>
                  </a:lnTo>
                  <a:lnTo>
                    <a:pt x="228" y="66"/>
                  </a:lnTo>
                  <a:lnTo>
                    <a:pt x="228" y="62"/>
                  </a:lnTo>
                  <a:lnTo>
                    <a:pt x="232" y="62"/>
                  </a:lnTo>
                  <a:lnTo>
                    <a:pt x="232" y="60"/>
                  </a:lnTo>
                  <a:lnTo>
                    <a:pt x="232" y="56"/>
                  </a:lnTo>
                  <a:lnTo>
                    <a:pt x="236" y="56"/>
                  </a:lnTo>
                  <a:lnTo>
                    <a:pt x="240" y="56"/>
                  </a:lnTo>
                  <a:lnTo>
                    <a:pt x="240" y="52"/>
                  </a:lnTo>
                  <a:lnTo>
                    <a:pt x="240" y="48"/>
                  </a:lnTo>
                  <a:lnTo>
                    <a:pt x="240" y="46"/>
                  </a:lnTo>
                  <a:lnTo>
                    <a:pt x="244" y="46"/>
                  </a:lnTo>
                  <a:lnTo>
                    <a:pt x="244" y="48"/>
                  </a:lnTo>
                  <a:lnTo>
                    <a:pt x="248" y="48"/>
                  </a:lnTo>
                  <a:lnTo>
                    <a:pt x="252" y="48"/>
                  </a:lnTo>
                  <a:lnTo>
                    <a:pt x="252" y="46"/>
                  </a:lnTo>
                  <a:lnTo>
                    <a:pt x="254" y="46"/>
                  </a:lnTo>
                  <a:lnTo>
                    <a:pt x="254" y="42"/>
                  </a:lnTo>
                  <a:lnTo>
                    <a:pt x="252" y="38"/>
                  </a:lnTo>
                  <a:lnTo>
                    <a:pt x="254" y="38"/>
                  </a:lnTo>
                  <a:lnTo>
                    <a:pt x="254" y="34"/>
                  </a:lnTo>
                  <a:lnTo>
                    <a:pt x="258" y="34"/>
                  </a:lnTo>
                  <a:lnTo>
                    <a:pt x="258" y="30"/>
                  </a:lnTo>
                  <a:lnTo>
                    <a:pt x="258" y="26"/>
                  </a:lnTo>
                  <a:lnTo>
                    <a:pt x="258" y="22"/>
                  </a:lnTo>
                  <a:lnTo>
                    <a:pt x="258" y="20"/>
                  </a:lnTo>
                  <a:lnTo>
                    <a:pt x="258" y="16"/>
                  </a:lnTo>
                  <a:lnTo>
                    <a:pt x="258" y="12"/>
                  </a:lnTo>
                  <a:lnTo>
                    <a:pt x="254" y="8"/>
                  </a:lnTo>
                  <a:lnTo>
                    <a:pt x="258" y="4"/>
                  </a:lnTo>
                  <a:lnTo>
                    <a:pt x="262" y="0"/>
                  </a:lnTo>
                  <a:lnTo>
                    <a:pt x="262" y="4"/>
                  </a:lnTo>
                  <a:lnTo>
                    <a:pt x="266" y="4"/>
                  </a:lnTo>
                  <a:lnTo>
                    <a:pt x="266" y="8"/>
                  </a:lnTo>
                  <a:lnTo>
                    <a:pt x="270" y="12"/>
                  </a:lnTo>
                  <a:lnTo>
                    <a:pt x="270" y="16"/>
                  </a:lnTo>
                  <a:lnTo>
                    <a:pt x="274" y="16"/>
                  </a:lnTo>
                  <a:lnTo>
                    <a:pt x="274" y="20"/>
                  </a:lnTo>
                  <a:lnTo>
                    <a:pt x="278" y="20"/>
                  </a:lnTo>
                  <a:lnTo>
                    <a:pt x="278" y="22"/>
                  </a:lnTo>
                  <a:lnTo>
                    <a:pt x="282" y="26"/>
                  </a:lnTo>
                  <a:lnTo>
                    <a:pt x="284" y="26"/>
                  </a:lnTo>
                  <a:lnTo>
                    <a:pt x="284" y="30"/>
                  </a:lnTo>
                  <a:lnTo>
                    <a:pt x="288" y="30"/>
                  </a:lnTo>
                  <a:lnTo>
                    <a:pt x="292" y="30"/>
                  </a:lnTo>
                  <a:lnTo>
                    <a:pt x="296" y="34"/>
                  </a:lnTo>
                  <a:lnTo>
                    <a:pt x="300" y="34"/>
                  </a:lnTo>
                  <a:lnTo>
                    <a:pt x="302" y="34"/>
                  </a:lnTo>
                  <a:lnTo>
                    <a:pt x="302" y="30"/>
                  </a:lnTo>
                  <a:lnTo>
                    <a:pt x="306" y="30"/>
                  </a:lnTo>
                  <a:lnTo>
                    <a:pt x="306" y="26"/>
                  </a:lnTo>
                  <a:lnTo>
                    <a:pt x="310" y="26"/>
                  </a:lnTo>
                  <a:lnTo>
                    <a:pt x="306" y="30"/>
                  </a:lnTo>
                  <a:lnTo>
                    <a:pt x="306" y="34"/>
                  </a:lnTo>
                  <a:lnTo>
                    <a:pt x="306" y="38"/>
                  </a:lnTo>
                  <a:lnTo>
                    <a:pt x="306" y="42"/>
                  </a:lnTo>
                  <a:lnTo>
                    <a:pt x="310" y="42"/>
                  </a:lnTo>
                  <a:lnTo>
                    <a:pt x="306" y="42"/>
                  </a:lnTo>
                  <a:lnTo>
                    <a:pt x="306" y="46"/>
                  </a:lnTo>
                  <a:lnTo>
                    <a:pt x="310" y="46"/>
                  </a:lnTo>
                  <a:lnTo>
                    <a:pt x="314" y="46"/>
                  </a:lnTo>
                  <a:lnTo>
                    <a:pt x="310" y="46"/>
                  </a:lnTo>
                  <a:lnTo>
                    <a:pt x="310" y="48"/>
                  </a:lnTo>
                  <a:lnTo>
                    <a:pt x="306" y="48"/>
                  </a:lnTo>
                  <a:lnTo>
                    <a:pt x="302" y="52"/>
                  </a:lnTo>
                  <a:lnTo>
                    <a:pt x="302" y="48"/>
                  </a:lnTo>
                  <a:lnTo>
                    <a:pt x="300" y="52"/>
                  </a:lnTo>
                  <a:lnTo>
                    <a:pt x="296" y="52"/>
                  </a:lnTo>
                  <a:lnTo>
                    <a:pt x="292" y="52"/>
                  </a:lnTo>
                  <a:lnTo>
                    <a:pt x="288" y="52"/>
                  </a:lnTo>
                  <a:lnTo>
                    <a:pt x="288" y="56"/>
                  </a:lnTo>
                  <a:lnTo>
                    <a:pt x="288" y="56"/>
                  </a:lnTo>
                  <a:lnTo>
                    <a:pt x="288" y="56"/>
                  </a:lnTo>
                  <a:close/>
                  <a:moveTo>
                    <a:pt x="248" y="4"/>
                  </a:moveTo>
                  <a:lnTo>
                    <a:pt x="248" y="8"/>
                  </a:lnTo>
                  <a:lnTo>
                    <a:pt x="248" y="4"/>
                  </a:lnTo>
                  <a:lnTo>
                    <a:pt x="248" y="4"/>
                  </a:lnTo>
                  <a:lnTo>
                    <a:pt x="248" y="4"/>
                  </a:lnTo>
                  <a:close/>
                  <a:moveTo>
                    <a:pt x="252" y="8"/>
                  </a:moveTo>
                  <a:lnTo>
                    <a:pt x="252" y="12"/>
                  </a:lnTo>
                  <a:lnTo>
                    <a:pt x="252" y="8"/>
                  </a:lnTo>
                  <a:lnTo>
                    <a:pt x="252" y="8"/>
                  </a:lnTo>
                  <a:lnTo>
                    <a:pt x="252" y="8"/>
                  </a:lnTo>
                  <a:close/>
                  <a:moveTo>
                    <a:pt x="226" y="66"/>
                  </a:moveTo>
                  <a:lnTo>
                    <a:pt x="228" y="66"/>
                  </a:lnTo>
                  <a:lnTo>
                    <a:pt x="226" y="66"/>
                  </a:lnTo>
                  <a:lnTo>
                    <a:pt x="226" y="70"/>
                  </a:lnTo>
                  <a:lnTo>
                    <a:pt x="226" y="66"/>
                  </a:lnTo>
                  <a:lnTo>
                    <a:pt x="226" y="66"/>
                  </a:lnTo>
                  <a:lnTo>
                    <a:pt x="226" y="66"/>
                  </a:lnTo>
                  <a:close/>
                  <a:moveTo>
                    <a:pt x="154" y="208"/>
                  </a:moveTo>
                  <a:lnTo>
                    <a:pt x="150" y="208"/>
                  </a:lnTo>
                  <a:lnTo>
                    <a:pt x="150" y="212"/>
                  </a:lnTo>
                  <a:lnTo>
                    <a:pt x="146" y="212"/>
                  </a:lnTo>
                  <a:lnTo>
                    <a:pt x="150" y="212"/>
                  </a:lnTo>
                  <a:lnTo>
                    <a:pt x="146" y="216"/>
                  </a:lnTo>
                  <a:lnTo>
                    <a:pt x="142" y="212"/>
                  </a:lnTo>
                  <a:lnTo>
                    <a:pt x="142" y="216"/>
                  </a:lnTo>
                  <a:lnTo>
                    <a:pt x="140" y="216"/>
                  </a:lnTo>
                  <a:lnTo>
                    <a:pt x="136" y="220"/>
                  </a:lnTo>
                  <a:lnTo>
                    <a:pt x="136" y="216"/>
                  </a:lnTo>
                  <a:lnTo>
                    <a:pt x="132" y="216"/>
                  </a:lnTo>
                  <a:lnTo>
                    <a:pt x="132" y="220"/>
                  </a:lnTo>
                  <a:lnTo>
                    <a:pt x="128" y="220"/>
                  </a:lnTo>
                  <a:lnTo>
                    <a:pt x="128" y="216"/>
                  </a:lnTo>
                  <a:lnTo>
                    <a:pt x="124" y="216"/>
                  </a:lnTo>
                  <a:lnTo>
                    <a:pt x="124" y="220"/>
                  </a:lnTo>
                  <a:lnTo>
                    <a:pt x="124" y="224"/>
                  </a:lnTo>
                  <a:lnTo>
                    <a:pt x="120" y="224"/>
                  </a:lnTo>
                  <a:lnTo>
                    <a:pt x="124" y="228"/>
                  </a:lnTo>
                  <a:lnTo>
                    <a:pt x="120" y="228"/>
                  </a:lnTo>
                  <a:lnTo>
                    <a:pt x="116" y="224"/>
                  </a:lnTo>
                  <a:lnTo>
                    <a:pt x="112" y="224"/>
                  </a:lnTo>
                  <a:lnTo>
                    <a:pt x="110" y="224"/>
                  </a:lnTo>
                  <a:lnTo>
                    <a:pt x="106" y="224"/>
                  </a:lnTo>
                  <a:lnTo>
                    <a:pt x="106" y="220"/>
                  </a:lnTo>
                  <a:lnTo>
                    <a:pt x="106" y="216"/>
                  </a:lnTo>
                  <a:lnTo>
                    <a:pt x="110" y="216"/>
                  </a:lnTo>
                  <a:lnTo>
                    <a:pt x="112" y="216"/>
                  </a:lnTo>
                  <a:lnTo>
                    <a:pt x="112" y="212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20" y="208"/>
                  </a:lnTo>
                  <a:lnTo>
                    <a:pt x="120" y="204"/>
                  </a:lnTo>
                  <a:lnTo>
                    <a:pt x="124" y="204"/>
                  </a:lnTo>
                  <a:lnTo>
                    <a:pt x="124" y="202"/>
                  </a:lnTo>
                  <a:lnTo>
                    <a:pt x="128" y="202"/>
                  </a:lnTo>
                  <a:lnTo>
                    <a:pt x="128" y="198"/>
                  </a:lnTo>
                  <a:lnTo>
                    <a:pt x="132" y="198"/>
                  </a:lnTo>
                  <a:lnTo>
                    <a:pt x="128" y="198"/>
                  </a:lnTo>
                  <a:lnTo>
                    <a:pt x="132" y="198"/>
                  </a:lnTo>
                  <a:lnTo>
                    <a:pt x="132" y="194"/>
                  </a:lnTo>
                  <a:lnTo>
                    <a:pt x="136" y="198"/>
                  </a:lnTo>
                  <a:lnTo>
                    <a:pt x="136" y="194"/>
                  </a:lnTo>
                  <a:lnTo>
                    <a:pt x="140" y="194"/>
                  </a:lnTo>
                  <a:lnTo>
                    <a:pt x="140" y="198"/>
                  </a:lnTo>
                  <a:lnTo>
                    <a:pt x="142" y="198"/>
                  </a:lnTo>
                  <a:lnTo>
                    <a:pt x="142" y="194"/>
                  </a:lnTo>
                  <a:lnTo>
                    <a:pt x="142" y="198"/>
                  </a:lnTo>
                  <a:lnTo>
                    <a:pt x="146" y="198"/>
                  </a:lnTo>
                  <a:lnTo>
                    <a:pt x="150" y="194"/>
                  </a:lnTo>
                  <a:lnTo>
                    <a:pt x="154" y="194"/>
                  </a:lnTo>
                  <a:lnTo>
                    <a:pt x="158" y="194"/>
                  </a:lnTo>
                  <a:lnTo>
                    <a:pt x="162" y="194"/>
                  </a:lnTo>
                  <a:lnTo>
                    <a:pt x="166" y="190"/>
                  </a:lnTo>
                  <a:lnTo>
                    <a:pt x="166" y="194"/>
                  </a:lnTo>
                  <a:lnTo>
                    <a:pt x="170" y="198"/>
                  </a:lnTo>
                  <a:lnTo>
                    <a:pt x="170" y="194"/>
                  </a:lnTo>
                  <a:lnTo>
                    <a:pt x="170" y="198"/>
                  </a:lnTo>
                  <a:lnTo>
                    <a:pt x="170" y="194"/>
                  </a:lnTo>
                  <a:lnTo>
                    <a:pt x="170" y="198"/>
                  </a:lnTo>
                  <a:lnTo>
                    <a:pt x="172" y="198"/>
                  </a:lnTo>
                  <a:lnTo>
                    <a:pt x="172" y="194"/>
                  </a:lnTo>
                  <a:lnTo>
                    <a:pt x="176" y="194"/>
                  </a:lnTo>
                  <a:lnTo>
                    <a:pt x="176" y="190"/>
                  </a:lnTo>
                  <a:lnTo>
                    <a:pt x="176" y="194"/>
                  </a:lnTo>
                  <a:lnTo>
                    <a:pt x="176" y="190"/>
                  </a:lnTo>
                  <a:lnTo>
                    <a:pt x="176" y="186"/>
                  </a:lnTo>
                  <a:lnTo>
                    <a:pt x="176" y="182"/>
                  </a:lnTo>
                  <a:lnTo>
                    <a:pt x="180" y="182"/>
                  </a:lnTo>
                  <a:lnTo>
                    <a:pt x="180" y="178"/>
                  </a:lnTo>
                  <a:lnTo>
                    <a:pt x="184" y="178"/>
                  </a:lnTo>
                  <a:lnTo>
                    <a:pt x="184" y="174"/>
                  </a:lnTo>
                  <a:lnTo>
                    <a:pt x="188" y="174"/>
                  </a:lnTo>
                  <a:lnTo>
                    <a:pt x="188" y="172"/>
                  </a:lnTo>
                  <a:lnTo>
                    <a:pt x="188" y="168"/>
                  </a:lnTo>
                  <a:lnTo>
                    <a:pt x="188" y="164"/>
                  </a:lnTo>
                  <a:lnTo>
                    <a:pt x="188" y="160"/>
                  </a:lnTo>
                  <a:lnTo>
                    <a:pt x="192" y="160"/>
                  </a:lnTo>
                  <a:lnTo>
                    <a:pt x="192" y="156"/>
                  </a:lnTo>
                  <a:lnTo>
                    <a:pt x="196" y="156"/>
                  </a:lnTo>
                  <a:lnTo>
                    <a:pt x="196" y="160"/>
                  </a:lnTo>
                  <a:lnTo>
                    <a:pt x="192" y="160"/>
                  </a:lnTo>
                  <a:lnTo>
                    <a:pt x="192" y="164"/>
                  </a:lnTo>
                  <a:lnTo>
                    <a:pt x="188" y="164"/>
                  </a:lnTo>
                  <a:lnTo>
                    <a:pt x="188" y="168"/>
                  </a:lnTo>
                  <a:lnTo>
                    <a:pt x="192" y="168"/>
                  </a:lnTo>
                  <a:lnTo>
                    <a:pt x="192" y="172"/>
                  </a:lnTo>
                  <a:lnTo>
                    <a:pt x="196" y="172"/>
                  </a:lnTo>
                  <a:lnTo>
                    <a:pt x="196" y="168"/>
                  </a:lnTo>
                  <a:lnTo>
                    <a:pt x="198" y="168"/>
                  </a:lnTo>
                  <a:lnTo>
                    <a:pt x="202" y="168"/>
                  </a:lnTo>
                  <a:lnTo>
                    <a:pt x="206" y="164"/>
                  </a:lnTo>
                  <a:lnTo>
                    <a:pt x="210" y="164"/>
                  </a:lnTo>
                  <a:lnTo>
                    <a:pt x="214" y="160"/>
                  </a:lnTo>
                  <a:lnTo>
                    <a:pt x="214" y="156"/>
                  </a:lnTo>
                  <a:lnTo>
                    <a:pt x="218" y="156"/>
                  </a:lnTo>
                  <a:lnTo>
                    <a:pt x="218" y="152"/>
                  </a:lnTo>
                  <a:lnTo>
                    <a:pt x="218" y="148"/>
                  </a:lnTo>
                  <a:lnTo>
                    <a:pt x="222" y="148"/>
                  </a:lnTo>
                  <a:lnTo>
                    <a:pt x="226" y="148"/>
                  </a:lnTo>
                  <a:lnTo>
                    <a:pt x="226" y="146"/>
                  </a:lnTo>
                  <a:lnTo>
                    <a:pt x="226" y="142"/>
                  </a:lnTo>
                  <a:lnTo>
                    <a:pt x="228" y="138"/>
                  </a:lnTo>
                  <a:lnTo>
                    <a:pt x="228" y="134"/>
                  </a:lnTo>
                  <a:lnTo>
                    <a:pt x="228" y="130"/>
                  </a:lnTo>
                  <a:lnTo>
                    <a:pt x="232" y="126"/>
                  </a:lnTo>
                  <a:lnTo>
                    <a:pt x="232" y="122"/>
                  </a:lnTo>
                  <a:lnTo>
                    <a:pt x="232" y="118"/>
                  </a:lnTo>
                  <a:lnTo>
                    <a:pt x="236" y="118"/>
                  </a:lnTo>
                  <a:lnTo>
                    <a:pt x="236" y="116"/>
                  </a:lnTo>
                  <a:lnTo>
                    <a:pt x="232" y="116"/>
                  </a:lnTo>
                  <a:lnTo>
                    <a:pt x="232" y="112"/>
                  </a:lnTo>
                  <a:lnTo>
                    <a:pt x="228" y="112"/>
                  </a:lnTo>
                  <a:lnTo>
                    <a:pt x="228" y="108"/>
                  </a:lnTo>
                  <a:lnTo>
                    <a:pt x="228" y="112"/>
                  </a:lnTo>
                  <a:lnTo>
                    <a:pt x="232" y="112"/>
                  </a:lnTo>
                  <a:lnTo>
                    <a:pt x="232" y="108"/>
                  </a:lnTo>
                  <a:lnTo>
                    <a:pt x="232" y="104"/>
                  </a:lnTo>
                  <a:lnTo>
                    <a:pt x="232" y="100"/>
                  </a:lnTo>
                  <a:lnTo>
                    <a:pt x="232" y="96"/>
                  </a:lnTo>
                  <a:lnTo>
                    <a:pt x="236" y="96"/>
                  </a:lnTo>
                  <a:lnTo>
                    <a:pt x="236" y="92"/>
                  </a:lnTo>
                  <a:lnTo>
                    <a:pt x="240" y="90"/>
                  </a:lnTo>
                  <a:lnTo>
                    <a:pt x="236" y="90"/>
                  </a:lnTo>
                  <a:lnTo>
                    <a:pt x="240" y="90"/>
                  </a:lnTo>
                  <a:lnTo>
                    <a:pt x="240" y="86"/>
                  </a:lnTo>
                  <a:lnTo>
                    <a:pt x="244" y="86"/>
                  </a:lnTo>
                  <a:lnTo>
                    <a:pt x="244" y="90"/>
                  </a:lnTo>
                  <a:lnTo>
                    <a:pt x="244" y="92"/>
                  </a:lnTo>
                  <a:lnTo>
                    <a:pt x="248" y="92"/>
                  </a:lnTo>
                  <a:lnTo>
                    <a:pt x="248" y="90"/>
                  </a:lnTo>
                  <a:lnTo>
                    <a:pt x="248" y="92"/>
                  </a:lnTo>
                  <a:lnTo>
                    <a:pt x="252" y="92"/>
                  </a:lnTo>
                  <a:lnTo>
                    <a:pt x="252" y="90"/>
                  </a:lnTo>
                  <a:lnTo>
                    <a:pt x="252" y="86"/>
                  </a:lnTo>
                  <a:lnTo>
                    <a:pt x="248" y="86"/>
                  </a:lnTo>
                  <a:lnTo>
                    <a:pt x="244" y="90"/>
                  </a:lnTo>
                  <a:lnTo>
                    <a:pt x="244" y="86"/>
                  </a:lnTo>
                  <a:lnTo>
                    <a:pt x="244" y="82"/>
                  </a:lnTo>
                  <a:lnTo>
                    <a:pt x="248" y="78"/>
                  </a:lnTo>
                  <a:lnTo>
                    <a:pt x="248" y="82"/>
                  </a:lnTo>
                  <a:lnTo>
                    <a:pt x="252" y="82"/>
                  </a:lnTo>
                  <a:lnTo>
                    <a:pt x="254" y="82"/>
                  </a:lnTo>
                  <a:lnTo>
                    <a:pt x="254" y="86"/>
                  </a:lnTo>
                  <a:lnTo>
                    <a:pt x="254" y="92"/>
                  </a:lnTo>
                  <a:lnTo>
                    <a:pt x="254" y="96"/>
                  </a:lnTo>
                  <a:lnTo>
                    <a:pt x="254" y="100"/>
                  </a:lnTo>
                  <a:lnTo>
                    <a:pt x="258" y="100"/>
                  </a:lnTo>
                  <a:lnTo>
                    <a:pt x="258" y="104"/>
                  </a:lnTo>
                  <a:lnTo>
                    <a:pt x="258" y="108"/>
                  </a:lnTo>
                  <a:lnTo>
                    <a:pt x="262" y="108"/>
                  </a:lnTo>
                  <a:lnTo>
                    <a:pt x="262" y="112"/>
                  </a:lnTo>
                  <a:lnTo>
                    <a:pt x="262" y="116"/>
                  </a:lnTo>
                  <a:lnTo>
                    <a:pt x="262" y="118"/>
                  </a:lnTo>
                  <a:lnTo>
                    <a:pt x="262" y="122"/>
                  </a:lnTo>
                  <a:lnTo>
                    <a:pt x="258" y="122"/>
                  </a:lnTo>
                  <a:lnTo>
                    <a:pt x="258" y="126"/>
                  </a:lnTo>
                  <a:lnTo>
                    <a:pt x="258" y="130"/>
                  </a:lnTo>
                  <a:lnTo>
                    <a:pt x="254" y="130"/>
                  </a:lnTo>
                  <a:lnTo>
                    <a:pt x="258" y="130"/>
                  </a:lnTo>
                  <a:lnTo>
                    <a:pt x="254" y="130"/>
                  </a:lnTo>
                  <a:lnTo>
                    <a:pt x="254" y="134"/>
                  </a:lnTo>
                  <a:lnTo>
                    <a:pt x="254" y="138"/>
                  </a:lnTo>
                  <a:lnTo>
                    <a:pt x="254" y="142"/>
                  </a:lnTo>
                  <a:lnTo>
                    <a:pt x="252" y="142"/>
                  </a:lnTo>
                  <a:lnTo>
                    <a:pt x="248" y="142"/>
                  </a:lnTo>
                  <a:lnTo>
                    <a:pt x="248" y="146"/>
                  </a:lnTo>
                  <a:lnTo>
                    <a:pt x="248" y="148"/>
                  </a:lnTo>
                  <a:lnTo>
                    <a:pt x="248" y="152"/>
                  </a:lnTo>
                  <a:lnTo>
                    <a:pt x="248" y="156"/>
                  </a:lnTo>
                  <a:lnTo>
                    <a:pt x="248" y="160"/>
                  </a:lnTo>
                  <a:lnTo>
                    <a:pt x="248" y="164"/>
                  </a:lnTo>
                  <a:lnTo>
                    <a:pt x="248" y="168"/>
                  </a:lnTo>
                  <a:lnTo>
                    <a:pt x="244" y="168"/>
                  </a:lnTo>
                  <a:lnTo>
                    <a:pt x="244" y="172"/>
                  </a:lnTo>
                  <a:lnTo>
                    <a:pt x="244" y="174"/>
                  </a:lnTo>
                  <a:lnTo>
                    <a:pt x="244" y="178"/>
                  </a:lnTo>
                  <a:lnTo>
                    <a:pt x="240" y="182"/>
                  </a:lnTo>
                  <a:lnTo>
                    <a:pt x="244" y="182"/>
                  </a:lnTo>
                  <a:lnTo>
                    <a:pt x="244" y="186"/>
                  </a:lnTo>
                  <a:lnTo>
                    <a:pt x="244" y="190"/>
                  </a:lnTo>
                  <a:lnTo>
                    <a:pt x="244" y="194"/>
                  </a:lnTo>
                  <a:lnTo>
                    <a:pt x="240" y="194"/>
                  </a:lnTo>
                  <a:lnTo>
                    <a:pt x="240" y="198"/>
                  </a:lnTo>
                  <a:lnTo>
                    <a:pt x="240" y="202"/>
                  </a:lnTo>
                  <a:lnTo>
                    <a:pt x="236" y="202"/>
                  </a:lnTo>
                  <a:lnTo>
                    <a:pt x="236" y="204"/>
                  </a:lnTo>
                  <a:lnTo>
                    <a:pt x="232" y="204"/>
                  </a:lnTo>
                  <a:lnTo>
                    <a:pt x="232" y="208"/>
                  </a:lnTo>
                  <a:lnTo>
                    <a:pt x="228" y="204"/>
                  </a:lnTo>
                  <a:lnTo>
                    <a:pt x="232" y="204"/>
                  </a:lnTo>
                  <a:lnTo>
                    <a:pt x="232" y="202"/>
                  </a:lnTo>
                  <a:lnTo>
                    <a:pt x="232" y="198"/>
                  </a:lnTo>
                  <a:lnTo>
                    <a:pt x="236" y="194"/>
                  </a:lnTo>
                  <a:lnTo>
                    <a:pt x="232" y="194"/>
                  </a:lnTo>
                  <a:lnTo>
                    <a:pt x="228" y="194"/>
                  </a:lnTo>
                  <a:lnTo>
                    <a:pt x="228" y="198"/>
                  </a:lnTo>
                  <a:lnTo>
                    <a:pt x="228" y="202"/>
                  </a:lnTo>
                  <a:lnTo>
                    <a:pt x="226" y="198"/>
                  </a:lnTo>
                  <a:lnTo>
                    <a:pt x="226" y="202"/>
                  </a:lnTo>
                  <a:lnTo>
                    <a:pt x="222" y="202"/>
                  </a:lnTo>
                  <a:lnTo>
                    <a:pt x="222" y="204"/>
                  </a:lnTo>
                  <a:lnTo>
                    <a:pt x="222" y="208"/>
                  </a:lnTo>
                  <a:lnTo>
                    <a:pt x="218" y="212"/>
                  </a:lnTo>
                  <a:lnTo>
                    <a:pt x="218" y="208"/>
                  </a:lnTo>
                  <a:lnTo>
                    <a:pt x="218" y="204"/>
                  </a:lnTo>
                  <a:lnTo>
                    <a:pt x="218" y="202"/>
                  </a:lnTo>
                  <a:lnTo>
                    <a:pt x="214" y="202"/>
                  </a:lnTo>
                  <a:lnTo>
                    <a:pt x="214" y="204"/>
                  </a:lnTo>
                  <a:lnTo>
                    <a:pt x="210" y="208"/>
                  </a:lnTo>
                  <a:lnTo>
                    <a:pt x="206" y="212"/>
                  </a:lnTo>
                  <a:lnTo>
                    <a:pt x="210" y="212"/>
                  </a:lnTo>
                  <a:lnTo>
                    <a:pt x="206" y="212"/>
                  </a:lnTo>
                  <a:lnTo>
                    <a:pt x="202" y="212"/>
                  </a:lnTo>
                  <a:lnTo>
                    <a:pt x="198" y="212"/>
                  </a:lnTo>
                  <a:lnTo>
                    <a:pt x="196" y="212"/>
                  </a:lnTo>
                  <a:lnTo>
                    <a:pt x="192" y="212"/>
                  </a:lnTo>
                  <a:lnTo>
                    <a:pt x="196" y="212"/>
                  </a:lnTo>
                  <a:lnTo>
                    <a:pt x="196" y="208"/>
                  </a:lnTo>
                  <a:lnTo>
                    <a:pt x="192" y="208"/>
                  </a:lnTo>
                  <a:lnTo>
                    <a:pt x="192" y="204"/>
                  </a:lnTo>
                  <a:lnTo>
                    <a:pt x="192" y="208"/>
                  </a:lnTo>
                  <a:lnTo>
                    <a:pt x="192" y="212"/>
                  </a:lnTo>
                  <a:lnTo>
                    <a:pt x="188" y="208"/>
                  </a:lnTo>
                  <a:lnTo>
                    <a:pt x="188" y="204"/>
                  </a:lnTo>
                  <a:lnTo>
                    <a:pt x="192" y="204"/>
                  </a:lnTo>
                  <a:lnTo>
                    <a:pt x="188" y="204"/>
                  </a:lnTo>
                  <a:lnTo>
                    <a:pt x="188" y="208"/>
                  </a:lnTo>
                  <a:lnTo>
                    <a:pt x="184" y="208"/>
                  </a:lnTo>
                  <a:lnTo>
                    <a:pt x="184" y="212"/>
                  </a:lnTo>
                  <a:lnTo>
                    <a:pt x="188" y="212"/>
                  </a:lnTo>
                  <a:lnTo>
                    <a:pt x="188" y="216"/>
                  </a:lnTo>
                  <a:lnTo>
                    <a:pt x="192" y="216"/>
                  </a:lnTo>
                  <a:lnTo>
                    <a:pt x="192" y="220"/>
                  </a:lnTo>
                  <a:lnTo>
                    <a:pt x="188" y="220"/>
                  </a:lnTo>
                  <a:lnTo>
                    <a:pt x="184" y="220"/>
                  </a:lnTo>
                  <a:lnTo>
                    <a:pt x="180" y="220"/>
                  </a:lnTo>
                  <a:lnTo>
                    <a:pt x="180" y="224"/>
                  </a:lnTo>
                  <a:lnTo>
                    <a:pt x="180" y="228"/>
                  </a:lnTo>
                  <a:lnTo>
                    <a:pt x="176" y="228"/>
                  </a:lnTo>
                  <a:lnTo>
                    <a:pt x="176" y="230"/>
                  </a:lnTo>
                  <a:lnTo>
                    <a:pt x="172" y="234"/>
                  </a:lnTo>
                  <a:lnTo>
                    <a:pt x="170" y="230"/>
                  </a:lnTo>
                  <a:lnTo>
                    <a:pt x="170" y="228"/>
                  </a:lnTo>
                  <a:lnTo>
                    <a:pt x="166" y="228"/>
                  </a:lnTo>
                  <a:lnTo>
                    <a:pt x="166" y="224"/>
                  </a:lnTo>
                  <a:lnTo>
                    <a:pt x="166" y="220"/>
                  </a:lnTo>
                  <a:lnTo>
                    <a:pt x="166" y="216"/>
                  </a:lnTo>
                  <a:lnTo>
                    <a:pt x="170" y="216"/>
                  </a:lnTo>
                  <a:lnTo>
                    <a:pt x="170" y="212"/>
                  </a:lnTo>
                  <a:lnTo>
                    <a:pt x="170" y="208"/>
                  </a:lnTo>
                  <a:lnTo>
                    <a:pt x="166" y="212"/>
                  </a:lnTo>
                  <a:lnTo>
                    <a:pt x="162" y="212"/>
                  </a:lnTo>
                  <a:lnTo>
                    <a:pt x="158" y="208"/>
                  </a:lnTo>
                  <a:lnTo>
                    <a:pt x="154" y="208"/>
                  </a:lnTo>
                  <a:lnTo>
                    <a:pt x="154" y="212"/>
                  </a:lnTo>
                  <a:lnTo>
                    <a:pt x="154" y="208"/>
                  </a:lnTo>
                  <a:lnTo>
                    <a:pt x="154" y="208"/>
                  </a:lnTo>
                  <a:lnTo>
                    <a:pt x="154" y="208"/>
                  </a:lnTo>
                  <a:close/>
                  <a:moveTo>
                    <a:pt x="214" y="142"/>
                  </a:moveTo>
                  <a:lnTo>
                    <a:pt x="214" y="146"/>
                  </a:lnTo>
                  <a:lnTo>
                    <a:pt x="210" y="146"/>
                  </a:lnTo>
                  <a:lnTo>
                    <a:pt x="210" y="148"/>
                  </a:lnTo>
                  <a:lnTo>
                    <a:pt x="214" y="146"/>
                  </a:lnTo>
                  <a:lnTo>
                    <a:pt x="214" y="148"/>
                  </a:lnTo>
                  <a:lnTo>
                    <a:pt x="210" y="152"/>
                  </a:lnTo>
                  <a:lnTo>
                    <a:pt x="206" y="152"/>
                  </a:lnTo>
                  <a:lnTo>
                    <a:pt x="210" y="152"/>
                  </a:lnTo>
                  <a:lnTo>
                    <a:pt x="210" y="148"/>
                  </a:lnTo>
                  <a:lnTo>
                    <a:pt x="210" y="146"/>
                  </a:lnTo>
                  <a:lnTo>
                    <a:pt x="210" y="142"/>
                  </a:lnTo>
                  <a:lnTo>
                    <a:pt x="214" y="142"/>
                  </a:lnTo>
                  <a:lnTo>
                    <a:pt x="214" y="142"/>
                  </a:lnTo>
                  <a:lnTo>
                    <a:pt x="214" y="142"/>
                  </a:lnTo>
                  <a:close/>
                  <a:moveTo>
                    <a:pt x="140" y="178"/>
                  </a:moveTo>
                  <a:lnTo>
                    <a:pt x="140" y="182"/>
                  </a:lnTo>
                  <a:lnTo>
                    <a:pt x="136" y="182"/>
                  </a:lnTo>
                  <a:lnTo>
                    <a:pt x="140" y="178"/>
                  </a:lnTo>
                  <a:lnTo>
                    <a:pt x="140" y="178"/>
                  </a:lnTo>
                  <a:lnTo>
                    <a:pt x="140" y="178"/>
                  </a:lnTo>
                  <a:close/>
                  <a:moveTo>
                    <a:pt x="84" y="212"/>
                  </a:moveTo>
                  <a:lnTo>
                    <a:pt x="84" y="216"/>
                  </a:lnTo>
                  <a:lnTo>
                    <a:pt x="84" y="220"/>
                  </a:lnTo>
                  <a:lnTo>
                    <a:pt x="84" y="216"/>
                  </a:lnTo>
                  <a:lnTo>
                    <a:pt x="80" y="216"/>
                  </a:lnTo>
                  <a:lnTo>
                    <a:pt x="84" y="212"/>
                  </a:lnTo>
                  <a:lnTo>
                    <a:pt x="84" y="212"/>
                  </a:lnTo>
                  <a:lnTo>
                    <a:pt x="84" y="212"/>
                  </a:lnTo>
                  <a:close/>
                  <a:moveTo>
                    <a:pt x="158" y="220"/>
                  </a:moveTo>
                  <a:lnTo>
                    <a:pt x="158" y="216"/>
                  </a:lnTo>
                  <a:lnTo>
                    <a:pt x="162" y="216"/>
                  </a:lnTo>
                  <a:lnTo>
                    <a:pt x="162" y="212"/>
                  </a:lnTo>
                  <a:lnTo>
                    <a:pt x="162" y="216"/>
                  </a:lnTo>
                  <a:lnTo>
                    <a:pt x="162" y="220"/>
                  </a:lnTo>
                  <a:lnTo>
                    <a:pt x="158" y="220"/>
                  </a:lnTo>
                  <a:lnTo>
                    <a:pt x="158" y="220"/>
                  </a:lnTo>
                  <a:lnTo>
                    <a:pt x="158" y="220"/>
                  </a:lnTo>
                  <a:close/>
                  <a:moveTo>
                    <a:pt x="154" y="212"/>
                  </a:moveTo>
                  <a:lnTo>
                    <a:pt x="154" y="216"/>
                  </a:lnTo>
                  <a:lnTo>
                    <a:pt x="150" y="216"/>
                  </a:lnTo>
                  <a:lnTo>
                    <a:pt x="150" y="212"/>
                  </a:lnTo>
                  <a:lnTo>
                    <a:pt x="154" y="212"/>
                  </a:lnTo>
                  <a:lnTo>
                    <a:pt x="154" y="212"/>
                  </a:lnTo>
                  <a:lnTo>
                    <a:pt x="154" y="212"/>
                  </a:lnTo>
                  <a:close/>
                  <a:moveTo>
                    <a:pt x="154" y="230"/>
                  </a:moveTo>
                  <a:lnTo>
                    <a:pt x="154" y="234"/>
                  </a:lnTo>
                  <a:lnTo>
                    <a:pt x="150" y="234"/>
                  </a:lnTo>
                  <a:lnTo>
                    <a:pt x="150" y="238"/>
                  </a:lnTo>
                  <a:lnTo>
                    <a:pt x="150" y="234"/>
                  </a:lnTo>
                  <a:lnTo>
                    <a:pt x="146" y="234"/>
                  </a:lnTo>
                  <a:lnTo>
                    <a:pt x="146" y="230"/>
                  </a:lnTo>
                  <a:lnTo>
                    <a:pt x="142" y="230"/>
                  </a:lnTo>
                  <a:lnTo>
                    <a:pt x="142" y="234"/>
                  </a:lnTo>
                  <a:lnTo>
                    <a:pt x="140" y="234"/>
                  </a:lnTo>
                  <a:lnTo>
                    <a:pt x="140" y="238"/>
                  </a:lnTo>
                  <a:lnTo>
                    <a:pt x="136" y="242"/>
                  </a:lnTo>
                  <a:lnTo>
                    <a:pt x="136" y="246"/>
                  </a:lnTo>
                  <a:lnTo>
                    <a:pt x="132" y="246"/>
                  </a:lnTo>
                  <a:lnTo>
                    <a:pt x="128" y="246"/>
                  </a:lnTo>
                  <a:lnTo>
                    <a:pt x="132" y="246"/>
                  </a:lnTo>
                  <a:lnTo>
                    <a:pt x="132" y="242"/>
                  </a:lnTo>
                  <a:lnTo>
                    <a:pt x="128" y="242"/>
                  </a:lnTo>
                  <a:lnTo>
                    <a:pt x="128" y="246"/>
                  </a:lnTo>
                  <a:lnTo>
                    <a:pt x="128" y="242"/>
                  </a:lnTo>
                  <a:lnTo>
                    <a:pt x="128" y="238"/>
                  </a:lnTo>
                  <a:lnTo>
                    <a:pt x="124" y="238"/>
                  </a:lnTo>
                  <a:lnTo>
                    <a:pt x="124" y="234"/>
                  </a:lnTo>
                  <a:lnTo>
                    <a:pt x="120" y="234"/>
                  </a:lnTo>
                  <a:lnTo>
                    <a:pt x="124" y="234"/>
                  </a:lnTo>
                  <a:lnTo>
                    <a:pt x="128" y="230"/>
                  </a:lnTo>
                  <a:lnTo>
                    <a:pt x="128" y="228"/>
                  </a:lnTo>
                  <a:lnTo>
                    <a:pt x="132" y="228"/>
                  </a:lnTo>
                  <a:lnTo>
                    <a:pt x="132" y="224"/>
                  </a:lnTo>
                  <a:lnTo>
                    <a:pt x="132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40" y="224"/>
                  </a:lnTo>
                  <a:lnTo>
                    <a:pt x="142" y="224"/>
                  </a:lnTo>
                  <a:lnTo>
                    <a:pt x="142" y="220"/>
                  </a:lnTo>
                  <a:lnTo>
                    <a:pt x="146" y="220"/>
                  </a:lnTo>
                  <a:lnTo>
                    <a:pt x="146" y="216"/>
                  </a:lnTo>
                  <a:lnTo>
                    <a:pt x="150" y="216"/>
                  </a:lnTo>
                  <a:lnTo>
                    <a:pt x="154" y="220"/>
                  </a:lnTo>
                  <a:lnTo>
                    <a:pt x="158" y="220"/>
                  </a:lnTo>
                  <a:lnTo>
                    <a:pt x="158" y="224"/>
                  </a:lnTo>
                  <a:lnTo>
                    <a:pt x="158" y="228"/>
                  </a:lnTo>
                  <a:lnTo>
                    <a:pt x="154" y="230"/>
                  </a:lnTo>
                  <a:lnTo>
                    <a:pt x="154" y="230"/>
                  </a:lnTo>
                  <a:lnTo>
                    <a:pt x="154" y="230"/>
                  </a:lnTo>
                  <a:close/>
                  <a:moveTo>
                    <a:pt x="84" y="220"/>
                  </a:moveTo>
                  <a:lnTo>
                    <a:pt x="80" y="224"/>
                  </a:lnTo>
                  <a:lnTo>
                    <a:pt x="80" y="220"/>
                  </a:lnTo>
                  <a:lnTo>
                    <a:pt x="80" y="216"/>
                  </a:lnTo>
                  <a:lnTo>
                    <a:pt x="84" y="216"/>
                  </a:lnTo>
                  <a:lnTo>
                    <a:pt x="84" y="220"/>
                  </a:lnTo>
                  <a:lnTo>
                    <a:pt x="84" y="220"/>
                  </a:lnTo>
                  <a:lnTo>
                    <a:pt x="84" y="220"/>
                  </a:lnTo>
                  <a:close/>
                  <a:moveTo>
                    <a:pt x="128" y="220"/>
                  </a:moveTo>
                  <a:lnTo>
                    <a:pt x="124" y="220"/>
                  </a:lnTo>
                  <a:lnTo>
                    <a:pt x="128" y="220"/>
                  </a:lnTo>
                  <a:lnTo>
                    <a:pt x="128" y="220"/>
                  </a:lnTo>
                  <a:lnTo>
                    <a:pt x="128" y="220"/>
                  </a:lnTo>
                  <a:close/>
                  <a:moveTo>
                    <a:pt x="86" y="250"/>
                  </a:moveTo>
                  <a:lnTo>
                    <a:pt x="90" y="250"/>
                  </a:lnTo>
                  <a:lnTo>
                    <a:pt x="90" y="246"/>
                  </a:lnTo>
                  <a:lnTo>
                    <a:pt x="86" y="246"/>
                  </a:lnTo>
                  <a:lnTo>
                    <a:pt x="86" y="242"/>
                  </a:lnTo>
                  <a:lnTo>
                    <a:pt x="90" y="242"/>
                  </a:lnTo>
                  <a:lnTo>
                    <a:pt x="90" y="246"/>
                  </a:lnTo>
                  <a:lnTo>
                    <a:pt x="90" y="242"/>
                  </a:lnTo>
                  <a:lnTo>
                    <a:pt x="86" y="238"/>
                  </a:lnTo>
                  <a:lnTo>
                    <a:pt x="86" y="234"/>
                  </a:lnTo>
                  <a:lnTo>
                    <a:pt x="90" y="238"/>
                  </a:lnTo>
                  <a:lnTo>
                    <a:pt x="90" y="234"/>
                  </a:lnTo>
                  <a:lnTo>
                    <a:pt x="90" y="230"/>
                  </a:lnTo>
                  <a:lnTo>
                    <a:pt x="90" y="234"/>
                  </a:lnTo>
                  <a:lnTo>
                    <a:pt x="94" y="234"/>
                  </a:lnTo>
                  <a:lnTo>
                    <a:pt x="94" y="230"/>
                  </a:lnTo>
                  <a:lnTo>
                    <a:pt x="98" y="230"/>
                  </a:lnTo>
                  <a:lnTo>
                    <a:pt x="98" y="228"/>
                  </a:lnTo>
                  <a:lnTo>
                    <a:pt x="102" y="224"/>
                  </a:lnTo>
                  <a:lnTo>
                    <a:pt x="106" y="224"/>
                  </a:lnTo>
                  <a:lnTo>
                    <a:pt x="106" y="228"/>
                  </a:lnTo>
                  <a:lnTo>
                    <a:pt x="106" y="230"/>
                  </a:lnTo>
                  <a:lnTo>
                    <a:pt x="110" y="230"/>
                  </a:lnTo>
                  <a:lnTo>
                    <a:pt x="112" y="230"/>
                  </a:lnTo>
                  <a:lnTo>
                    <a:pt x="116" y="230"/>
                  </a:lnTo>
                  <a:lnTo>
                    <a:pt x="116" y="234"/>
                  </a:lnTo>
                  <a:lnTo>
                    <a:pt x="112" y="234"/>
                  </a:lnTo>
                  <a:lnTo>
                    <a:pt x="112" y="238"/>
                  </a:lnTo>
                  <a:lnTo>
                    <a:pt x="116" y="238"/>
                  </a:lnTo>
                  <a:lnTo>
                    <a:pt x="120" y="238"/>
                  </a:lnTo>
                  <a:lnTo>
                    <a:pt x="116" y="238"/>
                  </a:lnTo>
                  <a:lnTo>
                    <a:pt x="120" y="242"/>
                  </a:lnTo>
                  <a:lnTo>
                    <a:pt x="120" y="246"/>
                  </a:lnTo>
                  <a:lnTo>
                    <a:pt x="116" y="246"/>
                  </a:lnTo>
                  <a:lnTo>
                    <a:pt x="116" y="250"/>
                  </a:lnTo>
                  <a:lnTo>
                    <a:pt x="116" y="254"/>
                  </a:lnTo>
                  <a:lnTo>
                    <a:pt x="112" y="254"/>
                  </a:lnTo>
                  <a:lnTo>
                    <a:pt x="112" y="258"/>
                  </a:lnTo>
                  <a:lnTo>
                    <a:pt x="112" y="260"/>
                  </a:lnTo>
                  <a:lnTo>
                    <a:pt x="112" y="264"/>
                  </a:lnTo>
                  <a:lnTo>
                    <a:pt x="112" y="268"/>
                  </a:lnTo>
                  <a:lnTo>
                    <a:pt x="112" y="272"/>
                  </a:lnTo>
                  <a:lnTo>
                    <a:pt x="110" y="272"/>
                  </a:lnTo>
                  <a:lnTo>
                    <a:pt x="106" y="272"/>
                  </a:lnTo>
                  <a:lnTo>
                    <a:pt x="110" y="272"/>
                  </a:lnTo>
                  <a:lnTo>
                    <a:pt x="110" y="276"/>
                  </a:lnTo>
                  <a:lnTo>
                    <a:pt x="106" y="276"/>
                  </a:lnTo>
                  <a:lnTo>
                    <a:pt x="102" y="280"/>
                  </a:lnTo>
                  <a:lnTo>
                    <a:pt x="102" y="276"/>
                  </a:lnTo>
                  <a:lnTo>
                    <a:pt x="102" y="272"/>
                  </a:lnTo>
                  <a:lnTo>
                    <a:pt x="102" y="268"/>
                  </a:lnTo>
                  <a:lnTo>
                    <a:pt x="102" y="264"/>
                  </a:lnTo>
                  <a:lnTo>
                    <a:pt x="102" y="268"/>
                  </a:lnTo>
                  <a:lnTo>
                    <a:pt x="98" y="268"/>
                  </a:lnTo>
                  <a:lnTo>
                    <a:pt x="98" y="272"/>
                  </a:lnTo>
                  <a:lnTo>
                    <a:pt x="102" y="272"/>
                  </a:lnTo>
                  <a:lnTo>
                    <a:pt x="102" y="276"/>
                  </a:lnTo>
                  <a:lnTo>
                    <a:pt x="98" y="276"/>
                  </a:lnTo>
                  <a:lnTo>
                    <a:pt x="94" y="276"/>
                  </a:lnTo>
                  <a:lnTo>
                    <a:pt x="94" y="272"/>
                  </a:lnTo>
                  <a:lnTo>
                    <a:pt x="98" y="268"/>
                  </a:lnTo>
                  <a:lnTo>
                    <a:pt x="94" y="264"/>
                  </a:lnTo>
                  <a:lnTo>
                    <a:pt x="94" y="260"/>
                  </a:lnTo>
                  <a:lnTo>
                    <a:pt x="94" y="258"/>
                  </a:lnTo>
                  <a:lnTo>
                    <a:pt x="94" y="260"/>
                  </a:lnTo>
                  <a:lnTo>
                    <a:pt x="98" y="258"/>
                  </a:lnTo>
                  <a:lnTo>
                    <a:pt x="98" y="254"/>
                  </a:lnTo>
                  <a:lnTo>
                    <a:pt x="102" y="250"/>
                  </a:lnTo>
                  <a:lnTo>
                    <a:pt x="98" y="250"/>
                  </a:lnTo>
                  <a:lnTo>
                    <a:pt x="102" y="246"/>
                  </a:lnTo>
                  <a:lnTo>
                    <a:pt x="98" y="246"/>
                  </a:lnTo>
                  <a:lnTo>
                    <a:pt x="98" y="242"/>
                  </a:lnTo>
                  <a:lnTo>
                    <a:pt x="98" y="238"/>
                  </a:lnTo>
                  <a:lnTo>
                    <a:pt x="94" y="238"/>
                  </a:lnTo>
                  <a:lnTo>
                    <a:pt x="94" y="242"/>
                  </a:lnTo>
                  <a:lnTo>
                    <a:pt x="94" y="246"/>
                  </a:lnTo>
                  <a:lnTo>
                    <a:pt x="98" y="246"/>
                  </a:lnTo>
                  <a:lnTo>
                    <a:pt x="98" y="250"/>
                  </a:lnTo>
                  <a:lnTo>
                    <a:pt x="94" y="250"/>
                  </a:lnTo>
                  <a:lnTo>
                    <a:pt x="94" y="246"/>
                  </a:lnTo>
                  <a:lnTo>
                    <a:pt x="90" y="246"/>
                  </a:lnTo>
                  <a:lnTo>
                    <a:pt x="90" y="250"/>
                  </a:lnTo>
                  <a:lnTo>
                    <a:pt x="86" y="250"/>
                  </a:lnTo>
                  <a:lnTo>
                    <a:pt x="86" y="250"/>
                  </a:lnTo>
                  <a:lnTo>
                    <a:pt x="86" y="250"/>
                  </a:lnTo>
                  <a:close/>
                  <a:moveTo>
                    <a:pt x="86" y="230"/>
                  </a:moveTo>
                  <a:lnTo>
                    <a:pt x="86" y="228"/>
                  </a:lnTo>
                  <a:lnTo>
                    <a:pt x="90" y="228"/>
                  </a:lnTo>
                  <a:lnTo>
                    <a:pt x="86" y="228"/>
                  </a:lnTo>
                  <a:lnTo>
                    <a:pt x="86" y="230"/>
                  </a:lnTo>
                  <a:lnTo>
                    <a:pt x="86" y="230"/>
                  </a:lnTo>
                  <a:lnTo>
                    <a:pt x="86" y="230"/>
                  </a:lnTo>
                  <a:close/>
                  <a:moveTo>
                    <a:pt x="86" y="234"/>
                  </a:moveTo>
                  <a:lnTo>
                    <a:pt x="86" y="238"/>
                  </a:lnTo>
                  <a:lnTo>
                    <a:pt x="84" y="238"/>
                  </a:lnTo>
                  <a:lnTo>
                    <a:pt x="84" y="234"/>
                  </a:lnTo>
                  <a:lnTo>
                    <a:pt x="86" y="234"/>
                  </a:lnTo>
                  <a:lnTo>
                    <a:pt x="86" y="234"/>
                  </a:lnTo>
                  <a:lnTo>
                    <a:pt x="86" y="234"/>
                  </a:lnTo>
                  <a:close/>
                  <a:moveTo>
                    <a:pt x="80" y="242"/>
                  </a:moveTo>
                  <a:lnTo>
                    <a:pt x="80" y="246"/>
                  </a:lnTo>
                  <a:lnTo>
                    <a:pt x="80" y="242"/>
                  </a:lnTo>
                  <a:lnTo>
                    <a:pt x="80" y="238"/>
                  </a:lnTo>
                  <a:lnTo>
                    <a:pt x="80" y="242"/>
                  </a:lnTo>
                  <a:lnTo>
                    <a:pt x="80" y="242"/>
                  </a:lnTo>
                  <a:lnTo>
                    <a:pt x="80" y="242"/>
                  </a:lnTo>
                  <a:close/>
                  <a:moveTo>
                    <a:pt x="72" y="250"/>
                  </a:moveTo>
                  <a:lnTo>
                    <a:pt x="72" y="246"/>
                  </a:lnTo>
                  <a:lnTo>
                    <a:pt x="76" y="246"/>
                  </a:lnTo>
                  <a:lnTo>
                    <a:pt x="76" y="250"/>
                  </a:lnTo>
                  <a:lnTo>
                    <a:pt x="72" y="250"/>
                  </a:lnTo>
                  <a:lnTo>
                    <a:pt x="72" y="250"/>
                  </a:lnTo>
                  <a:lnTo>
                    <a:pt x="72" y="250"/>
                  </a:lnTo>
                  <a:close/>
                  <a:moveTo>
                    <a:pt x="90" y="258"/>
                  </a:moveTo>
                  <a:lnTo>
                    <a:pt x="90" y="254"/>
                  </a:lnTo>
                  <a:lnTo>
                    <a:pt x="94" y="250"/>
                  </a:lnTo>
                  <a:lnTo>
                    <a:pt x="94" y="254"/>
                  </a:lnTo>
                  <a:lnTo>
                    <a:pt x="94" y="258"/>
                  </a:lnTo>
                  <a:lnTo>
                    <a:pt x="90" y="258"/>
                  </a:lnTo>
                  <a:lnTo>
                    <a:pt x="90" y="258"/>
                  </a:lnTo>
                  <a:lnTo>
                    <a:pt x="90" y="258"/>
                  </a:lnTo>
                  <a:close/>
                  <a:moveTo>
                    <a:pt x="106" y="284"/>
                  </a:moveTo>
                  <a:lnTo>
                    <a:pt x="106" y="286"/>
                  </a:lnTo>
                  <a:lnTo>
                    <a:pt x="106" y="290"/>
                  </a:lnTo>
                  <a:lnTo>
                    <a:pt x="106" y="286"/>
                  </a:lnTo>
                  <a:lnTo>
                    <a:pt x="106" y="284"/>
                  </a:lnTo>
                  <a:lnTo>
                    <a:pt x="106" y="284"/>
                  </a:lnTo>
                  <a:lnTo>
                    <a:pt x="106" y="284"/>
                  </a:lnTo>
                  <a:close/>
                  <a:moveTo>
                    <a:pt x="98" y="290"/>
                  </a:moveTo>
                  <a:lnTo>
                    <a:pt x="102" y="290"/>
                  </a:lnTo>
                  <a:lnTo>
                    <a:pt x="102" y="294"/>
                  </a:lnTo>
                  <a:lnTo>
                    <a:pt x="98" y="294"/>
                  </a:lnTo>
                  <a:lnTo>
                    <a:pt x="98" y="290"/>
                  </a:lnTo>
                  <a:lnTo>
                    <a:pt x="98" y="290"/>
                  </a:lnTo>
                  <a:lnTo>
                    <a:pt x="98" y="290"/>
                  </a:lnTo>
                  <a:close/>
                  <a:moveTo>
                    <a:pt x="86" y="324"/>
                  </a:moveTo>
                  <a:lnTo>
                    <a:pt x="86" y="328"/>
                  </a:lnTo>
                  <a:lnTo>
                    <a:pt x="84" y="328"/>
                  </a:lnTo>
                  <a:lnTo>
                    <a:pt x="84" y="332"/>
                  </a:lnTo>
                  <a:lnTo>
                    <a:pt x="80" y="328"/>
                  </a:lnTo>
                  <a:lnTo>
                    <a:pt x="84" y="328"/>
                  </a:lnTo>
                  <a:lnTo>
                    <a:pt x="86" y="324"/>
                  </a:lnTo>
                  <a:lnTo>
                    <a:pt x="86" y="324"/>
                  </a:lnTo>
                  <a:lnTo>
                    <a:pt x="86" y="324"/>
                  </a:lnTo>
                  <a:close/>
                  <a:moveTo>
                    <a:pt x="76" y="336"/>
                  </a:moveTo>
                  <a:lnTo>
                    <a:pt x="80" y="340"/>
                  </a:lnTo>
                  <a:lnTo>
                    <a:pt x="76" y="340"/>
                  </a:lnTo>
                  <a:lnTo>
                    <a:pt x="76" y="336"/>
                  </a:lnTo>
                  <a:lnTo>
                    <a:pt x="76" y="336"/>
                  </a:lnTo>
                  <a:lnTo>
                    <a:pt x="76" y="336"/>
                  </a:lnTo>
                  <a:close/>
                  <a:moveTo>
                    <a:pt x="68" y="354"/>
                  </a:moveTo>
                  <a:lnTo>
                    <a:pt x="68" y="358"/>
                  </a:lnTo>
                  <a:lnTo>
                    <a:pt x="64" y="362"/>
                  </a:lnTo>
                  <a:lnTo>
                    <a:pt x="60" y="362"/>
                  </a:lnTo>
                  <a:lnTo>
                    <a:pt x="60" y="366"/>
                  </a:lnTo>
                  <a:lnTo>
                    <a:pt x="60" y="370"/>
                  </a:lnTo>
                  <a:lnTo>
                    <a:pt x="56" y="370"/>
                  </a:lnTo>
                  <a:lnTo>
                    <a:pt x="56" y="366"/>
                  </a:lnTo>
                  <a:lnTo>
                    <a:pt x="60" y="366"/>
                  </a:lnTo>
                  <a:lnTo>
                    <a:pt x="60" y="362"/>
                  </a:lnTo>
                  <a:lnTo>
                    <a:pt x="64" y="362"/>
                  </a:lnTo>
                  <a:lnTo>
                    <a:pt x="64" y="358"/>
                  </a:lnTo>
                  <a:lnTo>
                    <a:pt x="60" y="358"/>
                  </a:lnTo>
                  <a:lnTo>
                    <a:pt x="64" y="358"/>
                  </a:lnTo>
                  <a:lnTo>
                    <a:pt x="68" y="354"/>
                  </a:lnTo>
                  <a:lnTo>
                    <a:pt x="68" y="354"/>
                  </a:lnTo>
                  <a:lnTo>
                    <a:pt x="68" y="354"/>
                  </a:lnTo>
                  <a:close/>
                  <a:moveTo>
                    <a:pt x="24" y="392"/>
                  </a:moveTo>
                  <a:lnTo>
                    <a:pt x="28" y="392"/>
                  </a:lnTo>
                  <a:lnTo>
                    <a:pt x="24" y="392"/>
                  </a:lnTo>
                  <a:lnTo>
                    <a:pt x="24" y="392"/>
                  </a:lnTo>
                  <a:lnTo>
                    <a:pt x="24" y="392"/>
                  </a:lnTo>
                  <a:close/>
                  <a:moveTo>
                    <a:pt x="8" y="398"/>
                  </a:moveTo>
                  <a:lnTo>
                    <a:pt x="12" y="398"/>
                  </a:lnTo>
                  <a:lnTo>
                    <a:pt x="12" y="396"/>
                  </a:lnTo>
                  <a:lnTo>
                    <a:pt x="12" y="398"/>
                  </a:lnTo>
                  <a:lnTo>
                    <a:pt x="8" y="398"/>
                  </a:lnTo>
                  <a:lnTo>
                    <a:pt x="8" y="398"/>
                  </a:lnTo>
                  <a:lnTo>
                    <a:pt x="8" y="398"/>
                  </a:lnTo>
                  <a:close/>
                  <a:moveTo>
                    <a:pt x="4" y="398"/>
                  </a:moveTo>
                  <a:lnTo>
                    <a:pt x="4" y="402"/>
                  </a:lnTo>
                  <a:lnTo>
                    <a:pt x="0" y="402"/>
                  </a:lnTo>
                  <a:lnTo>
                    <a:pt x="0" y="398"/>
                  </a:lnTo>
                  <a:lnTo>
                    <a:pt x="4" y="398"/>
                  </a:lnTo>
                  <a:lnTo>
                    <a:pt x="4" y="398"/>
                  </a:lnTo>
                  <a:lnTo>
                    <a:pt x="4" y="398"/>
                  </a:lnTo>
                  <a:close/>
                </a:path>
              </a:pathLst>
            </a:custGeom>
            <a:solidFill>
              <a:srgbClr val="FFFF00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3" name="Freeform 33">
              <a:extLst>
                <a:ext uri="{FF2B5EF4-FFF2-40B4-BE49-F238E27FC236}">
                  <a16:creationId xmlns:a16="http://schemas.microsoft.com/office/drawing/2014/main" id="{13C7157A-2A34-9C6E-B368-E0B50DDA27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447" y="3062460"/>
              <a:ext cx="112997" cy="150841"/>
            </a:xfrm>
            <a:custGeom>
              <a:avLst/>
              <a:gdLst>
                <a:gd name="T0" fmla="*/ 6 w 58"/>
                <a:gd name="T1" fmla="*/ 34 h 80"/>
                <a:gd name="T2" fmla="*/ 6 w 58"/>
                <a:gd name="T3" fmla="*/ 34 h 80"/>
                <a:gd name="T4" fmla="*/ 6 w 58"/>
                <a:gd name="T5" fmla="*/ 30 h 80"/>
                <a:gd name="T6" fmla="*/ 6 w 58"/>
                <a:gd name="T7" fmla="*/ 30 h 80"/>
                <a:gd name="T8" fmla="*/ 6 w 58"/>
                <a:gd name="T9" fmla="*/ 26 h 80"/>
                <a:gd name="T10" fmla="*/ 6 w 58"/>
                <a:gd name="T11" fmla="*/ 26 h 80"/>
                <a:gd name="T12" fmla="*/ 6 w 58"/>
                <a:gd name="T13" fmla="*/ 24 h 80"/>
                <a:gd name="T14" fmla="*/ 6 w 58"/>
                <a:gd name="T15" fmla="*/ 20 h 80"/>
                <a:gd name="T16" fmla="*/ 6 w 58"/>
                <a:gd name="T17" fmla="*/ 16 h 80"/>
                <a:gd name="T18" fmla="*/ 6 w 58"/>
                <a:gd name="T19" fmla="*/ 16 h 80"/>
                <a:gd name="T20" fmla="*/ 6 w 58"/>
                <a:gd name="T21" fmla="*/ 12 h 80"/>
                <a:gd name="T22" fmla="*/ 10 w 58"/>
                <a:gd name="T23" fmla="*/ 12 h 80"/>
                <a:gd name="T24" fmla="*/ 14 w 58"/>
                <a:gd name="T25" fmla="*/ 16 h 80"/>
                <a:gd name="T26" fmla="*/ 14 w 58"/>
                <a:gd name="T27" fmla="*/ 16 h 80"/>
                <a:gd name="T28" fmla="*/ 14 w 58"/>
                <a:gd name="T29" fmla="*/ 16 h 80"/>
                <a:gd name="T30" fmla="*/ 18 w 58"/>
                <a:gd name="T31" fmla="*/ 20 h 80"/>
                <a:gd name="T32" fmla="*/ 18 w 58"/>
                <a:gd name="T33" fmla="*/ 20 h 80"/>
                <a:gd name="T34" fmla="*/ 22 w 58"/>
                <a:gd name="T35" fmla="*/ 20 h 80"/>
                <a:gd name="T36" fmla="*/ 22 w 58"/>
                <a:gd name="T37" fmla="*/ 20 h 80"/>
                <a:gd name="T38" fmla="*/ 26 w 58"/>
                <a:gd name="T39" fmla="*/ 20 h 80"/>
                <a:gd name="T40" fmla="*/ 32 w 58"/>
                <a:gd name="T41" fmla="*/ 16 h 80"/>
                <a:gd name="T42" fmla="*/ 32 w 58"/>
                <a:gd name="T43" fmla="*/ 16 h 80"/>
                <a:gd name="T44" fmla="*/ 40 w 58"/>
                <a:gd name="T45" fmla="*/ 8 h 80"/>
                <a:gd name="T46" fmla="*/ 48 w 58"/>
                <a:gd name="T47" fmla="*/ 4 h 80"/>
                <a:gd name="T48" fmla="*/ 52 w 58"/>
                <a:gd name="T49" fmla="*/ 0 h 80"/>
                <a:gd name="T50" fmla="*/ 54 w 58"/>
                <a:gd name="T51" fmla="*/ 20 h 80"/>
                <a:gd name="T52" fmla="*/ 58 w 58"/>
                <a:gd name="T53" fmla="*/ 20 h 80"/>
                <a:gd name="T54" fmla="*/ 58 w 58"/>
                <a:gd name="T55" fmla="*/ 24 h 80"/>
                <a:gd name="T56" fmla="*/ 54 w 58"/>
                <a:gd name="T57" fmla="*/ 26 h 80"/>
                <a:gd name="T58" fmla="*/ 40 w 58"/>
                <a:gd name="T59" fmla="*/ 30 h 80"/>
                <a:gd name="T60" fmla="*/ 36 w 58"/>
                <a:gd name="T61" fmla="*/ 34 h 80"/>
                <a:gd name="T62" fmla="*/ 28 w 58"/>
                <a:gd name="T63" fmla="*/ 34 h 80"/>
                <a:gd name="T64" fmla="*/ 32 w 58"/>
                <a:gd name="T65" fmla="*/ 42 h 80"/>
                <a:gd name="T66" fmla="*/ 36 w 58"/>
                <a:gd name="T67" fmla="*/ 46 h 80"/>
                <a:gd name="T68" fmla="*/ 36 w 58"/>
                <a:gd name="T69" fmla="*/ 56 h 80"/>
                <a:gd name="T70" fmla="*/ 32 w 58"/>
                <a:gd name="T71" fmla="*/ 64 h 80"/>
                <a:gd name="T72" fmla="*/ 22 w 58"/>
                <a:gd name="T73" fmla="*/ 68 h 80"/>
                <a:gd name="T74" fmla="*/ 18 w 58"/>
                <a:gd name="T75" fmla="*/ 76 h 80"/>
                <a:gd name="T76" fmla="*/ 6 w 58"/>
                <a:gd name="T77" fmla="*/ 76 h 80"/>
                <a:gd name="T78" fmla="*/ 0 w 58"/>
                <a:gd name="T79" fmla="*/ 76 h 80"/>
                <a:gd name="T80" fmla="*/ 0 w 58"/>
                <a:gd name="T81" fmla="*/ 76 h 80"/>
                <a:gd name="T82" fmla="*/ 0 w 58"/>
                <a:gd name="T83" fmla="*/ 72 h 80"/>
                <a:gd name="T84" fmla="*/ 0 w 58"/>
                <a:gd name="T85" fmla="*/ 72 h 80"/>
                <a:gd name="T86" fmla="*/ 0 w 58"/>
                <a:gd name="T87" fmla="*/ 72 h 80"/>
                <a:gd name="T88" fmla="*/ 0 w 58"/>
                <a:gd name="T89" fmla="*/ 64 h 80"/>
                <a:gd name="T90" fmla="*/ 0 w 58"/>
                <a:gd name="T91" fmla="*/ 64 h 80"/>
                <a:gd name="T92" fmla="*/ 0 w 58"/>
                <a:gd name="T93" fmla="*/ 64 h 80"/>
                <a:gd name="T94" fmla="*/ 0 w 58"/>
                <a:gd name="T95" fmla="*/ 60 h 80"/>
                <a:gd name="T96" fmla="*/ 0 w 58"/>
                <a:gd name="T97" fmla="*/ 56 h 80"/>
                <a:gd name="T98" fmla="*/ 0 w 58"/>
                <a:gd name="T99" fmla="*/ 56 h 80"/>
                <a:gd name="T100" fmla="*/ 2 w 58"/>
                <a:gd name="T101" fmla="*/ 54 h 80"/>
                <a:gd name="T102" fmla="*/ 2 w 58"/>
                <a:gd name="T103" fmla="*/ 50 h 80"/>
                <a:gd name="T104" fmla="*/ 2 w 58"/>
                <a:gd name="T105" fmla="*/ 46 h 80"/>
                <a:gd name="T106" fmla="*/ 2 w 58"/>
                <a:gd name="T107" fmla="*/ 46 h 80"/>
                <a:gd name="T108" fmla="*/ 6 w 58"/>
                <a:gd name="T109" fmla="*/ 42 h 80"/>
                <a:gd name="T110" fmla="*/ 6 w 58"/>
                <a:gd name="T111" fmla="*/ 42 h 80"/>
                <a:gd name="T112" fmla="*/ 2 w 58"/>
                <a:gd name="T113" fmla="*/ 42 h 80"/>
                <a:gd name="T114" fmla="*/ 6 w 58"/>
                <a:gd name="T115" fmla="*/ 38 h 80"/>
                <a:gd name="T116" fmla="*/ 6 w 58"/>
                <a:gd name="T117" fmla="*/ 38 h 80"/>
                <a:gd name="T118" fmla="*/ 6 w 58"/>
                <a:gd name="T119" fmla="*/ 34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8" h="80">
                  <a:moveTo>
                    <a:pt x="6" y="34"/>
                  </a:move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4" y="16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8" y="20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48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6" y="34"/>
                  </a:lnTo>
                  <a:lnTo>
                    <a:pt x="32" y="34"/>
                  </a:lnTo>
                  <a:lnTo>
                    <a:pt x="28" y="34"/>
                  </a:lnTo>
                  <a:lnTo>
                    <a:pt x="26" y="34"/>
                  </a:lnTo>
                  <a:lnTo>
                    <a:pt x="32" y="42"/>
                  </a:lnTo>
                  <a:lnTo>
                    <a:pt x="32" y="46"/>
                  </a:lnTo>
                  <a:lnTo>
                    <a:pt x="36" y="46"/>
                  </a:lnTo>
                  <a:lnTo>
                    <a:pt x="40" y="54"/>
                  </a:lnTo>
                  <a:lnTo>
                    <a:pt x="36" y="56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2" y="68"/>
                  </a:lnTo>
                  <a:lnTo>
                    <a:pt x="22" y="72"/>
                  </a:lnTo>
                  <a:lnTo>
                    <a:pt x="18" y="76"/>
                  </a:lnTo>
                  <a:lnTo>
                    <a:pt x="14" y="80"/>
                  </a:lnTo>
                  <a:lnTo>
                    <a:pt x="6" y="76"/>
                  </a:lnTo>
                  <a:lnTo>
                    <a:pt x="2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close/>
                </a:path>
              </a:pathLst>
            </a:custGeom>
            <a:solidFill>
              <a:srgbClr val="FFFF00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4" name="Freeform 34">
              <a:extLst>
                <a:ext uri="{FF2B5EF4-FFF2-40B4-BE49-F238E27FC236}">
                  <a16:creationId xmlns:a16="http://schemas.microsoft.com/office/drawing/2014/main" id="{B8741C47-4BF2-DE5F-2C37-7EA5BBA0747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1162" y="2232837"/>
              <a:ext cx="1126071" cy="569423"/>
            </a:xfrm>
            <a:custGeom>
              <a:avLst/>
              <a:gdLst>
                <a:gd name="T0" fmla="*/ 388 w 578"/>
                <a:gd name="T1" fmla="*/ 254 h 302"/>
                <a:gd name="T2" fmla="*/ 372 w 578"/>
                <a:gd name="T3" fmla="*/ 262 h 302"/>
                <a:gd name="T4" fmla="*/ 342 w 578"/>
                <a:gd name="T5" fmla="*/ 272 h 302"/>
                <a:gd name="T6" fmla="*/ 316 w 578"/>
                <a:gd name="T7" fmla="*/ 294 h 302"/>
                <a:gd name="T8" fmla="*/ 306 w 578"/>
                <a:gd name="T9" fmla="*/ 292 h 302"/>
                <a:gd name="T10" fmla="*/ 278 w 578"/>
                <a:gd name="T11" fmla="*/ 272 h 302"/>
                <a:gd name="T12" fmla="*/ 264 w 578"/>
                <a:gd name="T13" fmla="*/ 248 h 302"/>
                <a:gd name="T14" fmla="*/ 220 w 578"/>
                <a:gd name="T15" fmla="*/ 248 h 302"/>
                <a:gd name="T16" fmla="*/ 156 w 578"/>
                <a:gd name="T17" fmla="*/ 210 h 302"/>
                <a:gd name="T18" fmla="*/ 136 w 578"/>
                <a:gd name="T19" fmla="*/ 254 h 302"/>
                <a:gd name="T20" fmla="*/ 134 w 578"/>
                <a:gd name="T21" fmla="*/ 292 h 302"/>
                <a:gd name="T22" fmla="*/ 110 w 578"/>
                <a:gd name="T23" fmla="*/ 268 h 302"/>
                <a:gd name="T24" fmla="*/ 76 w 578"/>
                <a:gd name="T25" fmla="*/ 288 h 302"/>
                <a:gd name="T26" fmla="*/ 44 w 578"/>
                <a:gd name="T27" fmla="*/ 258 h 302"/>
                <a:gd name="T28" fmla="*/ 36 w 578"/>
                <a:gd name="T29" fmla="*/ 214 h 302"/>
                <a:gd name="T30" fmla="*/ 36 w 578"/>
                <a:gd name="T31" fmla="*/ 188 h 302"/>
                <a:gd name="T32" fmla="*/ 30 w 578"/>
                <a:gd name="T33" fmla="*/ 168 h 302"/>
                <a:gd name="T34" fmla="*/ 6 w 578"/>
                <a:gd name="T35" fmla="*/ 150 h 302"/>
                <a:gd name="T36" fmla="*/ 6 w 578"/>
                <a:gd name="T37" fmla="*/ 128 h 302"/>
                <a:gd name="T38" fmla="*/ 18 w 578"/>
                <a:gd name="T39" fmla="*/ 110 h 302"/>
                <a:gd name="T40" fmla="*/ 34 w 578"/>
                <a:gd name="T41" fmla="*/ 112 h 302"/>
                <a:gd name="T42" fmla="*/ 44 w 578"/>
                <a:gd name="T43" fmla="*/ 90 h 302"/>
                <a:gd name="T44" fmla="*/ 62 w 578"/>
                <a:gd name="T45" fmla="*/ 84 h 302"/>
                <a:gd name="T46" fmla="*/ 76 w 578"/>
                <a:gd name="T47" fmla="*/ 80 h 302"/>
                <a:gd name="T48" fmla="*/ 100 w 578"/>
                <a:gd name="T49" fmla="*/ 84 h 302"/>
                <a:gd name="T50" fmla="*/ 114 w 578"/>
                <a:gd name="T51" fmla="*/ 102 h 302"/>
                <a:gd name="T52" fmla="*/ 130 w 578"/>
                <a:gd name="T53" fmla="*/ 106 h 302"/>
                <a:gd name="T54" fmla="*/ 160 w 578"/>
                <a:gd name="T55" fmla="*/ 98 h 302"/>
                <a:gd name="T56" fmla="*/ 178 w 578"/>
                <a:gd name="T57" fmla="*/ 102 h 302"/>
                <a:gd name="T58" fmla="*/ 204 w 578"/>
                <a:gd name="T59" fmla="*/ 102 h 302"/>
                <a:gd name="T60" fmla="*/ 204 w 578"/>
                <a:gd name="T61" fmla="*/ 84 h 302"/>
                <a:gd name="T62" fmla="*/ 204 w 578"/>
                <a:gd name="T63" fmla="*/ 68 h 302"/>
                <a:gd name="T64" fmla="*/ 216 w 578"/>
                <a:gd name="T65" fmla="*/ 54 h 302"/>
                <a:gd name="T66" fmla="*/ 208 w 578"/>
                <a:gd name="T67" fmla="*/ 46 h 302"/>
                <a:gd name="T68" fmla="*/ 208 w 578"/>
                <a:gd name="T69" fmla="*/ 38 h 302"/>
                <a:gd name="T70" fmla="*/ 226 w 578"/>
                <a:gd name="T71" fmla="*/ 30 h 302"/>
                <a:gd name="T72" fmla="*/ 256 w 578"/>
                <a:gd name="T73" fmla="*/ 24 h 302"/>
                <a:gd name="T74" fmla="*/ 276 w 578"/>
                <a:gd name="T75" fmla="*/ 20 h 302"/>
                <a:gd name="T76" fmla="*/ 306 w 578"/>
                <a:gd name="T77" fmla="*/ 8 h 302"/>
                <a:gd name="T78" fmla="*/ 332 w 578"/>
                <a:gd name="T79" fmla="*/ 4 h 302"/>
                <a:gd name="T80" fmla="*/ 354 w 578"/>
                <a:gd name="T81" fmla="*/ 16 h 302"/>
                <a:gd name="T82" fmla="*/ 366 w 578"/>
                <a:gd name="T83" fmla="*/ 28 h 302"/>
                <a:gd name="T84" fmla="*/ 368 w 578"/>
                <a:gd name="T85" fmla="*/ 30 h 302"/>
                <a:gd name="T86" fmla="*/ 380 w 578"/>
                <a:gd name="T87" fmla="*/ 34 h 302"/>
                <a:gd name="T88" fmla="*/ 398 w 578"/>
                <a:gd name="T89" fmla="*/ 38 h 302"/>
                <a:gd name="T90" fmla="*/ 420 w 578"/>
                <a:gd name="T91" fmla="*/ 24 h 302"/>
                <a:gd name="T92" fmla="*/ 436 w 578"/>
                <a:gd name="T93" fmla="*/ 38 h 302"/>
                <a:gd name="T94" fmla="*/ 462 w 578"/>
                <a:gd name="T95" fmla="*/ 68 h 302"/>
                <a:gd name="T96" fmla="*/ 480 w 578"/>
                <a:gd name="T97" fmla="*/ 90 h 302"/>
                <a:gd name="T98" fmla="*/ 498 w 578"/>
                <a:gd name="T99" fmla="*/ 98 h 302"/>
                <a:gd name="T100" fmla="*/ 524 w 578"/>
                <a:gd name="T101" fmla="*/ 94 h 302"/>
                <a:gd name="T102" fmla="*/ 548 w 578"/>
                <a:gd name="T103" fmla="*/ 116 h 302"/>
                <a:gd name="T104" fmla="*/ 566 w 578"/>
                <a:gd name="T105" fmla="*/ 124 h 302"/>
                <a:gd name="T106" fmla="*/ 570 w 578"/>
                <a:gd name="T107" fmla="*/ 136 h 302"/>
                <a:gd name="T108" fmla="*/ 554 w 578"/>
                <a:gd name="T109" fmla="*/ 158 h 302"/>
                <a:gd name="T110" fmla="*/ 540 w 578"/>
                <a:gd name="T111" fmla="*/ 176 h 302"/>
                <a:gd name="T112" fmla="*/ 514 w 578"/>
                <a:gd name="T113" fmla="*/ 188 h 302"/>
                <a:gd name="T114" fmla="*/ 514 w 578"/>
                <a:gd name="T115" fmla="*/ 214 h 302"/>
                <a:gd name="T116" fmla="*/ 484 w 578"/>
                <a:gd name="T117" fmla="*/ 214 h 302"/>
                <a:gd name="T118" fmla="*/ 480 w 578"/>
                <a:gd name="T119" fmla="*/ 232 h 302"/>
                <a:gd name="T120" fmla="*/ 484 w 578"/>
                <a:gd name="T121" fmla="*/ 258 h 302"/>
                <a:gd name="T122" fmla="*/ 466 w 578"/>
                <a:gd name="T123" fmla="*/ 268 h 302"/>
                <a:gd name="T124" fmla="*/ 436 w 578"/>
                <a:gd name="T125" fmla="*/ 258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8" h="302">
                  <a:moveTo>
                    <a:pt x="416" y="258"/>
                  </a:moveTo>
                  <a:lnTo>
                    <a:pt x="412" y="262"/>
                  </a:lnTo>
                  <a:lnTo>
                    <a:pt x="408" y="262"/>
                  </a:lnTo>
                  <a:lnTo>
                    <a:pt x="408" y="258"/>
                  </a:lnTo>
                  <a:lnTo>
                    <a:pt x="406" y="258"/>
                  </a:lnTo>
                  <a:lnTo>
                    <a:pt x="402" y="258"/>
                  </a:lnTo>
                  <a:lnTo>
                    <a:pt x="398" y="254"/>
                  </a:lnTo>
                  <a:lnTo>
                    <a:pt x="394" y="254"/>
                  </a:lnTo>
                  <a:lnTo>
                    <a:pt x="392" y="254"/>
                  </a:lnTo>
                  <a:lnTo>
                    <a:pt x="388" y="254"/>
                  </a:lnTo>
                  <a:lnTo>
                    <a:pt x="384" y="254"/>
                  </a:lnTo>
                  <a:lnTo>
                    <a:pt x="384" y="258"/>
                  </a:lnTo>
                  <a:lnTo>
                    <a:pt x="384" y="262"/>
                  </a:lnTo>
                  <a:lnTo>
                    <a:pt x="384" y="266"/>
                  </a:lnTo>
                  <a:lnTo>
                    <a:pt x="384" y="268"/>
                  </a:lnTo>
                  <a:lnTo>
                    <a:pt x="380" y="268"/>
                  </a:lnTo>
                  <a:lnTo>
                    <a:pt x="380" y="266"/>
                  </a:lnTo>
                  <a:lnTo>
                    <a:pt x="376" y="266"/>
                  </a:lnTo>
                  <a:lnTo>
                    <a:pt x="372" y="266"/>
                  </a:lnTo>
                  <a:lnTo>
                    <a:pt x="372" y="262"/>
                  </a:lnTo>
                  <a:lnTo>
                    <a:pt x="368" y="262"/>
                  </a:lnTo>
                  <a:lnTo>
                    <a:pt x="366" y="262"/>
                  </a:lnTo>
                  <a:lnTo>
                    <a:pt x="362" y="262"/>
                  </a:lnTo>
                  <a:lnTo>
                    <a:pt x="358" y="262"/>
                  </a:lnTo>
                  <a:lnTo>
                    <a:pt x="354" y="262"/>
                  </a:lnTo>
                  <a:lnTo>
                    <a:pt x="350" y="262"/>
                  </a:lnTo>
                  <a:lnTo>
                    <a:pt x="350" y="266"/>
                  </a:lnTo>
                  <a:lnTo>
                    <a:pt x="346" y="268"/>
                  </a:lnTo>
                  <a:lnTo>
                    <a:pt x="346" y="272"/>
                  </a:lnTo>
                  <a:lnTo>
                    <a:pt x="342" y="272"/>
                  </a:lnTo>
                  <a:lnTo>
                    <a:pt x="342" y="276"/>
                  </a:lnTo>
                  <a:lnTo>
                    <a:pt x="338" y="272"/>
                  </a:lnTo>
                  <a:lnTo>
                    <a:pt x="338" y="276"/>
                  </a:lnTo>
                  <a:lnTo>
                    <a:pt x="336" y="280"/>
                  </a:lnTo>
                  <a:lnTo>
                    <a:pt x="332" y="284"/>
                  </a:lnTo>
                  <a:lnTo>
                    <a:pt x="328" y="284"/>
                  </a:lnTo>
                  <a:lnTo>
                    <a:pt x="324" y="288"/>
                  </a:lnTo>
                  <a:lnTo>
                    <a:pt x="320" y="288"/>
                  </a:lnTo>
                  <a:lnTo>
                    <a:pt x="320" y="292"/>
                  </a:lnTo>
                  <a:lnTo>
                    <a:pt x="316" y="294"/>
                  </a:lnTo>
                  <a:lnTo>
                    <a:pt x="316" y="298"/>
                  </a:lnTo>
                  <a:lnTo>
                    <a:pt x="312" y="298"/>
                  </a:lnTo>
                  <a:lnTo>
                    <a:pt x="312" y="302"/>
                  </a:lnTo>
                  <a:lnTo>
                    <a:pt x="316" y="302"/>
                  </a:lnTo>
                  <a:lnTo>
                    <a:pt x="312" y="302"/>
                  </a:lnTo>
                  <a:lnTo>
                    <a:pt x="308" y="302"/>
                  </a:lnTo>
                  <a:lnTo>
                    <a:pt x="306" y="298"/>
                  </a:lnTo>
                  <a:lnTo>
                    <a:pt x="308" y="294"/>
                  </a:lnTo>
                  <a:lnTo>
                    <a:pt x="306" y="294"/>
                  </a:lnTo>
                  <a:lnTo>
                    <a:pt x="306" y="292"/>
                  </a:lnTo>
                  <a:lnTo>
                    <a:pt x="302" y="292"/>
                  </a:lnTo>
                  <a:lnTo>
                    <a:pt x="298" y="292"/>
                  </a:lnTo>
                  <a:lnTo>
                    <a:pt x="294" y="292"/>
                  </a:lnTo>
                  <a:lnTo>
                    <a:pt x="290" y="292"/>
                  </a:lnTo>
                  <a:lnTo>
                    <a:pt x="286" y="292"/>
                  </a:lnTo>
                  <a:lnTo>
                    <a:pt x="286" y="288"/>
                  </a:lnTo>
                  <a:lnTo>
                    <a:pt x="286" y="280"/>
                  </a:lnTo>
                  <a:lnTo>
                    <a:pt x="282" y="276"/>
                  </a:lnTo>
                  <a:lnTo>
                    <a:pt x="278" y="276"/>
                  </a:lnTo>
                  <a:lnTo>
                    <a:pt x="278" y="272"/>
                  </a:lnTo>
                  <a:lnTo>
                    <a:pt x="278" y="268"/>
                  </a:lnTo>
                  <a:lnTo>
                    <a:pt x="278" y="266"/>
                  </a:lnTo>
                  <a:lnTo>
                    <a:pt x="278" y="262"/>
                  </a:lnTo>
                  <a:lnTo>
                    <a:pt x="278" y="258"/>
                  </a:lnTo>
                  <a:lnTo>
                    <a:pt x="276" y="258"/>
                  </a:lnTo>
                  <a:lnTo>
                    <a:pt x="272" y="254"/>
                  </a:lnTo>
                  <a:lnTo>
                    <a:pt x="272" y="252"/>
                  </a:lnTo>
                  <a:lnTo>
                    <a:pt x="268" y="252"/>
                  </a:lnTo>
                  <a:lnTo>
                    <a:pt x="268" y="248"/>
                  </a:lnTo>
                  <a:lnTo>
                    <a:pt x="264" y="248"/>
                  </a:lnTo>
                  <a:lnTo>
                    <a:pt x="264" y="244"/>
                  </a:lnTo>
                  <a:lnTo>
                    <a:pt x="260" y="244"/>
                  </a:lnTo>
                  <a:lnTo>
                    <a:pt x="256" y="248"/>
                  </a:lnTo>
                  <a:lnTo>
                    <a:pt x="250" y="248"/>
                  </a:lnTo>
                  <a:lnTo>
                    <a:pt x="246" y="248"/>
                  </a:lnTo>
                  <a:lnTo>
                    <a:pt x="242" y="244"/>
                  </a:lnTo>
                  <a:lnTo>
                    <a:pt x="238" y="244"/>
                  </a:lnTo>
                  <a:lnTo>
                    <a:pt x="230" y="248"/>
                  </a:lnTo>
                  <a:lnTo>
                    <a:pt x="226" y="248"/>
                  </a:lnTo>
                  <a:lnTo>
                    <a:pt x="220" y="248"/>
                  </a:lnTo>
                  <a:lnTo>
                    <a:pt x="220" y="244"/>
                  </a:lnTo>
                  <a:lnTo>
                    <a:pt x="216" y="240"/>
                  </a:lnTo>
                  <a:lnTo>
                    <a:pt x="212" y="236"/>
                  </a:lnTo>
                  <a:lnTo>
                    <a:pt x="208" y="232"/>
                  </a:lnTo>
                  <a:lnTo>
                    <a:pt x="186" y="218"/>
                  </a:lnTo>
                  <a:lnTo>
                    <a:pt x="170" y="206"/>
                  </a:lnTo>
                  <a:lnTo>
                    <a:pt x="166" y="206"/>
                  </a:lnTo>
                  <a:lnTo>
                    <a:pt x="164" y="210"/>
                  </a:lnTo>
                  <a:lnTo>
                    <a:pt x="160" y="210"/>
                  </a:lnTo>
                  <a:lnTo>
                    <a:pt x="156" y="210"/>
                  </a:lnTo>
                  <a:lnTo>
                    <a:pt x="152" y="214"/>
                  </a:lnTo>
                  <a:lnTo>
                    <a:pt x="144" y="214"/>
                  </a:lnTo>
                  <a:lnTo>
                    <a:pt x="140" y="218"/>
                  </a:lnTo>
                  <a:lnTo>
                    <a:pt x="136" y="218"/>
                  </a:lnTo>
                  <a:lnTo>
                    <a:pt x="136" y="222"/>
                  </a:lnTo>
                  <a:lnTo>
                    <a:pt x="136" y="228"/>
                  </a:lnTo>
                  <a:lnTo>
                    <a:pt x="136" y="240"/>
                  </a:lnTo>
                  <a:lnTo>
                    <a:pt x="136" y="244"/>
                  </a:lnTo>
                  <a:lnTo>
                    <a:pt x="136" y="252"/>
                  </a:lnTo>
                  <a:lnTo>
                    <a:pt x="136" y="254"/>
                  </a:lnTo>
                  <a:lnTo>
                    <a:pt x="136" y="258"/>
                  </a:lnTo>
                  <a:lnTo>
                    <a:pt x="136" y="262"/>
                  </a:lnTo>
                  <a:lnTo>
                    <a:pt x="136" y="266"/>
                  </a:lnTo>
                  <a:lnTo>
                    <a:pt x="136" y="272"/>
                  </a:lnTo>
                  <a:lnTo>
                    <a:pt x="136" y="280"/>
                  </a:lnTo>
                  <a:lnTo>
                    <a:pt x="136" y="284"/>
                  </a:lnTo>
                  <a:lnTo>
                    <a:pt x="136" y="288"/>
                  </a:lnTo>
                  <a:lnTo>
                    <a:pt x="136" y="292"/>
                  </a:lnTo>
                  <a:lnTo>
                    <a:pt x="134" y="288"/>
                  </a:lnTo>
                  <a:lnTo>
                    <a:pt x="134" y="292"/>
                  </a:lnTo>
                  <a:lnTo>
                    <a:pt x="130" y="292"/>
                  </a:lnTo>
                  <a:lnTo>
                    <a:pt x="126" y="292"/>
                  </a:lnTo>
                  <a:lnTo>
                    <a:pt x="126" y="288"/>
                  </a:lnTo>
                  <a:lnTo>
                    <a:pt x="126" y="284"/>
                  </a:lnTo>
                  <a:lnTo>
                    <a:pt x="122" y="284"/>
                  </a:lnTo>
                  <a:lnTo>
                    <a:pt x="122" y="280"/>
                  </a:lnTo>
                  <a:lnTo>
                    <a:pt x="118" y="276"/>
                  </a:lnTo>
                  <a:lnTo>
                    <a:pt x="114" y="272"/>
                  </a:lnTo>
                  <a:lnTo>
                    <a:pt x="110" y="272"/>
                  </a:lnTo>
                  <a:lnTo>
                    <a:pt x="110" y="268"/>
                  </a:lnTo>
                  <a:lnTo>
                    <a:pt x="106" y="268"/>
                  </a:lnTo>
                  <a:lnTo>
                    <a:pt x="104" y="268"/>
                  </a:lnTo>
                  <a:lnTo>
                    <a:pt x="100" y="272"/>
                  </a:lnTo>
                  <a:lnTo>
                    <a:pt x="96" y="272"/>
                  </a:lnTo>
                  <a:lnTo>
                    <a:pt x="92" y="272"/>
                  </a:lnTo>
                  <a:lnTo>
                    <a:pt x="92" y="276"/>
                  </a:lnTo>
                  <a:lnTo>
                    <a:pt x="88" y="276"/>
                  </a:lnTo>
                  <a:lnTo>
                    <a:pt x="84" y="280"/>
                  </a:lnTo>
                  <a:lnTo>
                    <a:pt x="80" y="284"/>
                  </a:lnTo>
                  <a:lnTo>
                    <a:pt x="76" y="288"/>
                  </a:lnTo>
                  <a:lnTo>
                    <a:pt x="74" y="288"/>
                  </a:lnTo>
                  <a:lnTo>
                    <a:pt x="66" y="292"/>
                  </a:lnTo>
                  <a:lnTo>
                    <a:pt x="66" y="288"/>
                  </a:lnTo>
                  <a:lnTo>
                    <a:pt x="62" y="284"/>
                  </a:lnTo>
                  <a:lnTo>
                    <a:pt x="60" y="280"/>
                  </a:lnTo>
                  <a:lnTo>
                    <a:pt x="60" y="276"/>
                  </a:lnTo>
                  <a:lnTo>
                    <a:pt x="56" y="272"/>
                  </a:lnTo>
                  <a:lnTo>
                    <a:pt x="52" y="268"/>
                  </a:lnTo>
                  <a:lnTo>
                    <a:pt x="48" y="262"/>
                  </a:lnTo>
                  <a:lnTo>
                    <a:pt x="44" y="258"/>
                  </a:lnTo>
                  <a:lnTo>
                    <a:pt x="44" y="254"/>
                  </a:lnTo>
                  <a:lnTo>
                    <a:pt x="40" y="252"/>
                  </a:lnTo>
                  <a:lnTo>
                    <a:pt x="40" y="248"/>
                  </a:lnTo>
                  <a:lnTo>
                    <a:pt x="36" y="240"/>
                  </a:lnTo>
                  <a:lnTo>
                    <a:pt x="36" y="236"/>
                  </a:lnTo>
                  <a:lnTo>
                    <a:pt x="36" y="232"/>
                  </a:lnTo>
                  <a:lnTo>
                    <a:pt x="34" y="224"/>
                  </a:lnTo>
                  <a:lnTo>
                    <a:pt x="34" y="222"/>
                  </a:lnTo>
                  <a:lnTo>
                    <a:pt x="34" y="218"/>
                  </a:lnTo>
                  <a:lnTo>
                    <a:pt x="36" y="214"/>
                  </a:lnTo>
                  <a:lnTo>
                    <a:pt x="40" y="210"/>
                  </a:lnTo>
                  <a:lnTo>
                    <a:pt x="44" y="206"/>
                  </a:lnTo>
                  <a:lnTo>
                    <a:pt x="48" y="202"/>
                  </a:lnTo>
                  <a:lnTo>
                    <a:pt x="52" y="202"/>
                  </a:lnTo>
                  <a:lnTo>
                    <a:pt x="52" y="198"/>
                  </a:lnTo>
                  <a:lnTo>
                    <a:pt x="48" y="198"/>
                  </a:lnTo>
                  <a:lnTo>
                    <a:pt x="44" y="196"/>
                  </a:lnTo>
                  <a:lnTo>
                    <a:pt x="40" y="196"/>
                  </a:lnTo>
                  <a:lnTo>
                    <a:pt x="40" y="192"/>
                  </a:lnTo>
                  <a:lnTo>
                    <a:pt x="36" y="188"/>
                  </a:lnTo>
                  <a:lnTo>
                    <a:pt x="34" y="188"/>
                  </a:lnTo>
                  <a:lnTo>
                    <a:pt x="30" y="188"/>
                  </a:lnTo>
                  <a:lnTo>
                    <a:pt x="30" y="184"/>
                  </a:lnTo>
                  <a:lnTo>
                    <a:pt x="34" y="180"/>
                  </a:lnTo>
                  <a:lnTo>
                    <a:pt x="34" y="184"/>
                  </a:lnTo>
                  <a:lnTo>
                    <a:pt x="36" y="184"/>
                  </a:lnTo>
                  <a:lnTo>
                    <a:pt x="36" y="180"/>
                  </a:lnTo>
                  <a:lnTo>
                    <a:pt x="34" y="176"/>
                  </a:lnTo>
                  <a:lnTo>
                    <a:pt x="34" y="172"/>
                  </a:lnTo>
                  <a:lnTo>
                    <a:pt x="30" y="168"/>
                  </a:lnTo>
                  <a:lnTo>
                    <a:pt x="26" y="166"/>
                  </a:lnTo>
                  <a:lnTo>
                    <a:pt x="26" y="162"/>
                  </a:lnTo>
                  <a:lnTo>
                    <a:pt x="22" y="162"/>
                  </a:lnTo>
                  <a:lnTo>
                    <a:pt x="18" y="162"/>
                  </a:lnTo>
                  <a:lnTo>
                    <a:pt x="14" y="162"/>
                  </a:lnTo>
                  <a:lnTo>
                    <a:pt x="10" y="162"/>
                  </a:lnTo>
                  <a:lnTo>
                    <a:pt x="10" y="158"/>
                  </a:lnTo>
                  <a:lnTo>
                    <a:pt x="10" y="154"/>
                  </a:lnTo>
                  <a:lnTo>
                    <a:pt x="10" y="150"/>
                  </a:lnTo>
                  <a:lnTo>
                    <a:pt x="6" y="150"/>
                  </a:lnTo>
                  <a:lnTo>
                    <a:pt x="4" y="150"/>
                  </a:lnTo>
                  <a:lnTo>
                    <a:pt x="0" y="146"/>
                  </a:lnTo>
                  <a:lnTo>
                    <a:pt x="4" y="146"/>
                  </a:lnTo>
                  <a:lnTo>
                    <a:pt x="4" y="142"/>
                  </a:lnTo>
                  <a:lnTo>
                    <a:pt x="6" y="140"/>
                  </a:lnTo>
                  <a:lnTo>
                    <a:pt x="6" y="136"/>
                  </a:lnTo>
                  <a:lnTo>
                    <a:pt x="10" y="136"/>
                  </a:lnTo>
                  <a:lnTo>
                    <a:pt x="10" y="132"/>
                  </a:lnTo>
                  <a:lnTo>
                    <a:pt x="6" y="132"/>
                  </a:lnTo>
                  <a:lnTo>
                    <a:pt x="6" y="128"/>
                  </a:lnTo>
                  <a:lnTo>
                    <a:pt x="6" y="124"/>
                  </a:lnTo>
                  <a:lnTo>
                    <a:pt x="6" y="116"/>
                  </a:lnTo>
                  <a:lnTo>
                    <a:pt x="10" y="116"/>
                  </a:lnTo>
                  <a:lnTo>
                    <a:pt x="14" y="116"/>
                  </a:lnTo>
                  <a:lnTo>
                    <a:pt x="14" y="112"/>
                  </a:lnTo>
                  <a:lnTo>
                    <a:pt x="10" y="112"/>
                  </a:lnTo>
                  <a:lnTo>
                    <a:pt x="14" y="110"/>
                  </a:lnTo>
                  <a:lnTo>
                    <a:pt x="14" y="106"/>
                  </a:lnTo>
                  <a:lnTo>
                    <a:pt x="18" y="106"/>
                  </a:lnTo>
                  <a:lnTo>
                    <a:pt x="18" y="110"/>
                  </a:lnTo>
                  <a:lnTo>
                    <a:pt x="22" y="110"/>
                  </a:lnTo>
                  <a:lnTo>
                    <a:pt x="22" y="112"/>
                  </a:lnTo>
                  <a:lnTo>
                    <a:pt x="26" y="112"/>
                  </a:lnTo>
                  <a:lnTo>
                    <a:pt x="26" y="116"/>
                  </a:lnTo>
                  <a:lnTo>
                    <a:pt x="30" y="120"/>
                  </a:lnTo>
                  <a:lnTo>
                    <a:pt x="30" y="116"/>
                  </a:lnTo>
                  <a:lnTo>
                    <a:pt x="34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4" y="112"/>
                  </a:lnTo>
                  <a:lnTo>
                    <a:pt x="34" y="110"/>
                  </a:lnTo>
                  <a:lnTo>
                    <a:pt x="34" y="106"/>
                  </a:lnTo>
                  <a:lnTo>
                    <a:pt x="34" y="102"/>
                  </a:lnTo>
                  <a:lnTo>
                    <a:pt x="36" y="102"/>
                  </a:lnTo>
                  <a:lnTo>
                    <a:pt x="36" y="98"/>
                  </a:lnTo>
                  <a:lnTo>
                    <a:pt x="40" y="98"/>
                  </a:lnTo>
                  <a:lnTo>
                    <a:pt x="44" y="98"/>
                  </a:lnTo>
                  <a:lnTo>
                    <a:pt x="40" y="94"/>
                  </a:lnTo>
                  <a:lnTo>
                    <a:pt x="44" y="94"/>
                  </a:lnTo>
                  <a:lnTo>
                    <a:pt x="44" y="90"/>
                  </a:lnTo>
                  <a:lnTo>
                    <a:pt x="44" y="94"/>
                  </a:lnTo>
                  <a:lnTo>
                    <a:pt x="48" y="90"/>
                  </a:lnTo>
                  <a:lnTo>
                    <a:pt x="52" y="90"/>
                  </a:lnTo>
                  <a:lnTo>
                    <a:pt x="56" y="90"/>
                  </a:lnTo>
                  <a:lnTo>
                    <a:pt x="56" y="86"/>
                  </a:lnTo>
                  <a:lnTo>
                    <a:pt x="60" y="86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2" y="84"/>
                  </a:lnTo>
                  <a:lnTo>
                    <a:pt x="62" y="80"/>
                  </a:lnTo>
                  <a:lnTo>
                    <a:pt x="66" y="80"/>
                  </a:lnTo>
                  <a:lnTo>
                    <a:pt x="70" y="80"/>
                  </a:lnTo>
                  <a:lnTo>
                    <a:pt x="70" y="84"/>
                  </a:lnTo>
                  <a:lnTo>
                    <a:pt x="74" y="84"/>
                  </a:lnTo>
                  <a:lnTo>
                    <a:pt x="74" y="86"/>
                  </a:lnTo>
                  <a:lnTo>
                    <a:pt x="76" y="84"/>
                  </a:lnTo>
                  <a:lnTo>
                    <a:pt x="74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8" y="86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6"/>
                  </a:lnTo>
                  <a:lnTo>
                    <a:pt x="92" y="84"/>
                  </a:lnTo>
                  <a:lnTo>
                    <a:pt x="96" y="84"/>
                  </a:lnTo>
                  <a:lnTo>
                    <a:pt x="100" y="84"/>
                  </a:lnTo>
                  <a:lnTo>
                    <a:pt x="104" y="86"/>
                  </a:lnTo>
                  <a:lnTo>
                    <a:pt x="100" y="86"/>
                  </a:lnTo>
                  <a:lnTo>
                    <a:pt x="104" y="90"/>
                  </a:lnTo>
                  <a:lnTo>
                    <a:pt x="106" y="90"/>
                  </a:lnTo>
                  <a:lnTo>
                    <a:pt x="106" y="94"/>
                  </a:lnTo>
                  <a:lnTo>
                    <a:pt x="110" y="94"/>
                  </a:lnTo>
                  <a:lnTo>
                    <a:pt x="110" y="98"/>
                  </a:lnTo>
                  <a:lnTo>
                    <a:pt x="114" y="98"/>
                  </a:lnTo>
                  <a:lnTo>
                    <a:pt x="110" y="102"/>
                  </a:lnTo>
                  <a:lnTo>
                    <a:pt x="114" y="102"/>
                  </a:lnTo>
                  <a:lnTo>
                    <a:pt x="114" y="106"/>
                  </a:lnTo>
                  <a:lnTo>
                    <a:pt x="118" y="102"/>
                  </a:lnTo>
                  <a:lnTo>
                    <a:pt x="114" y="102"/>
                  </a:lnTo>
                  <a:lnTo>
                    <a:pt x="114" y="98"/>
                  </a:lnTo>
                  <a:lnTo>
                    <a:pt x="114" y="94"/>
                  </a:lnTo>
                  <a:lnTo>
                    <a:pt x="118" y="94"/>
                  </a:lnTo>
                  <a:lnTo>
                    <a:pt x="122" y="98"/>
                  </a:lnTo>
                  <a:lnTo>
                    <a:pt x="126" y="102"/>
                  </a:lnTo>
                  <a:lnTo>
                    <a:pt x="130" y="102"/>
                  </a:lnTo>
                  <a:lnTo>
                    <a:pt x="130" y="106"/>
                  </a:lnTo>
                  <a:lnTo>
                    <a:pt x="134" y="102"/>
                  </a:lnTo>
                  <a:lnTo>
                    <a:pt x="136" y="102"/>
                  </a:lnTo>
                  <a:lnTo>
                    <a:pt x="136" y="98"/>
                  </a:lnTo>
                  <a:lnTo>
                    <a:pt x="140" y="98"/>
                  </a:lnTo>
                  <a:lnTo>
                    <a:pt x="140" y="94"/>
                  </a:lnTo>
                  <a:lnTo>
                    <a:pt x="144" y="94"/>
                  </a:lnTo>
                  <a:lnTo>
                    <a:pt x="148" y="94"/>
                  </a:lnTo>
                  <a:lnTo>
                    <a:pt x="152" y="94"/>
                  </a:lnTo>
                  <a:lnTo>
                    <a:pt x="156" y="98"/>
                  </a:lnTo>
                  <a:lnTo>
                    <a:pt x="160" y="98"/>
                  </a:lnTo>
                  <a:lnTo>
                    <a:pt x="160" y="94"/>
                  </a:lnTo>
                  <a:lnTo>
                    <a:pt x="160" y="90"/>
                  </a:lnTo>
                  <a:lnTo>
                    <a:pt x="164" y="94"/>
                  </a:lnTo>
                  <a:lnTo>
                    <a:pt x="166" y="94"/>
                  </a:lnTo>
                  <a:lnTo>
                    <a:pt x="166" y="90"/>
                  </a:lnTo>
                  <a:lnTo>
                    <a:pt x="170" y="90"/>
                  </a:lnTo>
                  <a:lnTo>
                    <a:pt x="170" y="94"/>
                  </a:lnTo>
                  <a:lnTo>
                    <a:pt x="170" y="98"/>
                  </a:lnTo>
                  <a:lnTo>
                    <a:pt x="174" y="98"/>
                  </a:lnTo>
                  <a:lnTo>
                    <a:pt x="178" y="102"/>
                  </a:lnTo>
                  <a:lnTo>
                    <a:pt x="182" y="102"/>
                  </a:lnTo>
                  <a:lnTo>
                    <a:pt x="186" y="102"/>
                  </a:lnTo>
                  <a:lnTo>
                    <a:pt x="186" y="106"/>
                  </a:lnTo>
                  <a:lnTo>
                    <a:pt x="190" y="106"/>
                  </a:lnTo>
                  <a:lnTo>
                    <a:pt x="190" y="102"/>
                  </a:lnTo>
                  <a:lnTo>
                    <a:pt x="190" y="98"/>
                  </a:lnTo>
                  <a:lnTo>
                    <a:pt x="192" y="98"/>
                  </a:lnTo>
                  <a:lnTo>
                    <a:pt x="196" y="102"/>
                  </a:lnTo>
                  <a:lnTo>
                    <a:pt x="200" y="102"/>
                  </a:lnTo>
                  <a:lnTo>
                    <a:pt x="204" y="102"/>
                  </a:lnTo>
                  <a:lnTo>
                    <a:pt x="208" y="102"/>
                  </a:lnTo>
                  <a:lnTo>
                    <a:pt x="212" y="98"/>
                  </a:lnTo>
                  <a:lnTo>
                    <a:pt x="212" y="94"/>
                  </a:lnTo>
                  <a:lnTo>
                    <a:pt x="216" y="90"/>
                  </a:lnTo>
                  <a:lnTo>
                    <a:pt x="216" y="86"/>
                  </a:lnTo>
                  <a:lnTo>
                    <a:pt x="212" y="86"/>
                  </a:lnTo>
                  <a:lnTo>
                    <a:pt x="208" y="84"/>
                  </a:lnTo>
                  <a:lnTo>
                    <a:pt x="208" y="86"/>
                  </a:lnTo>
                  <a:lnTo>
                    <a:pt x="208" y="84"/>
                  </a:lnTo>
                  <a:lnTo>
                    <a:pt x="204" y="84"/>
                  </a:lnTo>
                  <a:lnTo>
                    <a:pt x="200" y="84"/>
                  </a:lnTo>
                  <a:lnTo>
                    <a:pt x="196" y="80"/>
                  </a:lnTo>
                  <a:lnTo>
                    <a:pt x="200" y="80"/>
                  </a:lnTo>
                  <a:lnTo>
                    <a:pt x="196" y="80"/>
                  </a:lnTo>
                  <a:lnTo>
                    <a:pt x="196" y="76"/>
                  </a:lnTo>
                  <a:lnTo>
                    <a:pt x="192" y="76"/>
                  </a:lnTo>
                  <a:lnTo>
                    <a:pt x="192" y="72"/>
                  </a:lnTo>
                  <a:lnTo>
                    <a:pt x="196" y="72"/>
                  </a:lnTo>
                  <a:lnTo>
                    <a:pt x="200" y="72"/>
                  </a:lnTo>
                  <a:lnTo>
                    <a:pt x="204" y="68"/>
                  </a:lnTo>
                  <a:lnTo>
                    <a:pt x="208" y="68"/>
                  </a:lnTo>
                  <a:lnTo>
                    <a:pt x="208" y="64"/>
                  </a:lnTo>
                  <a:lnTo>
                    <a:pt x="204" y="64"/>
                  </a:lnTo>
                  <a:lnTo>
                    <a:pt x="204" y="60"/>
                  </a:lnTo>
                  <a:lnTo>
                    <a:pt x="200" y="60"/>
                  </a:lnTo>
                  <a:lnTo>
                    <a:pt x="200" y="56"/>
                  </a:lnTo>
                  <a:lnTo>
                    <a:pt x="204" y="56"/>
                  </a:lnTo>
                  <a:lnTo>
                    <a:pt x="208" y="54"/>
                  </a:lnTo>
                  <a:lnTo>
                    <a:pt x="212" y="54"/>
                  </a:lnTo>
                  <a:lnTo>
                    <a:pt x="216" y="54"/>
                  </a:lnTo>
                  <a:lnTo>
                    <a:pt x="220" y="54"/>
                  </a:lnTo>
                  <a:lnTo>
                    <a:pt x="222" y="54"/>
                  </a:lnTo>
                  <a:lnTo>
                    <a:pt x="222" y="50"/>
                  </a:lnTo>
                  <a:lnTo>
                    <a:pt x="220" y="50"/>
                  </a:lnTo>
                  <a:lnTo>
                    <a:pt x="216" y="50"/>
                  </a:lnTo>
                  <a:lnTo>
                    <a:pt x="216" y="46"/>
                  </a:lnTo>
                  <a:lnTo>
                    <a:pt x="216" y="50"/>
                  </a:lnTo>
                  <a:lnTo>
                    <a:pt x="212" y="50"/>
                  </a:lnTo>
                  <a:lnTo>
                    <a:pt x="212" y="46"/>
                  </a:lnTo>
                  <a:lnTo>
                    <a:pt x="208" y="46"/>
                  </a:lnTo>
                  <a:lnTo>
                    <a:pt x="208" y="42"/>
                  </a:lnTo>
                  <a:lnTo>
                    <a:pt x="212" y="42"/>
                  </a:lnTo>
                  <a:lnTo>
                    <a:pt x="216" y="42"/>
                  </a:lnTo>
                  <a:lnTo>
                    <a:pt x="216" y="38"/>
                  </a:lnTo>
                  <a:lnTo>
                    <a:pt x="212" y="38"/>
                  </a:lnTo>
                  <a:lnTo>
                    <a:pt x="212" y="42"/>
                  </a:lnTo>
                  <a:lnTo>
                    <a:pt x="208" y="42"/>
                  </a:lnTo>
                  <a:lnTo>
                    <a:pt x="208" y="38"/>
                  </a:lnTo>
                  <a:lnTo>
                    <a:pt x="204" y="38"/>
                  </a:lnTo>
                  <a:lnTo>
                    <a:pt x="208" y="38"/>
                  </a:lnTo>
                  <a:lnTo>
                    <a:pt x="208" y="34"/>
                  </a:lnTo>
                  <a:lnTo>
                    <a:pt x="204" y="34"/>
                  </a:lnTo>
                  <a:lnTo>
                    <a:pt x="208" y="30"/>
                  </a:lnTo>
                  <a:lnTo>
                    <a:pt x="212" y="30"/>
                  </a:lnTo>
                  <a:lnTo>
                    <a:pt x="216" y="30"/>
                  </a:lnTo>
                  <a:lnTo>
                    <a:pt x="220" y="30"/>
                  </a:lnTo>
                  <a:lnTo>
                    <a:pt x="222" y="30"/>
                  </a:lnTo>
                  <a:lnTo>
                    <a:pt x="226" y="30"/>
                  </a:lnTo>
                  <a:lnTo>
                    <a:pt x="226" y="34"/>
                  </a:lnTo>
                  <a:lnTo>
                    <a:pt x="226" y="30"/>
                  </a:lnTo>
                  <a:lnTo>
                    <a:pt x="230" y="30"/>
                  </a:lnTo>
                  <a:lnTo>
                    <a:pt x="234" y="30"/>
                  </a:lnTo>
                  <a:lnTo>
                    <a:pt x="234" y="28"/>
                  </a:lnTo>
                  <a:lnTo>
                    <a:pt x="238" y="28"/>
                  </a:lnTo>
                  <a:lnTo>
                    <a:pt x="242" y="28"/>
                  </a:lnTo>
                  <a:lnTo>
                    <a:pt x="246" y="28"/>
                  </a:lnTo>
                  <a:lnTo>
                    <a:pt x="250" y="28"/>
                  </a:lnTo>
                  <a:lnTo>
                    <a:pt x="250" y="24"/>
                  </a:lnTo>
                  <a:lnTo>
                    <a:pt x="252" y="24"/>
                  </a:lnTo>
                  <a:lnTo>
                    <a:pt x="256" y="24"/>
                  </a:lnTo>
                  <a:lnTo>
                    <a:pt x="260" y="24"/>
                  </a:lnTo>
                  <a:lnTo>
                    <a:pt x="264" y="24"/>
                  </a:lnTo>
                  <a:lnTo>
                    <a:pt x="268" y="24"/>
                  </a:lnTo>
                  <a:lnTo>
                    <a:pt x="264" y="24"/>
                  </a:lnTo>
                  <a:lnTo>
                    <a:pt x="264" y="20"/>
                  </a:lnTo>
                  <a:lnTo>
                    <a:pt x="268" y="20"/>
                  </a:lnTo>
                  <a:lnTo>
                    <a:pt x="268" y="16"/>
                  </a:lnTo>
                  <a:lnTo>
                    <a:pt x="272" y="16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76" y="16"/>
                  </a:lnTo>
                  <a:lnTo>
                    <a:pt x="278" y="16"/>
                  </a:lnTo>
                  <a:lnTo>
                    <a:pt x="282" y="16"/>
                  </a:lnTo>
                  <a:lnTo>
                    <a:pt x="286" y="16"/>
                  </a:lnTo>
                  <a:lnTo>
                    <a:pt x="290" y="16"/>
                  </a:lnTo>
                  <a:lnTo>
                    <a:pt x="294" y="12"/>
                  </a:lnTo>
                  <a:lnTo>
                    <a:pt x="298" y="12"/>
                  </a:lnTo>
                  <a:lnTo>
                    <a:pt x="302" y="12"/>
                  </a:lnTo>
                  <a:lnTo>
                    <a:pt x="302" y="8"/>
                  </a:lnTo>
                  <a:lnTo>
                    <a:pt x="306" y="8"/>
                  </a:lnTo>
                  <a:lnTo>
                    <a:pt x="306" y="12"/>
                  </a:lnTo>
                  <a:lnTo>
                    <a:pt x="308" y="8"/>
                  </a:lnTo>
                  <a:lnTo>
                    <a:pt x="308" y="4"/>
                  </a:lnTo>
                  <a:lnTo>
                    <a:pt x="312" y="4"/>
                  </a:lnTo>
                  <a:lnTo>
                    <a:pt x="316" y="0"/>
                  </a:lnTo>
                  <a:lnTo>
                    <a:pt x="320" y="4"/>
                  </a:lnTo>
                  <a:lnTo>
                    <a:pt x="320" y="0"/>
                  </a:lnTo>
                  <a:lnTo>
                    <a:pt x="324" y="0"/>
                  </a:lnTo>
                  <a:lnTo>
                    <a:pt x="328" y="0"/>
                  </a:lnTo>
                  <a:lnTo>
                    <a:pt x="332" y="4"/>
                  </a:lnTo>
                  <a:lnTo>
                    <a:pt x="336" y="4"/>
                  </a:lnTo>
                  <a:lnTo>
                    <a:pt x="338" y="4"/>
                  </a:lnTo>
                  <a:lnTo>
                    <a:pt x="342" y="4"/>
                  </a:lnTo>
                  <a:lnTo>
                    <a:pt x="342" y="0"/>
                  </a:lnTo>
                  <a:lnTo>
                    <a:pt x="346" y="0"/>
                  </a:lnTo>
                  <a:lnTo>
                    <a:pt x="346" y="4"/>
                  </a:lnTo>
                  <a:lnTo>
                    <a:pt x="346" y="8"/>
                  </a:lnTo>
                  <a:lnTo>
                    <a:pt x="346" y="12"/>
                  </a:lnTo>
                  <a:lnTo>
                    <a:pt x="350" y="16"/>
                  </a:lnTo>
                  <a:lnTo>
                    <a:pt x="354" y="16"/>
                  </a:lnTo>
                  <a:lnTo>
                    <a:pt x="350" y="16"/>
                  </a:lnTo>
                  <a:lnTo>
                    <a:pt x="350" y="20"/>
                  </a:lnTo>
                  <a:lnTo>
                    <a:pt x="350" y="24"/>
                  </a:lnTo>
                  <a:lnTo>
                    <a:pt x="346" y="24"/>
                  </a:lnTo>
                  <a:lnTo>
                    <a:pt x="350" y="24"/>
                  </a:lnTo>
                  <a:lnTo>
                    <a:pt x="350" y="28"/>
                  </a:lnTo>
                  <a:lnTo>
                    <a:pt x="354" y="28"/>
                  </a:lnTo>
                  <a:lnTo>
                    <a:pt x="358" y="28"/>
                  </a:lnTo>
                  <a:lnTo>
                    <a:pt x="362" y="28"/>
                  </a:lnTo>
                  <a:lnTo>
                    <a:pt x="366" y="28"/>
                  </a:lnTo>
                  <a:lnTo>
                    <a:pt x="362" y="24"/>
                  </a:lnTo>
                  <a:lnTo>
                    <a:pt x="366" y="24"/>
                  </a:lnTo>
                  <a:lnTo>
                    <a:pt x="368" y="28"/>
                  </a:lnTo>
                  <a:lnTo>
                    <a:pt x="366" y="28"/>
                  </a:lnTo>
                  <a:lnTo>
                    <a:pt x="368" y="28"/>
                  </a:lnTo>
                  <a:lnTo>
                    <a:pt x="368" y="30"/>
                  </a:lnTo>
                  <a:lnTo>
                    <a:pt x="368" y="34"/>
                  </a:lnTo>
                  <a:lnTo>
                    <a:pt x="368" y="30"/>
                  </a:lnTo>
                  <a:lnTo>
                    <a:pt x="372" y="30"/>
                  </a:lnTo>
                  <a:lnTo>
                    <a:pt x="368" y="30"/>
                  </a:lnTo>
                  <a:lnTo>
                    <a:pt x="368" y="28"/>
                  </a:lnTo>
                  <a:lnTo>
                    <a:pt x="372" y="28"/>
                  </a:lnTo>
                  <a:lnTo>
                    <a:pt x="376" y="28"/>
                  </a:lnTo>
                  <a:lnTo>
                    <a:pt x="376" y="30"/>
                  </a:lnTo>
                  <a:lnTo>
                    <a:pt x="380" y="30"/>
                  </a:lnTo>
                  <a:lnTo>
                    <a:pt x="384" y="30"/>
                  </a:lnTo>
                  <a:lnTo>
                    <a:pt x="388" y="30"/>
                  </a:lnTo>
                  <a:lnTo>
                    <a:pt x="388" y="34"/>
                  </a:lnTo>
                  <a:lnTo>
                    <a:pt x="384" y="34"/>
                  </a:lnTo>
                  <a:lnTo>
                    <a:pt x="380" y="34"/>
                  </a:lnTo>
                  <a:lnTo>
                    <a:pt x="380" y="38"/>
                  </a:lnTo>
                  <a:lnTo>
                    <a:pt x="380" y="42"/>
                  </a:lnTo>
                  <a:lnTo>
                    <a:pt x="384" y="42"/>
                  </a:lnTo>
                  <a:lnTo>
                    <a:pt x="380" y="42"/>
                  </a:lnTo>
                  <a:lnTo>
                    <a:pt x="384" y="42"/>
                  </a:lnTo>
                  <a:lnTo>
                    <a:pt x="388" y="38"/>
                  </a:lnTo>
                  <a:lnTo>
                    <a:pt x="392" y="38"/>
                  </a:lnTo>
                  <a:lnTo>
                    <a:pt x="394" y="38"/>
                  </a:lnTo>
                  <a:lnTo>
                    <a:pt x="394" y="42"/>
                  </a:lnTo>
                  <a:lnTo>
                    <a:pt x="398" y="38"/>
                  </a:lnTo>
                  <a:lnTo>
                    <a:pt x="394" y="38"/>
                  </a:lnTo>
                  <a:lnTo>
                    <a:pt x="398" y="38"/>
                  </a:lnTo>
                  <a:lnTo>
                    <a:pt x="398" y="34"/>
                  </a:lnTo>
                  <a:lnTo>
                    <a:pt x="402" y="34"/>
                  </a:lnTo>
                  <a:lnTo>
                    <a:pt x="406" y="34"/>
                  </a:lnTo>
                  <a:lnTo>
                    <a:pt x="408" y="30"/>
                  </a:lnTo>
                  <a:lnTo>
                    <a:pt x="412" y="28"/>
                  </a:lnTo>
                  <a:lnTo>
                    <a:pt x="416" y="28"/>
                  </a:lnTo>
                  <a:lnTo>
                    <a:pt x="420" y="28"/>
                  </a:lnTo>
                  <a:lnTo>
                    <a:pt x="420" y="24"/>
                  </a:lnTo>
                  <a:lnTo>
                    <a:pt x="424" y="24"/>
                  </a:lnTo>
                  <a:lnTo>
                    <a:pt x="428" y="24"/>
                  </a:lnTo>
                  <a:lnTo>
                    <a:pt x="428" y="20"/>
                  </a:lnTo>
                  <a:lnTo>
                    <a:pt x="432" y="24"/>
                  </a:lnTo>
                  <a:lnTo>
                    <a:pt x="428" y="28"/>
                  </a:lnTo>
                  <a:lnTo>
                    <a:pt x="424" y="28"/>
                  </a:lnTo>
                  <a:lnTo>
                    <a:pt x="424" y="30"/>
                  </a:lnTo>
                  <a:lnTo>
                    <a:pt x="428" y="34"/>
                  </a:lnTo>
                  <a:lnTo>
                    <a:pt x="432" y="34"/>
                  </a:lnTo>
                  <a:lnTo>
                    <a:pt x="436" y="38"/>
                  </a:lnTo>
                  <a:lnTo>
                    <a:pt x="438" y="42"/>
                  </a:lnTo>
                  <a:lnTo>
                    <a:pt x="442" y="46"/>
                  </a:lnTo>
                  <a:lnTo>
                    <a:pt x="446" y="46"/>
                  </a:lnTo>
                  <a:lnTo>
                    <a:pt x="446" y="50"/>
                  </a:lnTo>
                  <a:lnTo>
                    <a:pt x="450" y="56"/>
                  </a:lnTo>
                  <a:lnTo>
                    <a:pt x="454" y="56"/>
                  </a:lnTo>
                  <a:lnTo>
                    <a:pt x="454" y="60"/>
                  </a:lnTo>
                  <a:lnTo>
                    <a:pt x="454" y="64"/>
                  </a:lnTo>
                  <a:lnTo>
                    <a:pt x="458" y="64"/>
                  </a:lnTo>
                  <a:lnTo>
                    <a:pt x="462" y="68"/>
                  </a:lnTo>
                  <a:lnTo>
                    <a:pt x="466" y="80"/>
                  </a:lnTo>
                  <a:lnTo>
                    <a:pt x="468" y="84"/>
                  </a:lnTo>
                  <a:lnTo>
                    <a:pt x="468" y="86"/>
                  </a:lnTo>
                  <a:lnTo>
                    <a:pt x="468" y="90"/>
                  </a:lnTo>
                  <a:lnTo>
                    <a:pt x="472" y="90"/>
                  </a:lnTo>
                  <a:lnTo>
                    <a:pt x="472" y="98"/>
                  </a:lnTo>
                  <a:lnTo>
                    <a:pt x="476" y="98"/>
                  </a:lnTo>
                  <a:lnTo>
                    <a:pt x="480" y="98"/>
                  </a:lnTo>
                  <a:lnTo>
                    <a:pt x="480" y="94"/>
                  </a:lnTo>
                  <a:lnTo>
                    <a:pt x="480" y="90"/>
                  </a:lnTo>
                  <a:lnTo>
                    <a:pt x="484" y="90"/>
                  </a:lnTo>
                  <a:lnTo>
                    <a:pt x="484" y="86"/>
                  </a:lnTo>
                  <a:lnTo>
                    <a:pt x="488" y="90"/>
                  </a:lnTo>
                  <a:lnTo>
                    <a:pt x="492" y="90"/>
                  </a:lnTo>
                  <a:lnTo>
                    <a:pt x="492" y="94"/>
                  </a:lnTo>
                  <a:lnTo>
                    <a:pt x="496" y="94"/>
                  </a:lnTo>
                  <a:lnTo>
                    <a:pt x="496" y="98"/>
                  </a:lnTo>
                  <a:lnTo>
                    <a:pt x="496" y="102"/>
                  </a:lnTo>
                  <a:lnTo>
                    <a:pt x="498" y="102"/>
                  </a:lnTo>
                  <a:lnTo>
                    <a:pt x="498" y="98"/>
                  </a:lnTo>
                  <a:lnTo>
                    <a:pt x="502" y="98"/>
                  </a:lnTo>
                  <a:lnTo>
                    <a:pt x="502" y="102"/>
                  </a:lnTo>
                  <a:lnTo>
                    <a:pt x="506" y="102"/>
                  </a:lnTo>
                  <a:lnTo>
                    <a:pt x="510" y="98"/>
                  </a:lnTo>
                  <a:lnTo>
                    <a:pt x="510" y="102"/>
                  </a:lnTo>
                  <a:lnTo>
                    <a:pt x="514" y="98"/>
                  </a:lnTo>
                  <a:lnTo>
                    <a:pt x="518" y="98"/>
                  </a:lnTo>
                  <a:lnTo>
                    <a:pt x="518" y="94"/>
                  </a:lnTo>
                  <a:lnTo>
                    <a:pt x="522" y="94"/>
                  </a:lnTo>
                  <a:lnTo>
                    <a:pt x="524" y="94"/>
                  </a:lnTo>
                  <a:lnTo>
                    <a:pt x="528" y="98"/>
                  </a:lnTo>
                  <a:lnTo>
                    <a:pt x="532" y="98"/>
                  </a:lnTo>
                  <a:lnTo>
                    <a:pt x="532" y="102"/>
                  </a:lnTo>
                  <a:lnTo>
                    <a:pt x="536" y="106"/>
                  </a:lnTo>
                  <a:lnTo>
                    <a:pt x="536" y="110"/>
                  </a:lnTo>
                  <a:lnTo>
                    <a:pt x="536" y="112"/>
                  </a:lnTo>
                  <a:lnTo>
                    <a:pt x="540" y="112"/>
                  </a:lnTo>
                  <a:lnTo>
                    <a:pt x="544" y="112"/>
                  </a:lnTo>
                  <a:lnTo>
                    <a:pt x="548" y="112"/>
                  </a:lnTo>
                  <a:lnTo>
                    <a:pt x="548" y="116"/>
                  </a:lnTo>
                  <a:lnTo>
                    <a:pt x="544" y="116"/>
                  </a:lnTo>
                  <a:lnTo>
                    <a:pt x="548" y="116"/>
                  </a:lnTo>
                  <a:lnTo>
                    <a:pt x="548" y="120"/>
                  </a:lnTo>
                  <a:lnTo>
                    <a:pt x="548" y="124"/>
                  </a:lnTo>
                  <a:lnTo>
                    <a:pt x="552" y="124"/>
                  </a:lnTo>
                  <a:lnTo>
                    <a:pt x="554" y="124"/>
                  </a:lnTo>
                  <a:lnTo>
                    <a:pt x="558" y="124"/>
                  </a:lnTo>
                  <a:lnTo>
                    <a:pt x="562" y="128"/>
                  </a:lnTo>
                  <a:lnTo>
                    <a:pt x="562" y="124"/>
                  </a:lnTo>
                  <a:lnTo>
                    <a:pt x="566" y="124"/>
                  </a:lnTo>
                  <a:lnTo>
                    <a:pt x="566" y="120"/>
                  </a:lnTo>
                  <a:lnTo>
                    <a:pt x="570" y="120"/>
                  </a:lnTo>
                  <a:lnTo>
                    <a:pt x="570" y="124"/>
                  </a:lnTo>
                  <a:lnTo>
                    <a:pt x="574" y="124"/>
                  </a:lnTo>
                  <a:lnTo>
                    <a:pt x="574" y="128"/>
                  </a:lnTo>
                  <a:lnTo>
                    <a:pt x="574" y="132"/>
                  </a:lnTo>
                  <a:lnTo>
                    <a:pt x="578" y="132"/>
                  </a:lnTo>
                  <a:lnTo>
                    <a:pt x="578" y="136"/>
                  </a:lnTo>
                  <a:lnTo>
                    <a:pt x="574" y="136"/>
                  </a:lnTo>
                  <a:lnTo>
                    <a:pt x="570" y="136"/>
                  </a:lnTo>
                  <a:lnTo>
                    <a:pt x="570" y="140"/>
                  </a:lnTo>
                  <a:lnTo>
                    <a:pt x="570" y="142"/>
                  </a:lnTo>
                  <a:lnTo>
                    <a:pt x="570" y="146"/>
                  </a:lnTo>
                  <a:lnTo>
                    <a:pt x="566" y="146"/>
                  </a:lnTo>
                  <a:lnTo>
                    <a:pt x="562" y="146"/>
                  </a:lnTo>
                  <a:lnTo>
                    <a:pt x="558" y="146"/>
                  </a:lnTo>
                  <a:lnTo>
                    <a:pt x="558" y="150"/>
                  </a:lnTo>
                  <a:lnTo>
                    <a:pt x="554" y="150"/>
                  </a:lnTo>
                  <a:lnTo>
                    <a:pt x="554" y="154"/>
                  </a:lnTo>
                  <a:lnTo>
                    <a:pt x="554" y="158"/>
                  </a:lnTo>
                  <a:lnTo>
                    <a:pt x="554" y="162"/>
                  </a:lnTo>
                  <a:lnTo>
                    <a:pt x="554" y="166"/>
                  </a:lnTo>
                  <a:lnTo>
                    <a:pt x="554" y="168"/>
                  </a:lnTo>
                  <a:lnTo>
                    <a:pt x="554" y="172"/>
                  </a:lnTo>
                  <a:lnTo>
                    <a:pt x="554" y="176"/>
                  </a:lnTo>
                  <a:lnTo>
                    <a:pt x="552" y="176"/>
                  </a:lnTo>
                  <a:lnTo>
                    <a:pt x="548" y="176"/>
                  </a:lnTo>
                  <a:lnTo>
                    <a:pt x="548" y="180"/>
                  </a:lnTo>
                  <a:lnTo>
                    <a:pt x="544" y="180"/>
                  </a:lnTo>
                  <a:lnTo>
                    <a:pt x="540" y="176"/>
                  </a:lnTo>
                  <a:lnTo>
                    <a:pt x="536" y="176"/>
                  </a:lnTo>
                  <a:lnTo>
                    <a:pt x="532" y="176"/>
                  </a:lnTo>
                  <a:lnTo>
                    <a:pt x="528" y="176"/>
                  </a:lnTo>
                  <a:lnTo>
                    <a:pt x="524" y="176"/>
                  </a:lnTo>
                  <a:lnTo>
                    <a:pt x="522" y="172"/>
                  </a:lnTo>
                  <a:lnTo>
                    <a:pt x="518" y="172"/>
                  </a:lnTo>
                  <a:lnTo>
                    <a:pt x="518" y="176"/>
                  </a:lnTo>
                  <a:lnTo>
                    <a:pt x="518" y="180"/>
                  </a:lnTo>
                  <a:lnTo>
                    <a:pt x="514" y="184"/>
                  </a:lnTo>
                  <a:lnTo>
                    <a:pt x="514" y="188"/>
                  </a:lnTo>
                  <a:lnTo>
                    <a:pt x="514" y="192"/>
                  </a:lnTo>
                  <a:lnTo>
                    <a:pt x="510" y="192"/>
                  </a:lnTo>
                  <a:lnTo>
                    <a:pt x="510" y="196"/>
                  </a:lnTo>
                  <a:lnTo>
                    <a:pt x="510" y="198"/>
                  </a:lnTo>
                  <a:lnTo>
                    <a:pt x="510" y="202"/>
                  </a:lnTo>
                  <a:lnTo>
                    <a:pt x="506" y="206"/>
                  </a:lnTo>
                  <a:lnTo>
                    <a:pt x="510" y="206"/>
                  </a:lnTo>
                  <a:lnTo>
                    <a:pt x="510" y="210"/>
                  </a:lnTo>
                  <a:lnTo>
                    <a:pt x="514" y="210"/>
                  </a:lnTo>
                  <a:lnTo>
                    <a:pt x="514" y="214"/>
                  </a:lnTo>
                  <a:lnTo>
                    <a:pt x="510" y="214"/>
                  </a:lnTo>
                  <a:lnTo>
                    <a:pt x="506" y="214"/>
                  </a:lnTo>
                  <a:lnTo>
                    <a:pt x="502" y="214"/>
                  </a:lnTo>
                  <a:lnTo>
                    <a:pt x="498" y="214"/>
                  </a:lnTo>
                  <a:lnTo>
                    <a:pt x="498" y="210"/>
                  </a:lnTo>
                  <a:lnTo>
                    <a:pt x="496" y="210"/>
                  </a:lnTo>
                  <a:lnTo>
                    <a:pt x="496" y="214"/>
                  </a:lnTo>
                  <a:lnTo>
                    <a:pt x="492" y="214"/>
                  </a:lnTo>
                  <a:lnTo>
                    <a:pt x="488" y="214"/>
                  </a:lnTo>
                  <a:lnTo>
                    <a:pt x="484" y="214"/>
                  </a:lnTo>
                  <a:lnTo>
                    <a:pt x="480" y="218"/>
                  </a:lnTo>
                  <a:lnTo>
                    <a:pt x="476" y="218"/>
                  </a:lnTo>
                  <a:lnTo>
                    <a:pt x="472" y="222"/>
                  </a:lnTo>
                  <a:lnTo>
                    <a:pt x="476" y="222"/>
                  </a:lnTo>
                  <a:lnTo>
                    <a:pt x="480" y="222"/>
                  </a:lnTo>
                  <a:lnTo>
                    <a:pt x="484" y="222"/>
                  </a:lnTo>
                  <a:lnTo>
                    <a:pt x="484" y="224"/>
                  </a:lnTo>
                  <a:lnTo>
                    <a:pt x="480" y="224"/>
                  </a:lnTo>
                  <a:lnTo>
                    <a:pt x="480" y="228"/>
                  </a:lnTo>
                  <a:lnTo>
                    <a:pt x="480" y="232"/>
                  </a:lnTo>
                  <a:lnTo>
                    <a:pt x="480" y="236"/>
                  </a:lnTo>
                  <a:lnTo>
                    <a:pt x="480" y="240"/>
                  </a:lnTo>
                  <a:lnTo>
                    <a:pt x="484" y="240"/>
                  </a:lnTo>
                  <a:lnTo>
                    <a:pt x="484" y="244"/>
                  </a:lnTo>
                  <a:lnTo>
                    <a:pt x="484" y="248"/>
                  </a:lnTo>
                  <a:lnTo>
                    <a:pt x="488" y="252"/>
                  </a:lnTo>
                  <a:lnTo>
                    <a:pt x="488" y="254"/>
                  </a:lnTo>
                  <a:lnTo>
                    <a:pt x="484" y="254"/>
                  </a:lnTo>
                  <a:lnTo>
                    <a:pt x="480" y="258"/>
                  </a:lnTo>
                  <a:lnTo>
                    <a:pt x="484" y="258"/>
                  </a:lnTo>
                  <a:lnTo>
                    <a:pt x="480" y="262"/>
                  </a:lnTo>
                  <a:lnTo>
                    <a:pt x="476" y="266"/>
                  </a:lnTo>
                  <a:lnTo>
                    <a:pt x="476" y="268"/>
                  </a:lnTo>
                  <a:lnTo>
                    <a:pt x="480" y="268"/>
                  </a:lnTo>
                  <a:lnTo>
                    <a:pt x="480" y="272"/>
                  </a:lnTo>
                  <a:lnTo>
                    <a:pt x="476" y="272"/>
                  </a:lnTo>
                  <a:lnTo>
                    <a:pt x="476" y="268"/>
                  </a:lnTo>
                  <a:lnTo>
                    <a:pt x="472" y="268"/>
                  </a:lnTo>
                  <a:lnTo>
                    <a:pt x="468" y="268"/>
                  </a:lnTo>
                  <a:lnTo>
                    <a:pt x="466" y="268"/>
                  </a:lnTo>
                  <a:lnTo>
                    <a:pt x="466" y="266"/>
                  </a:lnTo>
                  <a:lnTo>
                    <a:pt x="466" y="262"/>
                  </a:lnTo>
                  <a:lnTo>
                    <a:pt x="462" y="262"/>
                  </a:lnTo>
                  <a:lnTo>
                    <a:pt x="458" y="262"/>
                  </a:lnTo>
                  <a:lnTo>
                    <a:pt x="454" y="258"/>
                  </a:lnTo>
                  <a:lnTo>
                    <a:pt x="450" y="258"/>
                  </a:lnTo>
                  <a:lnTo>
                    <a:pt x="446" y="258"/>
                  </a:lnTo>
                  <a:lnTo>
                    <a:pt x="442" y="258"/>
                  </a:lnTo>
                  <a:lnTo>
                    <a:pt x="438" y="258"/>
                  </a:lnTo>
                  <a:lnTo>
                    <a:pt x="436" y="258"/>
                  </a:lnTo>
                  <a:lnTo>
                    <a:pt x="432" y="258"/>
                  </a:lnTo>
                  <a:lnTo>
                    <a:pt x="428" y="258"/>
                  </a:lnTo>
                  <a:lnTo>
                    <a:pt x="424" y="258"/>
                  </a:lnTo>
                  <a:lnTo>
                    <a:pt x="420" y="258"/>
                  </a:lnTo>
                  <a:lnTo>
                    <a:pt x="416" y="258"/>
                  </a:lnTo>
                  <a:lnTo>
                    <a:pt x="416" y="258"/>
                  </a:lnTo>
                  <a:lnTo>
                    <a:pt x="416" y="258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5" name="Freeform 35">
              <a:extLst>
                <a:ext uri="{FF2B5EF4-FFF2-40B4-BE49-F238E27FC236}">
                  <a16:creationId xmlns:a16="http://schemas.microsoft.com/office/drawing/2014/main" id="{EA353FF9-516E-6FCA-3A55-98D4576954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8955" y="3179361"/>
              <a:ext cx="50654" cy="52794"/>
            </a:xfrm>
            <a:custGeom>
              <a:avLst/>
              <a:gdLst>
                <a:gd name="T0" fmla="*/ 10 w 26"/>
                <a:gd name="T1" fmla="*/ 22 h 28"/>
                <a:gd name="T2" fmla="*/ 4 w 26"/>
                <a:gd name="T3" fmla="*/ 18 h 28"/>
                <a:gd name="T4" fmla="*/ 0 w 26"/>
                <a:gd name="T5" fmla="*/ 18 h 28"/>
                <a:gd name="T6" fmla="*/ 0 w 26"/>
                <a:gd name="T7" fmla="*/ 18 h 28"/>
                <a:gd name="T8" fmla="*/ 0 w 26"/>
                <a:gd name="T9" fmla="*/ 18 h 28"/>
                <a:gd name="T10" fmla="*/ 0 w 26"/>
                <a:gd name="T11" fmla="*/ 18 h 28"/>
                <a:gd name="T12" fmla="*/ 0 w 26"/>
                <a:gd name="T13" fmla="*/ 18 h 28"/>
                <a:gd name="T14" fmla="*/ 4 w 26"/>
                <a:gd name="T15" fmla="*/ 14 h 28"/>
                <a:gd name="T16" fmla="*/ 4 w 26"/>
                <a:gd name="T17" fmla="*/ 10 h 28"/>
                <a:gd name="T18" fmla="*/ 4 w 26"/>
                <a:gd name="T19" fmla="*/ 10 h 28"/>
                <a:gd name="T20" fmla="*/ 6 w 26"/>
                <a:gd name="T21" fmla="*/ 6 h 28"/>
                <a:gd name="T22" fmla="*/ 6 w 26"/>
                <a:gd name="T23" fmla="*/ 2 h 28"/>
                <a:gd name="T24" fmla="*/ 6 w 26"/>
                <a:gd name="T25" fmla="*/ 2 h 28"/>
                <a:gd name="T26" fmla="*/ 6 w 26"/>
                <a:gd name="T27" fmla="*/ 2 h 28"/>
                <a:gd name="T28" fmla="*/ 10 w 26"/>
                <a:gd name="T29" fmla="*/ 0 h 28"/>
                <a:gd name="T30" fmla="*/ 14 w 26"/>
                <a:gd name="T31" fmla="*/ 0 h 28"/>
                <a:gd name="T32" fmla="*/ 18 w 26"/>
                <a:gd name="T33" fmla="*/ 2 h 28"/>
                <a:gd name="T34" fmla="*/ 18 w 26"/>
                <a:gd name="T35" fmla="*/ 6 h 28"/>
                <a:gd name="T36" fmla="*/ 18 w 26"/>
                <a:gd name="T37" fmla="*/ 6 h 28"/>
                <a:gd name="T38" fmla="*/ 18 w 26"/>
                <a:gd name="T39" fmla="*/ 6 h 28"/>
                <a:gd name="T40" fmla="*/ 22 w 26"/>
                <a:gd name="T41" fmla="*/ 10 h 28"/>
                <a:gd name="T42" fmla="*/ 22 w 26"/>
                <a:gd name="T43" fmla="*/ 10 h 28"/>
                <a:gd name="T44" fmla="*/ 18 w 26"/>
                <a:gd name="T45" fmla="*/ 10 h 28"/>
                <a:gd name="T46" fmla="*/ 18 w 26"/>
                <a:gd name="T47" fmla="*/ 10 h 28"/>
                <a:gd name="T48" fmla="*/ 14 w 26"/>
                <a:gd name="T49" fmla="*/ 14 h 28"/>
                <a:gd name="T50" fmla="*/ 14 w 26"/>
                <a:gd name="T51" fmla="*/ 14 h 28"/>
                <a:gd name="T52" fmla="*/ 18 w 26"/>
                <a:gd name="T53" fmla="*/ 14 h 28"/>
                <a:gd name="T54" fmla="*/ 18 w 26"/>
                <a:gd name="T55" fmla="*/ 14 h 28"/>
                <a:gd name="T56" fmla="*/ 18 w 26"/>
                <a:gd name="T57" fmla="*/ 14 h 28"/>
                <a:gd name="T58" fmla="*/ 18 w 26"/>
                <a:gd name="T59" fmla="*/ 14 h 28"/>
                <a:gd name="T60" fmla="*/ 18 w 26"/>
                <a:gd name="T61" fmla="*/ 18 h 28"/>
                <a:gd name="T62" fmla="*/ 22 w 26"/>
                <a:gd name="T63" fmla="*/ 18 h 28"/>
                <a:gd name="T64" fmla="*/ 22 w 26"/>
                <a:gd name="T65" fmla="*/ 22 h 28"/>
                <a:gd name="T66" fmla="*/ 22 w 26"/>
                <a:gd name="T67" fmla="*/ 26 h 28"/>
                <a:gd name="T68" fmla="*/ 26 w 26"/>
                <a:gd name="T69" fmla="*/ 26 h 28"/>
                <a:gd name="T70" fmla="*/ 26 w 26"/>
                <a:gd name="T71" fmla="*/ 26 h 28"/>
                <a:gd name="T72" fmla="*/ 22 w 26"/>
                <a:gd name="T73" fmla="*/ 28 h 28"/>
                <a:gd name="T74" fmla="*/ 14 w 26"/>
                <a:gd name="T75" fmla="*/ 28 h 28"/>
                <a:gd name="T76" fmla="*/ 14 w 26"/>
                <a:gd name="T77" fmla="*/ 26 h 28"/>
                <a:gd name="T78" fmla="*/ 14 w 26"/>
                <a:gd name="T79" fmla="*/ 26 h 28"/>
                <a:gd name="T80" fmla="*/ 10 w 26"/>
                <a:gd name="T81" fmla="*/ 22 h 28"/>
                <a:gd name="T82" fmla="*/ 10 w 26"/>
                <a:gd name="T83" fmla="*/ 22 h 28"/>
                <a:gd name="T84" fmla="*/ 10 w 26"/>
                <a:gd name="T85" fmla="*/ 22 h 28"/>
                <a:gd name="T86" fmla="*/ 22 w 26"/>
                <a:gd name="T87" fmla="*/ 2 h 28"/>
                <a:gd name="T88" fmla="*/ 22 w 26"/>
                <a:gd name="T89" fmla="*/ 6 h 28"/>
                <a:gd name="T90" fmla="*/ 22 w 26"/>
                <a:gd name="T91" fmla="*/ 6 h 28"/>
                <a:gd name="T92" fmla="*/ 26 w 26"/>
                <a:gd name="T93" fmla="*/ 6 h 28"/>
                <a:gd name="T94" fmla="*/ 26 w 26"/>
                <a:gd name="T95" fmla="*/ 6 h 28"/>
                <a:gd name="T96" fmla="*/ 22 w 26"/>
                <a:gd name="T97" fmla="*/ 6 h 28"/>
                <a:gd name="T98" fmla="*/ 22 w 26"/>
                <a:gd name="T99" fmla="*/ 10 h 28"/>
                <a:gd name="T100" fmla="*/ 22 w 26"/>
                <a:gd name="T101" fmla="*/ 10 h 28"/>
                <a:gd name="T102" fmla="*/ 22 w 26"/>
                <a:gd name="T103" fmla="*/ 10 h 28"/>
                <a:gd name="T104" fmla="*/ 22 w 26"/>
                <a:gd name="T105" fmla="*/ 10 h 28"/>
                <a:gd name="T106" fmla="*/ 22 w 26"/>
                <a:gd name="T107" fmla="*/ 10 h 28"/>
                <a:gd name="T108" fmla="*/ 22 w 26"/>
                <a:gd name="T109" fmla="*/ 10 h 28"/>
                <a:gd name="T110" fmla="*/ 22 w 26"/>
                <a:gd name="T111" fmla="*/ 2 h 28"/>
                <a:gd name="T112" fmla="*/ 22 w 26"/>
                <a:gd name="T113" fmla="*/ 2 h 28"/>
                <a:gd name="T114" fmla="*/ 22 w 26"/>
                <a:gd name="T115" fmla="*/ 2 h 28"/>
                <a:gd name="T116" fmla="*/ 22 w 26"/>
                <a:gd name="T117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" h="28">
                  <a:moveTo>
                    <a:pt x="10" y="22"/>
                  </a:moveTo>
                  <a:lnTo>
                    <a:pt x="10" y="22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6" y="6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8"/>
                  </a:lnTo>
                  <a:lnTo>
                    <a:pt x="22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close/>
                  <a:moveTo>
                    <a:pt x="22" y="2"/>
                  </a:moveTo>
                  <a:lnTo>
                    <a:pt x="22" y="2"/>
                  </a:lnTo>
                  <a:lnTo>
                    <a:pt x="22" y="2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18" y="6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6" name="Freeform 36">
              <a:extLst>
                <a:ext uri="{FF2B5EF4-FFF2-40B4-BE49-F238E27FC236}">
                  <a16:creationId xmlns:a16="http://schemas.microsoft.com/office/drawing/2014/main" id="{B04EA4DF-F6C0-7283-6AB3-28172B5250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2385" y="2715527"/>
              <a:ext cx="303922" cy="143299"/>
            </a:xfrm>
            <a:custGeom>
              <a:avLst/>
              <a:gdLst>
                <a:gd name="T0" fmla="*/ 74 w 156"/>
                <a:gd name="T1" fmla="*/ 54 h 76"/>
                <a:gd name="T2" fmla="*/ 68 w 156"/>
                <a:gd name="T3" fmla="*/ 58 h 76"/>
                <a:gd name="T4" fmla="*/ 68 w 156"/>
                <a:gd name="T5" fmla="*/ 66 h 76"/>
                <a:gd name="T6" fmla="*/ 60 w 156"/>
                <a:gd name="T7" fmla="*/ 68 h 76"/>
                <a:gd name="T8" fmla="*/ 52 w 156"/>
                <a:gd name="T9" fmla="*/ 72 h 76"/>
                <a:gd name="T10" fmla="*/ 42 w 156"/>
                <a:gd name="T11" fmla="*/ 72 h 76"/>
                <a:gd name="T12" fmla="*/ 38 w 156"/>
                <a:gd name="T13" fmla="*/ 72 h 76"/>
                <a:gd name="T14" fmla="*/ 30 w 156"/>
                <a:gd name="T15" fmla="*/ 68 h 76"/>
                <a:gd name="T16" fmla="*/ 30 w 156"/>
                <a:gd name="T17" fmla="*/ 68 h 76"/>
                <a:gd name="T18" fmla="*/ 22 w 156"/>
                <a:gd name="T19" fmla="*/ 68 h 76"/>
                <a:gd name="T20" fmla="*/ 14 w 156"/>
                <a:gd name="T21" fmla="*/ 66 h 76"/>
                <a:gd name="T22" fmla="*/ 8 w 156"/>
                <a:gd name="T23" fmla="*/ 68 h 76"/>
                <a:gd name="T24" fmla="*/ 0 w 156"/>
                <a:gd name="T25" fmla="*/ 66 h 76"/>
                <a:gd name="T26" fmla="*/ 0 w 156"/>
                <a:gd name="T27" fmla="*/ 62 h 76"/>
                <a:gd name="T28" fmla="*/ 8 w 156"/>
                <a:gd name="T29" fmla="*/ 58 h 76"/>
                <a:gd name="T30" fmla="*/ 18 w 156"/>
                <a:gd name="T31" fmla="*/ 58 h 76"/>
                <a:gd name="T32" fmla="*/ 18 w 156"/>
                <a:gd name="T33" fmla="*/ 62 h 76"/>
                <a:gd name="T34" fmla="*/ 22 w 156"/>
                <a:gd name="T35" fmla="*/ 54 h 76"/>
                <a:gd name="T36" fmla="*/ 34 w 156"/>
                <a:gd name="T37" fmla="*/ 58 h 76"/>
                <a:gd name="T38" fmla="*/ 44 w 156"/>
                <a:gd name="T39" fmla="*/ 50 h 76"/>
                <a:gd name="T40" fmla="*/ 48 w 156"/>
                <a:gd name="T41" fmla="*/ 50 h 76"/>
                <a:gd name="T42" fmla="*/ 52 w 156"/>
                <a:gd name="T43" fmla="*/ 42 h 76"/>
                <a:gd name="T44" fmla="*/ 48 w 156"/>
                <a:gd name="T45" fmla="*/ 42 h 76"/>
                <a:gd name="T46" fmla="*/ 42 w 156"/>
                <a:gd name="T47" fmla="*/ 36 h 76"/>
                <a:gd name="T48" fmla="*/ 34 w 156"/>
                <a:gd name="T49" fmla="*/ 28 h 76"/>
                <a:gd name="T50" fmla="*/ 30 w 156"/>
                <a:gd name="T51" fmla="*/ 36 h 76"/>
                <a:gd name="T52" fmla="*/ 30 w 156"/>
                <a:gd name="T53" fmla="*/ 40 h 76"/>
                <a:gd name="T54" fmla="*/ 22 w 156"/>
                <a:gd name="T55" fmla="*/ 32 h 76"/>
                <a:gd name="T56" fmla="*/ 12 w 156"/>
                <a:gd name="T57" fmla="*/ 32 h 76"/>
                <a:gd name="T58" fmla="*/ 14 w 156"/>
                <a:gd name="T59" fmla="*/ 24 h 76"/>
                <a:gd name="T60" fmla="*/ 22 w 156"/>
                <a:gd name="T61" fmla="*/ 20 h 76"/>
                <a:gd name="T62" fmla="*/ 22 w 156"/>
                <a:gd name="T63" fmla="*/ 16 h 76"/>
                <a:gd name="T64" fmla="*/ 26 w 156"/>
                <a:gd name="T65" fmla="*/ 6 h 76"/>
                <a:gd name="T66" fmla="*/ 38 w 156"/>
                <a:gd name="T67" fmla="*/ 6 h 76"/>
                <a:gd name="T68" fmla="*/ 48 w 156"/>
                <a:gd name="T69" fmla="*/ 6 h 76"/>
                <a:gd name="T70" fmla="*/ 56 w 156"/>
                <a:gd name="T71" fmla="*/ 10 h 76"/>
                <a:gd name="T72" fmla="*/ 60 w 156"/>
                <a:gd name="T73" fmla="*/ 10 h 76"/>
                <a:gd name="T74" fmla="*/ 60 w 156"/>
                <a:gd name="T75" fmla="*/ 0 h 76"/>
                <a:gd name="T76" fmla="*/ 72 w 156"/>
                <a:gd name="T77" fmla="*/ 0 h 76"/>
                <a:gd name="T78" fmla="*/ 82 w 156"/>
                <a:gd name="T79" fmla="*/ 4 h 76"/>
                <a:gd name="T80" fmla="*/ 88 w 156"/>
                <a:gd name="T81" fmla="*/ 6 h 76"/>
                <a:gd name="T82" fmla="*/ 100 w 156"/>
                <a:gd name="T83" fmla="*/ 4 h 76"/>
                <a:gd name="T84" fmla="*/ 112 w 156"/>
                <a:gd name="T85" fmla="*/ 4 h 76"/>
                <a:gd name="T86" fmla="*/ 122 w 156"/>
                <a:gd name="T87" fmla="*/ 4 h 76"/>
                <a:gd name="T88" fmla="*/ 134 w 156"/>
                <a:gd name="T89" fmla="*/ 6 h 76"/>
                <a:gd name="T90" fmla="*/ 142 w 156"/>
                <a:gd name="T91" fmla="*/ 10 h 76"/>
                <a:gd name="T92" fmla="*/ 148 w 156"/>
                <a:gd name="T93" fmla="*/ 14 h 76"/>
                <a:gd name="T94" fmla="*/ 156 w 156"/>
                <a:gd name="T95" fmla="*/ 16 h 76"/>
                <a:gd name="T96" fmla="*/ 148 w 156"/>
                <a:gd name="T97" fmla="*/ 20 h 76"/>
                <a:gd name="T98" fmla="*/ 142 w 156"/>
                <a:gd name="T99" fmla="*/ 24 h 76"/>
                <a:gd name="T100" fmla="*/ 134 w 156"/>
                <a:gd name="T101" fmla="*/ 28 h 76"/>
                <a:gd name="T102" fmla="*/ 126 w 156"/>
                <a:gd name="T103" fmla="*/ 36 h 76"/>
                <a:gd name="T104" fmla="*/ 118 w 156"/>
                <a:gd name="T105" fmla="*/ 40 h 76"/>
                <a:gd name="T106" fmla="*/ 108 w 156"/>
                <a:gd name="T107" fmla="*/ 40 h 76"/>
                <a:gd name="T108" fmla="*/ 104 w 156"/>
                <a:gd name="T109" fmla="*/ 50 h 76"/>
                <a:gd name="T110" fmla="*/ 100 w 156"/>
                <a:gd name="T111" fmla="*/ 50 h 76"/>
                <a:gd name="T112" fmla="*/ 88 w 156"/>
                <a:gd name="T113" fmla="*/ 54 h 76"/>
                <a:gd name="T114" fmla="*/ 86 w 156"/>
                <a:gd name="T115" fmla="*/ 46 h 76"/>
                <a:gd name="T116" fmla="*/ 78 w 156"/>
                <a:gd name="T117" fmla="*/ 5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76">
                  <a:moveTo>
                    <a:pt x="78" y="50"/>
                  </a:moveTo>
                  <a:lnTo>
                    <a:pt x="78" y="54"/>
                  </a:lnTo>
                  <a:lnTo>
                    <a:pt x="74" y="54"/>
                  </a:lnTo>
                  <a:lnTo>
                    <a:pt x="74" y="58"/>
                  </a:lnTo>
                  <a:lnTo>
                    <a:pt x="72" y="58"/>
                  </a:lnTo>
                  <a:lnTo>
                    <a:pt x="68" y="58"/>
                  </a:lnTo>
                  <a:lnTo>
                    <a:pt x="64" y="62"/>
                  </a:lnTo>
                  <a:lnTo>
                    <a:pt x="64" y="66"/>
                  </a:lnTo>
                  <a:lnTo>
                    <a:pt x="68" y="66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2" y="72"/>
                  </a:lnTo>
                  <a:lnTo>
                    <a:pt x="42" y="76"/>
                  </a:lnTo>
                  <a:lnTo>
                    <a:pt x="42" y="72"/>
                  </a:lnTo>
                  <a:lnTo>
                    <a:pt x="38" y="72"/>
                  </a:lnTo>
                  <a:lnTo>
                    <a:pt x="34" y="72"/>
                  </a:lnTo>
                  <a:lnTo>
                    <a:pt x="34" y="68"/>
                  </a:lnTo>
                  <a:lnTo>
                    <a:pt x="30" y="68"/>
                  </a:lnTo>
                  <a:lnTo>
                    <a:pt x="34" y="68"/>
                  </a:lnTo>
                  <a:lnTo>
                    <a:pt x="30" y="66"/>
                  </a:lnTo>
                  <a:lnTo>
                    <a:pt x="30" y="68"/>
                  </a:lnTo>
                  <a:lnTo>
                    <a:pt x="26" y="68"/>
                  </a:lnTo>
                  <a:lnTo>
                    <a:pt x="22" y="72"/>
                  </a:lnTo>
                  <a:lnTo>
                    <a:pt x="22" y="68"/>
                  </a:lnTo>
                  <a:lnTo>
                    <a:pt x="18" y="68"/>
                  </a:lnTo>
                  <a:lnTo>
                    <a:pt x="18" y="66"/>
                  </a:lnTo>
                  <a:lnTo>
                    <a:pt x="14" y="66"/>
                  </a:lnTo>
                  <a:lnTo>
                    <a:pt x="14" y="68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6"/>
                  </a:lnTo>
                  <a:lnTo>
                    <a:pt x="0" y="62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4" y="62"/>
                  </a:lnTo>
                  <a:lnTo>
                    <a:pt x="4" y="58"/>
                  </a:lnTo>
                  <a:lnTo>
                    <a:pt x="8" y="58"/>
                  </a:lnTo>
                  <a:lnTo>
                    <a:pt x="12" y="54"/>
                  </a:lnTo>
                  <a:lnTo>
                    <a:pt x="14" y="58"/>
                  </a:lnTo>
                  <a:lnTo>
                    <a:pt x="18" y="58"/>
                  </a:lnTo>
                  <a:lnTo>
                    <a:pt x="18" y="62"/>
                  </a:lnTo>
                  <a:lnTo>
                    <a:pt x="14" y="62"/>
                  </a:lnTo>
                  <a:lnTo>
                    <a:pt x="18" y="62"/>
                  </a:lnTo>
                  <a:lnTo>
                    <a:pt x="18" y="58"/>
                  </a:lnTo>
                  <a:lnTo>
                    <a:pt x="22" y="58"/>
                  </a:lnTo>
                  <a:lnTo>
                    <a:pt x="22" y="54"/>
                  </a:lnTo>
                  <a:lnTo>
                    <a:pt x="26" y="54"/>
                  </a:lnTo>
                  <a:lnTo>
                    <a:pt x="30" y="54"/>
                  </a:lnTo>
                  <a:lnTo>
                    <a:pt x="34" y="58"/>
                  </a:lnTo>
                  <a:lnTo>
                    <a:pt x="38" y="54"/>
                  </a:lnTo>
                  <a:lnTo>
                    <a:pt x="42" y="50"/>
                  </a:lnTo>
                  <a:lnTo>
                    <a:pt x="44" y="50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8" y="50"/>
                  </a:lnTo>
                  <a:lnTo>
                    <a:pt x="48" y="46"/>
                  </a:lnTo>
                  <a:lnTo>
                    <a:pt x="52" y="46"/>
                  </a:lnTo>
                  <a:lnTo>
                    <a:pt x="52" y="42"/>
                  </a:lnTo>
                  <a:lnTo>
                    <a:pt x="56" y="42"/>
                  </a:lnTo>
                  <a:lnTo>
                    <a:pt x="52" y="42"/>
                  </a:lnTo>
                  <a:lnTo>
                    <a:pt x="48" y="42"/>
                  </a:lnTo>
                  <a:lnTo>
                    <a:pt x="44" y="40"/>
                  </a:lnTo>
                  <a:lnTo>
                    <a:pt x="42" y="40"/>
                  </a:lnTo>
                  <a:lnTo>
                    <a:pt x="42" y="36"/>
                  </a:lnTo>
                  <a:lnTo>
                    <a:pt x="38" y="36"/>
                  </a:lnTo>
                  <a:lnTo>
                    <a:pt x="38" y="32"/>
                  </a:lnTo>
                  <a:lnTo>
                    <a:pt x="34" y="28"/>
                  </a:lnTo>
                  <a:lnTo>
                    <a:pt x="34" y="32"/>
                  </a:lnTo>
                  <a:lnTo>
                    <a:pt x="34" y="36"/>
                  </a:lnTo>
                  <a:lnTo>
                    <a:pt x="30" y="36"/>
                  </a:lnTo>
                  <a:lnTo>
                    <a:pt x="30" y="32"/>
                  </a:lnTo>
                  <a:lnTo>
                    <a:pt x="30" y="36"/>
                  </a:lnTo>
                  <a:lnTo>
                    <a:pt x="30" y="40"/>
                  </a:lnTo>
                  <a:lnTo>
                    <a:pt x="26" y="36"/>
                  </a:lnTo>
                  <a:lnTo>
                    <a:pt x="22" y="36"/>
                  </a:lnTo>
                  <a:lnTo>
                    <a:pt x="22" y="32"/>
                  </a:lnTo>
                  <a:lnTo>
                    <a:pt x="18" y="32"/>
                  </a:lnTo>
                  <a:lnTo>
                    <a:pt x="14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4" y="24"/>
                  </a:lnTo>
                  <a:lnTo>
                    <a:pt x="18" y="24"/>
                  </a:lnTo>
                  <a:lnTo>
                    <a:pt x="18" y="20"/>
                  </a:lnTo>
                  <a:lnTo>
                    <a:pt x="22" y="20"/>
                  </a:lnTo>
                  <a:lnTo>
                    <a:pt x="26" y="16"/>
                  </a:lnTo>
                  <a:lnTo>
                    <a:pt x="26" y="14"/>
                  </a:lnTo>
                  <a:lnTo>
                    <a:pt x="22" y="16"/>
                  </a:lnTo>
                  <a:lnTo>
                    <a:pt x="22" y="14"/>
                  </a:lnTo>
                  <a:lnTo>
                    <a:pt x="26" y="10"/>
                  </a:lnTo>
                  <a:lnTo>
                    <a:pt x="26" y="6"/>
                  </a:lnTo>
                  <a:lnTo>
                    <a:pt x="30" y="6"/>
                  </a:lnTo>
                  <a:lnTo>
                    <a:pt x="34" y="6"/>
                  </a:lnTo>
                  <a:lnTo>
                    <a:pt x="38" y="6"/>
                  </a:lnTo>
                  <a:lnTo>
                    <a:pt x="42" y="6"/>
                  </a:lnTo>
                  <a:lnTo>
                    <a:pt x="44" y="6"/>
                  </a:lnTo>
                  <a:lnTo>
                    <a:pt x="48" y="6"/>
                  </a:lnTo>
                  <a:lnTo>
                    <a:pt x="48" y="10"/>
                  </a:lnTo>
                  <a:lnTo>
                    <a:pt x="52" y="10"/>
                  </a:lnTo>
                  <a:lnTo>
                    <a:pt x="56" y="10"/>
                  </a:lnTo>
                  <a:lnTo>
                    <a:pt x="56" y="14"/>
                  </a:lnTo>
                  <a:lnTo>
                    <a:pt x="60" y="14"/>
                  </a:lnTo>
                  <a:lnTo>
                    <a:pt x="60" y="10"/>
                  </a:lnTo>
                  <a:lnTo>
                    <a:pt x="60" y="6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8" y="4"/>
                  </a:lnTo>
                  <a:lnTo>
                    <a:pt x="82" y="4"/>
                  </a:lnTo>
                  <a:lnTo>
                    <a:pt x="86" y="4"/>
                  </a:lnTo>
                  <a:lnTo>
                    <a:pt x="86" y="6"/>
                  </a:lnTo>
                  <a:lnTo>
                    <a:pt x="88" y="6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8" y="4"/>
                  </a:lnTo>
                  <a:lnTo>
                    <a:pt x="122" y="4"/>
                  </a:lnTo>
                  <a:lnTo>
                    <a:pt x="126" y="4"/>
                  </a:lnTo>
                  <a:lnTo>
                    <a:pt x="130" y="4"/>
                  </a:lnTo>
                  <a:lnTo>
                    <a:pt x="134" y="6"/>
                  </a:lnTo>
                  <a:lnTo>
                    <a:pt x="138" y="6"/>
                  </a:lnTo>
                  <a:lnTo>
                    <a:pt x="142" y="6"/>
                  </a:lnTo>
                  <a:lnTo>
                    <a:pt x="142" y="10"/>
                  </a:lnTo>
                  <a:lnTo>
                    <a:pt x="142" y="14"/>
                  </a:lnTo>
                  <a:lnTo>
                    <a:pt x="146" y="14"/>
                  </a:lnTo>
                  <a:lnTo>
                    <a:pt x="148" y="14"/>
                  </a:lnTo>
                  <a:lnTo>
                    <a:pt x="152" y="14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56" y="20"/>
                  </a:lnTo>
                  <a:lnTo>
                    <a:pt x="152" y="20"/>
                  </a:lnTo>
                  <a:lnTo>
                    <a:pt x="148" y="20"/>
                  </a:lnTo>
                  <a:lnTo>
                    <a:pt x="148" y="24"/>
                  </a:lnTo>
                  <a:lnTo>
                    <a:pt x="146" y="24"/>
                  </a:lnTo>
                  <a:lnTo>
                    <a:pt x="142" y="24"/>
                  </a:lnTo>
                  <a:lnTo>
                    <a:pt x="138" y="24"/>
                  </a:lnTo>
                  <a:lnTo>
                    <a:pt x="138" y="28"/>
                  </a:lnTo>
                  <a:lnTo>
                    <a:pt x="134" y="28"/>
                  </a:lnTo>
                  <a:lnTo>
                    <a:pt x="130" y="32"/>
                  </a:lnTo>
                  <a:lnTo>
                    <a:pt x="126" y="32"/>
                  </a:lnTo>
                  <a:lnTo>
                    <a:pt x="126" y="36"/>
                  </a:lnTo>
                  <a:lnTo>
                    <a:pt x="126" y="40"/>
                  </a:lnTo>
                  <a:lnTo>
                    <a:pt x="122" y="40"/>
                  </a:lnTo>
                  <a:lnTo>
                    <a:pt x="118" y="40"/>
                  </a:lnTo>
                  <a:lnTo>
                    <a:pt x="116" y="40"/>
                  </a:lnTo>
                  <a:lnTo>
                    <a:pt x="112" y="40"/>
                  </a:lnTo>
                  <a:lnTo>
                    <a:pt x="108" y="40"/>
                  </a:lnTo>
                  <a:lnTo>
                    <a:pt x="104" y="40"/>
                  </a:lnTo>
                  <a:lnTo>
                    <a:pt x="104" y="46"/>
                  </a:lnTo>
                  <a:lnTo>
                    <a:pt x="104" y="50"/>
                  </a:lnTo>
                  <a:lnTo>
                    <a:pt x="100" y="50"/>
                  </a:lnTo>
                  <a:lnTo>
                    <a:pt x="100" y="54"/>
                  </a:lnTo>
                  <a:lnTo>
                    <a:pt x="100" y="50"/>
                  </a:lnTo>
                  <a:lnTo>
                    <a:pt x="96" y="50"/>
                  </a:lnTo>
                  <a:lnTo>
                    <a:pt x="92" y="54"/>
                  </a:lnTo>
                  <a:lnTo>
                    <a:pt x="88" y="54"/>
                  </a:lnTo>
                  <a:lnTo>
                    <a:pt x="88" y="50"/>
                  </a:lnTo>
                  <a:lnTo>
                    <a:pt x="88" y="46"/>
                  </a:lnTo>
                  <a:lnTo>
                    <a:pt x="86" y="46"/>
                  </a:lnTo>
                  <a:lnTo>
                    <a:pt x="86" y="50"/>
                  </a:lnTo>
                  <a:lnTo>
                    <a:pt x="82" y="50"/>
                  </a:lnTo>
                  <a:lnTo>
                    <a:pt x="78" y="50"/>
                  </a:lnTo>
                  <a:lnTo>
                    <a:pt x="78" y="50"/>
                  </a:lnTo>
                  <a:lnTo>
                    <a:pt x="78" y="50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7" name="Freeform 37">
              <a:extLst>
                <a:ext uri="{FF2B5EF4-FFF2-40B4-BE49-F238E27FC236}">
                  <a16:creationId xmlns:a16="http://schemas.microsoft.com/office/drawing/2014/main" id="{F1FF219E-BE18-6D80-94CF-F3D381E9AC86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7913" y="3439561"/>
              <a:ext cx="214304" cy="279055"/>
            </a:xfrm>
            <a:custGeom>
              <a:avLst/>
              <a:gdLst>
                <a:gd name="T0" fmla="*/ 54 w 110"/>
                <a:gd name="T1" fmla="*/ 72 h 148"/>
                <a:gd name="T2" fmla="*/ 46 w 110"/>
                <a:gd name="T3" fmla="*/ 72 h 148"/>
                <a:gd name="T4" fmla="*/ 34 w 110"/>
                <a:gd name="T5" fmla="*/ 80 h 148"/>
                <a:gd name="T6" fmla="*/ 26 w 110"/>
                <a:gd name="T7" fmla="*/ 72 h 148"/>
                <a:gd name="T8" fmla="*/ 20 w 110"/>
                <a:gd name="T9" fmla="*/ 80 h 148"/>
                <a:gd name="T10" fmla="*/ 12 w 110"/>
                <a:gd name="T11" fmla="*/ 88 h 148"/>
                <a:gd name="T12" fmla="*/ 16 w 110"/>
                <a:gd name="T13" fmla="*/ 76 h 148"/>
                <a:gd name="T14" fmla="*/ 16 w 110"/>
                <a:gd name="T15" fmla="*/ 62 h 148"/>
                <a:gd name="T16" fmla="*/ 16 w 110"/>
                <a:gd name="T17" fmla="*/ 54 h 148"/>
                <a:gd name="T18" fmla="*/ 4 w 110"/>
                <a:gd name="T19" fmla="*/ 50 h 148"/>
                <a:gd name="T20" fmla="*/ 4 w 110"/>
                <a:gd name="T21" fmla="*/ 40 h 148"/>
                <a:gd name="T22" fmla="*/ 0 w 110"/>
                <a:gd name="T23" fmla="*/ 36 h 148"/>
                <a:gd name="T24" fmla="*/ 8 w 110"/>
                <a:gd name="T25" fmla="*/ 30 h 148"/>
                <a:gd name="T26" fmla="*/ 8 w 110"/>
                <a:gd name="T27" fmla="*/ 22 h 148"/>
                <a:gd name="T28" fmla="*/ 16 w 110"/>
                <a:gd name="T29" fmla="*/ 14 h 148"/>
                <a:gd name="T30" fmla="*/ 24 w 110"/>
                <a:gd name="T31" fmla="*/ 22 h 148"/>
                <a:gd name="T32" fmla="*/ 24 w 110"/>
                <a:gd name="T33" fmla="*/ 22 h 148"/>
                <a:gd name="T34" fmla="*/ 20 w 110"/>
                <a:gd name="T35" fmla="*/ 4 h 148"/>
                <a:gd name="T36" fmla="*/ 30 w 110"/>
                <a:gd name="T37" fmla="*/ 0 h 148"/>
                <a:gd name="T38" fmla="*/ 38 w 110"/>
                <a:gd name="T39" fmla="*/ 10 h 148"/>
                <a:gd name="T40" fmla="*/ 38 w 110"/>
                <a:gd name="T41" fmla="*/ 18 h 148"/>
                <a:gd name="T42" fmla="*/ 42 w 110"/>
                <a:gd name="T43" fmla="*/ 26 h 148"/>
                <a:gd name="T44" fmla="*/ 50 w 110"/>
                <a:gd name="T45" fmla="*/ 32 h 148"/>
                <a:gd name="T46" fmla="*/ 60 w 110"/>
                <a:gd name="T47" fmla="*/ 30 h 148"/>
                <a:gd name="T48" fmla="*/ 68 w 110"/>
                <a:gd name="T49" fmla="*/ 40 h 148"/>
                <a:gd name="T50" fmla="*/ 64 w 110"/>
                <a:gd name="T51" fmla="*/ 50 h 148"/>
                <a:gd name="T52" fmla="*/ 56 w 110"/>
                <a:gd name="T53" fmla="*/ 50 h 148"/>
                <a:gd name="T54" fmla="*/ 54 w 110"/>
                <a:gd name="T55" fmla="*/ 54 h 148"/>
                <a:gd name="T56" fmla="*/ 64 w 110"/>
                <a:gd name="T57" fmla="*/ 66 h 148"/>
                <a:gd name="T58" fmla="*/ 72 w 110"/>
                <a:gd name="T59" fmla="*/ 72 h 148"/>
                <a:gd name="T60" fmla="*/ 80 w 110"/>
                <a:gd name="T61" fmla="*/ 80 h 148"/>
                <a:gd name="T62" fmla="*/ 86 w 110"/>
                <a:gd name="T63" fmla="*/ 88 h 148"/>
                <a:gd name="T64" fmla="*/ 90 w 110"/>
                <a:gd name="T65" fmla="*/ 98 h 148"/>
                <a:gd name="T66" fmla="*/ 98 w 110"/>
                <a:gd name="T67" fmla="*/ 102 h 148"/>
                <a:gd name="T68" fmla="*/ 106 w 110"/>
                <a:gd name="T69" fmla="*/ 110 h 148"/>
                <a:gd name="T70" fmla="*/ 102 w 110"/>
                <a:gd name="T71" fmla="*/ 122 h 148"/>
                <a:gd name="T72" fmla="*/ 106 w 110"/>
                <a:gd name="T73" fmla="*/ 128 h 148"/>
                <a:gd name="T74" fmla="*/ 102 w 110"/>
                <a:gd name="T75" fmla="*/ 140 h 148"/>
                <a:gd name="T76" fmla="*/ 90 w 110"/>
                <a:gd name="T77" fmla="*/ 140 h 148"/>
                <a:gd name="T78" fmla="*/ 86 w 110"/>
                <a:gd name="T79" fmla="*/ 144 h 148"/>
                <a:gd name="T80" fmla="*/ 80 w 110"/>
                <a:gd name="T81" fmla="*/ 144 h 148"/>
                <a:gd name="T82" fmla="*/ 72 w 110"/>
                <a:gd name="T83" fmla="*/ 144 h 148"/>
                <a:gd name="T84" fmla="*/ 76 w 110"/>
                <a:gd name="T85" fmla="*/ 132 h 148"/>
                <a:gd name="T86" fmla="*/ 80 w 110"/>
                <a:gd name="T87" fmla="*/ 124 h 148"/>
                <a:gd name="T88" fmla="*/ 76 w 110"/>
                <a:gd name="T89" fmla="*/ 114 h 148"/>
                <a:gd name="T90" fmla="*/ 68 w 110"/>
                <a:gd name="T91" fmla="*/ 102 h 148"/>
                <a:gd name="T92" fmla="*/ 64 w 110"/>
                <a:gd name="T93" fmla="*/ 96 h 148"/>
                <a:gd name="T94" fmla="*/ 64 w 110"/>
                <a:gd name="T95" fmla="*/ 88 h 148"/>
                <a:gd name="T96" fmla="*/ 60 w 110"/>
                <a:gd name="T97" fmla="*/ 8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0" h="148">
                  <a:moveTo>
                    <a:pt x="60" y="80"/>
                  </a:moveTo>
                  <a:lnTo>
                    <a:pt x="56" y="76"/>
                  </a:lnTo>
                  <a:lnTo>
                    <a:pt x="56" y="72"/>
                  </a:lnTo>
                  <a:lnTo>
                    <a:pt x="54" y="72"/>
                  </a:lnTo>
                  <a:lnTo>
                    <a:pt x="50" y="72"/>
                  </a:lnTo>
                  <a:lnTo>
                    <a:pt x="50" y="70"/>
                  </a:lnTo>
                  <a:lnTo>
                    <a:pt x="46" y="70"/>
                  </a:lnTo>
                  <a:lnTo>
                    <a:pt x="46" y="72"/>
                  </a:lnTo>
                  <a:lnTo>
                    <a:pt x="42" y="76"/>
                  </a:lnTo>
                  <a:lnTo>
                    <a:pt x="38" y="76"/>
                  </a:lnTo>
                  <a:lnTo>
                    <a:pt x="38" y="80"/>
                  </a:lnTo>
                  <a:lnTo>
                    <a:pt x="34" y="80"/>
                  </a:lnTo>
                  <a:lnTo>
                    <a:pt x="34" y="76"/>
                  </a:lnTo>
                  <a:lnTo>
                    <a:pt x="30" y="76"/>
                  </a:lnTo>
                  <a:lnTo>
                    <a:pt x="30" y="72"/>
                  </a:lnTo>
                  <a:lnTo>
                    <a:pt x="26" y="72"/>
                  </a:lnTo>
                  <a:lnTo>
                    <a:pt x="26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70"/>
                  </a:lnTo>
                  <a:lnTo>
                    <a:pt x="16" y="66"/>
                  </a:lnTo>
                  <a:lnTo>
                    <a:pt x="16" y="62"/>
                  </a:lnTo>
                  <a:lnTo>
                    <a:pt x="20" y="62"/>
                  </a:lnTo>
                  <a:lnTo>
                    <a:pt x="20" y="58"/>
                  </a:lnTo>
                  <a:lnTo>
                    <a:pt x="16" y="58"/>
                  </a:lnTo>
                  <a:lnTo>
                    <a:pt x="16" y="54"/>
                  </a:lnTo>
                  <a:lnTo>
                    <a:pt x="16" y="50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4" y="50"/>
                  </a:lnTo>
                  <a:lnTo>
                    <a:pt x="4" y="46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8" y="22"/>
                  </a:lnTo>
                  <a:lnTo>
                    <a:pt x="12" y="22"/>
                  </a:lnTo>
                  <a:lnTo>
                    <a:pt x="12" y="18"/>
                  </a:lnTo>
                  <a:lnTo>
                    <a:pt x="16" y="18"/>
                  </a:lnTo>
                  <a:lnTo>
                    <a:pt x="16" y="14"/>
                  </a:lnTo>
                  <a:lnTo>
                    <a:pt x="16" y="18"/>
                  </a:lnTo>
                  <a:lnTo>
                    <a:pt x="16" y="22"/>
                  </a:lnTo>
                  <a:lnTo>
                    <a:pt x="20" y="22"/>
                  </a:lnTo>
                  <a:lnTo>
                    <a:pt x="24" y="22"/>
                  </a:lnTo>
                  <a:lnTo>
                    <a:pt x="24" y="26"/>
                  </a:lnTo>
                  <a:lnTo>
                    <a:pt x="24" y="22"/>
                  </a:lnTo>
                  <a:lnTo>
                    <a:pt x="26" y="22"/>
                  </a:lnTo>
                  <a:lnTo>
                    <a:pt x="24" y="22"/>
                  </a:lnTo>
                  <a:lnTo>
                    <a:pt x="24" y="18"/>
                  </a:lnTo>
                  <a:lnTo>
                    <a:pt x="24" y="14"/>
                  </a:lnTo>
                  <a:lnTo>
                    <a:pt x="24" y="10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30" y="4"/>
                  </a:lnTo>
                  <a:lnTo>
                    <a:pt x="34" y="6"/>
                  </a:lnTo>
                  <a:lnTo>
                    <a:pt x="34" y="10"/>
                  </a:lnTo>
                  <a:lnTo>
                    <a:pt x="38" y="10"/>
                  </a:lnTo>
                  <a:lnTo>
                    <a:pt x="38" y="14"/>
                  </a:lnTo>
                  <a:lnTo>
                    <a:pt x="42" y="14"/>
                  </a:lnTo>
                  <a:lnTo>
                    <a:pt x="42" y="18"/>
                  </a:lnTo>
                  <a:lnTo>
                    <a:pt x="38" y="18"/>
                  </a:lnTo>
                  <a:lnTo>
                    <a:pt x="42" y="18"/>
                  </a:lnTo>
                  <a:lnTo>
                    <a:pt x="38" y="22"/>
                  </a:lnTo>
                  <a:lnTo>
                    <a:pt x="42" y="22"/>
                  </a:lnTo>
                  <a:lnTo>
                    <a:pt x="42" y="26"/>
                  </a:lnTo>
                  <a:lnTo>
                    <a:pt x="42" y="30"/>
                  </a:lnTo>
                  <a:lnTo>
                    <a:pt x="46" y="30"/>
                  </a:lnTo>
                  <a:lnTo>
                    <a:pt x="50" y="30"/>
                  </a:lnTo>
                  <a:lnTo>
                    <a:pt x="50" y="32"/>
                  </a:lnTo>
                  <a:lnTo>
                    <a:pt x="54" y="32"/>
                  </a:lnTo>
                  <a:lnTo>
                    <a:pt x="54" y="30"/>
                  </a:lnTo>
                  <a:lnTo>
                    <a:pt x="56" y="26"/>
                  </a:lnTo>
                  <a:lnTo>
                    <a:pt x="60" y="30"/>
                  </a:lnTo>
                  <a:lnTo>
                    <a:pt x="64" y="32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6"/>
                  </a:lnTo>
                  <a:lnTo>
                    <a:pt x="64" y="46"/>
                  </a:lnTo>
                  <a:lnTo>
                    <a:pt x="64" y="50"/>
                  </a:lnTo>
                  <a:lnTo>
                    <a:pt x="60" y="50"/>
                  </a:lnTo>
                  <a:lnTo>
                    <a:pt x="60" y="46"/>
                  </a:lnTo>
                  <a:lnTo>
                    <a:pt x="56" y="46"/>
                  </a:lnTo>
                  <a:lnTo>
                    <a:pt x="56" y="50"/>
                  </a:lnTo>
                  <a:lnTo>
                    <a:pt x="56" y="46"/>
                  </a:lnTo>
                  <a:lnTo>
                    <a:pt x="56" y="50"/>
                  </a:lnTo>
                  <a:lnTo>
                    <a:pt x="56" y="54"/>
                  </a:lnTo>
                  <a:lnTo>
                    <a:pt x="54" y="54"/>
                  </a:lnTo>
                  <a:lnTo>
                    <a:pt x="56" y="58"/>
                  </a:lnTo>
                  <a:lnTo>
                    <a:pt x="60" y="58"/>
                  </a:lnTo>
                  <a:lnTo>
                    <a:pt x="64" y="62"/>
                  </a:lnTo>
                  <a:lnTo>
                    <a:pt x="64" y="66"/>
                  </a:lnTo>
                  <a:lnTo>
                    <a:pt x="68" y="66"/>
                  </a:lnTo>
                  <a:lnTo>
                    <a:pt x="72" y="66"/>
                  </a:lnTo>
                  <a:lnTo>
                    <a:pt x="72" y="70"/>
                  </a:lnTo>
                  <a:lnTo>
                    <a:pt x="72" y="72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6" y="88"/>
                  </a:lnTo>
                  <a:lnTo>
                    <a:pt x="86" y="92"/>
                  </a:lnTo>
                  <a:lnTo>
                    <a:pt x="90" y="92"/>
                  </a:lnTo>
                  <a:lnTo>
                    <a:pt x="90" y="96"/>
                  </a:lnTo>
                  <a:lnTo>
                    <a:pt x="90" y="98"/>
                  </a:lnTo>
                  <a:lnTo>
                    <a:pt x="90" y="102"/>
                  </a:lnTo>
                  <a:lnTo>
                    <a:pt x="94" y="106"/>
                  </a:lnTo>
                  <a:lnTo>
                    <a:pt x="94" y="102"/>
                  </a:lnTo>
                  <a:lnTo>
                    <a:pt x="98" y="102"/>
                  </a:lnTo>
                  <a:lnTo>
                    <a:pt x="98" y="106"/>
                  </a:lnTo>
                  <a:lnTo>
                    <a:pt x="102" y="106"/>
                  </a:lnTo>
                  <a:lnTo>
                    <a:pt x="102" y="110"/>
                  </a:lnTo>
                  <a:lnTo>
                    <a:pt x="106" y="110"/>
                  </a:lnTo>
                  <a:lnTo>
                    <a:pt x="106" y="114"/>
                  </a:lnTo>
                  <a:lnTo>
                    <a:pt x="102" y="114"/>
                  </a:lnTo>
                  <a:lnTo>
                    <a:pt x="102" y="118"/>
                  </a:lnTo>
                  <a:lnTo>
                    <a:pt x="102" y="122"/>
                  </a:lnTo>
                  <a:lnTo>
                    <a:pt x="106" y="122"/>
                  </a:lnTo>
                  <a:lnTo>
                    <a:pt x="106" y="124"/>
                  </a:lnTo>
                  <a:lnTo>
                    <a:pt x="110" y="124"/>
                  </a:lnTo>
                  <a:lnTo>
                    <a:pt x="106" y="128"/>
                  </a:lnTo>
                  <a:lnTo>
                    <a:pt x="106" y="132"/>
                  </a:lnTo>
                  <a:lnTo>
                    <a:pt x="106" y="136"/>
                  </a:lnTo>
                  <a:lnTo>
                    <a:pt x="102" y="136"/>
                  </a:lnTo>
                  <a:lnTo>
                    <a:pt x="102" y="140"/>
                  </a:lnTo>
                  <a:lnTo>
                    <a:pt x="94" y="144"/>
                  </a:lnTo>
                  <a:lnTo>
                    <a:pt x="94" y="140"/>
                  </a:lnTo>
                  <a:lnTo>
                    <a:pt x="90" y="136"/>
                  </a:lnTo>
                  <a:lnTo>
                    <a:pt x="90" y="140"/>
                  </a:lnTo>
                  <a:lnTo>
                    <a:pt x="86" y="140"/>
                  </a:lnTo>
                  <a:lnTo>
                    <a:pt x="84" y="140"/>
                  </a:lnTo>
                  <a:lnTo>
                    <a:pt x="84" y="144"/>
                  </a:lnTo>
                  <a:lnTo>
                    <a:pt x="86" y="144"/>
                  </a:lnTo>
                  <a:lnTo>
                    <a:pt x="86" y="148"/>
                  </a:lnTo>
                  <a:lnTo>
                    <a:pt x="84" y="148"/>
                  </a:lnTo>
                  <a:lnTo>
                    <a:pt x="80" y="148"/>
                  </a:lnTo>
                  <a:lnTo>
                    <a:pt x="80" y="144"/>
                  </a:lnTo>
                  <a:lnTo>
                    <a:pt x="76" y="144"/>
                  </a:lnTo>
                  <a:lnTo>
                    <a:pt x="76" y="148"/>
                  </a:lnTo>
                  <a:lnTo>
                    <a:pt x="76" y="144"/>
                  </a:lnTo>
                  <a:lnTo>
                    <a:pt x="72" y="144"/>
                  </a:lnTo>
                  <a:lnTo>
                    <a:pt x="72" y="140"/>
                  </a:lnTo>
                  <a:lnTo>
                    <a:pt x="76" y="140"/>
                  </a:lnTo>
                  <a:lnTo>
                    <a:pt x="76" y="136"/>
                  </a:lnTo>
                  <a:lnTo>
                    <a:pt x="76" y="132"/>
                  </a:lnTo>
                  <a:lnTo>
                    <a:pt x="80" y="132"/>
                  </a:lnTo>
                  <a:lnTo>
                    <a:pt x="80" y="128"/>
                  </a:lnTo>
                  <a:lnTo>
                    <a:pt x="76" y="128"/>
                  </a:lnTo>
                  <a:lnTo>
                    <a:pt x="80" y="124"/>
                  </a:lnTo>
                  <a:lnTo>
                    <a:pt x="80" y="122"/>
                  </a:lnTo>
                  <a:lnTo>
                    <a:pt x="80" y="118"/>
                  </a:lnTo>
                  <a:lnTo>
                    <a:pt x="76" y="118"/>
                  </a:lnTo>
                  <a:lnTo>
                    <a:pt x="76" y="114"/>
                  </a:lnTo>
                  <a:lnTo>
                    <a:pt x="72" y="114"/>
                  </a:lnTo>
                  <a:lnTo>
                    <a:pt x="72" y="110"/>
                  </a:lnTo>
                  <a:lnTo>
                    <a:pt x="68" y="106"/>
                  </a:lnTo>
                  <a:lnTo>
                    <a:pt x="68" y="102"/>
                  </a:lnTo>
                  <a:lnTo>
                    <a:pt x="64" y="102"/>
                  </a:lnTo>
                  <a:lnTo>
                    <a:pt x="68" y="102"/>
                  </a:lnTo>
                  <a:lnTo>
                    <a:pt x="68" y="98"/>
                  </a:lnTo>
                  <a:lnTo>
                    <a:pt x="64" y="96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8" y="88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9" name="Freeform 38">
              <a:extLst>
                <a:ext uri="{FF2B5EF4-FFF2-40B4-BE49-F238E27FC236}">
                  <a16:creationId xmlns:a16="http://schemas.microsoft.com/office/drawing/2014/main" id="{32C69F84-9C8E-BA10-E1E8-C4A863B3A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447" y="3020979"/>
              <a:ext cx="42861" cy="56565"/>
            </a:xfrm>
            <a:custGeom>
              <a:avLst/>
              <a:gdLst>
                <a:gd name="T0" fmla="*/ 14 w 22"/>
                <a:gd name="T1" fmla="*/ 0 h 30"/>
                <a:gd name="T2" fmla="*/ 14 w 22"/>
                <a:gd name="T3" fmla="*/ 0 h 30"/>
                <a:gd name="T4" fmla="*/ 14 w 22"/>
                <a:gd name="T5" fmla="*/ 0 h 30"/>
                <a:gd name="T6" fmla="*/ 18 w 22"/>
                <a:gd name="T7" fmla="*/ 0 h 30"/>
                <a:gd name="T8" fmla="*/ 18 w 22"/>
                <a:gd name="T9" fmla="*/ 0 h 30"/>
                <a:gd name="T10" fmla="*/ 18 w 22"/>
                <a:gd name="T11" fmla="*/ 0 h 30"/>
                <a:gd name="T12" fmla="*/ 18 w 22"/>
                <a:gd name="T13" fmla="*/ 0 h 30"/>
                <a:gd name="T14" fmla="*/ 22 w 22"/>
                <a:gd name="T15" fmla="*/ 4 h 30"/>
                <a:gd name="T16" fmla="*/ 22 w 22"/>
                <a:gd name="T17" fmla="*/ 8 h 30"/>
                <a:gd name="T18" fmla="*/ 22 w 22"/>
                <a:gd name="T19" fmla="*/ 8 h 30"/>
                <a:gd name="T20" fmla="*/ 18 w 22"/>
                <a:gd name="T21" fmla="*/ 12 h 30"/>
                <a:gd name="T22" fmla="*/ 18 w 22"/>
                <a:gd name="T23" fmla="*/ 12 h 30"/>
                <a:gd name="T24" fmla="*/ 18 w 22"/>
                <a:gd name="T25" fmla="*/ 16 h 30"/>
                <a:gd name="T26" fmla="*/ 18 w 22"/>
                <a:gd name="T27" fmla="*/ 16 h 30"/>
                <a:gd name="T28" fmla="*/ 18 w 22"/>
                <a:gd name="T29" fmla="*/ 16 h 30"/>
                <a:gd name="T30" fmla="*/ 14 w 22"/>
                <a:gd name="T31" fmla="*/ 16 h 30"/>
                <a:gd name="T32" fmla="*/ 10 w 22"/>
                <a:gd name="T33" fmla="*/ 20 h 30"/>
                <a:gd name="T34" fmla="*/ 14 w 22"/>
                <a:gd name="T35" fmla="*/ 20 h 30"/>
                <a:gd name="T36" fmla="*/ 14 w 22"/>
                <a:gd name="T37" fmla="*/ 20 h 30"/>
                <a:gd name="T38" fmla="*/ 10 w 22"/>
                <a:gd name="T39" fmla="*/ 22 h 30"/>
                <a:gd name="T40" fmla="*/ 10 w 22"/>
                <a:gd name="T41" fmla="*/ 22 h 30"/>
                <a:gd name="T42" fmla="*/ 10 w 22"/>
                <a:gd name="T43" fmla="*/ 22 h 30"/>
                <a:gd name="T44" fmla="*/ 10 w 22"/>
                <a:gd name="T45" fmla="*/ 22 h 30"/>
                <a:gd name="T46" fmla="*/ 6 w 22"/>
                <a:gd name="T47" fmla="*/ 26 h 30"/>
                <a:gd name="T48" fmla="*/ 6 w 22"/>
                <a:gd name="T49" fmla="*/ 26 h 30"/>
                <a:gd name="T50" fmla="*/ 6 w 22"/>
                <a:gd name="T51" fmla="*/ 26 h 30"/>
                <a:gd name="T52" fmla="*/ 6 w 22"/>
                <a:gd name="T53" fmla="*/ 30 h 30"/>
                <a:gd name="T54" fmla="*/ 2 w 22"/>
                <a:gd name="T55" fmla="*/ 30 h 30"/>
                <a:gd name="T56" fmla="*/ 2 w 22"/>
                <a:gd name="T57" fmla="*/ 30 h 30"/>
                <a:gd name="T58" fmla="*/ 0 w 22"/>
                <a:gd name="T59" fmla="*/ 30 h 30"/>
                <a:gd name="T60" fmla="*/ 0 w 22"/>
                <a:gd name="T61" fmla="*/ 26 h 30"/>
                <a:gd name="T62" fmla="*/ 2 w 22"/>
                <a:gd name="T63" fmla="*/ 26 h 30"/>
                <a:gd name="T64" fmla="*/ 2 w 22"/>
                <a:gd name="T65" fmla="*/ 22 h 30"/>
                <a:gd name="T66" fmla="*/ 2 w 22"/>
                <a:gd name="T67" fmla="*/ 22 h 30"/>
                <a:gd name="T68" fmla="*/ 2 w 22"/>
                <a:gd name="T69" fmla="*/ 22 h 30"/>
                <a:gd name="T70" fmla="*/ 2 w 22"/>
                <a:gd name="T71" fmla="*/ 20 h 30"/>
                <a:gd name="T72" fmla="*/ 2 w 22"/>
                <a:gd name="T73" fmla="*/ 20 h 30"/>
                <a:gd name="T74" fmla="*/ 6 w 22"/>
                <a:gd name="T75" fmla="*/ 16 h 30"/>
                <a:gd name="T76" fmla="*/ 6 w 22"/>
                <a:gd name="T77" fmla="*/ 16 h 30"/>
                <a:gd name="T78" fmla="*/ 6 w 22"/>
                <a:gd name="T79" fmla="*/ 16 h 30"/>
                <a:gd name="T80" fmla="*/ 6 w 22"/>
                <a:gd name="T81" fmla="*/ 12 h 30"/>
                <a:gd name="T82" fmla="*/ 6 w 22"/>
                <a:gd name="T83" fmla="*/ 12 h 30"/>
                <a:gd name="T84" fmla="*/ 6 w 22"/>
                <a:gd name="T85" fmla="*/ 8 h 30"/>
                <a:gd name="T86" fmla="*/ 6 w 22"/>
                <a:gd name="T87" fmla="*/ 8 h 30"/>
                <a:gd name="T88" fmla="*/ 6 w 22"/>
                <a:gd name="T89" fmla="*/ 8 h 30"/>
                <a:gd name="T90" fmla="*/ 10 w 22"/>
                <a:gd name="T91" fmla="*/ 4 h 30"/>
                <a:gd name="T92" fmla="*/ 14 w 22"/>
                <a:gd name="T93" fmla="*/ 0 h 30"/>
                <a:gd name="T94" fmla="*/ 14 w 22"/>
                <a:gd name="T95" fmla="*/ 0 h 30"/>
                <a:gd name="T96" fmla="*/ 14 w 22"/>
                <a:gd name="T9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" h="30">
                  <a:moveTo>
                    <a:pt x="14" y="0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2"/>
                  </a:lnTo>
                  <a:lnTo>
                    <a:pt x="6" y="16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50" name="Freeform 39">
              <a:extLst>
                <a:ext uri="{FF2B5EF4-FFF2-40B4-BE49-F238E27FC236}">
                  <a16:creationId xmlns:a16="http://schemas.microsoft.com/office/drawing/2014/main" id="{F088003B-2761-6F5D-6337-D9A8F67050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36224" y="3937335"/>
              <a:ext cx="545502" cy="211177"/>
            </a:xfrm>
            <a:custGeom>
              <a:avLst/>
              <a:gdLst>
                <a:gd name="T0" fmla="*/ 8 w 280"/>
                <a:gd name="T1" fmla="*/ 14 h 112"/>
                <a:gd name="T2" fmla="*/ 18 w 280"/>
                <a:gd name="T3" fmla="*/ 18 h 112"/>
                <a:gd name="T4" fmla="*/ 22 w 280"/>
                <a:gd name="T5" fmla="*/ 30 h 112"/>
                <a:gd name="T6" fmla="*/ 34 w 280"/>
                <a:gd name="T7" fmla="*/ 26 h 112"/>
                <a:gd name="T8" fmla="*/ 42 w 280"/>
                <a:gd name="T9" fmla="*/ 26 h 112"/>
                <a:gd name="T10" fmla="*/ 52 w 280"/>
                <a:gd name="T11" fmla="*/ 36 h 112"/>
                <a:gd name="T12" fmla="*/ 52 w 280"/>
                <a:gd name="T13" fmla="*/ 56 h 112"/>
                <a:gd name="T14" fmla="*/ 56 w 280"/>
                <a:gd name="T15" fmla="*/ 66 h 112"/>
                <a:gd name="T16" fmla="*/ 60 w 280"/>
                <a:gd name="T17" fmla="*/ 86 h 112"/>
                <a:gd name="T18" fmla="*/ 64 w 280"/>
                <a:gd name="T19" fmla="*/ 100 h 112"/>
                <a:gd name="T20" fmla="*/ 56 w 280"/>
                <a:gd name="T21" fmla="*/ 100 h 112"/>
                <a:gd name="T22" fmla="*/ 38 w 280"/>
                <a:gd name="T23" fmla="*/ 90 h 112"/>
                <a:gd name="T24" fmla="*/ 22 w 280"/>
                <a:gd name="T25" fmla="*/ 78 h 112"/>
                <a:gd name="T26" fmla="*/ 22 w 280"/>
                <a:gd name="T27" fmla="*/ 64 h 112"/>
                <a:gd name="T28" fmla="*/ 14 w 280"/>
                <a:gd name="T29" fmla="*/ 52 h 112"/>
                <a:gd name="T30" fmla="*/ 12 w 280"/>
                <a:gd name="T31" fmla="*/ 30 h 112"/>
                <a:gd name="T32" fmla="*/ 242 w 280"/>
                <a:gd name="T33" fmla="*/ 4 h 112"/>
                <a:gd name="T34" fmla="*/ 246 w 280"/>
                <a:gd name="T35" fmla="*/ 0 h 112"/>
                <a:gd name="T36" fmla="*/ 254 w 280"/>
                <a:gd name="T37" fmla="*/ 10 h 112"/>
                <a:gd name="T38" fmla="*/ 266 w 280"/>
                <a:gd name="T39" fmla="*/ 44 h 112"/>
                <a:gd name="T40" fmla="*/ 258 w 280"/>
                <a:gd name="T41" fmla="*/ 52 h 112"/>
                <a:gd name="T42" fmla="*/ 168 w 280"/>
                <a:gd name="T43" fmla="*/ 86 h 112"/>
                <a:gd name="T44" fmla="*/ 210 w 280"/>
                <a:gd name="T45" fmla="*/ 48 h 112"/>
                <a:gd name="T46" fmla="*/ 216 w 280"/>
                <a:gd name="T47" fmla="*/ 44 h 112"/>
                <a:gd name="T48" fmla="*/ 224 w 280"/>
                <a:gd name="T49" fmla="*/ 52 h 112"/>
                <a:gd name="T50" fmla="*/ 224 w 280"/>
                <a:gd name="T51" fmla="*/ 36 h 112"/>
                <a:gd name="T52" fmla="*/ 232 w 280"/>
                <a:gd name="T53" fmla="*/ 30 h 112"/>
                <a:gd name="T54" fmla="*/ 240 w 280"/>
                <a:gd name="T55" fmla="*/ 14 h 112"/>
                <a:gd name="T56" fmla="*/ 242 w 280"/>
                <a:gd name="T57" fmla="*/ 10 h 112"/>
                <a:gd name="T58" fmla="*/ 250 w 280"/>
                <a:gd name="T59" fmla="*/ 10 h 112"/>
                <a:gd name="T60" fmla="*/ 258 w 280"/>
                <a:gd name="T61" fmla="*/ 18 h 112"/>
                <a:gd name="T62" fmla="*/ 262 w 280"/>
                <a:gd name="T63" fmla="*/ 26 h 112"/>
                <a:gd name="T64" fmla="*/ 272 w 280"/>
                <a:gd name="T65" fmla="*/ 30 h 112"/>
                <a:gd name="T66" fmla="*/ 272 w 280"/>
                <a:gd name="T67" fmla="*/ 36 h 112"/>
                <a:gd name="T68" fmla="*/ 262 w 280"/>
                <a:gd name="T69" fmla="*/ 40 h 112"/>
                <a:gd name="T70" fmla="*/ 262 w 280"/>
                <a:gd name="T71" fmla="*/ 52 h 112"/>
                <a:gd name="T72" fmla="*/ 242 w 280"/>
                <a:gd name="T73" fmla="*/ 52 h 112"/>
                <a:gd name="T74" fmla="*/ 228 w 280"/>
                <a:gd name="T75" fmla="*/ 52 h 112"/>
                <a:gd name="T76" fmla="*/ 224 w 280"/>
                <a:gd name="T77" fmla="*/ 70 h 112"/>
                <a:gd name="T78" fmla="*/ 216 w 280"/>
                <a:gd name="T79" fmla="*/ 92 h 112"/>
                <a:gd name="T80" fmla="*/ 202 w 280"/>
                <a:gd name="T81" fmla="*/ 100 h 112"/>
                <a:gd name="T82" fmla="*/ 186 w 280"/>
                <a:gd name="T83" fmla="*/ 96 h 112"/>
                <a:gd name="T84" fmla="*/ 172 w 280"/>
                <a:gd name="T85" fmla="*/ 108 h 112"/>
                <a:gd name="T86" fmla="*/ 154 w 280"/>
                <a:gd name="T87" fmla="*/ 112 h 112"/>
                <a:gd name="T88" fmla="*/ 142 w 280"/>
                <a:gd name="T89" fmla="*/ 92 h 112"/>
                <a:gd name="T90" fmla="*/ 154 w 280"/>
                <a:gd name="T91" fmla="*/ 92 h 112"/>
                <a:gd name="T92" fmla="*/ 160 w 280"/>
                <a:gd name="T93" fmla="*/ 100 h 112"/>
                <a:gd name="T94" fmla="*/ 164 w 280"/>
                <a:gd name="T95" fmla="*/ 92 h 112"/>
                <a:gd name="T96" fmla="*/ 164 w 280"/>
                <a:gd name="T97" fmla="*/ 86 h 112"/>
                <a:gd name="T98" fmla="*/ 176 w 280"/>
                <a:gd name="T99" fmla="*/ 74 h 112"/>
                <a:gd name="T100" fmla="*/ 194 w 280"/>
                <a:gd name="T101" fmla="*/ 66 h 112"/>
                <a:gd name="T102" fmla="*/ 206 w 280"/>
                <a:gd name="T103" fmla="*/ 48 h 112"/>
                <a:gd name="T104" fmla="*/ 4 w 280"/>
                <a:gd name="T105" fmla="*/ 14 h 112"/>
                <a:gd name="T106" fmla="*/ 12 w 280"/>
                <a:gd name="T107" fmla="*/ 34 h 112"/>
                <a:gd name="T108" fmla="*/ 12 w 280"/>
                <a:gd name="T109" fmla="*/ 34 h 112"/>
                <a:gd name="T110" fmla="*/ 64 w 280"/>
                <a:gd name="T111" fmla="*/ 74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80" h="112">
                  <a:moveTo>
                    <a:pt x="12" y="30"/>
                  </a:moveTo>
                  <a:lnTo>
                    <a:pt x="12" y="26"/>
                  </a:lnTo>
                  <a:lnTo>
                    <a:pt x="12" y="22"/>
                  </a:lnTo>
                  <a:lnTo>
                    <a:pt x="12" y="18"/>
                  </a:lnTo>
                  <a:lnTo>
                    <a:pt x="8" y="18"/>
                  </a:lnTo>
                  <a:lnTo>
                    <a:pt x="8" y="14"/>
                  </a:lnTo>
                  <a:lnTo>
                    <a:pt x="8" y="10"/>
                  </a:lnTo>
                  <a:lnTo>
                    <a:pt x="12" y="10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8" y="14"/>
                  </a:lnTo>
                  <a:lnTo>
                    <a:pt x="18" y="18"/>
                  </a:lnTo>
                  <a:lnTo>
                    <a:pt x="22" y="18"/>
                  </a:lnTo>
                  <a:lnTo>
                    <a:pt x="22" y="22"/>
                  </a:lnTo>
                  <a:lnTo>
                    <a:pt x="18" y="22"/>
                  </a:lnTo>
                  <a:lnTo>
                    <a:pt x="18" y="26"/>
                  </a:lnTo>
                  <a:lnTo>
                    <a:pt x="22" y="26"/>
                  </a:lnTo>
                  <a:lnTo>
                    <a:pt x="22" y="30"/>
                  </a:lnTo>
                  <a:lnTo>
                    <a:pt x="22" y="26"/>
                  </a:lnTo>
                  <a:lnTo>
                    <a:pt x="26" y="26"/>
                  </a:lnTo>
                  <a:lnTo>
                    <a:pt x="26" y="22"/>
                  </a:lnTo>
                  <a:lnTo>
                    <a:pt x="30" y="22"/>
                  </a:lnTo>
                  <a:lnTo>
                    <a:pt x="30" y="26"/>
                  </a:lnTo>
                  <a:lnTo>
                    <a:pt x="34" y="26"/>
                  </a:lnTo>
                  <a:lnTo>
                    <a:pt x="34" y="22"/>
                  </a:lnTo>
                  <a:lnTo>
                    <a:pt x="34" y="18"/>
                  </a:lnTo>
                  <a:lnTo>
                    <a:pt x="38" y="18"/>
                  </a:lnTo>
                  <a:lnTo>
                    <a:pt x="42" y="18"/>
                  </a:lnTo>
                  <a:lnTo>
                    <a:pt x="42" y="22"/>
                  </a:lnTo>
                  <a:lnTo>
                    <a:pt x="42" y="26"/>
                  </a:lnTo>
                  <a:lnTo>
                    <a:pt x="44" y="26"/>
                  </a:lnTo>
                  <a:lnTo>
                    <a:pt x="44" y="30"/>
                  </a:lnTo>
                  <a:lnTo>
                    <a:pt x="48" y="30"/>
                  </a:lnTo>
                  <a:lnTo>
                    <a:pt x="48" y="34"/>
                  </a:lnTo>
                  <a:lnTo>
                    <a:pt x="52" y="34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56" y="66"/>
                  </a:lnTo>
                  <a:lnTo>
                    <a:pt x="52" y="66"/>
                  </a:lnTo>
                  <a:lnTo>
                    <a:pt x="56" y="66"/>
                  </a:lnTo>
                  <a:lnTo>
                    <a:pt x="56" y="70"/>
                  </a:lnTo>
                  <a:lnTo>
                    <a:pt x="56" y="74"/>
                  </a:lnTo>
                  <a:lnTo>
                    <a:pt x="56" y="78"/>
                  </a:lnTo>
                  <a:lnTo>
                    <a:pt x="60" y="78"/>
                  </a:lnTo>
                  <a:lnTo>
                    <a:pt x="60" y="82"/>
                  </a:lnTo>
                  <a:lnTo>
                    <a:pt x="60" y="86"/>
                  </a:lnTo>
                  <a:lnTo>
                    <a:pt x="64" y="86"/>
                  </a:lnTo>
                  <a:lnTo>
                    <a:pt x="64" y="90"/>
                  </a:lnTo>
                  <a:lnTo>
                    <a:pt x="64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4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4" y="92"/>
                  </a:lnTo>
                  <a:lnTo>
                    <a:pt x="42" y="90"/>
                  </a:lnTo>
                  <a:lnTo>
                    <a:pt x="38" y="90"/>
                  </a:lnTo>
                  <a:lnTo>
                    <a:pt x="38" y="86"/>
                  </a:lnTo>
                  <a:lnTo>
                    <a:pt x="34" y="86"/>
                  </a:lnTo>
                  <a:lnTo>
                    <a:pt x="34" y="82"/>
                  </a:lnTo>
                  <a:lnTo>
                    <a:pt x="30" y="82"/>
                  </a:lnTo>
                  <a:lnTo>
                    <a:pt x="26" y="78"/>
                  </a:lnTo>
                  <a:lnTo>
                    <a:pt x="22" y="78"/>
                  </a:lnTo>
                  <a:lnTo>
                    <a:pt x="22" y="74"/>
                  </a:lnTo>
                  <a:lnTo>
                    <a:pt x="26" y="74"/>
                  </a:lnTo>
                  <a:lnTo>
                    <a:pt x="26" y="70"/>
                  </a:lnTo>
                  <a:lnTo>
                    <a:pt x="22" y="70"/>
                  </a:lnTo>
                  <a:lnTo>
                    <a:pt x="22" y="66"/>
                  </a:lnTo>
                  <a:lnTo>
                    <a:pt x="22" y="64"/>
                  </a:lnTo>
                  <a:lnTo>
                    <a:pt x="18" y="64"/>
                  </a:lnTo>
                  <a:lnTo>
                    <a:pt x="18" y="60"/>
                  </a:lnTo>
                  <a:lnTo>
                    <a:pt x="14" y="60"/>
                  </a:lnTo>
                  <a:lnTo>
                    <a:pt x="14" y="56"/>
                  </a:lnTo>
                  <a:lnTo>
                    <a:pt x="18" y="56"/>
                  </a:lnTo>
                  <a:lnTo>
                    <a:pt x="14" y="52"/>
                  </a:lnTo>
                  <a:lnTo>
                    <a:pt x="14" y="48"/>
                  </a:lnTo>
                  <a:lnTo>
                    <a:pt x="14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4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close/>
                  <a:moveTo>
                    <a:pt x="242" y="4"/>
                  </a:moveTo>
                  <a:lnTo>
                    <a:pt x="246" y="0"/>
                  </a:lnTo>
                  <a:lnTo>
                    <a:pt x="242" y="4"/>
                  </a:lnTo>
                  <a:lnTo>
                    <a:pt x="242" y="4"/>
                  </a:lnTo>
                  <a:lnTo>
                    <a:pt x="242" y="4"/>
                  </a:lnTo>
                  <a:close/>
                  <a:moveTo>
                    <a:pt x="246" y="0"/>
                  </a:moveTo>
                  <a:lnTo>
                    <a:pt x="250" y="0"/>
                  </a:lnTo>
                  <a:lnTo>
                    <a:pt x="250" y="4"/>
                  </a:lnTo>
                  <a:lnTo>
                    <a:pt x="246" y="4"/>
                  </a:lnTo>
                  <a:lnTo>
                    <a:pt x="246" y="0"/>
                  </a:lnTo>
                  <a:lnTo>
                    <a:pt x="246" y="0"/>
                  </a:lnTo>
                  <a:lnTo>
                    <a:pt x="246" y="0"/>
                  </a:lnTo>
                  <a:close/>
                  <a:moveTo>
                    <a:pt x="250" y="10"/>
                  </a:moveTo>
                  <a:lnTo>
                    <a:pt x="254" y="10"/>
                  </a:lnTo>
                  <a:lnTo>
                    <a:pt x="254" y="6"/>
                  </a:lnTo>
                  <a:lnTo>
                    <a:pt x="254" y="10"/>
                  </a:lnTo>
                  <a:lnTo>
                    <a:pt x="250" y="10"/>
                  </a:lnTo>
                  <a:lnTo>
                    <a:pt x="250" y="10"/>
                  </a:lnTo>
                  <a:lnTo>
                    <a:pt x="250" y="10"/>
                  </a:lnTo>
                  <a:close/>
                  <a:moveTo>
                    <a:pt x="266" y="44"/>
                  </a:moveTo>
                  <a:lnTo>
                    <a:pt x="270" y="44"/>
                  </a:lnTo>
                  <a:lnTo>
                    <a:pt x="266" y="44"/>
                  </a:lnTo>
                  <a:lnTo>
                    <a:pt x="266" y="44"/>
                  </a:lnTo>
                  <a:lnTo>
                    <a:pt x="266" y="44"/>
                  </a:lnTo>
                  <a:close/>
                  <a:moveTo>
                    <a:pt x="258" y="52"/>
                  </a:moveTo>
                  <a:lnTo>
                    <a:pt x="254" y="52"/>
                  </a:lnTo>
                  <a:lnTo>
                    <a:pt x="258" y="52"/>
                  </a:lnTo>
                  <a:lnTo>
                    <a:pt x="258" y="52"/>
                  </a:lnTo>
                  <a:lnTo>
                    <a:pt x="258" y="52"/>
                  </a:lnTo>
                  <a:close/>
                  <a:moveTo>
                    <a:pt x="164" y="82"/>
                  </a:moveTo>
                  <a:lnTo>
                    <a:pt x="164" y="78"/>
                  </a:lnTo>
                  <a:lnTo>
                    <a:pt x="168" y="78"/>
                  </a:lnTo>
                  <a:lnTo>
                    <a:pt x="168" y="82"/>
                  </a:lnTo>
                  <a:lnTo>
                    <a:pt x="168" y="86"/>
                  </a:lnTo>
                  <a:lnTo>
                    <a:pt x="164" y="82"/>
                  </a:lnTo>
                  <a:lnTo>
                    <a:pt x="164" y="82"/>
                  </a:lnTo>
                  <a:lnTo>
                    <a:pt x="164" y="82"/>
                  </a:lnTo>
                  <a:close/>
                  <a:moveTo>
                    <a:pt x="206" y="44"/>
                  </a:moveTo>
                  <a:lnTo>
                    <a:pt x="206" y="48"/>
                  </a:lnTo>
                  <a:lnTo>
                    <a:pt x="210" y="48"/>
                  </a:lnTo>
                  <a:lnTo>
                    <a:pt x="210" y="52"/>
                  </a:lnTo>
                  <a:lnTo>
                    <a:pt x="214" y="56"/>
                  </a:lnTo>
                  <a:lnTo>
                    <a:pt x="216" y="56"/>
                  </a:lnTo>
                  <a:lnTo>
                    <a:pt x="216" y="52"/>
                  </a:lnTo>
                  <a:lnTo>
                    <a:pt x="216" y="48"/>
                  </a:lnTo>
                  <a:lnTo>
                    <a:pt x="216" y="44"/>
                  </a:lnTo>
                  <a:lnTo>
                    <a:pt x="216" y="40"/>
                  </a:lnTo>
                  <a:lnTo>
                    <a:pt x="220" y="40"/>
                  </a:lnTo>
                  <a:lnTo>
                    <a:pt x="216" y="44"/>
                  </a:lnTo>
                  <a:lnTo>
                    <a:pt x="220" y="44"/>
                  </a:lnTo>
                  <a:lnTo>
                    <a:pt x="220" y="48"/>
                  </a:lnTo>
                  <a:lnTo>
                    <a:pt x="224" y="52"/>
                  </a:lnTo>
                  <a:lnTo>
                    <a:pt x="224" y="48"/>
                  </a:lnTo>
                  <a:lnTo>
                    <a:pt x="220" y="48"/>
                  </a:lnTo>
                  <a:lnTo>
                    <a:pt x="220" y="44"/>
                  </a:lnTo>
                  <a:lnTo>
                    <a:pt x="220" y="40"/>
                  </a:lnTo>
                  <a:lnTo>
                    <a:pt x="224" y="40"/>
                  </a:lnTo>
                  <a:lnTo>
                    <a:pt x="224" y="36"/>
                  </a:lnTo>
                  <a:lnTo>
                    <a:pt x="228" y="36"/>
                  </a:lnTo>
                  <a:lnTo>
                    <a:pt x="224" y="36"/>
                  </a:lnTo>
                  <a:lnTo>
                    <a:pt x="224" y="34"/>
                  </a:lnTo>
                  <a:lnTo>
                    <a:pt x="224" y="30"/>
                  </a:lnTo>
                  <a:lnTo>
                    <a:pt x="228" y="30"/>
                  </a:lnTo>
                  <a:lnTo>
                    <a:pt x="232" y="30"/>
                  </a:lnTo>
                  <a:lnTo>
                    <a:pt x="232" y="26"/>
                  </a:lnTo>
                  <a:lnTo>
                    <a:pt x="232" y="22"/>
                  </a:lnTo>
                  <a:lnTo>
                    <a:pt x="236" y="22"/>
                  </a:lnTo>
                  <a:lnTo>
                    <a:pt x="236" y="18"/>
                  </a:lnTo>
                  <a:lnTo>
                    <a:pt x="236" y="14"/>
                  </a:lnTo>
                  <a:lnTo>
                    <a:pt x="240" y="14"/>
                  </a:lnTo>
                  <a:lnTo>
                    <a:pt x="240" y="10"/>
                  </a:lnTo>
                  <a:lnTo>
                    <a:pt x="242" y="10"/>
                  </a:lnTo>
                  <a:lnTo>
                    <a:pt x="242" y="6"/>
                  </a:lnTo>
                  <a:lnTo>
                    <a:pt x="242" y="4"/>
                  </a:lnTo>
                  <a:lnTo>
                    <a:pt x="242" y="6"/>
                  </a:lnTo>
                  <a:lnTo>
                    <a:pt x="242" y="10"/>
                  </a:lnTo>
                  <a:lnTo>
                    <a:pt x="246" y="10"/>
                  </a:lnTo>
                  <a:lnTo>
                    <a:pt x="246" y="6"/>
                  </a:lnTo>
                  <a:lnTo>
                    <a:pt x="246" y="4"/>
                  </a:lnTo>
                  <a:lnTo>
                    <a:pt x="250" y="4"/>
                  </a:lnTo>
                  <a:lnTo>
                    <a:pt x="250" y="6"/>
                  </a:lnTo>
                  <a:lnTo>
                    <a:pt x="250" y="10"/>
                  </a:lnTo>
                  <a:lnTo>
                    <a:pt x="254" y="10"/>
                  </a:lnTo>
                  <a:lnTo>
                    <a:pt x="254" y="14"/>
                  </a:lnTo>
                  <a:lnTo>
                    <a:pt x="254" y="10"/>
                  </a:lnTo>
                  <a:lnTo>
                    <a:pt x="254" y="14"/>
                  </a:lnTo>
                  <a:lnTo>
                    <a:pt x="258" y="14"/>
                  </a:lnTo>
                  <a:lnTo>
                    <a:pt x="258" y="18"/>
                  </a:lnTo>
                  <a:lnTo>
                    <a:pt x="254" y="18"/>
                  </a:lnTo>
                  <a:lnTo>
                    <a:pt x="258" y="22"/>
                  </a:lnTo>
                  <a:lnTo>
                    <a:pt x="254" y="22"/>
                  </a:lnTo>
                  <a:lnTo>
                    <a:pt x="258" y="22"/>
                  </a:lnTo>
                  <a:lnTo>
                    <a:pt x="262" y="22"/>
                  </a:lnTo>
                  <a:lnTo>
                    <a:pt x="262" y="26"/>
                  </a:lnTo>
                  <a:lnTo>
                    <a:pt x="258" y="26"/>
                  </a:lnTo>
                  <a:lnTo>
                    <a:pt x="262" y="26"/>
                  </a:lnTo>
                  <a:lnTo>
                    <a:pt x="266" y="26"/>
                  </a:lnTo>
                  <a:lnTo>
                    <a:pt x="270" y="26"/>
                  </a:lnTo>
                  <a:lnTo>
                    <a:pt x="270" y="30"/>
                  </a:lnTo>
                  <a:lnTo>
                    <a:pt x="272" y="30"/>
                  </a:lnTo>
                  <a:lnTo>
                    <a:pt x="272" y="34"/>
                  </a:lnTo>
                  <a:lnTo>
                    <a:pt x="276" y="34"/>
                  </a:lnTo>
                  <a:lnTo>
                    <a:pt x="280" y="34"/>
                  </a:lnTo>
                  <a:lnTo>
                    <a:pt x="280" y="36"/>
                  </a:lnTo>
                  <a:lnTo>
                    <a:pt x="276" y="36"/>
                  </a:lnTo>
                  <a:lnTo>
                    <a:pt x="272" y="36"/>
                  </a:lnTo>
                  <a:lnTo>
                    <a:pt x="272" y="40"/>
                  </a:lnTo>
                  <a:lnTo>
                    <a:pt x="270" y="40"/>
                  </a:lnTo>
                  <a:lnTo>
                    <a:pt x="266" y="40"/>
                  </a:lnTo>
                  <a:lnTo>
                    <a:pt x="266" y="36"/>
                  </a:lnTo>
                  <a:lnTo>
                    <a:pt x="266" y="40"/>
                  </a:lnTo>
                  <a:lnTo>
                    <a:pt x="262" y="40"/>
                  </a:lnTo>
                  <a:lnTo>
                    <a:pt x="266" y="44"/>
                  </a:lnTo>
                  <a:lnTo>
                    <a:pt x="270" y="44"/>
                  </a:lnTo>
                  <a:lnTo>
                    <a:pt x="270" y="48"/>
                  </a:lnTo>
                  <a:lnTo>
                    <a:pt x="270" y="52"/>
                  </a:lnTo>
                  <a:lnTo>
                    <a:pt x="266" y="52"/>
                  </a:lnTo>
                  <a:lnTo>
                    <a:pt x="262" y="52"/>
                  </a:lnTo>
                  <a:lnTo>
                    <a:pt x="258" y="52"/>
                  </a:lnTo>
                  <a:lnTo>
                    <a:pt x="258" y="48"/>
                  </a:lnTo>
                  <a:lnTo>
                    <a:pt x="254" y="52"/>
                  </a:lnTo>
                  <a:lnTo>
                    <a:pt x="250" y="52"/>
                  </a:lnTo>
                  <a:lnTo>
                    <a:pt x="246" y="52"/>
                  </a:lnTo>
                  <a:lnTo>
                    <a:pt x="242" y="52"/>
                  </a:lnTo>
                  <a:lnTo>
                    <a:pt x="240" y="52"/>
                  </a:lnTo>
                  <a:lnTo>
                    <a:pt x="236" y="52"/>
                  </a:lnTo>
                  <a:lnTo>
                    <a:pt x="232" y="52"/>
                  </a:lnTo>
                  <a:lnTo>
                    <a:pt x="232" y="48"/>
                  </a:lnTo>
                  <a:lnTo>
                    <a:pt x="232" y="52"/>
                  </a:lnTo>
                  <a:lnTo>
                    <a:pt x="228" y="52"/>
                  </a:lnTo>
                  <a:lnTo>
                    <a:pt x="228" y="56"/>
                  </a:lnTo>
                  <a:lnTo>
                    <a:pt x="228" y="60"/>
                  </a:lnTo>
                  <a:lnTo>
                    <a:pt x="228" y="64"/>
                  </a:lnTo>
                  <a:lnTo>
                    <a:pt x="228" y="66"/>
                  </a:lnTo>
                  <a:lnTo>
                    <a:pt x="224" y="66"/>
                  </a:lnTo>
                  <a:lnTo>
                    <a:pt x="224" y="70"/>
                  </a:lnTo>
                  <a:lnTo>
                    <a:pt x="224" y="74"/>
                  </a:lnTo>
                  <a:lnTo>
                    <a:pt x="220" y="74"/>
                  </a:lnTo>
                  <a:lnTo>
                    <a:pt x="220" y="82"/>
                  </a:lnTo>
                  <a:lnTo>
                    <a:pt x="216" y="86"/>
                  </a:lnTo>
                  <a:lnTo>
                    <a:pt x="216" y="90"/>
                  </a:lnTo>
                  <a:lnTo>
                    <a:pt x="216" y="92"/>
                  </a:lnTo>
                  <a:lnTo>
                    <a:pt x="214" y="92"/>
                  </a:lnTo>
                  <a:lnTo>
                    <a:pt x="214" y="96"/>
                  </a:lnTo>
                  <a:lnTo>
                    <a:pt x="214" y="100"/>
                  </a:lnTo>
                  <a:lnTo>
                    <a:pt x="210" y="100"/>
                  </a:lnTo>
                  <a:lnTo>
                    <a:pt x="206" y="100"/>
                  </a:lnTo>
                  <a:lnTo>
                    <a:pt x="202" y="100"/>
                  </a:lnTo>
                  <a:lnTo>
                    <a:pt x="202" y="104"/>
                  </a:lnTo>
                  <a:lnTo>
                    <a:pt x="198" y="104"/>
                  </a:lnTo>
                  <a:lnTo>
                    <a:pt x="194" y="100"/>
                  </a:lnTo>
                  <a:lnTo>
                    <a:pt x="190" y="100"/>
                  </a:lnTo>
                  <a:lnTo>
                    <a:pt x="190" y="96"/>
                  </a:lnTo>
                  <a:lnTo>
                    <a:pt x="186" y="96"/>
                  </a:lnTo>
                  <a:lnTo>
                    <a:pt x="184" y="96"/>
                  </a:lnTo>
                  <a:lnTo>
                    <a:pt x="180" y="100"/>
                  </a:lnTo>
                  <a:lnTo>
                    <a:pt x="180" y="104"/>
                  </a:lnTo>
                  <a:lnTo>
                    <a:pt x="176" y="104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68" y="108"/>
                  </a:lnTo>
                  <a:lnTo>
                    <a:pt x="164" y="108"/>
                  </a:lnTo>
                  <a:lnTo>
                    <a:pt x="160" y="108"/>
                  </a:lnTo>
                  <a:lnTo>
                    <a:pt x="156" y="108"/>
                  </a:lnTo>
                  <a:lnTo>
                    <a:pt x="156" y="112"/>
                  </a:lnTo>
                  <a:lnTo>
                    <a:pt x="154" y="112"/>
                  </a:lnTo>
                  <a:lnTo>
                    <a:pt x="154" y="108"/>
                  </a:lnTo>
                  <a:lnTo>
                    <a:pt x="150" y="104"/>
                  </a:lnTo>
                  <a:lnTo>
                    <a:pt x="146" y="104"/>
                  </a:lnTo>
                  <a:lnTo>
                    <a:pt x="146" y="100"/>
                  </a:lnTo>
                  <a:lnTo>
                    <a:pt x="142" y="96"/>
                  </a:lnTo>
                  <a:lnTo>
                    <a:pt x="142" y="92"/>
                  </a:lnTo>
                  <a:lnTo>
                    <a:pt x="142" y="90"/>
                  </a:lnTo>
                  <a:lnTo>
                    <a:pt x="142" y="92"/>
                  </a:lnTo>
                  <a:lnTo>
                    <a:pt x="146" y="92"/>
                  </a:lnTo>
                  <a:lnTo>
                    <a:pt x="146" y="96"/>
                  </a:lnTo>
                  <a:lnTo>
                    <a:pt x="150" y="96"/>
                  </a:lnTo>
                  <a:lnTo>
                    <a:pt x="154" y="92"/>
                  </a:lnTo>
                  <a:lnTo>
                    <a:pt x="154" y="96"/>
                  </a:lnTo>
                  <a:lnTo>
                    <a:pt x="156" y="96"/>
                  </a:lnTo>
                  <a:lnTo>
                    <a:pt x="156" y="100"/>
                  </a:lnTo>
                  <a:lnTo>
                    <a:pt x="156" y="96"/>
                  </a:lnTo>
                  <a:lnTo>
                    <a:pt x="160" y="96"/>
                  </a:lnTo>
                  <a:lnTo>
                    <a:pt x="160" y="100"/>
                  </a:lnTo>
                  <a:lnTo>
                    <a:pt x="164" y="100"/>
                  </a:lnTo>
                  <a:lnTo>
                    <a:pt x="168" y="100"/>
                  </a:lnTo>
                  <a:lnTo>
                    <a:pt x="164" y="100"/>
                  </a:lnTo>
                  <a:lnTo>
                    <a:pt x="160" y="100"/>
                  </a:lnTo>
                  <a:lnTo>
                    <a:pt x="160" y="96"/>
                  </a:lnTo>
                  <a:lnTo>
                    <a:pt x="164" y="92"/>
                  </a:lnTo>
                  <a:lnTo>
                    <a:pt x="164" y="90"/>
                  </a:lnTo>
                  <a:lnTo>
                    <a:pt x="168" y="90"/>
                  </a:lnTo>
                  <a:lnTo>
                    <a:pt x="164" y="90"/>
                  </a:lnTo>
                  <a:lnTo>
                    <a:pt x="164" y="86"/>
                  </a:lnTo>
                  <a:lnTo>
                    <a:pt x="164" y="82"/>
                  </a:lnTo>
                  <a:lnTo>
                    <a:pt x="164" y="86"/>
                  </a:lnTo>
                  <a:lnTo>
                    <a:pt x="168" y="86"/>
                  </a:lnTo>
                  <a:lnTo>
                    <a:pt x="168" y="82"/>
                  </a:lnTo>
                  <a:lnTo>
                    <a:pt x="168" y="78"/>
                  </a:lnTo>
                  <a:lnTo>
                    <a:pt x="172" y="78"/>
                  </a:lnTo>
                  <a:lnTo>
                    <a:pt x="172" y="74"/>
                  </a:lnTo>
                  <a:lnTo>
                    <a:pt x="176" y="74"/>
                  </a:lnTo>
                  <a:lnTo>
                    <a:pt x="180" y="74"/>
                  </a:lnTo>
                  <a:lnTo>
                    <a:pt x="184" y="74"/>
                  </a:lnTo>
                  <a:lnTo>
                    <a:pt x="186" y="74"/>
                  </a:lnTo>
                  <a:lnTo>
                    <a:pt x="186" y="70"/>
                  </a:lnTo>
                  <a:lnTo>
                    <a:pt x="190" y="70"/>
                  </a:lnTo>
                  <a:lnTo>
                    <a:pt x="194" y="66"/>
                  </a:lnTo>
                  <a:lnTo>
                    <a:pt x="194" y="64"/>
                  </a:lnTo>
                  <a:lnTo>
                    <a:pt x="198" y="60"/>
                  </a:lnTo>
                  <a:lnTo>
                    <a:pt x="198" y="56"/>
                  </a:lnTo>
                  <a:lnTo>
                    <a:pt x="202" y="56"/>
                  </a:lnTo>
                  <a:lnTo>
                    <a:pt x="202" y="52"/>
                  </a:lnTo>
                  <a:lnTo>
                    <a:pt x="206" y="48"/>
                  </a:lnTo>
                  <a:lnTo>
                    <a:pt x="202" y="48"/>
                  </a:lnTo>
                  <a:lnTo>
                    <a:pt x="202" y="44"/>
                  </a:lnTo>
                  <a:lnTo>
                    <a:pt x="206" y="44"/>
                  </a:lnTo>
                  <a:lnTo>
                    <a:pt x="206" y="44"/>
                  </a:lnTo>
                  <a:lnTo>
                    <a:pt x="206" y="44"/>
                  </a:lnTo>
                  <a:close/>
                  <a:moveTo>
                    <a:pt x="4" y="14"/>
                  </a:moveTo>
                  <a:lnTo>
                    <a:pt x="4" y="18"/>
                  </a:lnTo>
                  <a:lnTo>
                    <a:pt x="0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close/>
                  <a:moveTo>
                    <a:pt x="12" y="34"/>
                  </a:moveTo>
                  <a:lnTo>
                    <a:pt x="8" y="34"/>
                  </a:lnTo>
                  <a:lnTo>
                    <a:pt x="8" y="30"/>
                  </a:lnTo>
                  <a:lnTo>
                    <a:pt x="12" y="30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close/>
                  <a:moveTo>
                    <a:pt x="64" y="74"/>
                  </a:moveTo>
                  <a:lnTo>
                    <a:pt x="64" y="78"/>
                  </a:lnTo>
                  <a:lnTo>
                    <a:pt x="68" y="78"/>
                  </a:lnTo>
                  <a:lnTo>
                    <a:pt x="64" y="78"/>
                  </a:lnTo>
                  <a:lnTo>
                    <a:pt x="64" y="74"/>
                  </a:lnTo>
                  <a:lnTo>
                    <a:pt x="64" y="74"/>
                  </a:lnTo>
                  <a:lnTo>
                    <a:pt x="64" y="74"/>
                  </a:lnTo>
                  <a:close/>
                </a:path>
              </a:pathLst>
            </a:custGeom>
            <a:solidFill>
              <a:srgbClr val="FFFF00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51" name="Freeform 40">
              <a:extLst>
                <a:ext uri="{FF2B5EF4-FFF2-40B4-BE49-F238E27FC236}">
                  <a16:creationId xmlns:a16="http://schemas.microsoft.com/office/drawing/2014/main" id="{5FAF91DA-A46D-1BEE-7BA5-1BF943EB45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03693" y="3944877"/>
              <a:ext cx="15586" cy="245116"/>
            </a:xfrm>
            <a:custGeom>
              <a:avLst/>
              <a:gdLst>
                <a:gd name="T0" fmla="*/ 0 w 8"/>
                <a:gd name="T1" fmla="*/ 0 h 130"/>
                <a:gd name="T2" fmla="*/ 0 w 8"/>
                <a:gd name="T3" fmla="*/ 0 h 130"/>
                <a:gd name="T4" fmla="*/ 4 w 8"/>
                <a:gd name="T5" fmla="*/ 6 h 130"/>
                <a:gd name="T6" fmla="*/ 4 w 8"/>
                <a:gd name="T7" fmla="*/ 2 h 130"/>
                <a:gd name="T8" fmla="*/ 4 w 8"/>
                <a:gd name="T9" fmla="*/ 2 h 130"/>
                <a:gd name="T10" fmla="*/ 0 w 8"/>
                <a:gd name="T11" fmla="*/ 10 h 130"/>
                <a:gd name="T12" fmla="*/ 0 w 8"/>
                <a:gd name="T13" fmla="*/ 10 h 130"/>
                <a:gd name="T14" fmla="*/ 0 w 8"/>
                <a:gd name="T15" fmla="*/ 18 h 130"/>
                <a:gd name="T16" fmla="*/ 0 w 8"/>
                <a:gd name="T17" fmla="*/ 18 h 130"/>
                <a:gd name="T18" fmla="*/ 4 w 8"/>
                <a:gd name="T19" fmla="*/ 22 h 130"/>
                <a:gd name="T20" fmla="*/ 8 w 8"/>
                <a:gd name="T21" fmla="*/ 22 h 130"/>
                <a:gd name="T22" fmla="*/ 8 w 8"/>
                <a:gd name="T23" fmla="*/ 30 h 130"/>
                <a:gd name="T24" fmla="*/ 8 w 8"/>
                <a:gd name="T25" fmla="*/ 30 h 130"/>
                <a:gd name="T26" fmla="*/ 8 w 8"/>
                <a:gd name="T27" fmla="*/ 30 h 130"/>
                <a:gd name="T28" fmla="*/ 0 w 8"/>
                <a:gd name="T29" fmla="*/ 36 h 130"/>
                <a:gd name="T30" fmla="*/ 0 w 8"/>
                <a:gd name="T31" fmla="*/ 36 h 130"/>
                <a:gd name="T32" fmla="*/ 0 w 8"/>
                <a:gd name="T33" fmla="*/ 44 h 130"/>
                <a:gd name="T34" fmla="*/ 0 w 8"/>
                <a:gd name="T35" fmla="*/ 44 h 130"/>
                <a:gd name="T36" fmla="*/ 8 w 8"/>
                <a:gd name="T37" fmla="*/ 48 h 130"/>
                <a:gd name="T38" fmla="*/ 8 w 8"/>
                <a:gd name="T39" fmla="*/ 48 h 130"/>
                <a:gd name="T40" fmla="*/ 8 w 8"/>
                <a:gd name="T41" fmla="*/ 48 h 130"/>
                <a:gd name="T42" fmla="*/ 8 w 8"/>
                <a:gd name="T43" fmla="*/ 62 h 130"/>
                <a:gd name="T44" fmla="*/ 8 w 8"/>
                <a:gd name="T45" fmla="*/ 62 h 130"/>
                <a:gd name="T46" fmla="*/ 8 w 8"/>
                <a:gd name="T47" fmla="*/ 62 h 130"/>
                <a:gd name="T48" fmla="*/ 0 w 8"/>
                <a:gd name="T49" fmla="*/ 66 h 130"/>
                <a:gd name="T50" fmla="*/ 0 w 8"/>
                <a:gd name="T51" fmla="*/ 66 h 130"/>
                <a:gd name="T52" fmla="*/ 0 w 8"/>
                <a:gd name="T53" fmla="*/ 66 h 130"/>
                <a:gd name="T54" fmla="*/ 0 w 8"/>
                <a:gd name="T55" fmla="*/ 66 h 130"/>
                <a:gd name="T56" fmla="*/ 0 w 8"/>
                <a:gd name="T57" fmla="*/ 70 h 130"/>
                <a:gd name="T58" fmla="*/ 0 w 8"/>
                <a:gd name="T59" fmla="*/ 70 h 130"/>
                <a:gd name="T60" fmla="*/ 8 w 8"/>
                <a:gd name="T61" fmla="*/ 70 h 130"/>
                <a:gd name="T62" fmla="*/ 8 w 8"/>
                <a:gd name="T63" fmla="*/ 70 h 130"/>
                <a:gd name="T64" fmla="*/ 4 w 8"/>
                <a:gd name="T65" fmla="*/ 78 h 130"/>
                <a:gd name="T66" fmla="*/ 4 w 8"/>
                <a:gd name="T67" fmla="*/ 82 h 130"/>
                <a:gd name="T68" fmla="*/ 4 w 8"/>
                <a:gd name="T69" fmla="*/ 78 h 130"/>
                <a:gd name="T70" fmla="*/ 8 w 8"/>
                <a:gd name="T71" fmla="*/ 88 h 130"/>
                <a:gd name="T72" fmla="*/ 8 w 8"/>
                <a:gd name="T73" fmla="*/ 88 h 130"/>
                <a:gd name="T74" fmla="*/ 8 w 8"/>
                <a:gd name="T75" fmla="*/ 88 h 130"/>
                <a:gd name="T76" fmla="*/ 8 w 8"/>
                <a:gd name="T77" fmla="*/ 114 h 130"/>
                <a:gd name="T78" fmla="*/ 8 w 8"/>
                <a:gd name="T79" fmla="*/ 114 h 130"/>
                <a:gd name="T80" fmla="*/ 0 w 8"/>
                <a:gd name="T81" fmla="*/ 118 h 130"/>
                <a:gd name="T82" fmla="*/ 0 w 8"/>
                <a:gd name="T83" fmla="*/ 114 h 130"/>
                <a:gd name="T84" fmla="*/ 8 w 8"/>
                <a:gd name="T85" fmla="*/ 126 h 130"/>
                <a:gd name="T86" fmla="*/ 8 w 8"/>
                <a:gd name="T87" fmla="*/ 126 h 130"/>
                <a:gd name="T88" fmla="*/ 0 w 8"/>
                <a:gd name="T89" fmla="*/ 130 h 130"/>
                <a:gd name="T90" fmla="*/ 0 w 8"/>
                <a:gd name="T91" fmla="*/ 130 h 130"/>
                <a:gd name="T92" fmla="*/ 0 w 8"/>
                <a:gd name="T93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" h="13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2"/>
                  </a:move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close/>
                  <a:moveTo>
                    <a:pt x="0" y="18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close/>
                  <a:moveTo>
                    <a:pt x="8" y="22"/>
                  </a:moveTo>
                  <a:lnTo>
                    <a:pt x="8" y="22"/>
                  </a:lnTo>
                  <a:lnTo>
                    <a:pt x="4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close/>
                  <a:moveTo>
                    <a:pt x="8" y="30"/>
                  </a:move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close/>
                  <a:moveTo>
                    <a:pt x="0" y="36"/>
                  </a:move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close/>
                  <a:moveTo>
                    <a:pt x="0" y="44"/>
                  </a:move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close/>
                  <a:moveTo>
                    <a:pt x="8" y="48"/>
                  </a:move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close/>
                  <a:moveTo>
                    <a:pt x="8" y="62"/>
                  </a:moveTo>
                  <a:lnTo>
                    <a:pt x="8" y="62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8" y="62"/>
                  </a:lnTo>
                  <a:close/>
                  <a:moveTo>
                    <a:pt x="0" y="66"/>
                  </a:move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close/>
                  <a:moveTo>
                    <a:pt x="0" y="70"/>
                  </a:move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8" y="70"/>
                  </a:move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close/>
                  <a:moveTo>
                    <a:pt x="4" y="78"/>
                  </a:moveTo>
                  <a:lnTo>
                    <a:pt x="4" y="78"/>
                  </a:lnTo>
                  <a:lnTo>
                    <a:pt x="4" y="78"/>
                  </a:lnTo>
                  <a:lnTo>
                    <a:pt x="4" y="82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4" y="78"/>
                  </a:lnTo>
                  <a:close/>
                  <a:moveTo>
                    <a:pt x="8" y="88"/>
                  </a:move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close/>
                  <a:moveTo>
                    <a:pt x="8" y="114"/>
                  </a:moveTo>
                  <a:lnTo>
                    <a:pt x="8" y="114"/>
                  </a:lnTo>
                  <a:lnTo>
                    <a:pt x="8" y="114"/>
                  </a:lnTo>
                  <a:lnTo>
                    <a:pt x="8" y="114"/>
                  </a:lnTo>
                  <a:lnTo>
                    <a:pt x="8" y="114"/>
                  </a:lnTo>
                  <a:lnTo>
                    <a:pt x="8" y="114"/>
                  </a:lnTo>
                  <a:close/>
                  <a:moveTo>
                    <a:pt x="0" y="114"/>
                  </a:moveTo>
                  <a:lnTo>
                    <a:pt x="0" y="114"/>
                  </a:lnTo>
                  <a:lnTo>
                    <a:pt x="0" y="118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14"/>
                  </a:lnTo>
                  <a:close/>
                  <a:moveTo>
                    <a:pt x="8" y="126"/>
                  </a:moveTo>
                  <a:lnTo>
                    <a:pt x="8" y="126"/>
                  </a:lnTo>
                  <a:lnTo>
                    <a:pt x="8" y="126"/>
                  </a:lnTo>
                  <a:lnTo>
                    <a:pt x="8" y="126"/>
                  </a:lnTo>
                  <a:lnTo>
                    <a:pt x="8" y="126"/>
                  </a:lnTo>
                  <a:lnTo>
                    <a:pt x="8" y="126"/>
                  </a:lnTo>
                  <a:lnTo>
                    <a:pt x="8" y="126"/>
                  </a:lnTo>
                  <a:close/>
                  <a:moveTo>
                    <a:pt x="0" y="130"/>
                  </a:moveTo>
                  <a:lnTo>
                    <a:pt x="0" y="130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30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52" name="Freeform 41">
              <a:extLst>
                <a:ext uri="{FF2B5EF4-FFF2-40B4-BE49-F238E27FC236}">
                  <a16:creationId xmlns:a16="http://schemas.microsoft.com/office/drawing/2014/main" id="{BCC72489-15C0-BB07-9463-A28DD4FA3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8923" y="2368593"/>
              <a:ext cx="888388" cy="399727"/>
            </a:xfrm>
            <a:custGeom>
              <a:avLst/>
              <a:gdLst>
                <a:gd name="T0" fmla="*/ 400 w 456"/>
                <a:gd name="T1" fmla="*/ 134 h 212"/>
                <a:gd name="T2" fmla="*/ 376 w 456"/>
                <a:gd name="T3" fmla="*/ 142 h 212"/>
                <a:gd name="T4" fmla="*/ 358 w 456"/>
                <a:gd name="T5" fmla="*/ 150 h 212"/>
                <a:gd name="T6" fmla="*/ 336 w 456"/>
                <a:gd name="T7" fmla="*/ 154 h 212"/>
                <a:gd name="T8" fmla="*/ 340 w 456"/>
                <a:gd name="T9" fmla="*/ 176 h 212"/>
                <a:gd name="T10" fmla="*/ 324 w 456"/>
                <a:gd name="T11" fmla="*/ 186 h 212"/>
                <a:gd name="T12" fmla="*/ 310 w 456"/>
                <a:gd name="T13" fmla="*/ 198 h 212"/>
                <a:gd name="T14" fmla="*/ 280 w 456"/>
                <a:gd name="T15" fmla="*/ 198 h 212"/>
                <a:gd name="T16" fmla="*/ 254 w 456"/>
                <a:gd name="T17" fmla="*/ 208 h 212"/>
                <a:gd name="T18" fmla="*/ 228 w 456"/>
                <a:gd name="T19" fmla="*/ 208 h 212"/>
                <a:gd name="T20" fmla="*/ 202 w 456"/>
                <a:gd name="T21" fmla="*/ 198 h 212"/>
                <a:gd name="T22" fmla="*/ 180 w 456"/>
                <a:gd name="T23" fmla="*/ 190 h 212"/>
                <a:gd name="T24" fmla="*/ 152 w 456"/>
                <a:gd name="T25" fmla="*/ 194 h 212"/>
                <a:gd name="T26" fmla="*/ 128 w 456"/>
                <a:gd name="T27" fmla="*/ 190 h 212"/>
                <a:gd name="T28" fmla="*/ 112 w 456"/>
                <a:gd name="T29" fmla="*/ 176 h 212"/>
                <a:gd name="T30" fmla="*/ 98 w 456"/>
                <a:gd name="T31" fmla="*/ 160 h 212"/>
                <a:gd name="T32" fmla="*/ 84 w 456"/>
                <a:gd name="T33" fmla="*/ 150 h 212"/>
                <a:gd name="T34" fmla="*/ 60 w 456"/>
                <a:gd name="T35" fmla="*/ 146 h 212"/>
                <a:gd name="T36" fmla="*/ 42 w 456"/>
                <a:gd name="T37" fmla="*/ 134 h 212"/>
                <a:gd name="T38" fmla="*/ 50 w 456"/>
                <a:gd name="T39" fmla="*/ 112 h 212"/>
                <a:gd name="T40" fmla="*/ 38 w 456"/>
                <a:gd name="T41" fmla="*/ 98 h 212"/>
                <a:gd name="T42" fmla="*/ 28 w 456"/>
                <a:gd name="T43" fmla="*/ 86 h 212"/>
                <a:gd name="T44" fmla="*/ 8 w 456"/>
                <a:gd name="T45" fmla="*/ 74 h 212"/>
                <a:gd name="T46" fmla="*/ 4 w 456"/>
                <a:gd name="T47" fmla="*/ 60 h 212"/>
                <a:gd name="T48" fmla="*/ 20 w 456"/>
                <a:gd name="T49" fmla="*/ 52 h 212"/>
                <a:gd name="T50" fmla="*/ 28 w 456"/>
                <a:gd name="T51" fmla="*/ 48 h 212"/>
                <a:gd name="T52" fmla="*/ 42 w 456"/>
                <a:gd name="T53" fmla="*/ 38 h 212"/>
                <a:gd name="T54" fmla="*/ 56 w 456"/>
                <a:gd name="T55" fmla="*/ 30 h 212"/>
                <a:gd name="T56" fmla="*/ 76 w 456"/>
                <a:gd name="T57" fmla="*/ 26 h 212"/>
                <a:gd name="T58" fmla="*/ 94 w 456"/>
                <a:gd name="T59" fmla="*/ 34 h 212"/>
                <a:gd name="T60" fmla="*/ 110 w 456"/>
                <a:gd name="T61" fmla="*/ 44 h 212"/>
                <a:gd name="T62" fmla="*/ 136 w 456"/>
                <a:gd name="T63" fmla="*/ 48 h 212"/>
                <a:gd name="T64" fmla="*/ 150 w 456"/>
                <a:gd name="T65" fmla="*/ 38 h 212"/>
                <a:gd name="T66" fmla="*/ 146 w 456"/>
                <a:gd name="T67" fmla="*/ 12 h 212"/>
                <a:gd name="T68" fmla="*/ 156 w 456"/>
                <a:gd name="T69" fmla="*/ 4 h 212"/>
                <a:gd name="T70" fmla="*/ 176 w 456"/>
                <a:gd name="T71" fmla="*/ 8 h 212"/>
                <a:gd name="T72" fmla="*/ 198 w 456"/>
                <a:gd name="T73" fmla="*/ 12 h 212"/>
                <a:gd name="T74" fmla="*/ 206 w 456"/>
                <a:gd name="T75" fmla="*/ 30 h 212"/>
                <a:gd name="T76" fmla="*/ 220 w 456"/>
                <a:gd name="T77" fmla="*/ 42 h 212"/>
                <a:gd name="T78" fmla="*/ 242 w 456"/>
                <a:gd name="T79" fmla="*/ 34 h 212"/>
                <a:gd name="T80" fmla="*/ 262 w 456"/>
                <a:gd name="T81" fmla="*/ 38 h 212"/>
                <a:gd name="T82" fmla="*/ 288 w 456"/>
                <a:gd name="T83" fmla="*/ 44 h 212"/>
                <a:gd name="T84" fmla="*/ 306 w 456"/>
                <a:gd name="T85" fmla="*/ 56 h 212"/>
                <a:gd name="T86" fmla="*/ 332 w 456"/>
                <a:gd name="T87" fmla="*/ 60 h 212"/>
                <a:gd name="T88" fmla="*/ 354 w 456"/>
                <a:gd name="T89" fmla="*/ 52 h 212"/>
                <a:gd name="T90" fmla="*/ 370 w 456"/>
                <a:gd name="T91" fmla="*/ 42 h 212"/>
                <a:gd name="T92" fmla="*/ 388 w 456"/>
                <a:gd name="T93" fmla="*/ 42 h 212"/>
                <a:gd name="T94" fmla="*/ 410 w 456"/>
                <a:gd name="T95" fmla="*/ 44 h 212"/>
                <a:gd name="T96" fmla="*/ 400 w 456"/>
                <a:gd name="T97" fmla="*/ 68 h 212"/>
                <a:gd name="T98" fmla="*/ 396 w 456"/>
                <a:gd name="T99" fmla="*/ 86 h 212"/>
                <a:gd name="T100" fmla="*/ 414 w 456"/>
                <a:gd name="T101" fmla="*/ 90 h 212"/>
                <a:gd name="T102" fmla="*/ 436 w 456"/>
                <a:gd name="T103" fmla="*/ 86 h 212"/>
                <a:gd name="T104" fmla="*/ 456 w 456"/>
                <a:gd name="T105" fmla="*/ 104 h 212"/>
                <a:gd name="T106" fmla="*/ 440 w 456"/>
                <a:gd name="T107" fmla="*/ 108 h 212"/>
                <a:gd name="T108" fmla="*/ 422 w 456"/>
                <a:gd name="T109" fmla="*/ 116 h 212"/>
                <a:gd name="T110" fmla="*/ 410 w 456"/>
                <a:gd name="T111" fmla="*/ 12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56" h="212">
                  <a:moveTo>
                    <a:pt x="410" y="120"/>
                  </a:moveTo>
                  <a:lnTo>
                    <a:pt x="406" y="120"/>
                  </a:lnTo>
                  <a:lnTo>
                    <a:pt x="406" y="124"/>
                  </a:lnTo>
                  <a:lnTo>
                    <a:pt x="402" y="128"/>
                  </a:lnTo>
                  <a:lnTo>
                    <a:pt x="402" y="130"/>
                  </a:lnTo>
                  <a:lnTo>
                    <a:pt x="400" y="130"/>
                  </a:lnTo>
                  <a:lnTo>
                    <a:pt x="400" y="134"/>
                  </a:lnTo>
                  <a:lnTo>
                    <a:pt x="396" y="134"/>
                  </a:lnTo>
                  <a:lnTo>
                    <a:pt x="396" y="138"/>
                  </a:lnTo>
                  <a:lnTo>
                    <a:pt x="392" y="138"/>
                  </a:lnTo>
                  <a:lnTo>
                    <a:pt x="388" y="138"/>
                  </a:lnTo>
                  <a:lnTo>
                    <a:pt x="384" y="138"/>
                  </a:lnTo>
                  <a:lnTo>
                    <a:pt x="380" y="138"/>
                  </a:lnTo>
                  <a:lnTo>
                    <a:pt x="376" y="142"/>
                  </a:lnTo>
                  <a:lnTo>
                    <a:pt x="376" y="146"/>
                  </a:lnTo>
                  <a:lnTo>
                    <a:pt x="374" y="146"/>
                  </a:lnTo>
                  <a:lnTo>
                    <a:pt x="370" y="146"/>
                  </a:lnTo>
                  <a:lnTo>
                    <a:pt x="370" y="150"/>
                  </a:lnTo>
                  <a:lnTo>
                    <a:pt x="366" y="150"/>
                  </a:lnTo>
                  <a:lnTo>
                    <a:pt x="362" y="150"/>
                  </a:lnTo>
                  <a:lnTo>
                    <a:pt x="358" y="150"/>
                  </a:lnTo>
                  <a:lnTo>
                    <a:pt x="354" y="150"/>
                  </a:lnTo>
                  <a:lnTo>
                    <a:pt x="350" y="146"/>
                  </a:lnTo>
                  <a:lnTo>
                    <a:pt x="346" y="146"/>
                  </a:lnTo>
                  <a:lnTo>
                    <a:pt x="344" y="146"/>
                  </a:lnTo>
                  <a:lnTo>
                    <a:pt x="340" y="146"/>
                  </a:lnTo>
                  <a:lnTo>
                    <a:pt x="340" y="150"/>
                  </a:lnTo>
                  <a:lnTo>
                    <a:pt x="336" y="154"/>
                  </a:lnTo>
                  <a:lnTo>
                    <a:pt x="336" y="158"/>
                  </a:lnTo>
                  <a:lnTo>
                    <a:pt x="336" y="160"/>
                  </a:lnTo>
                  <a:lnTo>
                    <a:pt x="340" y="164"/>
                  </a:lnTo>
                  <a:lnTo>
                    <a:pt x="344" y="168"/>
                  </a:lnTo>
                  <a:lnTo>
                    <a:pt x="344" y="172"/>
                  </a:lnTo>
                  <a:lnTo>
                    <a:pt x="340" y="172"/>
                  </a:lnTo>
                  <a:lnTo>
                    <a:pt x="340" y="176"/>
                  </a:lnTo>
                  <a:lnTo>
                    <a:pt x="336" y="176"/>
                  </a:lnTo>
                  <a:lnTo>
                    <a:pt x="332" y="176"/>
                  </a:lnTo>
                  <a:lnTo>
                    <a:pt x="332" y="180"/>
                  </a:lnTo>
                  <a:lnTo>
                    <a:pt x="328" y="180"/>
                  </a:lnTo>
                  <a:lnTo>
                    <a:pt x="328" y="184"/>
                  </a:lnTo>
                  <a:lnTo>
                    <a:pt x="324" y="184"/>
                  </a:lnTo>
                  <a:lnTo>
                    <a:pt x="324" y="186"/>
                  </a:lnTo>
                  <a:lnTo>
                    <a:pt x="320" y="186"/>
                  </a:lnTo>
                  <a:lnTo>
                    <a:pt x="320" y="190"/>
                  </a:lnTo>
                  <a:lnTo>
                    <a:pt x="318" y="190"/>
                  </a:lnTo>
                  <a:lnTo>
                    <a:pt x="318" y="194"/>
                  </a:lnTo>
                  <a:lnTo>
                    <a:pt x="314" y="194"/>
                  </a:lnTo>
                  <a:lnTo>
                    <a:pt x="310" y="194"/>
                  </a:lnTo>
                  <a:lnTo>
                    <a:pt x="310" y="198"/>
                  </a:lnTo>
                  <a:lnTo>
                    <a:pt x="306" y="198"/>
                  </a:lnTo>
                  <a:lnTo>
                    <a:pt x="302" y="198"/>
                  </a:lnTo>
                  <a:lnTo>
                    <a:pt x="298" y="198"/>
                  </a:lnTo>
                  <a:lnTo>
                    <a:pt x="294" y="198"/>
                  </a:lnTo>
                  <a:lnTo>
                    <a:pt x="290" y="198"/>
                  </a:lnTo>
                  <a:lnTo>
                    <a:pt x="284" y="198"/>
                  </a:lnTo>
                  <a:lnTo>
                    <a:pt x="280" y="198"/>
                  </a:lnTo>
                  <a:lnTo>
                    <a:pt x="276" y="198"/>
                  </a:lnTo>
                  <a:lnTo>
                    <a:pt x="272" y="198"/>
                  </a:lnTo>
                  <a:lnTo>
                    <a:pt x="268" y="198"/>
                  </a:lnTo>
                  <a:lnTo>
                    <a:pt x="264" y="200"/>
                  </a:lnTo>
                  <a:lnTo>
                    <a:pt x="262" y="204"/>
                  </a:lnTo>
                  <a:lnTo>
                    <a:pt x="258" y="204"/>
                  </a:lnTo>
                  <a:lnTo>
                    <a:pt x="254" y="208"/>
                  </a:lnTo>
                  <a:lnTo>
                    <a:pt x="250" y="208"/>
                  </a:lnTo>
                  <a:lnTo>
                    <a:pt x="246" y="208"/>
                  </a:lnTo>
                  <a:lnTo>
                    <a:pt x="242" y="212"/>
                  </a:lnTo>
                  <a:lnTo>
                    <a:pt x="238" y="212"/>
                  </a:lnTo>
                  <a:lnTo>
                    <a:pt x="238" y="208"/>
                  </a:lnTo>
                  <a:lnTo>
                    <a:pt x="232" y="208"/>
                  </a:lnTo>
                  <a:lnTo>
                    <a:pt x="228" y="208"/>
                  </a:lnTo>
                  <a:lnTo>
                    <a:pt x="220" y="208"/>
                  </a:lnTo>
                  <a:lnTo>
                    <a:pt x="220" y="204"/>
                  </a:lnTo>
                  <a:lnTo>
                    <a:pt x="216" y="204"/>
                  </a:lnTo>
                  <a:lnTo>
                    <a:pt x="212" y="200"/>
                  </a:lnTo>
                  <a:lnTo>
                    <a:pt x="208" y="200"/>
                  </a:lnTo>
                  <a:lnTo>
                    <a:pt x="202" y="200"/>
                  </a:lnTo>
                  <a:lnTo>
                    <a:pt x="202" y="198"/>
                  </a:lnTo>
                  <a:lnTo>
                    <a:pt x="198" y="194"/>
                  </a:lnTo>
                  <a:lnTo>
                    <a:pt x="194" y="194"/>
                  </a:lnTo>
                  <a:lnTo>
                    <a:pt x="190" y="194"/>
                  </a:lnTo>
                  <a:lnTo>
                    <a:pt x="186" y="194"/>
                  </a:lnTo>
                  <a:lnTo>
                    <a:pt x="186" y="190"/>
                  </a:lnTo>
                  <a:lnTo>
                    <a:pt x="182" y="190"/>
                  </a:lnTo>
                  <a:lnTo>
                    <a:pt x="180" y="190"/>
                  </a:lnTo>
                  <a:lnTo>
                    <a:pt x="176" y="194"/>
                  </a:lnTo>
                  <a:lnTo>
                    <a:pt x="172" y="194"/>
                  </a:lnTo>
                  <a:lnTo>
                    <a:pt x="168" y="194"/>
                  </a:lnTo>
                  <a:lnTo>
                    <a:pt x="164" y="194"/>
                  </a:lnTo>
                  <a:lnTo>
                    <a:pt x="160" y="194"/>
                  </a:lnTo>
                  <a:lnTo>
                    <a:pt x="156" y="194"/>
                  </a:lnTo>
                  <a:lnTo>
                    <a:pt x="152" y="194"/>
                  </a:lnTo>
                  <a:lnTo>
                    <a:pt x="150" y="194"/>
                  </a:lnTo>
                  <a:lnTo>
                    <a:pt x="146" y="190"/>
                  </a:lnTo>
                  <a:lnTo>
                    <a:pt x="142" y="190"/>
                  </a:lnTo>
                  <a:lnTo>
                    <a:pt x="138" y="190"/>
                  </a:lnTo>
                  <a:lnTo>
                    <a:pt x="136" y="190"/>
                  </a:lnTo>
                  <a:lnTo>
                    <a:pt x="132" y="190"/>
                  </a:lnTo>
                  <a:lnTo>
                    <a:pt x="128" y="190"/>
                  </a:lnTo>
                  <a:lnTo>
                    <a:pt x="124" y="190"/>
                  </a:lnTo>
                  <a:lnTo>
                    <a:pt x="124" y="186"/>
                  </a:lnTo>
                  <a:lnTo>
                    <a:pt x="120" y="184"/>
                  </a:lnTo>
                  <a:lnTo>
                    <a:pt x="116" y="184"/>
                  </a:lnTo>
                  <a:lnTo>
                    <a:pt x="116" y="180"/>
                  </a:lnTo>
                  <a:lnTo>
                    <a:pt x="116" y="176"/>
                  </a:lnTo>
                  <a:lnTo>
                    <a:pt x="112" y="176"/>
                  </a:lnTo>
                  <a:lnTo>
                    <a:pt x="112" y="172"/>
                  </a:lnTo>
                  <a:lnTo>
                    <a:pt x="112" y="168"/>
                  </a:lnTo>
                  <a:lnTo>
                    <a:pt x="112" y="164"/>
                  </a:lnTo>
                  <a:lnTo>
                    <a:pt x="110" y="164"/>
                  </a:lnTo>
                  <a:lnTo>
                    <a:pt x="110" y="160"/>
                  </a:lnTo>
                  <a:lnTo>
                    <a:pt x="106" y="160"/>
                  </a:lnTo>
                  <a:lnTo>
                    <a:pt x="98" y="160"/>
                  </a:lnTo>
                  <a:lnTo>
                    <a:pt x="98" y="158"/>
                  </a:lnTo>
                  <a:lnTo>
                    <a:pt x="94" y="158"/>
                  </a:lnTo>
                  <a:lnTo>
                    <a:pt x="94" y="154"/>
                  </a:lnTo>
                  <a:lnTo>
                    <a:pt x="90" y="154"/>
                  </a:lnTo>
                  <a:lnTo>
                    <a:pt x="90" y="150"/>
                  </a:lnTo>
                  <a:lnTo>
                    <a:pt x="86" y="150"/>
                  </a:lnTo>
                  <a:lnTo>
                    <a:pt x="84" y="150"/>
                  </a:lnTo>
                  <a:lnTo>
                    <a:pt x="84" y="146"/>
                  </a:lnTo>
                  <a:lnTo>
                    <a:pt x="80" y="146"/>
                  </a:lnTo>
                  <a:lnTo>
                    <a:pt x="76" y="146"/>
                  </a:lnTo>
                  <a:lnTo>
                    <a:pt x="72" y="146"/>
                  </a:lnTo>
                  <a:lnTo>
                    <a:pt x="68" y="146"/>
                  </a:lnTo>
                  <a:lnTo>
                    <a:pt x="64" y="146"/>
                  </a:lnTo>
                  <a:lnTo>
                    <a:pt x="60" y="146"/>
                  </a:lnTo>
                  <a:lnTo>
                    <a:pt x="54" y="146"/>
                  </a:lnTo>
                  <a:lnTo>
                    <a:pt x="54" y="142"/>
                  </a:lnTo>
                  <a:lnTo>
                    <a:pt x="50" y="142"/>
                  </a:lnTo>
                  <a:lnTo>
                    <a:pt x="46" y="142"/>
                  </a:lnTo>
                  <a:lnTo>
                    <a:pt x="46" y="138"/>
                  </a:lnTo>
                  <a:lnTo>
                    <a:pt x="42" y="138"/>
                  </a:lnTo>
                  <a:lnTo>
                    <a:pt x="42" y="134"/>
                  </a:lnTo>
                  <a:lnTo>
                    <a:pt x="42" y="130"/>
                  </a:lnTo>
                  <a:lnTo>
                    <a:pt x="46" y="128"/>
                  </a:lnTo>
                  <a:lnTo>
                    <a:pt x="46" y="124"/>
                  </a:lnTo>
                  <a:lnTo>
                    <a:pt x="46" y="120"/>
                  </a:lnTo>
                  <a:lnTo>
                    <a:pt x="50" y="116"/>
                  </a:lnTo>
                  <a:lnTo>
                    <a:pt x="46" y="112"/>
                  </a:lnTo>
                  <a:lnTo>
                    <a:pt x="50" y="112"/>
                  </a:lnTo>
                  <a:lnTo>
                    <a:pt x="46" y="112"/>
                  </a:lnTo>
                  <a:lnTo>
                    <a:pt x="46" y="108"/>
                  </a:lnTo>
                  <a:lnTo>
                    <a:pt x="46" y="104"/>
                  </a:lnTo>
                  <a:lnTo>
                    <a:pt x="42" y="104"/>
                  </a:lnTo>
                  <a:lnTo>
                    <a:pt x="42" y="100"/>
                  </a:lnTo>
                  <a:lnTo>
                    <a:pt x="38" y="100"/>
                  </a:lnTo>
                  <a:lnTo>
                    <a:pt x="38" y="98"/>
                  </a:lnTo>
                  <a:lnTo>
                    <a:pt x="38" y="94"/>
                  </a:lnTo>
                  <a:lnTo>
                    <a:pt x="38" y="90"/>
                  </a:lnTo>
                  <a:lnTo>
                    <a:pt x="34" y="90"/>
                  </a:lnTo>
                  <a:lnTo>
                    <a:pt x="34" y="86"/>
                  </a:lnTo>
                  <a:lnTo>
                    <a:pt x="30" y="86"/>
                  </a:lnTo>
                  <a:lnTo>
                    <a:pt x="30" y="90"/>
                  </a:lnTo>
                  <a:lnTo>
                    <a:pt x="28" y="86"/>
                  </a:lnTo>
                  <a:lnTo>
                    <a:pt x="24" y="86"/>
                  </a:lnTo>
                  <a:lnTo>
                    <a:pt x="20" y="86"/>
                  </a:lnTo>
                  <a:lnTo>
                    <a:pt x="20" y="82"/>
                  </a:lnTo>
                  <a:lnTo>
                    <a:pt x="16" y="82"/>
                  </a:lnTo>
                  <a:lnTo>
                    <a:pt x="12" y="82"/>
                  </a:lnTo>
                  <a:lnTo>
                    <a:pt x="12" y="78"/>
                  </a:lnTo>
                  <a:lnTo>
                    <a:pt x="8" y="74"/>
                  </a:lnTo>
                  <a:lnTo>
                    <a:pt x="4" y="74"/>
                  </a:lnTo>
                  <a:lnTo>
                    <a:pt x="4" y="72"/>
                  </a:lnTo>
                  <a:lnTo>
                    <a:pt x="0" y="68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30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30" y="44"/>
                  </a:lnTo>
                  <a:lnTo>
                    <a:pt x="34" y="44"/>
                  </a:lnTo>
                  <a:lnTo>
                    <a:pt x="34" y="42"/>
                  </a:lnTo>
                  <a:lnTo>
                    <a:pt x="38" y="42"/>
                  </a:lnTo>
                  <a:lnTo>
                    <a:pt x="38" y="38"/>
                  </a:lnTo>
                  <a:lnTo>
                    <a:pt x="42" y="38"/>
                  </a:lnTo>
                  <a:lnTo>
                    <a:pt x="42" y="42"/>
                  </a:lnTo>
                  <a:lnTo>
                    <a:pt x="42" y="38"/>
                  </a:lnTo>
                  <a:lnTo>
                    <a:pt x="46" y="38"/>
                  </a:lnTo>
                  <a:lnTo>
                    <a:pt x="46" y="34"/>
                  </a:lnTo>
                  <a:lnTo>
                    <a:pt x="50" y="34"/>
                  </a:lnTo>
                  <a:lnTo>
                    <a:pt x="54" y="34"/>
                  </a:lnTo>
                  <a:lnTo>
                    <a:pt x="56" y="30"/>
                  </a:lnTo>
                  <a:lnTo>
                    <a:pt x="60" y="30"/>
                  </a:lnTo>
                  <a:lnTo>
                    <a:pt x="64" y="30"/>
                  </a:lnTo>
                  <a:lnTo>
                    <a:pt x="64" y="26"/>
                  </a:lnTo>
                  <a:lnTo>
                    <a:pt x="68" y="26"/>
                  </a:lnTo>
                  <a:lnTo>
                    <a:pt x="72" y="30"/>
                  </a:lnTo>
                  <a:lnTo>
                    <a:pt x="72" y="26"/>
                  </a:lnTo>
                  <a:lnTo>
                    <a:pt x="76" y="26"/>
                  </a:lnTo>
                  <a:lnTo>
                    <a:pt x="76" y="30"/>
                  </a:lnTo>
                  <a:lnTo>
                    <a:pt x="80" y="30"/>
                  </a:lnTo>
                  <a:lnTo>
                    <a:pt x="84" y="30"/>
                  </a:lnTo>
                  <a:lnTo>
                    <a:pt x="86" y="30"/>
                  </a:lnTo>
                  <a:lnTo>
                    <a:pt x="90" y="30"/>
                  </a:lnTo>
                  <a:lnTo>
                    <a:pt x="94" y="30"/>
                  </a:lnTo>
                  <a:lnTo>
                    <a:pt x="94" y="34"/>
                  </a:lnTo>
                  <a:lnTo>
                    <a:pt x="94" y="38"/>
                  </a:lnTo>
                  <a:lnTo>
                    <a:pt x="94" y="42"/>
                  </a:lnTo>
                  <a:lnTo>
                    <a:pt x="98" y="42"/>
                  </a:lnTo>
                  <a:lnTo>
                    <a:pt x="98" y="44"/>
                  </a:lnTo>
                  <a:lnTo>
                    <a:pt x="102" y="42"/>
                  </a:lnTo>
                  <a:lnTo>
                    <a:pt x="106" y="44"/>
                  </a:lnTo>
                  <a:lnTo>
                    <a:pt x="110" y="44"/>
                  </a:lnTo>
                  <a:lnTo>
                    <a:pt x="112" y="44"/>
                  </a:lnTo>
                  <a:lnTo>
                    <a:pt x="116" y="44"/>
                  </a:lnTo>
                  <a:lnTo>
                    <a:pt x="120" y="44"/>
                  </a:lnTo>
                  <a:lnTo>
                    <a:pt x="124" y="44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6" y="48"/>
                  </a:lnTo>
                  <a:lnTo>
                    <a:pt x="138" y="48"/>
                  </a:lnTo>
                  <a:lnTo>
                    <a:pt x="138" y="44"/>
                  </a:lnTo>
                  <a:lnTo>
                    <a:pt x="142" y="44"/>
                  </a:lnTo>
                  <a:lnTo>
                    <a:pt x="146" y="44"/>
                  </a:lnTo>
                  <a:lnTo>
                    <a:pt x="146" y="42"/>
                  </a:lnTo>
                  <a:lnTo>
                    <a:pt x="150" y="42"/>
                  </a:lnTo>
                  <a:lnTo>
                    <a:pt x="150" y="38"/>
                  </a:lnTo>
                  <a:lnTo>
                    <a:pt x="150" y="34"/>
                  </a:lnTo>
                  <a:lnTo>
                    <a:pt x="146" y="30"/>
                  </a:lnTo>
                  <a:lnTo>
                    <a:pt x="146" y="26"/>
                  </a:lnTo>
                  <a:lnTo>
                    <a:pt x="142" y="22"/>
                  </a:lnTo>
                  <a:lnTo>
                    <a:pt x="146" y="18"/>
                  </a:lnTo>
                  <a:lnTo>
                    <a:pt x="146" y="14"/>
                  </a:lnTo>
                  <a:lnTo>
                    <a:pt x="146" y="12"/>
                  </a:lnTo>
                  <a:lnTo>
                    <a:pt x="150" y="12"/>
                  </a:lnTo>
                  <a:lnTo>
                    <a:pt x="150" y="14"/>
                  </a:lnTo>
                  <a:lnTo>
                    <a:pt x="150" y="12"/>
                  </a:lnTo>
                  <a:lnTo>
                    <a:pt x="150" y="8"/>
                  </a:lnTo>
                  <a:lnTo>
                    <a:pt x="152" y="8"/>
                  </a:lnTo>
                  <a:lnTo>
                    <a:pt x="156" y="8"/>
                  </a:lnTo>
                  <a:lnTo>
                    <a:pt x="156" y="4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4" y="4"/>
                  </a:lnTo>
                  <a:lnTo>
                    <a:pt x="168" y="4"/>
                  </a:lnTo>
                  <a:lnTo>
                    <a:pt x="172" y="4"/>
                  </a:lnTo>
                  <a:lnTo>
                    <a:pt x="172" y="8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2" y="8"/>
                  </a:lnTo>
                  <a:lnTo>
                    <a:pt x="186" y="12"/>
                  </a:lnTo>
                  <a:lnTo>
                    <a:pt x="190" y="12"/>
                  </a:lnTo>
                  <a:lnTo>
                    <a:pt x="194" y="14"/>
                  </a:lnTo>
                  <a:lnTo>
                    <a:pt x="194" y="12"/>
                  </a:lnTo>
                  <a:lnTo>
                    <a:pt x="198" y="12"/>
                  </a:lnTo>
                  <a:lnTo>
                    <a:pt x="198" y="14"/>
                  </a:lnTo>
                  <a:lnTo>
                    <a:pt x="202" y="14"/>
                  </a:lnTo>
                  <a:lnTo>
                    <a:pt x="206" y="14"/>
                  </a:lnTo>
                  <a:lnTo>
                    <a:pt x="206" y="18"/>
                  </a:lnTo>
                  <a:lnTo>
                    <a:pt x="206" y="22"/>
                  </a:lnTo>
                  <a:lnTo>
                    <a:pt x="206" y="26"/>
                  </a:lnTo>
                  <a:lnTo>
                    <a:pt x="206" y="30"/>
                  </a:lnTo>
                  <a:lnTo>
                    <a:pt x="206" y="34"/>
                  </a:lnTo>
                  <a:lnTo>
                    <a:pt x="208" y="34"/>
                  </a:lnTo>
                  <a:lnTo>
                    <a:pt x="212" y="34"/>
                  </a:lnTo>
                  <a:lnTo>
                    <a:pt x="212" y="38"/>
                  </a:lnTo>
                  <a:lnTo>
                    <a:pt x="216" y="38"/>
                  </a:lnTo>
                  <a:lnTo>
                    <a:pt x="220" y="38"/>
                  </a:lnTo>
                  <a:lnTo>
                    <a:pt x="220" y="42"/>
                  </a:lnTo>
                  <a:lnTo>
                    <a:pt x="224" y="42"/>
                  </a:lnTo>
                  <a:lnTo>
                    <a:pt x="228" y="42"/>
                  </a:lnTo>
                  <a:lnTo>
                    <a:pt x="232" y="42"/>
                  </a:lnTo>
                  <a:lnTo>
                    <a:pt x="236" y="42"/>
                  </a:lnTo>
                  <a:lnTo>
                    <a:pt x="236" y="38"/>
                  </a:lnTo>
                  <a:lnTo>
                    <a:pt x="238" y="38"/>
                  </a:lnTo>
                  <a:lnTo>
                    <a:pt x="242" y="34"/>
                  </a:lnTo>
                  <a:lnTo>
                    <a:pt x="246" y="38"/>
                  </a:lnTo>
                  <a:lnTo>
                    <a:pt x="246" y="34"/>
                  </a:lnTo>
                  <a:lnTo>
                    <a:pt x="250" y="34"/>
                  </a:lnTo>
                  <a:lnTo>
                    <a:pt x="254" y="34"/>
                  </a:lnTo>
                  <a:lnTo>
                    <a:pt x="258" y="34"/>
                  </a:lnTo>
                  <a:lnTo>
                    <a:pt x="258" y="38"/>
                  </a:lnTo>
                  <a:lnTo>
                    <a:pt x="262" y="38"/>
                  </a:lnTo>
                  <a:lnTo>
                    <a:pt x="264" y="38"/>
                  </a:lnTo>
                  <a:lnTo>
                    <a:pt x="268" y="38"/>
                  </a:lnTo>
                  <a:lnTo>
                    <a:pt x="272" y="42"/>
                  </a:lnTo>
                  <a:lnTo>
                    <a:pt x="276" y="44"/>
                  </a:lnTo>
                  <a:lnTo>
                    <a:pt x="280" y="44"/>
                  </a:lnTo>
                  <a:lnTo>
                    <a:pt x="284" y="44"/>
                  </a:lnTo>
                  <a:lnTo>
                    <a:pt x="288" y="44"/>
                  </a:lnTo>
                  <a:lnTo>
                    <a:pt x="288" y="48"/>
                  </a:lnTo>
                  <a:lnTo>
                    <a:pt x="288" y="52"/>
                  </a:lnTo>
                  <a:lnTo>
                    <a:pt x="290" y="56"/>
                  </a:lnTo>
                  <a:lnTo>
                    <a:pt x="294" y="56"/>
                  </a:lnTo>
                  <a:lnTo>
                    <a:pt x="298" y="56"/>
                  </a:lnTo>
                  <a:lnTo>
                    <a:pt x="302" y="56"/>
                  </a:lnTo>
                  <a:lnTo>
                    <a:pt x="306" y="56"/>
                  </a:lnTo>
                  <a:lnTo>
                    <a:pt x="310" y="60"/>
                  </a:lnTo>
                  <a:lnTo>
                    <a:pt x="314" y="60"/>
                  </a:lnTo>
                  <a:lnTo>
                    <a:pt x="318" y="60"/>
                  </a:lnTo>
                  <a:lnTo>
                    <a:pt x="320" y="60"/>
                  </a:lnTo>
                  <a:lnTo>
                    <a:pt x="324" y="60"/>
                  </a:lnTo>
                  <a:lnTo>
                    <a:pt x="328" y="60"/>
                  </a:lnTo>
                  <a:lnTo>
                    <a:pt x="332" y="60"/>
                  </a:lnTo>
                  <a:lnTo>
                    <a:pt x="332" y="56"/>
                  </a:lnTo>
                  <a:lnTo>
                    <a:pt x="336" y="56"/>
                  </a:lnTo>
                  <a:lnTo>
                    <a:pt x="340" y="56"/>
                  </a:lnTo>
                  <a:lnTo>
                    <a:pt x="344" y="56"/>
                  </a:lnTo>
                  <a:lnTo>
                    <a:pt x="346" y="56"/>
                  </a:lnTo>
                  <a:lnTo>
                    <a:pt x="350" y="52"/>
                  </a:lnTo>
                  <a:lnTo>
                    <a:pt x="354" y="52"/>
                  </a:lnTo>
                  <a:lnTo>
                    <a:pt x="354" y="56"/>
                  </a:lnTo>
                  <a:lnTo>
                    <a:pt x="354" y="52"/>
                  </a:lnTo>
                  <a:lnTo>
                    <a:pt x="358" y="52"/>
                  </a:lnTo>
                  <a:lnTo>
                    <a:pt x="362" y="48"/>
                  </a:lnTo>
                  <a:lnTo>
                    <a:pt x="362" y="44"/>
                  </a:lnTo>
                  <a:lnTo>
                    <a:pt x="366" y="44"/>
                  </a:lnTo>
                  <a:lnTo>
                    <a:pt x="370" y="42"/>
                  </a:lnTo>
                  <a:lnTo>
                    <a:pt x="374" y="42"/>
                  </a:lnTo>
                  <a:lnTo>
                    <a:pt x="374" y="38"/>
                  </a:lnTo>
                  <a:lnTo>
                    <a:pt x="376" y="38"/>
                  </a:lnTo>
                  <a:lnTo>
                    <a:pt x="380" y="38"/>
                  </a:lnTo>
                  <a:lnTo>
                    <a:pt x="384" y="38"/>
                  </a:lnTo>
                  <a:lnTo>
                    <a:pt x="384" y="42"/>
                  </a:lnTo>
                  <a:lnTo>
                    <a:pt x="388" y="42"/>
                  </a:lnTo>
                  <a:lnTo>
                    <a:pt x="388" y="44"/>
                  </a:lnTo>
                  <a:lnTo>
                    <a:pt x="392" y="44"/>
                  </a:lnTo>
                  <a:lnTo>
                    <a:pt x="396" y="44"/>
                  </a:lnTo>
                  <a:lnTo>
                    <a:pt x="400" y="44"/>
                  </a:lnTo>
                  <a:lnTo>
                    <a:pt x="402" y="44"/>
                  </a:lnTo>
                  <a:lnTo>
                    <a:pt x="406" y="44"/>
                  </a:lnTo>
                  <a:lnTo>
                    <a:pt x="410" y="44"/>
                  </a:lnTo>
                  <a:lnTo>
                    <a:pt x="410" y="48"/>
                  </a:lnTo>
                  <a:lnTo>
                    <a:pt x="406" y="52"/>
                  </a:lnTo>
                  <a:lnTo>
                    <a:pt x="406" y="56"/>
                  </a:lnTo>
                  <a:lnTo>
                    <a:pt x="406" y="60"/>
                  </a:lnTo>
                  <a:lnTo>
                    <a:pt x="402" y="60"/>
                  </a:lnTo>
                  <a:lnTo>
                    <a:pt x="402" y="64"/>
                  </a:lnTo>
                  <a:lnTo>
                    <a:pt x="400" y="68"/>
                  </a:lnTo>
                  <a:lnTo>
                    <a:pt x="402" y="68"/>
                  </a:lnTo>
                  <a:lnTo>
                    <a:pt x="400" y="72"/>
                  </a:lnTo>
                  <a:lnTo>
                    <a:pt x="396" y="74"/>
                  </a:lnTo>
                  <a:lnTo>
                    <a:pt x="400" y="78"/>
                  </a:lnTo>
                  <a:lnTo>
                    <a:pt x="396" y="82"/>
                  </a:lnTo>
                  <a:lnTo>
                    <a:pt x="392" y="82"/>
                  </a:lnTo>
                  <a:lnTo>
                    <a:pt x="396" y="86"/>
                  </a:lnTo>
                  <a:lnTo>
                    <a:pt x="400" y="90"/>
                  </a:lnTo>
                  <a:lnTo>
                    <a:pt x="402" y="90"/>
                  </a:lnTo>
                  <a:lnTo>
                    <a:pt x="402" y="86"/>
                  </a:lnTo>
                  <a:lnTo>
                    <a:pt x="406" y="90"/>
                  </a:lnTo>
                  <a:lnTo>
                    <a:pt x="410" y="86"/>
                  </a:lnTo>
                  <a:lnTo>
                    <a:pt x="414" y="86"/>
                  </a:lnTo>
                  <a:lnTo>
                    <a:pt x="414" y="90"/>
                  </a:lnTo>
                  <a:lnTo>
                    <a:pt x="418" y="94"/>
                  </a:lnTo>
                  <a:lnTo>
                    <a:pt x="422" y="90"/>
                  </a:lnTo>
                  <a:lnTo>
                    <a:pt x="422" y="86"/>
                  </a:lnTo>
                  <a:lnTo>
                    <a:pt x="426" y="86"/>
                  </a:lnTo>
                  <a:lnTo>
                    <a:pt x="428" y="86"/>
                  </a:lnTo>
                  <a:lnTo>
                    <a:pt x="432" y="86"/>
                  </a:lnTo>
                  <a:lnTo>
                    <a:pt x="436" y="86"/>
                  </a:lnTo>
                  <a:lnTo>
                    <a:pt x="440" y="90"/>
                  </a:lnTo>
                  <a:lnTo>
                    <a:pt x="444" y="94"/>
                  </a:lnTo>
                  <a:lnTo>
                    <a:pt x="448" y="94"/>
                  </a:lnTo>
                  <a:lnTo>
                    <a:pt x="448" y="98"/>
                  </a:lnTo>
                  <a:lnTo>
                    <a:pt x="448" y="100"/>
                  </a:lnTo>
                  <a:lnTo>
                    <a:pt x="452" y="100"/>
                  </a:lnTo>
                  <a:lnTo>
                    <a:pt x="456" y="104"/>
                  </a:lnTo>
                  <a:lnTo>
                    <a:pt x="456" y="108"/>
                  </a:lnTo>
                  <a:lnTo>
                    <a:pt x="456" y="112"/>
                  </a:lnTo>
                  <a:lnTo>
                    <a:pt x="452" y="112"/>
                  </a:lnTo>
                  <a:lnTo>
                    <a:pt x="448" y="112"/>
                  </a:lnTo>
                  <a:lnTo>
                    <a:pt x="444" y="112"/>
                  </a:lnTo>
                  <a:lnTo>
                    <a:pt x="440" y="112"/>
                  </a:lnTo>
                  <a:lnTo>
                    <a:pt x="440" y="108"/>
                  </a:lnTo>
                  <a:lnTo>
                    <a:pt x="440" y="112"/>
                  </a:lnTo>
                  <a:lnTo>
                    <a:pt x="436" y="112"/>
                  </a:lnTo>
                  <a:lnTo>
                    <a:pt x="432" y="112"/>
                  </a:lnTo>
                  <a:lnTo>
                    <a:pt x="428" y="112"/>
                  </a:lnTo>
                  <a:lnTo>
                    <a:pt x="426" y="112"/>
                  </a:lnTo>
                  <a:lnTo>
                    <a:pt x="426" y="116"/>
                  </a:lnTo>
                  <a:lnTo>
                    <a:pt x="422" y="116"/>
                  </a:lnTo>
                  <a:lnTo>
                    <a:pt x="422" y="112"/>
                  </a:lnTo>
                  <a:lnTo>
                    <a:pt x="422" y="116"/>
                  </a:lnTo>
                  <a:lnTo>
                    <a:pt x="418" y="116"/>
                  </a:lnTo>
                  <a:lnTo>
                    <a:pt x="418" y="120"/>
                  </a:lnTo>
                  <a:lnTo>
                    <a:pt x="414" y="120"/>
                  </a:lnTo>
                  <a:lnTo>
                    <a:pt x="410" y="120"/>
                  </a:lnTo>
                  <a:lnTo>
                    <a:pt x="410" y="120"/>
                  </a:lnTo>
                  <a:lnTo>
                    <a:pt x="410" y="12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53" name="Freeform 42">
              <a:extLst>
                <a:ext uri="{FF2B5EF4-FFF2-40B4-BE49-F238E27FC236}">
                  <a16:creationId xmlns:a16="http://schemas.microsoft.com/office/drawing/2014/main" id="{BD2D9EC9-C369-6433-BC1F-6621995F1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33609" y="3232156"/>
              <a:ext cx="245476" cy="618446"/>
            </a:xfrm>
            <a:custGeom>
              <a:avLst/>
              <a:gdLst>
                <a:gd name="T0" fmla="*/ 88 w 126"/>
                <a:gd name="T1" fmla="*/ 314 h 328"/>
                <a:gd name="T2" fmla="*/ 88 w 126"/>
                <a:gd name="T3" fmla="*/ 294 h 328"/>
                <a:gd name="T4" fmla="*/ 88 w 126"/>
                <a:gd name="T5" fmla="*/ 280 h 328"/>
                <a:gd name="T6" fmla="*/ 86 w 126"/>
                <a:gd name="T7" fmla="*/ 262 h 328"/>
                <a:gd name="T8" fmla="*/ 78 w 126"/>
                <a:gd name="T9" fmla="*/ 242 h 328"/>
                <a:gd name="T10" fmla="*/ 78 w 126"/>
                <a:gd name="T11" fmla="*/ 220 h 328"/>
                <a:gd name="T12" fmla="*/ 72 w 126"/>
                <a:gd name="T13" fmla="*/ 202 h 328"/>
                <a:gd name="T14" fmla="*/ 64 w 126"/>
                <a:gd name="T15" fmla="*/ 208 h 328"/>
                <a:gd name="T16" fmla="*/ 56 w 126"/>
                <a:gd name="T17" fmla="*/ 216 h 328"/>
                <a:gd name="T18" fmla="*/ 42 w 126"/>
                <a:gd name="T19" fmla="*/ 224 h 328"/>
                <a:gd name="T20" fmla="*/ 38 w 126"/>
                <a:gd name="T21" fmla="*/ 228 h 328"/>
                <a:gd name="T22" fmla="*/ 34 w 126"/>
                <a:gd name="T23" fmla="*/ 220 h 328"/>
                <a:gd name="T24" fmla="*/ 30 w 126"/>
                <a:gd name="T25" fmla="*/ 208 h 328"/>
                <a:gd name="T26" fmla="*/ 30 w 126"/>
                <a:gd name="T27" fmla="*/ 182 h 328"/>
                <a:gd name="T28" fmla="*/ 22 w 126"/>
                <a:gd name="T29" fmla="*/ 164 h 328"/>
                <a:gd name="T30" fmla="*/ 18 w 126"/>
                <a:gd name="T31" fmla="*/ 152 h 328"/>
                <a:gd name="T32" fmla="*/ 12 w 126"/>
                <a:gd name="T33" fmla="*/ 152 h 328"/>
                <a:gd name="T34" fmla="*/ 12 w 126"/>
                <a:gd name="T35" fmla="*/ 146 h 328"/>
                <a:gd name="T36" fmla="*/ 8 w 126"/>
                <a:gd name="T37" fmla="*/ 146 h 328"/>
                <a:gd name="T38" fmla="*/ 4 w 126"/>
                <a:gd name="T39" fmla="*/ 128 h 328"/>
                <a:gd name="T40" fmla="*/ 12 w 126"/>
                <a:gd name="T41" fmla="*/ 116 h 328"/>
                <a:gd name="T42" fmla="*/ 12 w 126"/>
                <a:gd name="T43" fmla="*/ 102 h 328"/>
                <a:gd name="T44" fmla="*/ 16 w 126"/>
                <a:gd name="T45" fmla="*/ 82 h 328"/>
                <a:gd name="T46" fmla="*/ 30 w 126"/>
                <a:gd name="T47" fmla="*/ 80 h 328"/>
                <a:gd name="T48" fmla="*/ 38 w 126"/>
                <a:gd name="T49" fmla="*/ 54 h 328"/>
                <a:gd name="T50" fmla="*/ 46 w 126"/>
                <a:gd name="T51" fmla="*/ 30 h 328"/>
                <a:gd name="T52" fmla="*/ 72 w 126"/>
                <a:gd name="T53" fmla="*/ 26 h 328"/>
                <a:gd name="T54" fmla="*/ 72 w 126"/>
                <a:gd name="T55" fmla="*/ 4 h 328"/>
                <a:gd name="T56" fmla="*/ 86 w 126"/>
                <a:gd name="T57" fmla="*/ 12 h 328"/>
                <a:gd name="T58" fmla="*/ 92 w 126"/>
                <a:gd name="T59" fmla="*/ 26 h 328"/>
                <a:gd name="T60" fmla="*/ 92 w 126"/>
                <a:gd name="T61" fmla="*/ 50 h 328"/>
                <a:gd name="T62" fmla="*/ 78 w 126"/>
                <a:gd name="T63" fmla="*/ 68 h 328"/>
                <a:gd name="T64" fmla="*/ 78 w 126"/>
                <a:gd name="T65" fmla="*/ 82 h 328"/>
                <a:gd name="T66" fmla="*/ 92 w 126"/>
                <a:gd name="T67" fmla="*/ 82 h 328"/>
                <a:gd name="T68" fmla="*/ 104 w 126"/>
                <a:gd name="T69" fmla="*/ 98 h 328"/>
                <a:gd name="T70" fmla="*/ 104 w 126"/>
                <a:gd name="T71" fmla="*/ 116 h 328"/>
                <a:gd name="T72" fmla="*/ 122 w 126"/>
                <a:gd name="T73" fmla="*/ 124 h 328"/>
                <a:gd name="T74" fmla="*/ 114 w 126"/>
                <a:gd name="T75" fmla="*/ 138 h 328"/>
                <a:gd name="T76" fmla="*/ 104 w 126"/>
                <a:gd name="T77" fmla="*/ 150 h 328"/>
                <a:gd name="T78" fmla="*/ 88 w 126"/>
                <a:gd name="T79" fmla="*/ 156 h 328"/>
                <a:gd name="T80" fmla="*/ 78 w 126"/>
                <a:gd name="T81" fmla="*/ 176 h 328"/>
                <a:gd name="T82" fmla="*/ 78 w 126"/>
                <a:gd name="T83" fmla="*/ 186 h 328"/>
                <a:gd name="T84" fmla="*/ 88 w 126"/>
                <a:gd name="T85" fmla="*/ 206 h 328"/>
                <a:gd name="T86" fmla="*/ 88 w 126"/>
                <a:gd name="T87" fmla="*/ 228 h 328"/>
                <a:gd name="T88" fmla="*/ 88 w 126"/>
                <a:gd name="T89" fmla="*/ 250 h 328"/>
                <a:gd name="T90" fmla="*/ 100 w 126"/>
                <a:gd name="T91" fmla="*/ 268 h 328"/>
                <a:gd name="T92" fmla="*/ 104 w 126"/>
                <a:gd name="T93" fmla="*/ 294 h 328"/>
                <a:gd name="T94" fmla="*/ 92 w 126"/>
                <a:gd name="T95" fmla="*/ 314 h 328"/>
                <a:gd name="T96" fmla="*/ 22 w 126"/>
                <a:gd name="T97" fmla="*/ 164 h 328"/>
                <a:gd name="T98" fmla="*/ 8 w 126"/>
                <a:gd name="T99" fmla="*/ 146 h 328"/>
                <a:gd name="T100" fmla="*/ 26 w 126"/>
                <a:gd name="T101" fmla="*/ 164 h 328"/>
                <a:gd name="T102" fmla="*/ 74 w 126"/>
                <a:gd name="T103" fmla="*/ 212 h 328"/>
                <a:gd name="T104" fmla="*/ 34 w 126"/>
                <a:gd name="T105" fmla="*/ 224 h 328"/>
                <a:gd name="T106" fmla="*/ 82 w 126"/>
                <a:gd name="T107" fmla="*/ 290 h 328"/>
                <a:gd name="T108" fmla="*/ 86 w 126"/>
                <a:gd name="T109" fmla="*/ 328 h 328"/>
                <a:gd name="T110" fmla="*/ 86 w 126"/>
                <a:gd name="T111" fmla="*/ 288 h 328"/>
                <a:gd name="T112" fmla="*/ 82 w 126"/>
                <a:gd name="T113" fmla="*/ 284 h 328"/>
                <a:gd name="T114" fmla="*/ 88 w 126"/>
                <a:gd name="T115" fmla="*/ 290 h 328"/>
                <a:gd name="T116" fmla="*/ 86 w 126"/>
                <a:gd name="T117" fmla="*/ 302 h 328"/>
                <a:gd name="T118" fmla="*/ 82 w 126"/>
                <a:gd name="T119" fmla="*/ 310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6" h="328">
                  <a:moveTo>
                    <a:pt x="92" y="314"/>
                  </a:moveTo>
                  <a:lnTo>
                    <a:pt x="92" y="318"/>
                  </a:lnTo>
                  <a:lnTo>
                    <a:pt x="92" y="320"/>
                  </a:lnTo>
                  <a:lnTo>
                    <a:pt x="88" y="324"/>
                  </a:lnTo>
                  <a:lnTo>
                    <a:pt x="88" y="328"/>
                  </a:lnTo>
                  <a:lnTo>
                    <a:pt x="88" y="324"/>
                  </a:lnTo>
                  <a:lnTo>
                    <a:pt x="88" y="320"/>
                  </a:lnTo>
                  <a:lnTo>
                    <a:pt x="88" y="314"/>
                  </a:lnTo>
                  <a:lnTo>
                    <a:pt x="92" y="310"/>
                  </a:lnTo>
                  <a:lnTo>
                    <a:pt x="92" y="306"/>
                  </a:lnTo>
                  <a:lnTo>
                    <a:pt x="92" y="302"/>
                  </a:lnTo>
                  <a:lnTo>
                    <a:pt x="92" y="298"/>
                  </a:lnTo>
                  <a:lnTo>
                    <a:pt x="92" y="294"/>
                  </a:lnTo>
                  <a:lnTo>
                    <a:pt x="92" y="298"/>
                  </a:lnTo>
                  <a:lnTo>
                    <a:pt x="88" y="298"/>
                  </a:lnTo>
                  <a:lnTo>
                    <a:pt x="88" y="294"/>
                  </a:lnTo>
                  <a:lnTo>
                    <a:pt x="92" y="290"/>
                  </a:lnTo>
                  <a:lnTo>
                    <a:pt x="88" y="290"/>
                  </a:lnTo>
                  <a:lnTo>
                    <a:pt x="92" y="288"/>
                  </a:lnTo>
                  <a:lnTo>
                    <a:pt x="88" y="288"/>
                  </a:lnTo>
                  <a:lnTo>
                    <a:pt x="92" y="288"/>
                  </a:lnTo>
                  <a:lnTo>
                    <a:pt x="88" y="288"/>
                  </a:lnTo>
                  <a:lnTo>
                    <a:pt x="88" y="284"/>
                  </a:lnTo>
                  <a:lnTo>
                    <a:pt x="88" y="280"/>
                  </a:lnTo>
                  <a:lnTo>
                    <a:pt x="88" y="276"/>
                  </a:lnTo>
                  <a:lnTo>
                    <a:pt x="88" y="272"/>
                  </a:lnTo>
                  <a:lnTo>
                    <a:pt x="88" y="268"/>
                  </a:lnTo>
                  <a:lnTo>
                    <a:pt x="88" y="264"/>
                  </a:lnTo>
                  <a:lnTo>
                    <a:pt x="86" y="264"/>
                  </a:lnTo>
                  <a:lnTo>
                    <a:pt x="86" y="262"/>
                  </a:lnTo>
                  <a:lnTo>
                    <a:pt x="86" y="258"/>
                  </a:lnTo>
                  <a:lnTo>
                    <a:pt x="86" y="262"/>
                  </a:lnTo>
                  <a:lnTo>
                    <a:pt x="86" y="264"/>
                  </a:lnTo>
                  <a:lnTo>
                    <a:pt x="82" y="264"/>
                  </a:lnTo>
                  <a:lnTo>
                    <a:pt x="82" y="262"/>
                  </a:lnTo>
                  <a:lnTo>
                    <a:pt x="82" y="258"/>
                  </a:lnTo>
                  <a:lnTo>
                    <a:pt x="82" y="254"/>
                  </a:lnTo>
                  <a:lnTo>
                    <a:pt x="82" y="250"/>
                  </a:lnTo>
                  <a:lnTo>
                    <a:pt x="78" y="246"/>
                  </a:lnTo>
                  <a:lnTo>
                    <a:pt x="78" y="242"/>
                  </a:lnTo>
                  <a:lnTo>
                    <a:pt x="78" y="238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8" y="228"/>
                  </a:lnTo>
                  <a:lnTo>
                    <a:pt x="78" y="224"/>
                  </a:lnTo>
                  <a:lnTo>
                    <a:pt x="74" y="224"/>
                  </a:lnTo>
                  <a:lnTo>
                    <a:pt x="74" y="220"/>
                  </a:lnTo>
                  <a:lnTo>
                    <a:pt x="78" y="220"/>
                  </a:lnTo>
                  <a:lnTo>
                    <a:pt x="78" y="216"/>
                  </a:lnTo>
                  <a:lnTo>
                    <a:pt x="74" y="216"/>
                  </a:lnTo>
                  <a:lnTo>
                    <a:pt x="78" y="212"/>
                  </a:lnTo>
                  <a:lnTo>
                    <a:pt x="74" y="212"/>
                  </a:lnTo>
                  <a:lnTo>
                    <a:pt x="72" y="212"/>
                  </a:lnTo>
                  <a:lnTo>
                    <a:pt x="72" y="208"/>
                  </a:lnTo>
                  <a:lnTo>
                    <a:pt x="72" y="206"/>
                  </a:lnTo>
                  <a:lnTo>
                    <a:pt x="72" y="202"/>
                  </a:lnTo>
                  <a:lnTo>
                    <a:pt x="68" y="202"/>
                  </a:lnTo>
                  <a:lnTo>
                    <a:pt x="68" y="198"/>
                  </a:lnTo>
                  <a:lnTo>
                    <a:pt x="68" y="202"/>
                  </a:lnTo>
                  <a:lnTo>
                    <a:pt x="68" y="206"/>
                  </a:lnTo>
                  <a:lnTo>
                    <a:pt x="64" y="206"/>
                  </a:lnTo>
                  <a:lnTo>
                    <a:pt x="64" y="208"/>
                  </a:lnTo>
                  <a:lnTo>
                    <a:pt x="68" y="208"/>
                  </a:lnTo>
                  <a:lnTo>
                    <a:pt x="64" y="208"/>
                  </a:lnTo>
                  <a:lnTo>
                    <a:pt x="64" y="212"/>
                  </a:lnTo>
                  <a:lnTo>
                    <a:pt x="60" y="212"/>
                  </a:lnTo>
                  <a:lnTo>
                    <a:pt x="56" y="212"/>
                  </a:lnTo>
                  <a:lnTo>
                    <a:pt x="56" y="208"/>
                  </a:lnTo>
                  <a:lnTo>
                    <a:pt x="56" y="212"/>
                  </a:lnTo>
                  <a:lnTo>
                    <a:pt x="56" y="216"/>
                  </a:lnTo>
                  <a:lnTo>
                    <a:pt x="52" y="216"/>
                  </a:lnTo>
                  <a:lnTo>
                    <a:pt x="56" y="216"/>
                  </a:lnTo>
                  <a:lnTo>
                    <a:pt x="52" y="220"/>
                  </a:lnTo>
                  <a:lnTo>
                    <a:pt x="48" y="220"/>
                  </a:lnTo>
                  <a:lnTo>
                    <a:pt x="48" y="224"/>
                  </a:lnTo>
                  <a:lnTo>
                    <a:pt x="46" y="228"/>
                  </a:lnTo>
                  <a:lnTo>
                    <a:pt x="46" y="224"/>
                  </a:lnTo>
                  <a:lnTo>
                    <a:pt x="46" y="220"/>
                  </a:lnTo>
                  <a:lnTo>
                    <a:pt x="46" y="224"/>
                  </a:lnTo>
                  <a:lnTo>
                    <a:pt x="42" y="224"/>
                  </a:lnTo>
                  <a:lnTo>
                    <a:pt x="46" y="224"/>
                  </a:lnTo>
                  <a:lnTo>
                    <a:pt x="42" y="224"/>
                  </a:lnTo>
                  <a:lnTo>
                    <a:pt x="42" y="228"/>
                  </a:lnTo>
                  <a:lnTo>
                    <a:pt x="42" y="224"/>
                  </a:lnTo>
                  <a:lnTo>
                    <a:pt x="42" y="220"/>
                  </a:lnTo>
                  <a:lnTo>
                    <a:pt x="42" y="224"/>
                  </a:lnTo>
                  <a:lnTo>
                    <a:pt x="42" y="228"/>
                  </a:lnTo>
                  <a:lnTo>
                    <a:pt x="38" y="228"/>
                  </a:lnTo>
                  <a:lnTo>
                    <a:pt x="38" y="224"/>
                  </a:lnTo>
                  <a:lnTo>
                    <a:pt x="38" y="220"/>
                  </a:lnTo>
                  <a:lnTo>
                    <a:pt x="38" y="224"/>
                  </a:lnTo>
                  <a:lnTo>
                    <a:pt x="34" y="224"/>
                  </a:lnTo>
                  <a:lnTo>
                    <a:pt x="38" y="220"/>
                  </a:lnTo>
                  <a:lnTo>
                    <a:pt x="34" y="220"/>
                  </a:lnTo>
                  <a:lnTo>
                    <a:pt x="34" y="224"/>
                  </a:lnTo>
                  <a:lnTo>
                    <a:pt x="34" y="220"/>
                  </a:lnTo>
                  <a:lnTo>
                    <a:pt x="34" y="216"/>
                  </a:lnTo>
                  <a:lnTo>
                    <a:pt x="34" y="220"/>
                  </a:lnTo>
                  <a:lnTo>
                    <a:pt x="30" y="220"/>
                  </a:lnTo>
                  <a:lnTo>
                    <a:pt x="30" y="224"/>
                  </a:lnTo>
                  <a:lnTo>
                    <a:pt x="26" y="224"/>
                  </a:lnTo>
                  <a:lnTo>
                    <a:pt x="30" y="216"/>
                  </a:lnTo>
                  <a:lnTo>
                    <a:pt x="30" y="212"/>
                  </a:lnTo>
                  <a:lnTo>
                    <a:pt x="30" y="208"/>
                  </a:lnTo>
                  <a:lnTo>
                    <a:pt x="30" y="206"/>
                  </a:lnTo>
                  <a:lnTo>
                    <a:pt x="34" y="202"/>
                  </a:lnTo>
                  <a:lnTo>
                    <a:pt x="34" y="198"/>
                  </a:lnTo>
                  <a:lnTo>
                    <a:pt x="34" y="194"/>
                  </a:lnTo>
                  <a:lnTo>
                    <a:pt x="34" y="190"/>
                  </a:lnTo>
                  <a:lnTo>
                    <a:pt x="30" y="186"/>
                  </a:lnTo>
                  <a:lnTo>
                    <a:pt x="34" y="186"/>
                  </a:lnTo>
                  <a:lnTo>
                    <a:pt x="30" y="182"/>
                  </a:lnTo>
                  <a:lnTo>
                    <a:pt x="30" y="180"/>
                  </a:lnTo>
                  <a:lnTo>
                    <a:pt x="30" y="176"/>
                  </a:lnTo>
                  <a:lnTo>
                    <a:pt x="26" y="172"/>
                  </a:lnTo>
                  <a:lnTo>
                    <a:pt x="26" y="176"/>
                  </a:lnTo>
                  <a:lnTo>
                    <a:pt x="26" y="172"/>
                  </a:lnTo>
                  <a:lnTo>
                    <a:pt x="26" y="168"/>
                  </a:lnTo>
                  <a:lnTo>
                    <a:pt x="22" y="168"/>
                  </a:lnTo>
                  <a:lnTo>
                    <a:pt x="22" y="164"/>
                  </a:lnTo>
                  <a:lnTo>
                    <a:pt x="26" y="164"/>
                  </a:lnTo>
                  <a:lnTo>
                    <a:pt x="22" y="160"/>
                  </a:lnTo>
                  <a:lnTo>
                    <a:pt x="22" y="156"/>
                  </a:lnTo>
                  <a:lnTo>
                    <a:pt x="18" y="156"/>
                  </a:lnTo>
                  <a:lnTo>
                    <a:pt x="22" y="152"/>
                  </a:lnTo>
                  <a:lnTo>
                    <a:pt x="22" y="156"/>
                  </a:lnTo>
                  <a:lnTo>
                    <a:pt x="22" y="152"/>
                  </a:lnTo>
                  <a:lnTo>
                    <a:pt x="18" y="152"/>
                  </a:lnTo>
                  <a:lnTo>
                    <a:pt x="18" y="156"/>
                  </a:lnTo>
                  <a:lnTo>
                    <a:pt x="18" y="152"/>
                  </a:lnTo>
                  <a:lnTo>
                    <a:pt x="16" y="152"/>
                  </a:lnTo>
                  <a:lnTo>
                    <a:pt x="12" y="152"/>
                  </a:lnTo>
                  <a:lnTo>
                    <a:pt x="16" y="152"/>
                  </a:lnTo>
                  <a:lnTo>
                    <a:pt x="16" y="156"/>
                  </a:lnTo>
                  <a:lnTo>
                    <a:pt x="16" y="152"/>
                  </a:lnTo>
                  <a:lnTo>
                    <a:pt x="12" y="152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12" y="150"/>
                  </a:lnTo>
                  <a:lnTo>
                    <a:pt x="12" y="146"/>
                  </a:lnTo>
                  <a:lnTo>
                    <a:pt x="12" y="142"/>
                  </a:lnTo>
                  <a:lnTo>
                    <a:pt x="12" y="146"/>
                  </a:lnTo>
                  <a:lnTo>
                    <a:pt x="12" y="150"/>
                  </a:lnTo>
                  <a:lnTo>
                    <a:pt x="8" y="150"/>
                  </a:lnTo>
                  <a:lnTo>
                    <a:pt x="12" y="146"/>
                  </a:lnTo>
                  <a:lnTo>
                    <a:pt x="8" y="146"/>
                  </a:lnTo>
                  <a:lnTo>
                    <a:pt x="8" y="142"/>
                  </a:lnTo>
                  <a:lnTo>
                    <a:pt x="8" y="146"/>
                  </a:lnTo>
                  <a:lnTo>
                    <a:pt x="8" y="150"/>
                  </a:lnTo>
                  <a:lnTo>
                    <a:pt x="8" y="146"/>
                  </a:lnTo>
                  <a:lnTo>
                    <a:pt x="4" y="146"/>
                  </a:lnTo>
                  <a:lnTo>
                    <a:pt x="4" y="142"/>
                  </a:lnTo>
                  <a:lnTo>
                    <a:pt x="4" y="138"/>
                  </a:lnTo>
                  <a:lnTo>
                    <a:pt x="0" y="138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4" y="128"/>
                  </a:lnTo>
                  <a:lnTo>
                    <a:pt x="4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4" y="128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8" y="116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0"/>
                  </a:lnTo>
                  <a:lnTo>
                    <a:pt x="12" y="110"/>
                  </a:lnTo>
                  <a:lnTo>
                    <a:pt x="12" y="106"/>
                  </a:lnTo>
                  <a:lnTo>
                    <a:pt x="12" y="102"/>
                  </a:lnTo>
                  <a:lnTo>
                    <a:pt x="12" y="98"/>
                  </a:lnTo>
                  <a:lnTo>
                    <a:pt x="16" y="98"/>
                  </a:lnTo>
                  <a:lnTo>
                    <a:pt x="16" y="102"/>
                  </a:lnTo>
                  <a:lnTo>
                    <a:pt x="16" y="98"/>
                  </a:lnTo>
                  <a:lnTo>
                    <a:pt x="16" y="94"/>
                  </a:lnTo>
                  <a:lnTo>
                    <a:pt x="18" y="90"/>
                  </a:lnTo>
                  <a:lnTo>
                    <a:pt x="16" y="86"/>
                  </a:lnTo>
                  <a:lnTo>
                    <a:pt x="16" y="82"/>
                  </a:lnTo>
                  <a:lnTo>
                    <a:pt x="16" y="80"/>
                  </a:lnTo>
                  <a:lnTo>
                    <a:pt x="16" y="82"/>
                  </a:lnTo>
                  <a:lnTo>
                    <a:pt x="18" y="82"/>
                  </a:lnTo>
                  <a:lnTo>
                    <a:pt x="22" y="82"/>
                  </a:lnTo>
                  <a:lnTo>
                    <a:pt x="26" y="82"/>
                  </a:lnTo>
                  <a:lnTo>
                    <a:pt x="26" y="86"/>
                  </a:lnTo>
                  <a:lnTo>
                    <a:pt x="30" y="82"/>
                  </a:lnTo>
                  <a:lnTo>
                    <a:pt x="30" y="80"/>
                  </a:lnTo>
                  <a:lnTo>
                    <a:pt x="30" y="76"/>
                  </a:lnTo>
                  <a:lnTo>
                    <a:pt x="34" y="72"/>
                  </a:lnTo>
                  <a:lnTo>
                    <a:pt x="34" y="68"/>
                  </a:lnTo>
                  <a:lnTo>
                    <a:pt x="38" y="64"/>
                  </a:lnTo>
                  <a:lnTo>
                    <a:pt x="34" y="60"/>
                  </a:lnTo>
                  <a:lnTo>
                    <a:pt x="34" y="56"/>
                  </a:lnTo>
                  <a:lnTo>
                    <a:pt x="38" y="56"/>
                  </a:lnTo>
                  <a:lnTo>
                    <a:pt x="38" y="54"/>
                  </a:lnTo>
                  <a:lnTo>
                    <a:pt x="42" y="54"/>
                  </a:lnTo>
                  <a:lnTo>
                    <a:pt x="42" y="50"/>
                  </a:lnTo>
                  <a:lnTo>
                    <a:pt x="42" y="46"/>
                  </a:lnTo>
                  <a:lnTo>
                    <a:pt x="42" y="42"/>
                  </a:lnTo>
                  <a:lnTo>
                    <a:pt x="42" y="38"/>
                  </a:lnTo>
                  <a:lnTo>
                    <a:pt x="42" y="34"/>
                  </a:lnTo>
                  <a:lnTo>
                    <a:pt x="46" y="34"/>
                  </a:lnTo>
                  <a:lnTo>
                    <a:pt x="46" y="30"/>
                  </a:lnTo>
                  <a:lnTo>
                    <a:pt x="48" y="30"/>
                  </a:lnTo>
                  <a:lnTo>
                    <a:pt x="52" y="26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6"/>
                  </a:lnTo>
                  <a:lnTo>
                    <a:pt x="72" y="26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2"/>
                  </a:lnTo>
                  <a:lnTo>
                    <a:pt x="74" y="12"/>
                  </a:lnTo>
                  <a:lnTo>
                    <a:pt x="72" y="8"/>
                  </a:lnTo>
                  <a:lnTo>
                    <a:pt x="72" y="4"/>
                  </a:lnTo>
                  <a:lnTo>
                    <a:pt x="74" y="4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78" y="4"/>
                  </a:lnTo>
                  <a:lnTo>
                    <a:pt x="82" y="4"/>
                  </a:lnTo>
                  <a:lnTo>
                    <a:pt x="82" y="8"/>
                  </a:lnTo>
                  <a:lnTo>
                    <a:pt x="82" y="12"/>
                  </a:lnTo>
                  <a:lnTo>
                    <a:pt x="86" y="12"/>
                  </a:lnTo>
                  <a:lnTo>
                    <a:pt x="86" y="16"/>
                  </a:lnTo>
                  <a:lnTo>
                    <a:pt x="86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6"/>
                  </a:lnTo>
                  <a:lnTo>
                    <a:pt x="92" y="30"/>
                  </a:lnTo>
                  <a:lnTo>
                    <a:pt x="92" y="34"/>
                  </a:lnTo>
                  <a:lnTo>
                    <a:pt x="92" y="38"/>
                  </a:lnTo>
                  <a:lnTo>
                    <a:pt x="92" y="42"/>
                  </a:lnTo>
                  <a:lnTo>
                    <a:pt x="92" y="46"/>
                  </a:lnTo>
                  <a:lnTo>
                    <a:pt x="88" y="46"/>
                  </a:lnTo>
                  <a:lnTo>
                    <a:pt x="88" y="50"/>
                  </a:lnTo>
                  <a:lnTo>
                    <a:pt x="92" y="50"/>
                  </a:lnTo>
                  <a:lnTo>
                    <a:pt x="88" y="50"/>
                  </a:lnTo>
                  <a:lnTo>
                    <a:pt x="88" y="54"/>
                  </a:lnTo>
                  <a:lnTo>
                    <a:pt x="86" y="54"/>
                  </a:lnTo>
                  <a:lnTo>
                    <a:pt x="82" y="56"/>
                  </a:lnTo>
                  <a:lnTo>
                    <a:pt x="82" y="60"/>
                  </a:lnTo>
                  <a:lnTo>
                    <a:pt x="78" y="60"/>
                  </a:lnTo>
                  <a:lnTo>
                    <a:pt x="78" y="64"/>
                  </a:lnTo>
                  <a:lnTo>
                    <a:pt x="78" y="68"/>
                  </a:lnTo>
                  <a:lnTo>
                    <a:pt x="74" y="68"/>
                  </a:lnTo>
                  <a:lnTo>
                    <a:pt x="74" y="72"/>
                  </a:lnTo>
                  <a:lnTo>
                    <a:pt x="74" y="76"/>
                  </a:lnTo>
                  <a:lnTo>
                    <a:pt x="78" y="76"/>
                  </a:lnTo>
                  <a:lnTo>
                    <a:pt x="78" y="80"/>
                  </a:lnTo>
                  <a:lnTo>
                    <a:pt x="78" y="82"/>
                  </a:lnTo>
                  <a:lnTo>
                    <a:pt x="74" y="82"/>
                  </a:lnTo>
                  <a:lnTo>
                    <a:pt x="78" y="82"/>
                  </a:lnTo>
                  <a:lnTo>
                    <a:pt x="78" y="86"/>
                  </a:lnTo>
                  <a:lnTo>
                    <a:pt x="78" y="82"/>
                  </a:lnTo>
                  <a:lnTo>
                    <a:pt x="82" y="82"/>
                  </a:lnTo>
                  <a:lnTo>
                    <a:pt x="82" y="80"/>
                  </a:lnTo>
                  <a:lnTo>
                    <a:pt x="86" y="80"/>
                  </a:lnTo>
                  <a:lnTo>
                    <a:pt x="88" y="80"/>
                  </a:lnTo>
                  <a:lnTo>
                    <a:pt x="92" y="80"/>
                  </a:lnTo>
                  <a:lnTo>
                    <a:pt x="92" y="82"/>
                  </a:lnTo>
                  <a:lnTo>
                    <a:pt x="88" y="82"/>
                  </a:lnTo>
                  <a:lnTo>
                    <a:pt x="92" y="86"/>
                  </a:lnTo>
                  <a:lnTo>
                    <a:pt x="92" y="90"/>
                  </a:lnTo>
                  <a:lnTo>
                    <a:pt x="92" y="94"/>
                  </a:lnTo>
                  <a:lnTo>
                    <a:pt x="92" y="98"/>
                  </a:lnTo>
                  <a:lnTo>
                    <a:pt x="96" y="98"/>
                  </a:lnTo>
                  <a:lnTo>
                    <a:pt x="100" y="98"/>
                  </a:lnTo>
                  <a:lnTo>
                    <a:pt x="104" y="98"/>
                  </a:lnTo>
                  <a:lnTo>
                    <a:pt x="104" y="102"/>
                  </a:lnTo>
                  <a:lnTo>
                    <a:pt x="100" y="102"/>
                  </a:lnTo>
                  <a:lnTo>
                    <a:pt x="100" y="106"/>
                  </a:lnTo>
                  <a:lnTo>
                    <a:pt x="100" y="110"/>
                  </a:lnTo>
                  <a:lnTo>
                    <a:pt x="100" y="112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8" y="116"/>
                  </a:lnTo>
                  <a:lnTo>
                    <a:pt x="108" y="120"/>
                  </a:lnTo>
                  <a:lnTo>
                    <a:pt x="108" y="124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14" y="128"/>
                  </a:lnTo>
                  <a:lnTo>
                    <a:pt x="118" y="128"/>
                  </a:lnTo>
                  <a:lnTo>
                    <a:pt x="122" y="124"/>
                  </a:lnTo>
                  <a:lnTo>
                    <a:pt x="126" y="124"/>
                  </a:lnTo>
                  <a:lnTo>
                    <a:pt x="126" y="128"/>
                  </a:lnTo>
                  <a:lnTo>
                    <a:pt x="122" y="128"/>
                  </a:lnTo>
                  <a:lnTo>
                    <a:pt x="122" y="132"/>
                  </a:lnTo>
                  <a:lnTo>
                    <a:pt x="118" y="132"/>
                  </a:lnTo>
                  <a:lnTo>
                    <a:pt x="118" y="136"/>
                  </a:lnTo>
                  <a:lnTo>
                    <a:pt x="114" y="136"/>
                  </a:lnTo>
                  <a:lnTo>
                    <a:pt x="114" y="138"/>
                  </a:lnTo>
                  <a:lnTo>
                    <a:pt x="118" y="138"/>
                  </a:lnTo>
                  <a:lnTo>
                    <a:pt x="114" y="138"/>
                  </a:lnTo>
                  <a:lnTo>
                    <a:pt x="112" y="138"/>
                  </a:lnTo>
                  <a:lnTo>
                    <a:pt x="112" y="142"/>
                  </a:lnTo>
                  <a:lnTo>
                    <a:pt x="112" y="146"/>
                  </a:lnTo>
                  <a:lnTo>
                    <a:pt x="108" y="146"/>
                  </a:lnTo>
                  <a:lnTo>
                    <a:pt x="104" y="146"/>
                  </a:lnTo>
                  <a:lnTo>
                    <a:pt x="104" y="150"/>
                  </a:lnTo>
                  <a:lnTo>
                    <a:pt x="100" y="150"/>
                  </a:lnTo>
                  <a:lnTo>
                    <a:pt x="100" y="152"/>
                  </a:lnTo>
                  <a:lnTo>
                    <a:pt x="100" y="150"/>
                  </a:lnTo>
                  <a:lnTo>
                    <a:pt x="96" y="150"/>
                  </a:lnTo>
                  <a:lnTo>
                    <a:pt x="96" y="152"/>
                  </a:lnTo>
                  <a:lnTo>
                    <a:pt x="96" y="156"/>
                  </a:lnTo>
                  <a:lnTo>
                    <a:pt x="92" y="156"/>
                  </a:lnTo>
                  <a:lnTo>
                    <a:pt x="88" y="156"/>
                  </a:lnTo>
                  <a:lnTo>
                    <a:pt x="86" y="156"/>
                  </a:lnTo>
                  <a:lnTo>
                    <a:pt x="82" y="156"/>
                  </a:lnTo>
                  <a:lnTo>
                    <a:pt x="82" y="160"/>
                  </a:lnTo>
                  <a:lnTo>
                    <a:pt x="78" y="160"/>
                  </a:lnTo>
                  <a:lnTo>
                    <a:pt x="78" y="164"/>
                  </a:lnTo>
                  <a:lnTo>
                    <a:pt x="78" y="168"/>
                  </a:lnTo>
                  <a:lnTo>
                    <a:pt x="78" y="172"/>
                  </a:lnTo>
                  <a:lnTo>
                    <a:pt x="78" y="176"/>
                  </a:lnTo>
                  <a:lnTo>
                    <a:pt x="78" y="180"/>
                  </a:lnTo>
                  <a:lnTo>
                    <a:pt x="74" y="180"/>
                  </a:lnTo>
                  <a:lnTo>
                    <a:pt x="72" y="180"/>
                  </a:lnTo>
                  <a:lnTo>
                    <a:pt x="74" y="180"/>
                  </a:lnTo>
                  <a:lnTo>
                    <a:pt x="74" y="182"/>
                  </a:lnTo>
                  <a:lnTo>
                    <a:pt x="78" y="182"/>
                  </a:lnTo>
                  <a:lnTo>
                    <a:pt x="74" y="182"/>
                  </a:lnTo>
                  <a:lnTo>
                    <a:pt x="78" y="186"/>
                  </a:lnTo>
                  <a:lnTo>
                    <a:pt x="78" y="190"/>
                  </a:lnTo>
                  <a:lnTo>
                    <a:pt x="78" y="194"/>
                  </a:lnTo>
                  <a:lnTo>
                    <a:pt x="82" y="194"/>
                  </a:lnTo>
                  <a:lnTo>
                    <a:pt x="82" y="198"/>
                  </a:lnTo>
                  <a:lnTo>
                    <a:pt x="82" y="202"/>
                  </a:lnTo>
                  <a:lnTo>
                    <a:pt x="86" y="202"/>
                  </a:lnTo>
                  <a:lnTo>
                    <a:pt x="86" y="206"/>
                  </a:lnTo>
                  <a:lnTo>
                    <a:pt x="88" y="206"/>
                  </a:lnTo>
                  <a:lnTo>
                    <a:pt x="88" y="208"/>
                  </a:lnTo>
                  <a:lnTo>
                    <a:pt x="88" y="212"/>
                  </a:lnTo>
                  <a:lnTo>
                    <a:pt x="88" y="216"/>
                  </a:lnTo>
                  <a:lnTo>
                    <a:pt x="92" y="216"/>
                  </a:lnTo>
                  <a:lnTo>
                    <a:pt x="92" y="220"/>
                  </a:lnTo>
                  <a:lnTo>
                    <a:pt x="88" y="220"/>
                  </a:lnTo>
                  <a:lnTo>
                    <a:pt x="88" y="224"/>
                  </a:lnTo>
                  <a:lnTo>
                    <a:pt x="88" y="228"/>
                  </a:lnTo>
                  <a:lnTo>
                    <a:pt x="88" y="232"/>
                  </a:lnTo>
                  <a:lnTo>
                    <a:pt x="88" y="234"/>
                  </a:lnTo>
                  <a:lnTo>
                    <a:pt x="86" y="234"/>
                  </a:lnTo>
                  <a:lnTo>
                    <a:pt x="86" y="238"/>
                  </a:lnTo>
                  <a:lnTo>
                    <a:pt x="86" y="242"/>
                  </a:lnTo>
                  <a:lnTo>
                    <a:pt x="86" y="246"/>
                  </a:lnTo>
                  <a:lnTo>
                    <a:pt x="88" y="246"/>
                  </a:lnTo>
                  <a:lnTo>
                    <a:pt x="88" y="250"/>
                  </a:lnTo>
                  <a:lnTo>
                    <a:pt x="88" y="254"/>
                  </a:lnTo>
                  <a:lnTo>
                    <a:pt x="92" y="254"/>
                  </a:lnTo>
                  <a:lnTo>
                    <a:pt x="92" y="258"/>
                  </a:lnTo>
                  <a:lnTo>
                    <a:pt x="96" y="258"/>
                  </a:lnTo>
                  <a:lnTo>
                    <a:pt x="96" y="262"/>
                  </a:lnTo>
                  <a:lnTo>
                    <a:pt x="96" y="264"/>
                  </a:lnTo>
                  <a:lnTo>
                    <a:pt x="96" y="268"/>
                  </a:lnTo>
                  <a:lnTo>
                    <a:pt x="100" y="268"/>
                  </a:lnTo>
                  <a:lnTo>
                    <a:pt x="100" y="272"/>
                  </a:lnTo>
                  <a:lnTo>
                    <a:pt x="96" y="272"/>
                  </a:lnTo>
                  <a:lnTo>
                    <a:pt x="100" y="280"/>
                  </a:lnTo>
                  <a:lnTo>
                    <a:pt x="100" y="284"/>
                  </a:lnTo>
                  <a:lnTo>
                    <a:pt x="100" y="288"/>
                  </a:lnTo>
                  <a:lnTo>
                    <a:pt x="104" y="288"/>
                  </a:lnTo>
                  <a:lnTo>
                    <a:pt x="104" y="290"/>
                  </a:lnTo>
                  <a:lnTo>
                    <a:pt x="104" y="294"/>
                  </a:lnTo>
                  <a:lnTo>
                    <a:pt x="104" y="298"/>
                  </a:lnTo>
                  <a:lnTo>
                    <a:pt x="100" y="298"/>
                  </a:lnTo>
                  <a:lnTo>
                    <a:pt x="100" y="302"/>
                  </a:lnTo>
                  <a:lnTo>
                    <a:pt x="100" y="306"/>
                  </a:lnTo>
                  <a:lnTo>
                    <a:pt x="96" y="310"/>
                  </a:lnTo>
                  <a:lnTo>
                    <a:pt x="92" y="314"/>
                  </a:lnTo>
                  <a:lnTo>
                    <a:pt x="92" y="314"/>
                  </a:lnTo>
                  <a:lnTo>
                    <a:pt x="92" y="314"/>
                  </a:lnTo>
                  <a:close/>
                  <a:moveTo>
                    <a:pt x="22" y="164"/>
                  </a:moveTo>
                  <a:lnTo>
                    <a:pt x="22" y="168"/>
                  </a:lnTo>
                  <a:lnTo>
                    <a:pt x="26" y="168"/>
                  </a:lnTo>
                  <a:lnTo>
                    <a:pt x="26" y="172"/>
                  </a:lnTo>
                  <a:lnTo>
                    <a:pt x="22" y="172"/>
                  </a:lnTo>
                  <a:lnTo>
                    <a:pt x="18" y="168"/>
                  </a:lnTo>
                  <a:lnTo>
                    <a:pt x="18" y="164"/>
                  </a:lnTo>
                  <a:lnTo>
                    <a:pt x="22" y="164"/>
                  </a:lnTo>
                  <a:lnTo>
                    <a:pt x="22" y="168"/>
                  </a:lnTo>
                  <a:lnTo>
                    <a:pt x="22" y="164"/>
                  </a:lnTo>
                  <a:lnTo>
                    <a:pt x="22" y="164"/>
                  </a:lnTo>
                  <a:lnTo>
                    <a:pt x="22" y="164"/>
                  </a:lnTo>
                  <a:close/>
                  <a:moveTo>
                    <a:pt x="8" y="146"/>
                  </a:moveTo>
                  <a:lnTo>
                    <a:pt x="8" y="150"/>
                  </a:lnTo>
                  <a:lnTo>
                    <a:pt x="8" y="146"/>
                  </a:lnTo>
                  <a:lnTo>
                    <a:pt x="8" y="146"/>
                  </a:lnTo>
                  <a:lnTo>
                    <a:pt x="8" y="146"/>
                  </a:lnTo>
                  <a:close/>
                  <a:moveTo>
                    <a:pt x="18" y="152"/>
                  </a:moveTo>
                  <a:lnTo>
                    <a:pt x="18" y="156"/>
                  </a:lnTo>
                  <a:lnTo>
                    <a:pt x="16" y="152"/>
                  </a:lnTo>
                  <a:lnTo>
                    <a:pt x="18" y="152"/>
                  </a:lnTo>
                  <a:lnTo>
                    <a:pt x="18" y="152"/>
                  </a:lnTo>
                  <a:lnTo>
                    <a:pt x="18" y="152"/>
                  </a:lnTo>
                  <a:close/>
                  <a:moveTo>
                    <a:pt x="26" y="164"/>
                  </a:moveTo>
                  <a:lnTo>
                    <a:pt x="22" y="164"/>
                  </a:lnTo>
                  <a:lnTo>
                    <a:pt x="18" y="164"/>
                  </a:lnTo>
                  <a:lnTo>
                    <a:pt x="18" y="160"/>
                  </a:lnTo>
                  <a:lnTo>
                    <a:pt x="22" y="160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6" y="164"/>
                  </a:lnTo>
                  <a:close/>
                  <a:moveTo>
                    <a:pt x="74" y="212"/>
                  </a:moveTo>
                  <a:lnTo>
                    <a:pt x="74" y="216"/>
                  </a:lnTo>
                  <a:lnTo>
                    <a:pt x="74" y="220"/>
                  </a:lnTo>
                  <a:lnTo>
                    <a:pt x="74" y="216"/>
                  </a:lnTo>
                  <a:lnTo>
                    <a:pt x="74" y="212"/>
                  </a:lnTo>
                  <a:lnTo>
                    <a:pt x="74" y="212"/>
                  </a:lnTo>
                  <a:lnTo>
                    <a:pt x="74" y="212"/>
                  </a:lnTo>
                  <a:close/>
                  <a:moveTo>
                    <a:pt x="34" y="220"/>
                  </a:moveTo>
                  <a:lnTo>
                    <a:pt x="34" y="224"/>
                  </a:lnTo>
                  <a:lnTo>
                    <a:pt x="30" y="224"/>
                  </a:lnTo>
                  <a:lnTo>
                    <a:pt x="34" y="220"/>
                  </a:lnTo>
                  <a:lnTo>
                    <a:pt x="34" y="220"/>
                  </a:lnTo>
                  <a:lnTo>
                    <a:pt x="34" y="220"/>
                  </a:lnTo>
                  <a:close/>
                  <a:moveTo>
                    <a:pt x="82" y="290"/>
                  </a:moveTo>
                  <a:lnTo>
                    <a:pt x="82" y="288"/>
                  </a:lnTo>
                  <a:lnTo>
                    <a:pt x="82" y="290"/>
                  </a:lnTo>
                  <a:lnTo>
                    <a:pt x="82" y="290"/>
                  </a:lnTo>
                  <a:lnTo>
                    <a:pt x="82" y="290"/>
                  </a:lnTo>
                  <a:close/>
                  <a:moveTo>
                    <a:pt x="86" y="328"/>
                  </a:moveTo>
                  <a:lnTo>
                    <a:pt x="82" y="328"/>
                  </a:lnTo>
                  <a:lnTo>
                    <a:pt x="86" y="328"/>
                  </a:lnTo>
                  <a:lnTo>
                    <a:pt x="86" y="324"/>
                  </a:lnTo>
                  <a:lnTo>
                    <a:pt x="86" y="328"/>
                  </a:lnTo>
                  <a:lnTo>
                    <a:pt x="86" y="328"/>
                  </a:lnTo>
                  <a:lnTo>
                    <a:pt x="86" y="328"/>
                  </a:lnTo>
                  <a:close/>
                  <a:moveTo>
                    <a:pt x="18" y="172"/>
                  </a:moveTo>
                  <a:lnTo>
                    <a:pt x="22" y="172"/>
                  </a:lnTo>
                  <a:lnTo>
                    <a:pt x="22" y="176"/>
                  </a:lnTo>
                  <a:lnTo>
                    <a:pt x="18" y="176"/>
                  </a:lnTo>
                  <a:lnTo>
                    <a:pt x="18" y="172"/>
                  </a:lnTo>
                  <a:lnTo>
                    <a:pt x="18" y="172"/>
                  </a:lnTo>
                  <a:lnTo>
                    <a:pt x="18" y="172"/>
                  </a:lnTo>
                  <a:close/>
                  <a:moveTo>
                    <a:pt x="86" y="288"/>
                  </a:moveTo>
                  <a:lnTo>
                    <a:pt x="86" y="284"/>
                  </a:lnTo>
                  <a:lnTo>
                    <a:pt x="86" y="280"/>
                  </a:lnTo>
                  <a:lnTo>
                    <a:pt x="88" y="284"/>
                  </a:lnTo>
                  <a:lnTo>
                    <a:pt x="86" y="288"/>
                  </a:lnTo>
                  <a:lnTo>
                    <a:pt x="86" y="288"/>
                  </a:lnTo>
                  <a:lnTo>
                    <a:pt x="86" y="288"/>
                  </a:lnTo>
                  <a:close/>
                  <a:moveTo>
                    <a:pt x="82" y="288"/>
                  </a:moveTo>
                  <a:lnTo>
                    <a:pt x="82" y="284"/>
                  </a:lnTo>
                  <a:lnTo>
                    <a:pt x="82" y="288"/>
                  </a:lnTo>
                  <a:lnTo>
                    <a:pt x="82" y="288"/>
                  </a:lnTo>
                  <a:lnTo>
                    <a:pt x="82" y="288"/>
                  </a:lnTo>
                  <a:close/>
                  <a:moveTo>
                    <a:pt x="88" y="290"/>
                  </a:moveTo>
                  <a:lnTo>
                    <a:pt x="88" y="294"/>
                  </a:lnTo>
                  <a:lnTo>
                    <a:pt x="88" y="290"/>
                  </a:lnTo>
                  <a:lnTo>
                    <a:pt x="88" y="290"/>
                  </a:lnTo>
                  <a:lnTo>
                    <a:pt x="88" y="290"/>
                  </a:lnTo>
                  <a:close/>
                  <a:moveTo>
                    <a:pt x="86" y="298"/>
                  </a:moveTo>
                  <a:lnTo>
                    <a:pt x="86" y="294"/>
                  </a:lnTo>
                  <a:lnTo>
                    <a:pt x="88" y="294"/>
                  </a:lnTo>
                  <a:lnTo>
                    <a:pt x="88" y="298"/>
                  </a:lnTo>
                  <a:lnTo>
                    <a:pt x="86" y="298"/>
                  </a:lnTo>
                  <a:lnTo>
                    <a:pt x="86" y="298"/>
                  </a:lnTo>
                  <a:lnTo>
                    <a:pt x="86" y="298"/>
                  </a:lnTo>
                  <a:close/>
                  <a:moveTo>
                    <a:pt x="86" y="302"/>
                  </a:moveTo>
                  <a:lnTo>
                    <a:pt x="86" y="298"/>
                  </a:lnTo>
                  <a:lnTo>
                    <a:pt x="86" y="294"/>
                  </a:lnTo>
                  <a:lnTo>
                    <a:pt x="86" y="298"/>
                  </a:lnTo>
                  <a:lnTo>
                    <a:pt x="86" y="302"/>
                  </a:lnTo>
                  <a:lnTo>
                    <a:pt x="86" y="302"/>
                  </a:lnTo>
                  <a:lnTo>
                    <a:pt x="86" y="302"/>
                  </a:lnTo>
                  <a:close/>
                  <a:moveTo>
                    <a:pt x="86" y="314"/>
                  </a:moveTo>
                  <a:lnTo>
                    <a:pt x="82" y="310"/>
                  </a:lnTo>
                  <a:lnTo>
                    <a:pt x="82" y="314"/>
                  </a:lnTo>
                  <a:lnTo>
                    <a:pt x="82" y="310"/>
                  </a:lnTo>
                  <a:lnTo>
                    <a:pt x="86" y="310"/>
                  </a:lnTo>
                  <a:lnTo>
                    <a:pt x="86" y="314"/>
                  </a:lnTo>
                  <a:lnTo>
                    <a:pt x="86" y="314"/>
                  </a:lnTo>
                  <a:lnTo>
                    <a:pt x="86" y="314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54" name="Freeform 43">
              <a:extLst>
                <a:ext uri="{FF2B5EF4-FFF2-40B4-BE49-F238E27FC236}">
                  <a16:creationId xmlns:a16="http://schemas.microsoft.com/office/drawing/2014/main" id="{159BE233-24D5-1910-54E0-7D2C6C3DABA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8515" y="3171819"/>
              <a:ext cx="225994" cy="139528"/>
            </a:xfrm>
            <a:custGeom>
              <a:avLst/>
              <a:gdLst>
                <a:gd name="T0" fmla="*/ 34 w 116"/>
                <a:gd name="T1" fmla="*/ 48 h 74"/>
                <a:gd name="T2" fmla="*/ 30 w 116"/>
                <a:gd name="T3" fmla="*/ 44 h 74"/>
                <a:gd name="T4" fmla="*/ 26 w 116"/>
                <a:gd name="T5" fmla="*/ 44 h 74"/>
                <a:gd name="T6" fmla="*/ 20 w 116"/>
                <a:gd name="T7" fmla="*/ 40 h 74"/>
                <a:gd name="T8" fmla="*/ 16 w 116"/>
                <a:gd name="T9" fmla="*/ 36 h 74"/>
                <a:gd name="T10" fmla="*/ 8 w 116"/>
                <a:gd name="T11" fmla="*/ 30 h 74"/>
                <a:gd name="T12" fmla="*/ 4 w 116"/>
                <a:gd name="T13" fmla="*/ 30 h 74"/>
                <a:gd name="T14" fmla="*/ 0 w 116"/>
                <a:gd name="T15" fmla="*/ 22 h 74"/>
                <a:gd name="T16" fmla="*/ 0 w 116"/>
                <a:gd name="T17" fmla="*/ 18 h 74"/>
                <a:gd name="T18" fmla="*/ 4 w 116"/>
                <a:gd name="T19" fmla="*/ 14 h 74"/>
                <a:gd name="T20" fmla="*/ 8 w 116"/>
                <a:gd name="T21" fmla="*/ 10 h 74"/>
                <a:gd name="T22" fmla="*/ 8 w 116"/>
                <a:gd name="T23" fmla="*/ 6 h 74"/>
                <a:gd name="T24" fmla="*/ 16 w 116"/>
                <a:gd name="T25" fmla="*/ 4 h 74"/>
                <a:gd name="T26" fmla="*/ 16 w 116"/>
                <a:gd name="T27" fmla="*/ 6 h 74"/>
                <a:gd name="T28" fmla="*/ 20 w 116"/>
                <a:gd name="T29" fmla="*/ 0 h 74"/>
                <a:gd name="T30" fmla="*/ 20 w 116"/>
                <a:gd name="T31" fmla="*/ 0 h 74"/>
                <a:gd name="T32" fmla="*/ 26 w 116"/>
                <a:gd name="T33" fmla="*/ 0 h 74"/>
                <a:gd name="T34" fmla="*/ 34 w 116"/>
                <a:gd name="T35" fmla="*/ 6 h 74"/>
                <a:gd name="T36" fmla="*/ 42 w 116"/>
                <a:gd name="T37" fmla="*/ 10 h 74"/>
                <a:gd name="T38" fmla="*/ 46 w 116"/>
                <a:gd name="T39" fmla="*/ 14 h 74"/>
                <a:gd name="T40" fmla="*/ 48 w 116"/>
                <a:gd name="T41" fmla="*/ 22 h 74"/>
                <a:gd name="T42" fmla="*/ 52 w 116"/>
                <a:gd name="T43" fmla="*/ 22 h 74"/>
                <a:gd name="T44" fmla="*/ 56 w 116"/>
                <a:gd name="T45" fmla="*/ 22 h 74"/>
                <a:gd name="T46" fmla="*/ 60 w 116"/>
                <a:gd name="T47" fmla="*/ 26 h 74"/>
                <a:gd name="T48" fmla="*/ 64 w 116"/>
                <a:gd name="T49" fmla="*/ 30 h 74"/>
                <a:gd name="T50" fmla="*/ 68 w 116"/>
                <a:gd name="T51" fmla="*/ 32 h 74"/>
                <a:gd name="T52" fmla="*/ 72 w 116"/>
                <a:gd name="T53" fmla="*/ 32 h 74"/>
                <a:gd name="T54" fmla="*/ 72 w 116"/>
                <a:gd name="T55" fmla="*/ 36 h 74"/>
                <a:gd name="T56" fmla="*/ 74 w 116"/>
                <a:gd name="T57" fmla="*/ 36 h 74"/>
                <a:gd name="T58" fmla="*/ 82 w 116"/>
                <a:gd name="T59" fmla="*/ 40 h 74"/>
                <a:gd name="T60" fmla="*/ 82 w 116"/>
                <a:gd name="T61" fmla="*/ 44 h 74"/>
                <a:gd name="T62" fmla="*/ 86 w 116"/>
                <a:gd name="T63" fmla="*/ 40 h 74"/>
                <a:gd name="T64" fmla="*/ 90 w 116"/>
                <a:gd name="T65" fmla="*/ 44 h 74"/>
                <a:gd name="T66" fmla="*/ 94 w 116"/>
                <a:gd name="T67" fmla="*/ 40 h 74"/>
                <a:gd name="T68" fmla="*/ 98 w 116"/>
                <a:gd name="T69" fmla="*/ 44 h 74"/>
                <a:gd name="T70" fmla="*/ 100 w 116"/>
                <a:gd name="T71" fmla="*/ 44 h 74"/>
                <a:gd name="T72" fmla="*/ 108 w 116"/>
                <a:gd name="T73" fmla="*/ 48 h 74"/>
                <a:gd name="T74" fmla="*/ 108 w 116"/>
                <a:gd name="T75" fmla="*/ 44 h 74"/>
                <a:gd name="T76" fmla="*/ 112 w 116"/>
                <a:gd name="T77" fmla="*/ 44 h 74"/>
                <a:gd name="T78" fmla="*/ 116 w 116"/>
                <a:gd name="T79" fmla="*/ 48 h 74"/>
                <a:gd name="T80" fmla="*/ 112 w 116"/>
                <a:gd name="T81" fmla="*/ 56 h 74"/>
                <a:gd name="T82" fmla="*/ 112 w 116"/>
                <a:gd name="T83" fmla="*/ 62 h 74"/>
                <a:gd name="T84" fmla="*/ 112 w 116"/>
                <a:gd name="T85" fmla="*/ 70 h 74"/>
                <a:gd name="T86" fmla="*/ 112 w 116"/>
                <a:gd name="T87" fmla="*/ 70 h 74"/>
                <a:gd name="T88" fmla="*/ 108 w 116"/>
                <a:gd name="T89" fmla="*/ 70 h 74"/>
                <a:gd name="T90" fmla="*/ 104 w 116"/>
                <a:gd name="T91" fmla="*/ 70 h 74"/>
                <a:gd name="T92" fmla="*/ 98 w 116"/>
                <a:gd name="T93" fmla="*/ 70 h 74"/>
                <a:gd name="T94" fmla="*/ 90 w 116"/>
                <a:gd name="T95" fmla="*/ 70 h 74"/>
                <a:gd name="T96" fmla="*/ 86 w 116"/>
                <a:gd name="T97" fmla="*/ 66 h 74"/>
                <a:gd name="T98" fmla="*/ 78 w 116"/>
                <a:gd name="T99" fmla="*/ 66 h 74"/>
                <a:gd name="T100" fmla="*/ 78 w 116"/>
                <a:gd name="T101" fmla="*/ 62 h 74"/>
                <a:gd name="T102" fmla="*/ 74 w 116"/>
                <a:gd name="T103" fmla="*/ 66 h 74"/>
                <a:gd name="T104" fmla="*/ 68 w 116"/>
                <a:gd name="T105" fmla="*/ 60 h 74"/>
                <a:gd name="T106" fmla="*/ 64 w 116"/>
                <a:gd name="T107" fmla="*/ 60 h 74"/>
                <a:gd name="T108" fmla="*/ 64 w 116"/>
                <a:gd name="T109" fmla="*/ 56 h 74"/>
                <a:gd name="T110" fmla="*/ 56 w 116"/>
                <a:gd name="T111" fmla="*/ 52 h 74"/>
                <a:gd name="T112" fmla="*/ 52 w 116"/>
                <a:gd name="T113" fmla="*/ 56 h 74"/>
                <a:gd name="T114" fmla="*/ 48 w 116"/>
                <a:gd name="T115" fmla="*/ 52 h 74"/>
                <a:gd name="T116" fmla="*/ 46 w 116"/>
                <a:gd name="T117" fmla="*/ 56 h 74"/>
                <a:gd name="T118" fmla="*/ 46 w 116"/>
                <a:gd name="T119" fmla="*/ 52 h 74"/>
                <a:gd name="T120" fmla="*/ 38 w 116"/>
                <a:gd name="T121" fmla="*/ 52 h 74"/>
                <a:gd name="T122" fmla="*/ 38 w 116"/>
                <a:gd name="T123" fmla="*/ 4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6" h="74">
                  <a:moveTo>
                    <a:pt x="38" y="48"/>
                  </a:moveTo>
                  <a:lnTo>
                    <a:pt x="38" y="48"/>
                  </a:lnTo>
                  <a:lnTo>
                    <a:pt x="38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0" y="18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8" y="10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30" y="4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8" y="18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60" y="22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30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0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6" y="44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8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2" y="52"/>
                  </a:lnTo>
                  <a:lnTo>
                    <a:pt x="112" y="52"/>
                  </a:lnTo>
                  <a:lnTo>
                    <a:pt x="112" y="52"/>
                  </a:lnTo>
                  <a:lnTo>
                    <a:pt x="112" y="52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62"/>
                  </a:lnTo>
                  <a:lnTo>
                    <a:pt x="116" y="62"/>
                  </a:lnTo>
                  <a:lnTo>
                    <a:pt x="116" y="66"/>
                  </a:lnTo>
                  <a:lnTo>
                    <a:pt x="116" y="66"/>
                  </a:lnTo>
                  <a:lnTo>
                    <a:pt x="116" y="66"/>
                  </a:lnTo>
                  <a:lnTo>
                    <a:pt x="116" y="66"/>
                  </a:lnTo>
                  <a:lnTo>
                    <a:pt x="112" y="70"/>
                  </a:lnTo>
                  <a:lnTo>
                    <a:pt x="112" y="70"/>
                  </a:lnTo>
                  <a:lnTo>
                    <a:pt x="112" y="70"/>
                  </a:lnTo>
                  <a:lnTo>
                    <a:pt x="112" y="70"/>
                  </a:lnTo>
                  <a:lnTo>
                    <a:pt x="112" y="74"/>
                  </a:lnTo>
                  <a:lnTo>
                    <a:pt x="112" y="70"/>
                  </a:lnTo>
                  <a:lnTo>
                    <a:pt x="112" y="70"/>
                  </a:lnTo>
                  <a:lnTo>
                    <a:pt x="112" y="70"/>
                  </a:lnTo>
                  <a:lnTo>
                    <a:pt x="112" y="70"/>
                  </a:lnTo>
                  <a:lnTo>
                    <a:pt x="108" y="70"/>
                  </a:lnTo>
                  <a:lnTo>
                    <a:pt x="108" y="70"/>
                  </a:lnTo>
                  <a:lnTo>
                    <a:pt x="108" y="70"/>
                  </a:lnTo>
                  <a:lnTo>
                    <a:pt x="108" y="70"/>
                  </a:lnTo>
                  <a:lnTo>
                    <a:pt x="104" y="70"/>
                  </a:lnTo>
                  <a:lnTo>
                    <a:pt x="104" y="70"/>
                  </a:lnTo>
                  <a:lnTo>
                    <a:pt x="104" y="70"/>
                  </a:lnTo>
                  <a:lnTo>
                    <a:pt x="104" y="70"/>
                  </a:lnTo>
                  <a:lnTo>
                    <a:pt x="104" y="70"/>
                  </a:lnTo>
                  <a:lnTo>
                    <a:pt x="104" y="70"/>
                  </a:lnTo>
                  <a:lnTo>
                    <a:pt x="100" y="74"/>
                  </a:lnTo>
                  <a:lnTo>
                    <a:pt x="100" y="70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4" y="70"/>
                  </a:lnTo>
                  <a:lnTo>
                    <a:pt x="94" y="70"/>
                  </a:lnTo>
                  <a:lnTo>
                    <a:pt x="94" y="70"/>
                  </a:lnTo>
                  <a:lnTo>
                    <a:pt x="90" y="70"/>
                  </a:lnTo>
                  <a:lnTo>
                    <a:pt x="90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82" y="70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4" y="62"/>
                  </a:lnTo>
                  <a:lnTo>
                    <a:pt x="74" y="66"/>
                  </a:lnTo>
                  <a:lnTo>
                    <a:pt x="74" y="66"/>
                  </a:lnTo>
                  <a:lnTo>
                    <a:pt x="74" y="66"/>
                  </a:lnTo>
                  <a:lnTo>
                    <a:pt x="74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2" y="62"/>
                  </a:lnTo>
                  <a:lnTo>
                    <a:pt x="68" y="62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6" y="52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6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8" y="4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55" name="Freeform 44">
              <a:extLst>
                <a:ext uri="{FF2B5EF4-FFF2-40B4-BE49-F238E27FC236}">
                  <a16:creationId xmlns:a16="http://schemas.microsoft.com/office/drawing/2014/main" id="{D18C3CC1-7067-0A66-14F2-43224C4CA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8101" y="2723069"/>
              <a:ext cx="175340" cy="188551"/>
            </a:xfrm>
            <a:custGeom>
              <a:avLst/>
              <a:gdLst>
                <a:gd name="T0" fmla="*/ 46 w 90"/>
                <a:gd name="T1" fmla="*/ 72 h 100"/>
                <a:gd name="T2" fmla="*/ 52 w 90"/>
                <a:gd name="T3" fmla="*/ 76 h 100"/>
                <a:gd name="T4" fmla="*/ 56 w 90"/>
                <a:gd name="T5" fmla="*/ 80 h 100"/>
                <a:gd name="T6" fmla="*/ 56 w 90"/>
                <a:gd name="T7" fmla="*/ 84 h 100"/>
                <a:gd name="T8" fmla="*/ 56 w 90"/>
                <a:gd name="T9" fmla="*/ 88 h 100"/>
                <a:gd name="T10" fmla="*/ 52 w 90"/>
                <a:gd name="T11" fmla="*/ 88 h 100"/>
                <a:gd name="T12" fmla="*/ 42 w 90"/>
                <a:gd name="T13" fmla="*/ 88 h 100"/>
                <a:gd name="T14" fmla="*/ 38 w 90"/>
                <a:gd name="T15" fmla="*/ 92 h 100"/>
                <a:gd name="T16" fmla="*/ 34 w 90"/>
                <a:gd name="T17" fmla="*/ 100 h 100"/>
                <a:gd name="T18" fmla="*/ 26 w 90"/>
                <a:gd name="T19" fmla="*/ 96 h 100"/>
                <a:gd name="T20" fmla="*/ 22 w 90"/>
                <a:gd name="T21" fmla="*/ 100 h 100"/>
                <a:gd name="T22" fmla="*/ 20 w 90"/>
                <a:gd name="T23" fmla="*/ 96 h 100"/>
                <a:gd name="T24" fmla="*/ 20 w 90"/>
                <a:gd name="T25" fmla="*/ 96 h 100"/>
                <a:gd name="T26" fmla="*/ 16 w 90"/>
                <a:gd name="T27" fmla="*/ 100 h 100"/>
                <a:gd name="T28" fmla="*/ 16 w 90"/>
                <a:gd name="T29" fmla="*/ 96 h 100"/>
                <a:gd name="T30" fmla="*/ 12 w 90"/>
                <a:gd name="T31" fmla="*/ 96 h 100"/>
                <a:gd name="T32" fmla="*/ 12 w 90"/>
                <a:gd name="T33" fmla="*/ 96 h 100"/>
                <a:gd name="T34" fmla="*/ 12 w 90"/>
                <a:gd name="T35" fmla="*/ 92 h 100"/>
                <a:gd name="T36" fmla="*/ 4 w 90"/>
                <a:gd name="T37" fmla="*/ 92 h 100"/>
                <a:gd name="T38" fmla="*/ 8 w 90"/>
                <a:gd name="T39" fmla="*/ 84 h 100"/>
                <a:gd name="T40" fmla="*/ 16 w 90"/>
                <a:gd name="T41" fmla="*/ 80 h 100"/>
                <a:gd name="T42" fmla="*/ 20 w 90"/>
                <a:gd name="T43" fmla="*/ 84 h 100"/>
                <a:gd name="T44" fmla="*/ 12 w 90"/>
                <a:gd name="T45" fmla="*/ 80 h 100"/>
                <a:gd name="T46" fmla="*/ 12 w 90"/>
                <a:gd name="T47" fmla="*/ 72 h 100"/>
                <a:gd name="T48" fmla="*/ 16 w 90"/>
                <a:gd name="T49" fmla="*/ 70 h 100"/>
                <a:gd name="T50" fmla="*/ 16 w 90"/>
                <a:gd name="T51" fmla="*/ 66 h 100"/>
                <a:gd name="T52" fmla="*/ 4 w 90"/>
                <a:gd name="T53" fmla="*/ 62 h 100"/>
                <a:gd name="T54" fmla="*/ 4 w 90"/>
                <a:gd name="T55" fmla="*/ 58 h 100"/>
                <a:gd name="T56" fmla="*/ 0 w 90"/>
                <a:gd name="T57" fmla="*/ 54 h 100"/>
                <a:gd name="T58" fmla="*/ 4 w 90"/>
                <a:gd name="T59" fmla="*/ 50 h 100"/>
                <a:gd name="T60" fmla="*/ 12 w 90"/>
                <a:gd name="T61" fmla="*/ 44 h 100"/>
                <a:gd name="T62" fmla="*/ 20 w 90"/>
                <a:gd name="T63" fmla="*/ 44 h 100"/>
                <a:gd name="T64" fmla="*/ 26 w 90"/>
                <a:gd name="T65" fmla="*/ 32 h 100"/>
                <a:gd name="T66" fmla="*/ 30 w 90"/>
                <a:gd name="T67" fmla="*/ 28 h 100"/>
                <a:gd name="T68" fmla="*/ 34 w 90"/>
                <a:gd name="T69" fmla="*/ 24 h 100"/>
                <a:gd name="T70" fmla="*/ 38 w 90"/>
                <a:gd name="T71" fmla="*/ 24 h 100"/>
                <a:gd name="T72" fmla="*/ 48 w 90"/>
                <a:gd name="T73" fmla="*/ 28 h 100"/>
                <a:gd name="T74" fmla="*/ 52 w 90"/>
                <a:gd name="T75" fmla="*/ 28 h 100"/>
                <a:gd name="T76" fmla="*/ 56 w 90"/>
                <a:gd name="T77" fmla="*/ 24 h 100"/>
                <a:gd name="T78" fmla="*/ 56 w 90"/>
                <a:gd name="T79" fmla="*/ 16 h 100"/>
                <a:gd name="T80" fmla="*/ 60 w 90"/>
                <a:gd name="T81" fmla="*/ 16 h 100"/>
                <a:gd name="T82" fmla="*/ 68 w 90"/>
                <a:gd name="T83" fmla="*/ 16 h 100"/>
                <a:gd name="T84" fmla="*/ 72 w 90"/>
                <a:gd name="T85" fmla="*/ 10 h 100"/>
                <a:gd name="T86" fmla="*/ 74 w 90"/>
                <a:gd name="T87" fmla="*/ 6 h 100"/>
                <a:gd name="T88" fmla="*/ 78 w 90"/>
                <a:gd name="T89" fmla="*/ 0 h 100"/>
                <a:gd name="T90" fmla="*/ 82 w 90"/>
                <a:gd name="T91" fmla="*/ 2 h 100"/>
                <a:gd name="T92" fmla="*/ 90 w 90"/>
                <a:gd name="T93" fmla="*/ 10 h 100"/>
                <a:gd name="T94" fmla="*/ 90 w 90"/>
                <a:gd name="T95" fmla="*/ 14 h 100"/>
                <a:gd name="T96" fmla="*/ 82 w 90"/>
                <a:gd name="T97" fmla="*/ 16 h 100"/>
                <a:gd name="T98" fmla="*/ 74 w 90"/>
                <a:gd name="T99" fmla="*/ 24 h 100"/>
                <a:gd name="T100" fmla="*/ 74 w 90"/>
                <a:gd name="T101" fmla="*/ 28 h 100"/>
                <a:gd name="T102" fmla="*/ 74 w 90"/>
                <a:gd name="T103" fmla="*/ 36 h 100"/>
                <a:gd name="T104" fmla="*/ 74 w 90"/>
                <a:gd name="T105" fmla="*/ 40 h 100"/>
                <a:gd name="T106" fmla="*/ 68 w 90"/>
                <a:gd name="T107" fmla="*/ 46 h 100"/>
                <a:gd name="T108" fmla="*/ 64 w 90"/>
                <a:gd name="T109" fmla="*/ 46 h 100"/>
                <a:gd name="T110" fmla="*/ 52 w 90"/>
                <a:gd name="T111" fmla="*/ 54 h 100"/>
                <a:gd name="T112" fmla="*/ 48 w 90"/>
                <a:gd name="T113" fmla="*/ 58 h 100"/>
                <a:gd name="T114" fmla="*/ 46 w 90"/>
                <a:gd name="T115" fmla="*/ 66 h 100"/>
                <a:gd name="T116" fmla="*/ 46 w 90"/>
                <a:gd name="T117" fmla="*/ 7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" h="100">
                  <a:moveTo>
                    <a:pt x="46" y="70"/>
                  </a:moveTo>
                  <a:lnTo>
                    <a:pt x="46" y="70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2" y="72"/>
                  </a:lnTo>
                  <a:lnTo>
                    <a:pt x="46" y="72"/>
                  </a:lnTo>
                  <a:lnTo>
                    <a:pt x="46" y="72"/>
                  </a:lnTo>
                  <a:lnTo>
                    <a:pt x="46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48" y="88"/>
                  </a:lnTo>
                  <a:lnTo>
                    <a:pt x="46" y="88"/>
                  </a:lnTo>
                  <a:lnTo>
                    <a:pt x="46" y="88"/>
                  </a:lnTo>
                  <a:lnTo>
                    <a:pt x="46" y="88"/>
                  </a:lnTo>
                  <a:lnTo>
                    <a:pt x="42" y="88"/>
                  </a:lnTo>
                  <a:lnTo>
                    <a:pt x="42" y="88"/>
                  </a:lnTo>
                  <a:lnTo>
                    <a:pt x="42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92"/>
                  </a:lnTo>
                  <a:lnTo>
                    <a:pt x="38" y="92"/>
                  </a:lnTo>
                  <a:lnTo>
                    <a:pt x="38" y="92"/>
                  </a:lnTo>
                  <a:lnTo>
                    <a:pt x="38" y="92"/>
                  </a:lnTo>
                  <a:lnTo>
                    <a:pt x="38" y="92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4" y="100"/>
                  </a:lnTo>
                  <a:lnTo>
                    <a:pt x="34" y="100"/>
                  </a:lnTo>
                  <a:lnTo>
                    <a:pt x="30" y="100"/>
                  </a:lnTo>
                  <a:lnTo>
                    <a:pt x="30" y="100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26" y="96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2" y="100"/>
                  </a:lnTo>
                  <a:lnTo>
                    <a:pt x="22" y="96"/>
                  </a:lnTo>
                  <a:lnTo>
                    <a:pt x="22" y="96"/>
                  </a:lnTo>
                  <a:lnTo>
                    <a:pt x="22" y="96"/>
                  </a:lnTo>
                  <a:lnTo>
                    <a:pt x="22" y="96"/>
                  </a:lnTo>
                  <a:lnTo>
                    <a:pt x="22" y="100"/>
                  </a:lnTo>
                  <a:lnTo>
                    <a:pt x="22" y="100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2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6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2" y="46"/>
                  </a:lnTo>
                  <a:lnTo>
                    <a:pt x="8" y="46"/>
                  </a:lnTo>
                  <a:lnTo>
                    <a:pt x="12" y="4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6" y="36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42" y="24"/>
                  </a:lnTo>
                  <a:lnTo>
                    <a:pt x="42" y="28"/>
                  </a:lnTo>
                  <a:lnTo>
                    <a:pt x="46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2"/>
                  </a:lnTo>
                  <a:lnTo>
                    <a:pt x="78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86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2" y="14"/>
                  </a:lnTo>
                  <a:lnTo>
                    <a:pt x="82" y="16"/>
                  </a:lnTo>
                  <a:lnTo>
                    <a:pt x="78" y="16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4" y="20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4" y="28"/>
                  </a:lnTo>
                  <a:lnTo>
                    <a:pt x="74" y="28"/>
                  </a:lnTo>
                  <a:lnTo>
                    <a:pt x="74" y="28"/>
                  </a:lnTo>
                  <a:lnTo>
                    <a:pt x="74" y="28"/>
                  </a:lnTo>
                  <a:lnTo>
                    <a:pt x="74" y="28"/>
                  </a:lnTo>
                  <a:lnTo>
                    <a:pt x="78" y="28"/>
                  </a:lnTo>
                  <a:lnTo>
                    <a:pt x="78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4" y="46"/>
                  </a:lnTo>
                  <a:lnTo>
                    <a:pt x="64" y="46"/>
                  </a:lnTo>
                  <a:lnTo>
                    <a:pt x="64" y="46"/>
                  </a:lnTo>
                  <a:lnTo>
                    <a:pt x="64" y="46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0" y="50"/>
                  </a:lnTo>
                  <a:lnTo>
                    <a:pt x="60" y="54"/>
                  </a:lnTo>
                  <a:lnTo>
                    <a:pt x="56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6" y="58"/>
                  </a:lnTo>
                  <a:lnTo>
                    <a:pt x="46" y="62"/>
                  </a:lnTo>
                  <a:lnTo>
                    <a:pt x="46" y="62"/>
                  </a:lnTo>
                  <a:lnTo>
                    <a:pt x="46" y="62"/>
                  </a:lnTo>
                  <a:lnTo>
                    <a:pt x="46" y="62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70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56" name="Freeform 45">
              <a:extLst>
                <a:ext uri="{FF2B5EF4-FFF2-40B4-BE49-F238E27FC236}">
                  <a16:creationId xmlns:a16="http://schemas.microsoft.com/office/drawing/2014/main" id="{514B96F9-3F55-EB22-5377-455E20AB9E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23123" y="3311347"/>
              <a:ext cx="218201" cy="324307"/>
            </a:xfrm>
            <a:custGeom>
              <a:avLst/>
              <a:gdLst>
                <a:gd name="T0" fmla="*/ 62 w 112"/>
                <a:gd name="T1" fmla="*/ 0 h 172"/>
                <a:gd name="T2" fmla="*/ 62 w 112"/>
                <a:gd name="T3" fmla="*/ 8 h 172"/>
                <a:gd name="T4" fmla="*/ 60 w 112"/>
                <a:gd name="T5" fmla="*/ 12 h 172"/>
                <a:gd name="T6" fmla="*/ 60 w 112"/>
                <a:gd name="T7" fmla="*/ 4 h 172"/>
                <a:gd name="T8" fmla="*/ 60 w 112"/>
                <a:gd name="T9" fmla="*/ 0 h 172"/>
                <a:gd name="T10" fmla="*/ 62 w 112"/>
                <a:gd name="T11" fmla="*/ 0 h 172"/>
                <a:gd name="T12" fmla="*/ 48 w 112"/>
                <a:gd name="T13" fmla="*/ 90 h 172"/>
                <a:gd name="T14" fmla="*/ 48 w 112"/>
                <a:gd name="T15" fmla="*/ 60 h 172"/>
                <a:gd name="T16" fmla="*/ 48 w 112"/>
                <a:gd name="T17" fmla="*/ 52 h 172"/>
                <a:gd name="T18" fmla="*/ 52 w 112"/>
                <a:gd name="T19" fmla="*/ 42 h 172"/>
                <a:gd name="T20" fmla="*/ 56 w 112"/>
                <a:gd name="T21" fmla="*/ 38 h 172"/>
                <a:gd name="T22" fmla="*/ 56 w 112"/>
                <a:gd name="T23" fmla="*/ 30 h 172"/>
                <a:gd name="T24" fmla="*/ 56 w 112"/>
                <a:gd name="T25" fmla="*/ 26 h 172"/>
                <a:gd name="T26" fmla="*/ 60 w 112"/>
                <a:gd name="T27" fmla="*/ 22 h 172"/>
                <a:gd name="T28" fmla="*/ 60 w 112"/>
                <a:gd name="T29" fmla="*/ 26 h 172"/>
                <a:gd name="T30" fmla="*/ 62 w 112"/>
                <a:gd name="T31" fmla="*/ 26 h 172"/>
                <a:gd name="T32" fmla="*/ 62 w 112"/>
                <a:gd name="T33" fmla="*/ 22 h 172"/>
                <a:gd name="T34" fmla="*/ 66 w 112"/>
                <a:gd name="T35" fmla="*/ 30 h 172"/>
                <a:gd name="T36" fmla="*/ 70 w 112"/>
                <a:gd name="T37" fmla="*/ 38 h 172"/>
                <a:gd name="T38" fmla="*/ 74 w 112"/>
                <a:gd name="T39" fmla="*/ 42 h 172"/>
                <a:gd name="T40" fmla="*/ 86 w 112"/>
                <a:gd name="T41" fmla="*/ 44 h 172"/>
                <a:gd name="T42" fmla="*/ 88 w 112"/>
                <a:gd name="T43" fmla="*/ 48 h 172"/>
                <a:gd name="T44" fmla="*/ 92 w 112"/>
                <a:gd name="T45" fmla="*/ 48 h 172"/>
                <a:gd name="T46" fmla="*/ 100 w 112"/>
                <a:gd name="T47" fmla="*/ 56 h 172"/>
                <a:gd name="T48" fmla="*/ 104 w 112"/>
                <a:gd name="T49" fmla="*/ 60 h 172"/>
                <a:gd name="T50" fmla="*/ 108 w 112"/>
                <a:gd name="T51" fmla="*/ 68 h 172"/>
                <a:gd name="T52" fmla="*/ 112 w 112"/>
                <a:gd name="T53" fmla="*/ 72 h 172"/>
                <a:gd name="T54" fmla="*/ 108 w 112"/>
                <a:gd name="T55" fmla="*/ 78 h 172"/>
                <a:gd name="T56" fmla="*/ 104 w 112"/>
                <a:gd name="T57" fmla="*/ 86 h 172"/>
                <a:gd name="T58" fmla="*/ 96 w 112"/>
                <a:gd name="T59" fmla="*/ 94 h 172"/>
                <a:gd name="T60" fmla="*/ 92 w 112"/>
                <a:gd name="T61" fmla="*/ 102 h 172"/>
                <a:gd name="T62" fmla="*/ 88 w 112"/>
                <a:gd name="T63" fmla="*/ 104 h 172"/>
                <a:gd name="T64" fmla="*/ 88 w 112"/>
                <a:gd name="T65" fmla="*/ 102 h 172"/>
                <a:gd name="T66" fmla="*/ 86 w 112"/>
                <a:gd name="T67" fmla="*/ 108 h 172"/>
                <a:gd name="T68" fmla="*/ 82 w 112"/>
                <a:gd name="T69" fmla="*/ 116 h 172"/>
                <a:gd name="T70" fmla="*/ 82 w 112"/>
                <a:gd name="T71" fmla="*/ 122 h 172"/>
                <a:gd name="T72" fmla="*/ 82 w 112"/>
                <a:gd name="T73" fmla="*/ 130 h 172"/>
                <a:gd name="T74" fmla="*/ 74 w 112"/>
                <a:gd name="T75" fmla="*/ 130 h 172"/>
                <a:gd name="T76" fmla="*/ 70 w 112"/>
                <a:gd name="T77" fmla="*/ 134 h 172"/>
                <a:gd name="T78" fmla="*/ 66 w 112"/>
                <a:gd name="T79" fmla="*/ 142 h 172"/>
                <a:gd name="T80" fmla="*/ 62 w 112"/>
                <a:gd name="T81" fmla="*/ 144 h 172"/>
                <a:gd name="T82" fmla="*/ 60 w 112"/>
                <a:gd name="T83" fmla="*/ 148 h 172"/>
                <a:gd name="T84" fmla="*/ 52 w 112"/>
                <a:gd name="T85" fmla="*/ 148 h 172"/>
                <a:gd name="T86" fmla="*/ 48 w 112"/>
                <a:gd name="T87" fmla="*/ 152 h 172"/>
                <a:gd name="T88" fmla="*/ 48 w 112"/>
                <a:gd name="T89" fmla="*/ 156 h 172"/>
                <a:gd name="T90" fmla="*/ 44 w 112"/>
                <a:gd name="T91" fmla="*/ 164 h 172"/>
                <a:gd name="T92" fmla="*/ 36 w 112"/>
                <a:gd name="T93" fmla="*/ 164 h 172"/>
                <a:gd name="T94" fmla="*/ 30 w 112"/>
                <a:gd name="T95" fmla="*/ 164 h 172"/>
                <a:gd name="T96" fmla="*/ 22 w 112"/>
                <a:gd name="T97" fmla="*/ 168 h 172"/>
                <a:gd name="T98" fmla="*/ 10 w 112"/>
                <a:gd name="T99" fmla="*/ 160 h 172"/>
                <a:gd name="T100" fmla="*/ 96 w 112"/>
                <a:gd name="T101" fmla="*/ 108 h 172"/>
                <a:gd name="T102" fmla="*/ 96 w 112"/>
                <a:gd name="T103" fmla="*/ 104 h 172"/>
                <a:gd name="T104" fmla="*/ 96 w 112"/>
                <a:gd name="T105" fmla="*/ 104 h 172"/>
                <a:gd name="T106" fmla="*/ 100 w 112"/>
                <a:gd name="T107" fmla="*/ 104 h 172"/>
                <a:gd name="T108" fmla="*/ 96 w 112"/>
                <a:gd name="T109" fmla="*/ 104 h 172"/>
                <a:gd name="T110" fmla="*/ 96 w 112"/>
                <a:gd name="T111" fmla="*/ 108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2" h="172">
                  <a:moveTo>
                    <a:pt x="62" y="0"/>
                  </a:move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4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close/>
                  <a:moveTo>
                    <a:pt x="48" y="90"/>
                  </a:moveTo>
                  <a:lnTo>
                    <a:pt x="52" y="74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48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56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6"/>
                  </a:lnTo>
                  <a:lnTo>
                    <a:pt x="62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70" y="34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0" y="42"/>
                  </a:lnTo>
                  <a:lnTo>
                    <a:pt x="74" y="42"/>
                  </a:lnTo>
                  <a:lnTo>
                    <a:pt x="74" y="42"/>
                  </a:lnTo>
                  <a:lnTo>
                    <a:pt x="74" y="42"/>
                  </a:lnTo>
                  <a:lnTo>
                    <a:pt x="78" y="44"/>
                  </a:lnTo>
                  <a:lnTo>
                    <a:pt x="82" y="44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72"/>
                  </a:lnTo>
                  <a:lnTo>
                    <a:pt x="112" y="72"/>
                  </a:lnTo>
                  <a:lnTo>
                    <a:pt x="112" y="72"/>
                  </a:lnTo>
                  <a:lnTo>
                    <a:pt x="112" y="74"/>
                  </a:lnTo>
                  <a:lnTo>
                    <a:pt x="112" y="74"/>
                  </a:lnTo>
                  <a:lnTo>
                    <a:pt x="108" y="78"/>
                  </a:lnTo>
                  <a:lnTo>
                    <a:pt x="108" y="78"/>
                  </a:lnTo>
                  <a:lnTo>
                    <a:pt x="108" y="78"/>
                  </a:lnTo>
                  <a:lnTo>
                    <a:pt x="108" y="78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04" y="86"/>
                  </a:lnTo>
                  <a:lnTo>
                    <a:pt x="104" y="86"/>
                  </a:lnTo>
                  <a:lnTo>
                    <a:pt x="104" y="86"/>
                  </a:lnTo>
                  <a:lnTo>
                    <a:pt x="104" y="86"/>
                  </a:lnTo>
                  <a:lnTo>
                    <a:pt x="104" y="90"/>
                  </a:lnTo>
                  <a:lnTo>
                    <a:pt x="100" y="90"/>
                  </a:lnTo>
                  <a:lnTo>
                    <a:pt x="100" y="94"/>
                  </a:lnTo>
                  <a:lnTo>
                    <a:pt x="96" y="94"/>
                  </a:lnTo>
                  <a:lnTo>
                    <a:pt x="96" y="94"/>
                  </a:lnTo>
                  <a:lnTo>
                    <a:pt x="96" y="94"/>
                  </a:lnTo>
                  <a:lnTo>
                    <a:pt x="96" y="98"/>
                  </a:lnTo>
                  <a:lnTo>
                    <a:pt x="96" y="98"/>
                  </a:lnTo>
                  <a:lnTo>
                    <a:pt x="96" y="98"/>
                  </a:lnTo>
                  <a:lnTo>
                    <a:pt x="96" y="98"/>
                  </a:lnTo>
                  <a:lnTo>
                    <a:pt x="96" y="102"/>
                  </a:lnTo>
                  <a:lnTo>
                    <a:pt x="92" y="102"/>
                  </a:lnTo>
                  <a:lnTo>
                    <a:pt x="92" y="102"/>
                  </a:lnTo>
                  <a:lnTo>
                    <a:pt x="92" y="102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2"/>
                  </a:lnTo>
                  <a:lnTo>
                    <a:pt x="88" y="102"/>
                  </a:lnTo>
                  <a:lnTo>
                    <a:pt x="88" y="102"/>
                  </a:lnTo>
                  <a:lnTo>
                    <a:pt x="88" y="102"/>
                  </a:lnTo>
                  <a:lnTo>
                    <a:pt x="88" y="102"/>
                  </a:lnTo>
                  <a:lnTo>
                    <a:pt x="86" y="102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6" y="108"/>
                  </a:lnTo>
                  <a:lnTo>
                    <a:pt x="82" y="108"/>
                  </a:lnTo>
                  <a:lnTo>
                    <a:pt x="82" y="108"/>
                  </a:lnTo>
                  <a:lnTo>
                    <a:pt x="82" y="108"/>
                  </a:lnTo>
                  <a:lnTo>
                    <a:pt x="82" y="108"/>
                  </a:lnTo>
                  <a:lnTo>
                    <a:pt x="82" y="108"/>
                  </a:lnTo>
                  <a:lnTo>
                    <a:pt x="82" y="112"/>
                  </a:lnTo>
                  <a:lnTo>
                    <a:pt x="82" y="116"/>
                  </a:lnTo>
                  <a:lnTo>
                    <a:pt x="82" y="116"/>
                  </a:lnTo>
                  <a:lnTo>
                    <a:pt x="82" y="116"/>
                  </a:lnTo>
                  <a:lnTo>
                    <a:pt x="82" y="116"/>
                  </a:lnTo>
                  <a:lnTo>
                    <a:pt x="82" y="116"/>
                  </a:lnTo>
                  <a:lnTo>
                    <a:pt x="82" y="118"/>
                  </a:lnTo>
                  <a:lnTo>
                    <a:pt x="82" y="122"/>
                  </a:lnTo>
                  <a:lnTo>
                    <a:pt x="82" y="122"/>
                  </a:lnTo>
                  <a:lnTo>
                    <a:pt x="82" y="122"/>
                  </a:lnTo>
                  <a:lnTo>
                    <a:pt x="82" y="122"/>
                  </a:lnTo>
                  <a:lnTo>
                    <a:pt x="82" y="122"/>
                  </a:lnTo>
                  <a:lnTo>
                    <a:pt x="82" y="122"/>
                  </a:lnTo>
                  <a:lnTo>
                    <a:pt x="82" y="126"/>
                  </a:lnTo>
                  <a:lnTo>
                    <a:pt x="82" y="130"/>
                  </a:lnTo>
                  <a:lnTo>
                    <a:pt x="82" y="130"/>
                  </a:lnTo>
                  <a:lnTo>
                    <a:pt x="82" y="130"/>
                  </a:lnTo>
                  <a:lnTo>
                    <a:pt x="82" y="130"/>
                  </a:lnTo>
                  <a:lnTo>
                    <a:pt x="82" y="130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8" y="130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0" y="130"/>
                  </a:lnTo>
                  <a:lnTo>
                    <a:pt x="70" y="134"/>
                  </a:lnTo>
                  <a:lnTo>
                    <a:pt x="70" y="134"/>
                  </a:lnTo>
                  <a:lnTo>
                    <a:pt x="70" y="134"/>
                  </a:lnTo>
                  <a:lnTo>
                    <a:pt x="70" y="134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66" y="138"/>
                  </a:lnTo>
                  <a:lnTo>
                    <a:pt x="66" y="138"/>
                  </a:lnTo>
                  <a:lnTo>
                    <a:pt x="66" y="138"/>
                  </a:lnTo>
                  <a:lnTo>
                    <a:pt x="66" y="138"/>
                  </a:lnTo>
                  <a:lnTo>
                    <a:pt x="66" y="142"/>
                  </a:lnTo>
                  <a:lnTo>
                    <a:pt x="66" y="142"/>
                  </a:lnTo>
                  <a:lnTo>
                    <a:pt x="66" y="142"/>
                  </a:lnTo>
                  <a:lnTo>
                    <a:pt x="66" y="142"/>
                  </a:lnTo>
                  <a:lnTo>
                    <a:pt x="66" y="144"/>
                  </a:lnTo>
                  <a:lnTo>
                    <a:pt x="66" y="144"/>
                  </a:lnTo>
                  <a:lnTo>
                    <a:pt x="62" y="144"/>
                  </a:lnTo>
                  <a:lnTo>
                    <a:pt x="62" y="144"/>
                  </a:lnTo>
                  <a:lnTo>
                    <a:pt x="62" y="144"/>
                  </a:lnTo>
                  <a:lnTo>
                    <a:pt x="62" y="144"/>
                  </a:lnTo>
                  <a:lnTo>
                    <a:pt x="62" y="148"/>
                  </a:lnTo>
                  <a:lnTo>
                    <a:pt x="62" y="148"/>
                  </a:lnTo>
                  <a:lnTo>
                    <a:pt x="62" y="148"/>
                  </a:lnTo>
                  <a:lnTo>
                    <a:pt x="62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56" y="148"/>
                  </a:lnTo>
                  <a:lnTo>
                    <a:pt x="56" y="148"/>
                  </a:lnTo>
                  <a:lnTo>
                    <a:pt x="56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48" y="148"/>
                  </a:lnTo>
                  <a:lnTo>
                    <a:pt x="48" y="148"/>
                  </a:lnTo>
                  <a:lnTo>
                    <a:pt x="48" y="148"/>
                  </a:lnTo>
                  <a:lnTo>
                    <a:pt x="48" y="148"/>
                  </a:lnTo>
                  <a:lnTo>
                    <a:pt x="48" y="152"/>
                  </a:lnTo>
                  <a:lnTo>
                    <a:pt x="48" y="152"/>
                  </a:lnTo>
                  <a:lnTo>
                    <a:pt x="48" y="152"/>
                  </a:lnTo>
                  <a:lnTo>
                    <a:pt x="48" y="152"/>
                  </a:lnTo>
                  <a:lnTo>
                    <a:pt x="48" y="152"/>
                  </a:lnTo>
                  <a:lnTo>
                    <a:pt x="48" y="152"/>
                  </a:lnTo>
                  <a:lnTo>
                    <a:pt x="48" y="156"/>
                  </a:lnTo>
                  <a:lnTo>
                    <a:pt x="48" y="156"/>
                  </a:lnTo>
                  <a:lnTo>
                    <a:pt x="48" y="156"/>
                  </a:lnTo>
                  <a:lnTo>
                    <a:pt x="48" y="156"/>
                  </a:lnTo>
                  <a:lnTo>
                    <a:pt x="48" y="156"/>
                  </a:lnTo>
                  <a:lnTo>
                    <a:pt x="48" y="156"/>
                  </a:lnTo>
                  <a:lnTo>
                    <a:pt x="48" y="160"/>
                  </a:lnTo>
                  <a:lnTo>
                    <a:pt x="48" y="160"/>
                  </a:lnTo>
                  <a:lnTo>
                    <a:pt x="44" y="164"/>
                  </a:lnTo>
                  <a:lnTo>
                    <a:pt x="44" y="164"/>
                  </a:lnTo>
                  <a:lnTo>
                    <a:pt x="44" y="164"/>
                  </a:lnTo>
                  <a:lnTo>
                    <a:pt x="44" y="164"/>
                  </a:lnTo>
                  <a:lnTo>
                    <a:pt x="40" y="164"/>
                  </a:lnTo>
                  <a:lnTo>
                    <a:pt x="40" y="164"/>
                  </a:lnTo>
                  <a:lnTo>
                    <a:pt x="40" y="164"/>
                  </a:lnTo>
                  <a:lnTo>
                    <a:pt x="40" y="164"/>
                  </a:lnTo>
                  <a:lnTo>
                    <a:pt x="40" y="164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30" y="164"/>
                  </a:lnTo>
                  <a:lnTo>
                    <a:pt x="30" y="164"/>
                  </a:lnTo>
                  <a:lnTo>
                    <a:pt x="30" y="164"/>
                  </a:lnTo>
                  <a:lnTo>
                    <a:pt x="26" y="168"/>
                  </a:lnTo>
                  <a:lnTo>
                    <a:pt x="26" y="168"/>
                  </a:lnTo>
                  <a:lnTo>
                    <a:pt x="26" y="168"/>
                  </a:lnTo>
                  <a:lnTo>
                    <a:pt x="26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18" y="168"/>
                  </a:lnTo>
                  <a:lnTo>
                    <a:pt x="18" y="172"/>
                  </a:lnTo>
                  <a:lnTo>
                    <a:pt x="18" y="172"/>
                  </a:lnTo>
                  <a:lnTo>
                    <a:pt x="18" y="172"/>
                  </a:lnTo>
                  <a:lnTo>
                    <a:pt x="10" y="160"/>
                  </a:lnTo>
                  <a:lnTo>
                    <a:pt x="10" y="156"/>
                  </a:lnTo>
                  <a:lnTo>
                    <a:pt x="0" y="130"/>
                  </a:lnTo>
                  <a:lnTo>
                    <a:pt x="44" y="112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90"/>
                  </a:lnTo>
                  <a:close/>
                  <a:moveTo>
                    <a:pt x="96" y="108"/>
                  </a:move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2"/>
                  </a:lnTo>
                  <a:lnTo>
                    <a:pt x="96" y="102"/>
                  </a:lnTo>
                  <a:lnTo>
                    <a:pt x="100" y="102"/>
                  </a:lnTo>
                  <a:lnTo>
                    <a:pt x="100" y="102"/>
                  </a:lnTo>
                  <a:lnTo>
                    <a:pt x="100" y="104"/>
                  </a:lnTo>
                  <a:lnTo>
                    <a:pt x="100" y="104"/>
                  </a:lnTo>
                  <a:lnTo>
                    <a:pt x="100" y="104"/>
                  </a:lnTo>
                  <a:lnTo>
                    <a:pt x="100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06" name="Freeform 46">
              <a:extLst>
                <a:ext uri="{FF2B5EF4-FFF2-40B4-BE49-F238E27FC236}">
                  <a16:creationId xmlns:a16="http://schemas.microsoft.com/office/drawing/2014/main" id="{315BDDFE-6B78-06BE-F2AE-C8A46FC057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8599" y="2938016"/>
              <a:ext cx="459780" cy="456293"/>
            </a:xfrm>
            <a:custGeom>
              <a:avLst/>
              <a:gdLst>
                <a:gd name="T0" fmla="*/ 54 w 236"/>
                <a:gd name="T1" fmla="*/ 138 h 242"/>
                <a:gd name="T2" fmla="*/ 76 w 236"/>
                <a:gd name="T3" fmla="*/ 134 h 242"/>
                <a:gd name="T4" fmla="*/ 80 w 236"/>
                <a:gd name="T5" fmla="*/ 120 h 242"/>
                <a:gd name="T6" fmla="*/ 86 w 236"/>
                <a:gd name="T7" fmla="*/ 108 h 242"/>
                <a:gd name="T8" fmla="*/ 98 w 236"/>
                <a:gd name="T9" fmla="*/ 100 h 242"/>
                <a:gd name="T10" fmla="*/ 116 w 236"/>
                <a:gd name="T11" fmla="*/ 100 h 242"/>
                <a:gd name="T12" fmla="*/ 120 w 236"/>
                <a:gd name="T13" fmla="*/ 82 h 242"/>
                <a:gd name="T14" fmla="*/ 128 w 236"/>
                <a:gd name="T15" fmla="*/ 74 h 242"/>
                <a:gd name="T16" fmla="*/ 132 w 236"/>
                <a:gd name="T17" fmla="*/ 60 h 242"/>
                <a:gd name="T18" fmla="*/ 142 w 236"/>
                <a:gd name="T19" fmla="*/ 56 h 242"/>
                <a:gd name="T20" fmla="*/ 146 w 236"/>
                <a:gd name="T21" fmla="*/ 44 h 242"/>
                <a:gd name="T22" fmla="*/ 154 w 236"/>
                <a:gd name="T23" fmla="*/ 26 h 242"/>
                <a:gd name="T24" fmla="*/ 146 w 236"/>
                <a:gd name="T25" fmla="*/ 14 h 242"/>
                <a:gd name="T26" fmla="*/ 166 w 236"/>
                <a:gd name="T27" fmla="*/ 4 h 242"/>
                <a:gd name="T28" fmla="*/ 188 w 236"/>
                <a:gd name="T29" fmla="*/ 4 h 242"/>
                <a:gd name="T30" fmla="*/ 206 w 236"/>
                <a:gd name="T31" fmla="*/ 4 h 242"/>
                <a:gd name="T32" fmla="*/ 212 w 236"/>
                <a:gd name="T33" fmla="*/ 14 h 242"/>
                <a:gd name="T34" fmla="*/ 224 w 236"/>
                <a:gd name="T35" fmla="*/ 22 h 242"/>
                <a:gd name="T36" fmla="*/ 236 w 236"/>
                <a:gd name="T37" fmla="*/ 34 h 242"/>
                <a:gd name="T38" fmla="*/ 228 w 236"/>
                <a:gd name="T39" fmla="*/ 36 h 242"/>
                <a:gd name="T40" fmla="*/ 216 w 236"/>
                <a:gd name="T41" fmla="*/ 44 h 242"/>
                <a:gd name="T42" fmla="*/ 196 w 236"/>
                <a:gd name="T43" fmla="*/ 44 h 242"/>
                <a:gd name="T44" fmla="*/ 188 w 236"/>
                <a:gd name="T45" fmla="*/ 48 h 242"/>
                <a:gd name="T46" fmla="*/ 188 w 236"/>
                <a:gd name="T47" fmla="*/ 60 h 242"/>
                <a:gd name="T48" fmla="*/ 192 w 236"/>
                <a:gd name="T49" fmla="*/ 78 h 242"/>
                <a:gd name="T50" fmla="*/ 206 w 236"/>
                <a:gd name="T51" fmla="*/ 90 h 242"/>
                <a:gd name="T52" fmla="*/ 196 w 236"/>
                <a:gd name="T53" fmla="*/ 100 h 242"/>
                <a:gd name="T54" fmla="*/ 196 w 236"/>
                <a:gd name="T55" fmla="*/ 112 h 242"/>
                <a:gd name="T56" fmla="*/ 188 w 236"/>
                <a:gd name="T57" fmla="*/ 126 h 242"/>
                <a:gd name="T58" fmla="*/ 172 w 236"/>
                <a:gd name="T59" fmla="*/ 148 h 242"/>
                <a:gd name="T60" fmla="*/ 162 w 236"/>
                <a:gd name="T61" fmla="*/ 160 h 242"/>
                <a:gd name="T62" fmla="*/ 146 w 236"/>
                <a:gd name="T63" fmla="*/ 172 h 242"/>
                <a:gd name="T64" fmla="*/ 136 w 236"/>
                <a:gd name="T65" fmla="*/ 168 h 242"/>
                <a:gd name="T66" fmla="*/ 124 w 236"/>
                <a:gd name="T67" fmla="*/ 178 h 242"/>
                <a:gd name="T68" fmla="*/ 132 w 236"/>
                <a:gd name="T69" fmla="*/ 194 h 242"/>
                <a:gd name="T70" fmla="*/ 138 w 236"/>
                <a:gd name="T71" fmla="*/ 212 h 242"/>
                <a:gd name="T72" fmla="*/ 142 w 236"/>
                <a:gd name="T73" fmla="*/ 228 h 242"/>
                <a:gd name="T74" fmla="*/ 138 w 236"/>
                <a:gd name="T75" fmla="*/ 232 h 242"/>
                <a:gd name="T76" fmla="*/ 120 w 236"/>
                <a:gd name="T77" fmla="*/ 234 h 242"/>
                <a:gd name="T78" fmla="*/ 110 w 236"/>
                <a:gd name="T79" fmla="*/ 238 h 242"/>
                <a:gd name="T80" fmla="*/ 102 w 236"/>
                <a:gd name="T81" fmla="*/ 238 h 242"/>
                <a:gd name="T82" fmla="*/ 90 w 236"/>
                <a:gd name="T83" fmla="*/ 234 h 242"/>
                <a:gd name="T84" fmla="*/ 82 w 236"/>
                <a:gd name="T85" fmla="*/ 220 h 242"/>
                <a:gd name="T86" fmla="*/ 80 w 236"/>
                <a:gd name="T87" fmla="*/ 208 h 242"/>
                <a:gd name="T88" fmla="*/ 60 w 236"/>
                <a:gd name="T89" fmla="*/ 212 h 242"/>
                <a:gd name="T90" fmla="*/ 50 w 236"/>
                <a:gd name="T91" fmla="*/ 216 h 242"/>
                <a:gd name="T92" fmla="*/ 38 w 236"/>
                <a:gd name="T93" fmla="*/ 216 h 242"/>
                <a:gd name="T94" fmla="*/ 16 w 236"/>
                <a:gd name="T95" fmla="*/ 220 h 242"/>
                <a:gd name="T96" fmla="*/ 16 w 236"/>
                <a:gd name="T97" fmla="*/ 204 h 242"/>
                <a:gd name="T98" fmla="*/ 20 w 236"/>
                <a:gd name="T99" fmla="*/ 194 h 242"/>
                <a:gd name="T100" fmla="*/ 34 w 236"/>
                <a:gd name="T101" fmla="*/ 186 h 242"/>
                <a:gd name="T102" fmla="*/ 26 w 236"/>
                <a:gd name="T103" fmla="*/ 172 h 242"/>
                <a:gd name="T104" fmla="*/ 16 w 236"/>
                <a:gd name="T105" fmla="*/ 156 h 242"/>
                <a:gd name="T106" fmla="*/ 0 w 236"/>
                <a:gd name="T107" fmla="*/ 134 h 242"/>
                <a:gd name="T108" fmla="*/ 34 w 236"/>
                <a:gd name="T109" fmla="*/ 138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36" h="242">
                  <a:moveTo>
                    <a:pt x="34" y="138"/>
                  </a:moveTo>
                  <a:lnTo>
                    <a:pt x="38" y="138"/>
                  </a:lnTo>
                  <a:lnTo>
                    <a:pt x="42" y="138"/>
                  </a:lnTo>
                  <a:lnTo>
                    <a:pt x="46" y="142"/>
                  </a:lnTo>
                  <a:lnTo>
                    <a:pt x="50" y="138"/>
                  </a:lnTo>
                  <a:lnTo>
                    <a:pt x="54" y="138"/>
                  </a:lnTo>
                  <a:lnTo>
                    <a:pt x="56" y="138"/>
                  </a:lnTo>
                  <a:lnTo>
                    <a:pt x="60" y="138"/>
                  </a:lnTo>
                  <a:lnTo>
                    <a:pt x="64" y="138"/>
                  </a:lnTo>
                  <a:lnTo>
                    <a:pt x="68" y="134"/>
                  </a:lnTo>
                  <a:lnTo>
                    <a:pt x="72" y="134"/>
                  </a:lnTo>
                  <a:lnTo>
                    <a:pt x="76" y="134"/>
                  </a:lnTo>
                  <a:lnTo>
                    <a:pt x="80" y="130"/>
                  </a:lnTo>
                  <a:lnTo>
                    <a:pt x="76" y="130"/>
                  </a:lnTo>
                  <a:lnTo>
                    <a:pt x="76" y="126"/>
                  </a:lnTo>
                  <a:lnTo>
                    <a:pt x="80" y="126"/>
                  </a:lnTo>
                  <a:lnTo>
                    <a:pt x="80" y="122"/>
                  </a:lnTo>
                  <a:lnTo>
                    <a:pt x="80" y="120"/>
                  </a:lnTo>
                  <a:lnTo>
                    <a:pt x="80" y="112"/>
                  </a:lnTo>
                  <a:lnTo>
                    <a:pt x="82" y="112"/>
                  </a:lnTo>
                  <a:lnTo>
                    <a:pt x="82" y="108"/>
                  </a:lnTo>
                  <a:lnTo>
                    <a:pt x="86" y="108"/>
                  </a:lnTo>
                  <a:lnTo>
                    <a:pt x="86" y="104"/>
                  </a:lnTo>
                  <a:lnTo>
                    <a:pt x="86" y="108"/>
                  </a:lnTo>
                  <a:lnTo>
                    <a:pt x="90" y="108"/>
                  </a:lnTo>
                  <a:lnTo>
                    <a:pt x="94" y="108"/>
                  </a:lnTo>
                  <a:lnTo>
                    <a:pt x="98" y="108"/>
                  </a:lnTo>
                  <a:lnTo>
                    <a:pt x="98" y="104"/>
                  </a:lnTo>
                  <a:lnTo>
                    <a:pt x="94" y="100"/>
                  </a:lnTo>
                  <a:lnTo>
                    <a:pt x="98" y="100"/>
                  </a:lnTo>
                  <a:lnTo>
                    <a:pt x="102" y="100"/>
                  </a:lnTo>
                  <a:lnTo>
                    <a:pt x="106" y="96"/>
                  </a:lnTo>
                  <a:lnTo>
                    <a:pt x="110" y="96"/>
                  </a:lnTo>
                  <a:lnTo>
                    <a:pt x="112" y="96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16" y="96"/>
                  </a:lnTo>
                  <a:lnTo>
                    <a:pt x="120" y="96"/>
                  </a:lnTo>
                  <a:lnTo>
                    <a:pt x="120" y="92"/>
                  </a:lnTo>
                  <a:lnTo>
                    <a:pt x="120" y="90"/>
                  </a:lnTo>
                  <a:lnTo>
                    <a:pt x="120" y="86"/>
                  </a:lnTo>
                  <a:lnTo>
                    <a:pt x="120" y="82"/>
                  </a:lnTo>
                  <a:lnTo>
                    <a:pt x="124" y="82"/>
                  </a:lnTo>
                  <a:lnTo>
                    <a:pt x="124" y="78"/>
                  </a:lnTo>
                  <a:lnTo>
                    <a:pt x="120" y="78"/>
                  </a:lnTo>
                  <a:lnTo>
                    <a:pt x="124" y="78"/>
                  </a:lnTo>
                  <a:lnTo>
                    <a:pt x="124" y="74"/>
                  </a:lnTo>
                  <a:lnTo>
                    <a:pt x="128" y="74"/>
                  </a:lnTo>
                  <a:lnTo>
                    <a:pt x="132" y="70"/>
                  </a:lnTo>
                  <a:lnTo>
                    <a:pt x="136" y="70"/>
                  </a:lnTo>
                  <a:lnTo>
                    <a:pt x="136" y="66"/>
                  </a:lnTo>
                  <a:lnTo>
                    <a:pt x="132" y="66"/>
                  </a:lnTo>
                  <a:lnTo>
                    <a:pt x="132" y="62"/>
                  </a:lnTo>
                  <a:lnTo>
                    <a:pt x="132" y="60"/>
                  </a:lnTo>
                  <a:lnTo>
                    <a:pt x="128" y="60"/>
                  </a:lnTo>
                  <a:lnTo>
                    <a:pt x="128" y="56"/>
                  </a:lnTo>
                  <a:lnTo>
                    <a:pt x="132" y="56"/>
                  </a:lnTo>
                  <a:lnTo>
                    <a:pt x="136" y="56"/>
                  </a:lnTo>
                  <a:lnTo>
                    <a:pt x="138" y="56"/>
                  </a:lnTo>
                  <a:lnTo>
                    <a:pt x="142" y="56"/>
                  </a:lnTo>
                  <a:lnTo>
                    <a:pt x="146" y="56"/>
                  </a:lnTo>
                  <a:lnTo>
                    <a:pt x="146" y="52"/>
                  </a:lnTo>
                  <a:lnTo>
                    <a:pt x="146" y="48"/>
                  </a:lnTo>
                  <a:lnTo>
                    <a:pt x="142" y="48"/>
                  </a:lnTo>
                  <a:lnTo>
                    <a:pt x="142" y="44"/>
                  </a:lnTo>
                  <a:lnTo>
                    <a:pt x="146" y="44"/>
                  </a:lnTo>
                  <a:lnTo>
                    <a:pt x="146" y="40"/>
                  </a:lnTo>
                  <a:lnTo>
                    <a:pt x="150" y="40"/>
                  </a:lnTo>
                  <a:lnTo>
                    <a:pt x="150" y="36"/>
                  </a:lnTo>
                  <a:lnTo>
                    <a:pt x="154" y="34"/>
                  </a:lnTo>
                  <a:lnTo>
                    <a:pt x="154" y="30"/>
                  </a:lnTo>
                  <a:lnTo>
                    <a:pt x="154" y="26"/>
                  </a:lnTo>
                  <a:lnTo>
                    <a:pt x="150" y="26"/>
                  </a:lnTo>
                  <a:lnTo>
                    <a:pt x="154" y="22"/>
                  </a:lnTo>
                  <a:lnTo>
                    <a:pt x="150" y="22"/>
                  </a:lnTo>
                  <a:lnTo>
                    <a:pt x="150" y="18"/>
                  </a:lnTo>
                  <a:lnTo>
                    <a:pt x="146" y="18"/>
                  </a:lnTo>
                  <a:lnTo>
                    <a:pt x="146" y="14"/>
                  </a:lnTo>
                  <a:lnTo>
                    <a:pt x="150" y="14"/>
                  </a:lnTo>
                  <a:lnTo>
                    <a:pt x="154" y="10"/>
                  </a:lnTo>
                  <a:lnTo>
                    <a:pt x="158" y="6"/>
                  </a:lnTo>
                  <a:lnTo>
                    <a:pt x="162" y="6"/>
                  </a:lnTo>
                  <a:lnTo>
                    <a:pt x="162" y="4"/>
                  </a:lnTo>
                  <a:lnTo>
                    <a:pt x="166" y="4"/>
                  </a:lnTo>
                  <a:lnTo>
                    <a:pt x="168" y="4"/>
                  </a:lnTo>
                  <a:lnTo>
                    <a:pt x="172" y="4"/>
                  </a:lnTo>
                  <a:lnTo>
                    <a:pt x="176" y="0"/>
                  </a:lnTo>
                  <a:lnTo>
                    <a:pt x="180" y="0"/>
                  </a:lnTo>
                  <a:lnTo>
                    <a:pt x="184" y="0"/>
                  </a:lnTo>
                  <a:lnTo>
                    <a:pt x="188" y="4"/>
                  </a:lnTo>
                  <a:lnTo>
                    <a:pt x="192" y="0"/>
                  </a:lnTo>
                  <a:lnTo>
                    <a:pt x="196" y="0"/>
                  </a:lnTo>
                  <a:lnTo>
                    <a:pt x="198" y="0"/>
                  </a:lnTo>
                  <a:lnTo>
                    <a:pt x="202" y="0"/>
                  </a:lnTo>
                  <a:lnTo>
                    <a:pt x="206" y="6"/>
                  </a:lnTo>
                  <a:lnTo>
                    <a:pt x="206" y="4"/>
                  </a:lnTo>
                  <a:lnTo>
                    <a:pt x="208" y="8"/>
                  </a:lnTo>
                  <a:lnTo>
                    <a:pt x="210" y="10"/>
                  </a:lnTo>
                  <a:lnTo>
                    <a:pt x="212" y="10"/>
                  </a:lnTo>
                  <a:lnTo>
                    <a:pt x="212" y="10"/>
                  </a:lnTo>
                  <a:lnTo>
                    <a:pt x="216" y="14"/>
                  </a:lnTo>
                  <a:lnTo>
                    <a:pt x="212" y="14"/>
                  </a:lnTo>
                  <a:lnTo>
                    <a:pt x="212" y="18"/>
                  </a:lnTo>
                  <a:lnTo>
                    <a:pt x="216" y="18"/>
                  </a:lnTo>
                  <a:lnTo>
                    <a:pt x="216" y="22"/>
                  </a:lnTo>
                  <a:lnTo>
                    <a:pt x="220" y="22"/>
                  </a:lnTo>
                  <a:lnTo>
                    <a:pt x="222" y="22"/>
                  </a:lnTo>
                  <a:lnTo>
                    <a:pt x="224" y="22"/>
                  </a:lnTo>
                  <a:lnTo>
                    <a:pt x="224" y="26"/>
                  </a:lnTo>
                  <a:lnTo>
                    <a:pt x="228" y="26"/>
                  </a:lnTo>
                  <a:lnTo>
                    <a:pt x="232" y="26"/>
                  </a:lnTo>
                  <a:lnTo>
                    <a:pt x="232" y="32"/>
                  </a:lnTo>
                  <a:lnTo>
                    <a:pt x="236" y="34"/>
                  </a:lnTo>
                  <a:lnTo>
                    <a:pt x="236" y="34"/>
                  </a:lnTo>
                  <a:lnTo>
                    <a:pt x="232" y="32"/>
                  </a:lnTo>
                  <a:lnTo>
                    <a:pt x="236" y="34"/>
                  </a:lnTo>
                  <a:lnTo>
                    <a:pt x="236" y="34"/>
                  </a:lnTo>
                  <a:lnTo>
                    <a:pt x="232" y="34"/>
                  </a:lnTo>
                  <a:lnTo>
                    <a:pt x="228" y="34"/>
                  </a:lnTo>
                  <a:lnTo>
                    <a:pt x="228" y="36"/>
                  </a:lnTo>
                  <a:lnTo>
                    <a:pt x="228" y="40"/>
                  </a:lnTo>
                  <a:lnTo>
                    <a:pt x="228" y="44"/>
                  </a:lnTo>
                  <a:lnTo>
                    <a:pt x="224" y="44"/>
                  </a:lnTo>
                  <a:lnTo>
                    <a:pt x="224" y="40"/>
                  </a:lnTo>
                  <a:lnTo>
                    <a:pt x="220" y="40"/>
                  </a:lnTo>
                  <a:lnTo>
                    <a:pt x="216" y="44"/>
                  </a:lnTo>
                  <a:lnTo>
                    <a:pt x="212" y="44"/>
                  </a:lnTo>
                  <a:lnTo>
                    <a:pt x="210" y="48"/>
                  </a:lnTo>
                  <a:lnTo>
                    <a:pt x="210" y="44"/>
                  </a:lnTo>
                  <a:lnTo>
                    <a:pt x="206" y="44"/>
                  </a:lnTo>
                  <a:lnTo>
                    <a:pt x="202" y="44"/>
                  </a:lnTo>
                  <a:lnTo>
                    <a:pt x="196" y="44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84" y="48"/>
                  </a:lnTo>
                  <a:lnTo>
                    <a:pt x="188" y="48"/>
                  </a:lnTo>
                  <a:lnTo>
                    <a:pt x="188" y="52"/>
                  </a:lnTo>
                  <a:lnTo>
                    <a:pt x="184" y="56"/>
                  </a:lnTo>
                  <a:lnTo>
                    <a:pt x="188" y="56"/>
                  </a:lnTo>
                  <a:lnTo>
                    <a:pt x="192" y="56"/>
                  </a:lnTo>
                  <a:lnTo>
                    <a:pt x="192" y="60"/>
                  </a:lnTo>
                  <a:lnTo>
                    <a:pt x="188" y="60"/>
                  </a:lnTo>
                  <a:lnTo>
                    <a:pt x="188" y="62"/>
                  </a:lnTo>
                  <a:lnTo>
                    <a:pt x="192" y="62"/>
                  </a:lnTo>
                  <a:lnTo>
                    <a:pt x="188" y="66"/>
                  </a:lnTo>
                  <a:lnTo>
                    <a:pt x="188" y="70"/>
                  </a:lnTo>
                  <a:lnTo>
                    <a:pt x="192" y="74"/>
                  </a:lnTo>
                  <a:lnTo>
                    <a:pt x="192" y="78"/>
                  </a:lnTo>
                  <a:lnTo>
                    <a:pt x="196" y="78"/>
                  </a:lnTo>
                  <a:lnTo>
                    <a:pt x="196" y="82"/>
                  </a:lnTo>
                  <a:lnTo>
                    <a:pt x="198" y="86"/>
                  </a:lnTo>
                  <a:lnTo>
                    <a:pt x="202" y="86"/>
                  </a:lnTo>
                  <a:lnTo>
                    <a:pt x="206" y="86"/>
                  </a:lnTo>
                  <a:lnTo>
                    <a:pt x="206" y="90"/>
                  </a:lnTo>
                  <a:lnTo>
                    <a:pt x="206" y="92"/>
                  </a:lnTo>
                  <a:lnTo>
                    <a:pt x="202" y="92"/>
                  </a:lnTo>
                  <a:lnTo>
                    <a:pt x="198" y="92"/>
                  </a:lnTo>
                  <a:lnTo>
                    <a:pt x="196" y="92"/>
                  </a:lnTo>
                  <a:lnTo>
                    <a:pt x="196" y="96"/>
                  </a:lnTo>
                  <a:lnTo>
                    <a:pt x="196" y="100"/>
                  </a:lnTo>
                  <a:lnTo>
                    <a:pt x="196" y="104"/>
                  </a:lnTo>
                  <a:lnTo>
                    <a:pt x="196" y="108"/>
                  </a:lnTo>
                  <a:lnTo>
                    <a:pt x="196" y="112"/>
                  </a:lnTo>
                  <a:lnTo>
                    <a:pt x="196" y="108"/>
                  </a:lnTo>
                  <a:lnTo>
                    <a:pt x="198" y="108"/>
                  </a:lnTo>
                  <a:lnTo>
                    <a:pt x="196" y="112"/>
                  </a:lnTo>
                  <a:lnTo>
                    <a:pt x="192" y="112"/>
                  </a:lnTo>
                  <a:lnTo>
                    <a:pt x="192" y="116"/>
                  </a:lnTo>
                  <a:lnTo>
                    <a:pt x="188" y="120"/>
                  </a:lnTo>
                  <a:lnTo>
                    <a:pt x="184" y="122"/>
                  </a:lnTo>
                  <a:lnTo>
                    <a:pt x="188" y="122"/>
                  </a:lnTo>
                  <a:lnTo>
                    <a:pt x="188" y="126"/>
                  </a:lnTo>
                  <a:lnTo>
                    <a:pt x="184" y="130"/>
                  </a:lnTo>
                  <a:lnTo>
                    <a:pt x="180" y="130"/>
                  </a:lnTo>
                  <a:lnTo>
                    <a:pt x="176" y="134"/>
                  </a:lnTo>
                  <a:lnTo>
                    <a:pt x="176" y="138"/>
                  </a:lnTo>
                  <a:lnTo>
                    <a:pt x="172" y="146"/>
                  </a:lnTo>
                  <a:lnTo>
                    <a:pt x="172" y="148"/>
                  </a:lnTo>
                  <a:lnTo>
                    <a:pt x="168" y="148"/>
                  </a:lnTo>
                  <a:lnTo>
                    <a:pt x="166" y="148"/>
                  </a:lnTo>
                  <a:lnTo>
                    <a:pt x="166" y="152"/>
                  </a:lnTo>
                  <a:lnTo>
                    <a:pt x="162" y="152"/>
                  </a:lnTo>
                  <a:lnTo>
                    <a:pt x="162" y="156"/>
                  </a:lnTo>
                  <a:lnTo>
                    <a:pt x="162" y="160"/>
                  </a:lnTo>
                  <a:lnTo>
                    <a:pt x="158" y="164"/>
                  </a:lnTo>
                  <a:lnTo>
                    <a:pt x="158" y="168"/>
                  </a:lnTo>
                  <a:lnTo>
                    <a:pt x="154" y="168"/>
                  </a:lnTo>
                  <a:lnTo>
                    <a:pt x="150" y="168"/>
                  </a:lnTo>
                  <a:lnTo>
                    <a:pt x="146" y="168"/>
                  </a:lnTo>
                  <a:lnTo>
                    <a:pt x="146" y="172"/>
                  </a:lnTo>
                  <a:lnTo>
                    <a:pt x="142" y="172"/>
                  </a:lnTo>
                  <a:lnTo>
                    <a:pt x="138" y="172"/>
                  </a:lnTo>
                  <a:lnTo>
                    <a:pt x="138" y="168"/>
                  </a:lnTo>
                  <a:lnTo>
                    <a:pt x="138" y="164"/>
                  </a:lnTo>
                  <a:lnTo>
                    <a:pt x="136" y="164"/>
                  </a:lnTo>
                  <a:lnTo>
                    <a:pt x="136" y="168"/>
                  </a:lnTo>
                  <a:lnTo>
                    <a:pt x="132" y="168"/>
                  </a:lnTo>
                  <a:lnTo>
                    <a:pt x="132" y="172"/>
                  </a:lnTo>
                  <a:lnTo>
                    <a:pt x="132" y="176"/>
                  </a:lnTo>
                  <a:lnTo>
                    <a:pt x="128" y="176"/>
                  </a:lnTo>
                  <a:lnTo>
                    <a:pt x="128" y="178"/>
                  </a:lnTo>
                  <a:lnTo>
                    <a:pt x="124" y="178"/>
                  </a:lnTo>
                  <a:lnTo>
                    <a:pt x="124" y="182"/>
                  </a:lnTo>
                  <a:lnTo>
                    <a:pt x="124" y="186"/>
                  </a:lnTo>
                  <a:lnTo>
                    <a:pt x="124" y="190"/>
                  </a:lnTo>
                  <a:lnTo>
                    <a:pt x="128" y="190"/>
                  </a:lnTo>
                  <a:lnTo>
                    <a:pt x="132" y="190"/>
                  </a:lnTo>
                  <a:lnTo>
                    <a:pt x="132" y="194"/>
                  </a:lnTo>
                  <a:lnTo>
                    <a:pt x="132" y="198"/>
                  </a:lnTo>
                  <a:lnTo>
                    <a:pt x="132" y="202"/>
                  </a:lnTo>
                  <a:lnTo>
                    <a:pt x="132" y="204"/>
                  </a:lnTo>
                  <a:lnTo>
                    <a:pt x="136" y="208"/>
                  </a:lnTo>
                  <a:lnTo>
                    <a:pt x="138" y="208"/>
                  </a:lnTo>
                  <a:lnTo>
                    <a:pt x="138" y="212"/>
                  </a:lnTo>
                  <a:lnTo>
                    <a:pt x="138" y="216"/>
                  </a:lnTo>
                  <a:lnTo>
                    <a:pt x="142" y="216"/>
                  </a:lnTo>
                  <a:lnTo>
                    <a:pt x="142" y="220"/>
                  </a:lnTo>
                  <a:lnTo>
                    <a:pt x="142" y="224"/>
                  </a:lnTo>
                  <a:lnTo>
                    <a:pt x="146" y="228"/>
                  </a:lnTo>
                  <a:lnTo>
                    <a:pt x="142" y="228"/>
                  </a:lnTo>
                  <a:lnTo>
                    <a:pt x="142" y="232"/>
                  </a:lnTo>
                  <a:lnTo>
                    <a:pt x="146" y="232"/>
                  </a:lnTo>
                  <a:lnTo>
                    <a:pt x="142" y="232"/>
                  </a:lnTo>
                  <a:lnTo>
                    <a:pt x="142" y="234"/>
                  </a:lnTo>
                  <a:lnTo>
                    <a:pt x="138" y="234"/>
                  </a:lnTo>
                  <a:lnTo>
                    <a:pt x="138" y="232"/>
                  </a:lnTo>
                  <a:lnTo>
                    <a:pt x="136" y="232"/>
                  </a:lnTo>
                  <a:lnTo>
                    <a:pt x="132" y="232"/>
                  </a:lnTo>
                  <a:lnTo>
                    <a:pt x="132" y="234"/>
                  </a:lnTo>
                  <a:lnTo>
                    <a:pt x="128" y="234"/>
                  </a:lnTo>
                  <a:lnTo>
                    <a:pt x="124" y="234"/>
                  </a:lnTo>
                  <a:lnTo>
                    <a:pt x="120" y="234"/>
                  </a:lnTo>
                  <a:lnTo>
                    <a:pt x="116" y="234"/>
                  </a:lnTo>
                  <a:lnTo>
                    <a:pt x="116" y="232"/>
                  </a:lnTo>
                  <a:lnTo>
                    <a:pt x="112" y="232"/>
                  </a:lnTo>
                  <a:lnTo>
                    <a:pt x="112" y="234"/>
                  </a:lnTo>
                  <a:lnTo>
                    <a:pt x="112" y="238"/>
                  </a:lnTo>
                  <a:lnTo>
                    <a:pt x="110" y="238"/>
                  </a:lnTo>
                  <a:lnTo>
                    <a:pt x="106" y="238"/>
                  </a:lnTo>
                  <a:lnTo>
                    <a:pt x="106" y="242"/>
                  </a:lnTo>
                  <a:lnTo>
                    <a:pt x="106" y="238"/>
                  </a:lnTo>
                  <a:lnTo>
                    <a:pt x="106" y="242"/>
                  </a:lnTo>
                  <a:lnTo>
                    <a:pt x="102" y="242"/>
                  </a:lnTo>
                  <a:lnTo>
                    <a:pt x="102" y="238"/>
                  </a:lnTo>
                  <a:lnTo>
                    <a:pt x="102" y="242"/>
                  </a:lnTo>
                  <a:lnTo>
                    <a:pt x="102" y="238"/>
                  </a:lnTo>
                  <a:lnTo>
                    <a:pt x="98" y="242"/>
                  </a:lnTo>
                  <a:lnTo>
                    <a:pt x="94" y="242"/>
                  </a:lnTo>
                  <a:lnTo>
                    <a:pt x="94" y="238"/>
                  </a:lnTo>
                  <a:lnTo>
                    <a:pt x="90" y="234"/>
                  </a:lnTo>
                  <a:lnTo>
                    <a:pt x="90" y="232"/>
                  </a:lnTo>
                  <a:lnTo>
                    <a:pt x="90" y="228"/>
                  </a:lnTo>
                  <a:lnTo>
                    <a:pt x="90" y="224"/>
                  </a:lnTo>
                  <a:lnTo>
                    <a:pt x="86" y="224"/>
                  </a:lnTo>
                  <a:lnTo>
                    <a:pt x="82" y="224"/>
                  </a:lnTo>
                  <a:lnTo>
                    <a:pt x="82" y="220"/>
                  </a:lnTo>
                  <a:lnTo>
                    <a:pt x="82" y="216"/>
                  </a:lnTo>
                  <a:lnTo>
                    <a:pt x="82" y="212"/>
                  </a:lnTo>
                  <a:lnTo>
                    <a:pt x="80" y="208"/>
                  </a:lnTo>
                  <a:lnTo>
                    <a:pt x="76" y="208"/>
                  </a:lnTo>
                  <a:lnTo>
                    <a:pt x="76" y="212"/>
                  </a:lnTo>
                  <a:lnTo>
                    <a:pt x="80" y="208"/>
                  </a:lnTo>
                  <a:lnTo>
                    <a:pt x="80" y="212"/>
                  </a:lnTo>
                  <a:lnTo>
                    <a:pt x="76" y="212"/>
                  </a:lnTo>
                  <a:lnTo>
                    <a:pt x="72" y="212"/>
                  </a:lnTo>
                  <a:lnTo>
                    <a:pt x="68" y="212"/>
                  </a:lnTo>
                  <a:lnTo>
                    <a:pt x="64" y="212"/>
                  </a:lnTo>
                  <a:lnTo>
                    <a:pt x="60" y="212"/>
                  </a:lnTo>
                  <a:lnTo>
                    <a:pt x="60" y="216"/>
                  </a:lnTo>
                  <a:lnTo>
                    <a:pt x="56" y="216"/>
                  </a:lnTo>
                  <a:lnTo>
                    <a:pt x="54" y="216"/>
                  </a:lnTo>
                  <a:lnTo>
                    <a:pt x="56" y="216"/>
                  </a:lnTo>
                  <a:lnTo>
                    <a:pt x="54" y="216"/>
                  </a:lnTo>
                  <a:lnTo>
                    <a:pt x="50" y="216"/>
                  </a:lnTo>
                  <a:lnTo>
                    <a:pt x="46" y="216"/>
                  </a:lnTo>
                  <a:lnTo>
                    <a:pt x="46" y="212"/>
                  </a:lnTo>
                  <a:lnTo>
                    <a:pt x="46" y="216"/>
                  </a:lnTo>
                  <a:lnTo>
                    <a:pt x="42" y="212"/>
                  </a:lnTo>
                  <a:lnTo>
                    <a:pt x="38" y="212"/>
                  </a:lnTo>
                  <a:lnTo>
                    <a:pt x="38" y="216"/>
                  </a:lnTo>
                  <a:lnTo>
                    <a:pt x="34" y="216"/>
                  </a:lnTo>
                  <a:lnTo>
                    <a:pt x="30" y="216"/>
                  </a:lnTo>
                  <a:lnTo>
                    <a:pt x="26" y="216"/>
                  </a:lnTo>
                  <a:lnTo>
                    <a:pt x="24" y="216"/>
                  </a:lnTo>
                  <a:lnTo>
                    <a:pt x="20" y="216"/>
                  </a:lnTo>
                  <a:lnTo>
                    <a:pt x="16" y="220"/>
                  </a:lnTo>
                  <a:lnTo>
                    <a:pt x="12" y="220"/>
                  </a:lnTo>
                  <a:lnTo>
                    <a:pt x="12" y="216"/>
                  </a:lnTo>
                  <a:lnTo>
                    <a:pt x="12" y="212"/>
                  </a:lnTo>
                  <a:lnTo>
                    <a:pt x="12" y="208"/>
                  </a:lnTo>
                  <a:lnTo>
                    <a:pt x="12" y="204"/>
                  </a:lnTo>
                  <a:lnTo>
                    <a:pt x="16" y="204"/>
                  </a:lnTo>
                  <a:lnTo>
                    <a:pt x="16" y="202"/>
                  </a:lnTo>
                  <a:lnTo>
                    <a:pt x="16" y="198"/>
                  </a:lnTo>
                  <a:lnTo>
                    <a:pt x="20" y="198"/>
                  </a:lnTo>
                  <a:lnTo>
                    <a:pt x="20" y="194"/>
                  </a:lnTo>
                  <a:lnTo>
                    <a:pt x="20" y="198"/>
                  </a:lnTo>
                  <a:lnTo>
                    <a:pt x="20" y="194"/>
                  </a:lnTo>
                  <a:lnTo>
                    <a:pt x="24" y="194"/>
                  </a:lnTo>
                  <a:lnTo>
                    <a:pt x="26" y="194"/>
                  </a:lnTo>
                  <a:lnTo>
                    <a:pt x="26" y="190"/>
                  </a:lnTo>
                  <a:lnTo>
                    <a:pt x="30" y="190"/>
                  </a:lnTo>
                  <a:lnTo>
                    <a:pt x="34" y="190"/>
                  </a:lnTo>
                  <a:lnTo>
                    <a:pt x="34" y="186"/>
                  </a:lnTo>
                  <a:lnTo>
                    <a:pt x="34" y="182"/>
                  </a:lnTo>
                  <a:lnTo>
                    <a:pt x="34" y="178"/>
                  </a:lnTo>
                  <a:lnTo>
                    <a:pt x="30" y="178"/>
                  </a:lnTo>
                  <a:lnTo>
                    <a:pt x="26" y="178"/>
                  </a:lnTo>
                  <a:lnTo>
                    <a:pt x="26" y="176"/>
                  </a:lnTo>
                  <a:lnTo>
                    <a:pt x="26" y="172"/>
                  </a:lnTo>
                  <a:lnTo>
                    <a:pt x="26" y="168"/>
                  </a:lnTo>
                  <a:lnTo>
                    <a:pt x="26" y="164"/>
                  </a:lnTo>
                  <a:lnTo>
                    <a:pt x="26" y="160"/>
                  </a:lnTo>
                  <a:lnTo>
                    <a:pt x="24" y="160"/>
                  </a:lnTo>
                  <a:lnTo>
                    <a:pt x="20" y="156"/>
                  </a:lnTo>
                  <a:lnTo>
                    <a:pt x="16" y="156"/>
                  </a:lnTo>
                  <a:lnTo>
                    <a:pt x="12" y="152"/>
                  </a:lnTo>
                  <a:lnTo>
                    <a:pt x="12" y="148"/>
                  </a:lnTo>
                  <a:lnTo>
                    <a:pt x="8" y="146"/>
                  </a:lnTo>
                  <a:lnTo>
                    <a:pt x="8" y="142"/>
                  </a:lnTo>
                  <a:lnTo>
                    <a:pt x="4" y="134"/>
                  </a:lnTo>
                  <a:lnTo>
                    <a:pt x="0" y="134"/>
                  </a:lnTo>
                  <a:lnTo>
                    <a:pt x="4" y="134"/>
                  </a:lnTo>
                  <a:lnTo>
                    <a:pt x="12" y="138"/>
                  </a:lnTo>
                  <a:lnTo>
                    <a:pt x="16" y="138"/>
                  </a:lnTo>
                  <a:lnTo>
                    <a:pt x="20" y="138"/>
                  </a:lnTo>
                  <a:lnTo>
                    <a:pt x="24" y="142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07" name="Freeform 47">
              <a:extLst>
                <a:ext uri="{FF2B5EF4-FFF2-40B4-BE49-F238E27FC236}">
                  <a16:creationId xmlns:a16="http://schemas.microsoft.com/office/drawing/2014/main" id="{BC622ADC-2817-AF88-2627-F8C54E5BC1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71317" y="3620570"/>
              <a:ext cx="27275" cy="18855"/>
            </a:xfrm>
            <a:custGeom>
              <a:avLst/>
              <a:gdLst>
                <a:gd name="T0" fmla="*/ 8 w 14"/>
                <a:gd name="T1" fmla="*/ 0 h 10"/>
                <a:gd name="T2" fmla="*/ 8 w 14"/>
                <a:gd name="T3" fmla="*/ 0 h 10"/>
                <a:gd name="T4" fmla="*/ 8 w 14"/>
                <a:gd name="T5" fmla="*/ 0 h 10"/>
                <a:gd name="T6" fmla="*/ 8 w 14"/>
                <a:gd name="T7" fmla="*/ 0 h 10"/>
                <a:gd name="T8" fmla="*/ 8 w 14"/>
                <a:gd name="T9" fmla="*/ 0 h 10"/>
                <a:gd name="T10" fmla="*/ 8 w 14"/>
                <a:gd name="T11" fmla="*/ 0 h 10"/>
                <a:gd name="T12" fmla="*/ 8 w 14"/>
                <a:gd name="T13" fmla="*/ 0 h 10"/>
                <a:gd name="T14" fmla="*/ 8 w 14"/>
                <a:gd name="T15" fmla="*/ 0 h 10"/>
                <a:gd name="T16" fmla="*/ 8 w 14"/>
                <a:gd name="T17" fmla="*/ 0 h 10"/>
                <a:gd name="T18" fmla="*/ 8 w 14"/>
                <a:gd name="T19" fmla="*/ 0 h 10"/>
                <a:gd name="T20" fmla="*/ 14 w 14"/>
                <a:gd name="T21" fmla="*/ 6 h 10"/>
                <a:gd name="T22" fmla="*/ 14 w 14"/>
                <a:gd name="T23" fmla="*/ 6 h 10"/>
                <a:gd name="T24" fmla="*/ 14 w 14"/>
                <a:gd name="T25" fmla="*/ 6 h 10"/>
                <a:gd name="T26" fmla="*/ 14 w 14"/>
                <a:gd name="T27" fmla="*/ 6 h 10"/>
                <a:gd name="T28" fmla="*/ 14 w 14"/>
                <a:gd name="T29" fmla="*/ 6 h 10"/>
                <a:gd name="T30" fmla="*/ 14 w 14"/>
                <a:gd name="T31" fmla="*/ 6 h 10"/>
                <a:gd name="T32" fmla="*/ 14 w 14"/>
                <a:gd name="T33" fmla="*/ 6 h 10"/>
                <a:gd name="T34" fmla="*/ 0 w 14"/>
                <a:gd name="T35" fmla="*/ 10 h 10"/>
                <a:gd name="T36" fmla="*/ 0 w 14"/>
                <a:gd name="T37" fmla="*/ 10 h 10"/>
                <a:gd name="T38" fmla="*/ 0 w 14"/>
                <a:gd name="T39" fmla="*/ 10 h 10"/>
                <a:gd name="T40" fmla="*/ 0 w 14"/>
                <a:gd name="T41" fmla="*/ 10 h 10"/>
                <a:gd name="T42" fmla="*/ 0 w 14"/>
                <a:gd name="T43" fmla="*/ 10 h 10"/>
                <a:gd name="T44" fmla="*/ 0 w 14"/>
                <a:gd name="T4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" h="10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  <a:moveTo>
                    <a:pt x="14" y="6"/>
                  </a:move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08" name="Freeform 48">
              <a:extLst>
                <a:ext uri="{FF2B5EF4-FFF2-40B4-BE49-F238E27FC236}">
                  <a16:creationId xmlns:a16="http://schemas.microsoft.com/office/drawing/2014/main" id="{CC001D1E-E78A-E2FA-AC60-105F9A47DA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15486" y="3556463"/>
              <a:ext cx="261061" cy="448751"/>
            </a:xfrm>
            <a:custGeom>
              <a:avLst/>
              <a:gdLst>
                <a:gd name="T0" fmla="*/ 78 w 134"/>
                <a:gd name="T1" fmla="*/ 150 h 238"/>
                <a:gd name="T2" fmla="*/ 94 w 134"/>
                <a:gd name="T3" fmla="*/ 172 h 238"/>
                <a:gd name="T4" fmla="*/ 0 w 134"/>
                <a:gd name="T5" fmla="*/ 194 h 238"/>
                <a:gd name="T6" fmla="*/ 50 w 134"/>
                <a:gd name="T7" fmla="*/ 220 h 238"/>
                <a:gd name="T8" fmla="*/ 42 w 134"/>
                <a:gd name="T9" fmla="*/ 48 h 238"/>
                <a:gd name="T10" fmla="*/ 50 w 134"/>
                <a:gd name="T11" fmla="*/ 10 h 238"/>
                <a:gd name="T12" fmla="*/ 74 w 134"/>
                <a:gd name="T13" fmla="*/ 10 h 238"/>
                <a:gd name="T14" fmla="*/ 70 w 134"/>
                <a:gd name="T15" fmla="*/ 48 h 238"/>
                <a:gd name="T16" fmla="*/ 66 w 134"/>
                <a:gd name="T17" fmla="*/ 70 h 238"/>
                <a:gd name="T18" fmla="*/ 78 w 134"/>
                <a:gd name="T19" fmla="*/ 82 h 238"/>
                <a:gd name="T20" fmla="*/ 94 w 134"/>
                <a:gd name="T21" fmla="*/ 90 h 238"/>
                <a:gd name="T22" fmla="*/ 100 w 134"/>
                <a:gd name="T23" fmla="*/ 100 h 238"/>
                <a:gd name="T24" fmla="*/ 90 w 134"/>
                <a:gd name="T25" fmla="*/ 100 h 238"/>
                <a:gd name="T26" fmla="*/ 78 w 134"/>
                <a:gd name="T27" fmla="*/ 100 h 238"/>
                <a:gd name="T28" fmla="*/ 52 w 134"/>
                <a:gd name="T29" fmla="*/ 90 h 238"/>
                <a:gd name="T30" fmla="*/ 46 w 134"/>
                <a:gd name="T31" fmla="*/ 74 h 238"/>
                <a:gd name="T32" fmla="*/ 70 w 134"/>
                <a:gd name="T33" fmla="*/ 70 h 238"/>
                <a:gd name="T34" fmla="*/ 74 w 134"/>
                <a:gd name="T35" fmla="*/ 70 h 238"/>
                <a:gd name="T36" fmla="*/ 100 w 134"/>
                <a:gd name="T37" fmla="*/ 86 h 238"/>
                <a:gd name="T38" fmla="*/ 66 w 134"/>
                <a:gd name="T39" fmla="*/ 96 h 238"/>
                <a:gd name="T40" fmla="*/ 50 w 134"/>
                <a:gd name="T41" fmla="*/ 100 h 238"/>
                <a:gd name="T42" fmla="*/ 60 w 134"/>
                <a:gd name="T43" fmla="*/ 116 h 238"/>
                <a:gd name="T44" fmla="*/ 70 w 134"/>
                <a:gd name="T45" fmla="*/ 120 h 238"/>
                <a:gd name="T46" fmla="*/ 94 w 134"/>
                <a:gd name="T47" fmla="*/ 108 h 238"/>
                <a:gd name="T48" fmla="*/ 100 w 134"/>
                <a:gd name="T49" fmla="*/ 124 h 238"/>
                <a:gd name="T50" fmla="*/ 104 w 134"/>
                <a:gd name="T51" fmla="*/ 116 h 238"/>
                <a:gd name="T52" fmla="*/ 122 w 134"/>
                <a:gd name="T53" fmla="*/ 134 h 238"/>
                <a:gd name="T54" fmla="*/ 108 w 134"/>
                <a:gd name="T55" fmla="*/ 120 h 238"/>
                <a:gd name="T56" fmla="*/ 42 w 134"/>
                <a:gd name="T57" fmla="*/ 116 h 238"/>
                <a:gd name="T58" fmla="*/ 46 w 134"/>
                <a:gd name="T59" fmla="*/ 126 h 238"/>
                <a:gd name="T60" fmla="*/ 70 w 134"/>
                <a:gd name="T61" fmla="*/ 146 h 238"/>
                <a:gd name="T62" fmla="*/ 82 w 134"/>
                <a:gd name="T63" fmla="*/ 130 h 238"/>
                <a:gd name="T64" fmla="*/ 104 w 134"/>
                <a:gd name="T65" fmla="*/ 130 h 238"/>
                <a:gd name="T66" fmla="*/ 108 w 134"/>
                <a:gd name="T67" fmla="*/ 134 h 238"/>
                <a:gd name="T68" fmla="*/ 112 w 134"/>
                <a:gd name="T69" fmla="*/ 152 h 238"/>
                <a:gd name="T70" fmla="*/ 38 w 134"/>
                <a:gd name="T71" fmla="*/ 150 h 238"/>
                <a:gd name="T72" fmla="*/ 12 w 134"/>
                <a:gd name="T73" fmla="*/ 176 h 238"/>
                <a:gd name="T74" fmla="*/ 26 w 134"/>
                <a:gd name="T75" fmla="*/ 152 h 238"/>
                <a:gd name="T76" fmla="*/ 34 w 134"/>
                <a:gd name="T77" fmla="*/ 134 h 238"/>
                <a:gd name="T78" fmla="*/ 94 w 134"/>
                <a:gd name="T79" fmla="*/ 152 h 238"/>
                <a:gd name="T80" fmla="*/ 96 w 134"/>
                <a:gd name="T81" fmla="*/ 152 h 238"/>
                <a:gd name="T82" fmla="*/ 90 w 134"/>
                <a:gd name="T83" fmla="*/ 156 h 238"/>
                <a:gd name="T84" fmla="*/ 74 w 134"/>
                <a:gd name="T85" fmla="*/ 160 h 238"/>
                <a:gd name="T86" fmla="*/ 90 w 134"/>
                <a:gd name="T87" fmla="*/ 146 h 238"/>
                <a:gd name="T88" fmla="*/ 108 w 134"/>
                <a:gd name="T89" fmla="*/ 152 h 238"/>
                <a:gd name="T90" fmla="*/ 116 w 134"/>
                <a:gd name="T91" fmla="*/ 156 h 238"/>
                <a:gd name="T92" fmla="*/ 74 w 134"/>
                <a:gd name="T93" fmla="*/ 202 h 238"/>
                <a:gd name="T94" fmla="*/ 86 w 134"/>
                <a:gd name="T95" fmla="*/ 186 h 238"/>
                <a:gd name="T96" fmla="*/ 100 w 134"/>
                <a:gd name="T97" fmla="*/ 186 h 238"/>
                <a:gd name="T98" fmla="*/ 116 w 134"/>
                <a:gd name="T99" fmla="*/ 176 h 238"/>
                <a:gd name="T100" fmla="*/ 130 w 134"/>
                <a:gd name="T101" fmla="*/ 172 h 238"/>
                <a:gd name="T102" fmla="*/ 134 w 134"/>
                <a:gd name="T103" fmla="*/ 202 h 238"/>
                <a:gd name="T104" fmla="*/ 126 w 134"/>
                <a:gd name="T105" fmla="*/ 202 h 238"/>
                <a:gd name="T106" fmla="*/ 120 w 134"/>
                <a:gd name="T107" fmla="*/ 232 h 238"/>
                <a:gd name="T108" fmla="*/ 100 w 134"/>
                <a:gd name="T109" fmla="*/ 208 h 238"/>
                <a:gd name="T110" fmla="*/ 94 w 134"/>
                <a:gd name="T111" fmla="*/ 194 h 238"/>
                <a:gd name="T112" fmla="*/ 82 w 134"/>
                <a:gd name="T113" fmla="*/ 198 h 238"/>
                <a:gd name="T114" fmla="*/ 108 w 134"/>
                <a:gd name="T115" fmla="*/ 172 h 238"/>
                <a:gd name="T116" fmla="*/ 66 w 134"/>
                <a:gd name="T117" fmla="*/ 212 h 238"/>
                <a:gd name="T118" fmla="*/ 60 w 134"/>
                <a:gd name="T119" fmla="*/ 22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4" h="238">
                  <a:moveTo>
                    <a:pt x="112" y="130"/>
                  </a:moveTo>
                  <a:lnTo>
                    <a:pt x="112" y="126"/>
                  </a:lnTo>
                  <a:lnTo>
                    <a:pt x="108" y="126"/>
                  </a:lnTo>
                  <a:lnTo>
                    <a:pt x="112" y="126"/>
                  </a:lnTo>
                  <a:lnTo>
                    <a:pt x="112" y="130"/>
                  </a:lnTo>
                  <a:lnTo>
                    <a:pt x="112" y="130"/>
                  </a:lnTo>
                  <a:lnTo>
                    <a:pt x="112" y="130"/>
                  </a:lnTo>
                  <a:close/>
                  <a:moveTo>
                    <a:pt x="78" y="150"/>
                  </a:moveTo>
                  <a:lnTo>
                    <a:pt x="78" y="146"/>
                  </a:lnTo>
                  <a:lnTo>
                    <a:pt x="78" y="142"/>
                  </a:lnTo>
                  <a:lnTo>
                    <a:pt x="82" y="142"/>
                  </a:lnTo>
                  <a:lnTo>
                    <a:pt x="82" y="146"/>
                  </a:lnTo>
                  <a:lnTo>
                    <a:pt x="78" y="150"/>
                  </a:lnTo>
                  <a:lnTo>
                    <a:pt x="78" y="150"/>
                  </a:lnTo>
                  <a:lnTo>
                    <a:pt x="78" y="150"/>
                  </a:lnTo>
                  <a:close/>
                  <a:moveTo>
                    <a:pt x="42" y="150"/>
                  </a:moveTo>
                  <a:lnTo>
                    <a:pt x="42" y="146"/>
                  </a:lnTo>
                  <a:lnTo>
                    <a:pt x="38" y="146"/>
                  </a:lnTo>
                  <a:lnTo>
                    <a:pt x="42" y="146"/>
                  </a:lnTo>
                  <a:lnTo>
                    <a:pt x="42" y="150"/>
                  </a:lnTo>
                  <a:lnTo>
                    <a:pt x="42" y="150"/>
                  </a:lnTo>
                  <a:lnTo>
                    <a:pt x="42" y="150"/>
                  </a:lnTo>
                  <a:close/>
                  <a:moveTo>
                    <a:pt x="94" y="172"/>
                  </a:moveTo>
                  <a:lnTo>
                    <a:pt x="94" y="168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close/>
                  <a:moveTo>
                    <a:pt x="4" y="186"/>
                  </a:moveTo>
                  <a:lnTo>
                    <a:pt x="4" y="182"/>
                  </a:lnTo>
                  <a:lnTo>
                    <a:pt x="4" y="186"/>
                  </a:lnTo>
                  <a:lnTo>
                    <a:pt x="4" y="186"/>
                  </a:lnTo>
                  <a:lnTo>
                    <a:pt x="4" y="186"/>
                  </a:lnTo>
                  <a:close/>
                  <a:moveTo>
                    <a:pt x="0" y="194"/>
                  </a:moveTo>
                  <a:lnTo>
                    <a:pt x="0" y="190"/>
                  </a:lnTo>
                  <a:lnTo>
                    <a:pt x="0" y="186"/>
                  </a:lnTo>
                  <a:lnTo>
                    <a:pt x="0" y="190"/>
                  </a:lnTo>
                  <a:lnTo>
                    <a:pt x="0" y="194"/>
                  </a:lnTo>
                  <a:lnTo>
                    <a:pt x="0" y="194"/>
                  </a:lnTo>
                  <a:lnTo>
                    <a:pt x="0" y="194"/>
                  </a:lnTo>
                  <a:close/>
                  <a:moveTo>
                    <a:pt x="82" y="202"/>
                  </a:moveTo>
                  <a:lnTo>
                    <a:pt x="82" y="198"/>
                  </a:lnTo>
                  <a:lnTo>
                    <a:pt x="86" y="198"/>
                  </a:lnTo>
                  <a:lnTo>
                    <a:pt x="86" y="202"/>
                  </a:lnTo>
                  <a:lnTo>
                    <a:pt x="82" y="202"/>
                  </a:lnTo>
                  <a:lnTo>
                    <a:pt x="82" y="202"/>
                  </a:lnTo>
                  <a:lnTo>
                    <a:pt x="82" y="202"/>
                  </a:lnTo>
                  <a:close/>
                  <a:moveTo>
                    <a:pt x="50" y="220"/>
                  </a:moveTo>
                  <a:lnTo>
                    <a:pt x="50" y="216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50" y="220"/>
                  </a:lnTo>
                  <a:lnTo>
                    <a:pt x="50" y="220"/>
                  </a:lnTo>
                  <a:lnTo>
                    <a:pt x="50" y="220"/>
                  </a:lnTo>
                  <a:close/>
                  <a:moveTo>
                    <a:pt x="66" y="4"/>
                  </a:moveTo>
                  <a:lnTo>
                    <a:pt x="66" y="0"/>
                  </a:lnTo>
                  <a:lnTo>
                    <a:pt x="70" y="0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6" y="4"/>
                  </a:lnTo>
                  <a:close/>
                  <a:moveTo>
                    <a:pt x="42" y="56"/>
                  </a:moveTo>
                  <a:lnTo>
                    <a:pt x="42" y="52"/>
                  </a:lnTo>
                  <a:lnTo>
                    <a:pt x="38" y="52"/>
                  </a:lnTo>
                  <a:lnTo>
                    <a:pt x="38" y="48"/>
                  </a:lnTo>
                  <a:lnTo>
                    <a:pt x="42" y="44"/>
                  </a:lnTo>
                  <a:lnTo>
                    <a:pt x="42" y="48"/>
                  </a:lnTo>
                  <a:lnTo>
                    <a:pt x="46" y="48"/>
                  </a:lnTo>
                  <a:lnTo>
                    <a:pt x="46" y="52"/>
                  </a:lnTo>
                  <a:lnTo>
                    <a:pt x="50" y="48"/>
                  </a:lnTo>
                  <a:lnTo>
                    <a:pt x="50" y="44"/>
                  </a:lnTo>
                  <a:lnTo>
                    <a:pt x="50" y="40"/>
                  </a:lnTo>
                  <a:lnTo>
                    <a:pt x="50" y="38"/>
                  </a:lnTo>
                  <a:lnTo>
                    <a:pt x="50" y="34"/>
                  </a:lnTo>
                  <a:lnTo>
                    <a:pt x="50" y="30"/>
                  </a:lnTo>
                  <a:lnTo>
                    <a:pt x="50" y="26"/>
                  </a:lnTo>
                  <a:lnTo>
                    <a:pt x="50" y="22"/>
                  </a:lnTo>
                  <a:lnTo>
                    <a:pt x="50" y="18"/>
                  </a:lnTo>
                  <a:lnTo>
                    <a:pt x="50" y="14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70" y="10"/>
                  </a:lnTo>
                  <a:lnTo>
                    <a:pt x="70" y="8"/>
                  </a:lnTo>
                  <a:lnTo>
                    <a:pt x="74" y="8"/>
                  </a:lnTo>
                  <a:lnTo>
                    <a:pt x="74" y="10"/>
                  </a:lnTo>
                  <a:lnTo>
                    <a:pt x="74" y="14"/>
                  </a:lnTo>
                  <a:lnTo>
                    <a:pt x="74" y="18"/>
                  </a:lnTo>
                  <a:lnTo>
                    <a:pt x="74" y="22"/>
                  </a:lnTo>
                  <a:lnTo>
                    <a:pt x="74" y="26"/>
                  </a:lnTo>
                  <a:lnTo>
                    <a:pt x="78" y="30"/>
                  </a:lnTo>
                  <a:lnTo>
                    <a:pt x="78" y="34"/>
                  </a:lnTo>
                  <a:lnTo>
                    <a:pt x="78" y="38"/>
                  </a:lnTo>
                  <a:lnTo>
                    <a:pt x="74" y="40"/>
                  </a:lnTo>
                  <a:lnTo>
                    <a:pt x="74" y="44"/>
                  </a:lnTo>
                  <a:lnTo>
                    <a:pt x="74" y="48"/>
                  </a:lnTo>
                  <a:lnTo>
                    <a:pt x="70" y="48"/>
                  </a:lnTo>
                  <a:lnTo>
                    <a:pt x="70" y="52"/>
                  </a:lnTo>
                  <a:lnTo>
                    <a:pt x="70" y="48"/>
                  </a:lnTo>
                  <a:lnTo>
                    <a:pt x="74" y="48"/>
                  </a:lnTo>
                  <a:lnTo>
                    <a:pt x="70" y="48"/>
                  </a:lnTo>
                  <a:lnTo>
                    <a:pt x="66" y="48"/>
                  </a:lnTo>
                  <a:lnTo>
                    <a:pt x="66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6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4" y="66"/>
                  </a:lnTo>
                  <a:lnTo>
                    <a:pt x="64" y="70"/>
                  </a:lnTo>
                  <a:lnTo>
                    <a:pt x="66" y="70"/>
                  </a:lnTo>
                  <a:lnTo>
                    <a:pt x="66" y="74"/>
                  </a:lnTo>
                  <a:lnTo>
                    <a:pt x="64" y="74"/>
                  </a:lnTo>
                  <a:lnTo>
                    <a:pt x="66" y="74"/>
                  </a:lnTo>
                  <a:lnTo>
                    <a:pt x="66" y="78"/>
                  </a:lnTo>
                  <a:lnTo>
                    <a:pt x="66" y="82"/>
                  </a:lnTo>
                  <a:lnTo>
                    <a:pt x="70" y="86"/>
                  </a:lnTo>
                  <a:lnTo>
                    <a:pt x="74" y="86"/>
                  </a:lnTo>
                  <a:lnTo>
                    <a:pt x="74" y="90"/>
                  </a:lnTo>
                  <a:lnTo>
                    <a:pt x="74" y="86"/>
                  </a:lnTo>
                  <a:lnTo>
                    <a:pt x="74" y="82"/>
                  </a:lnTo>
                  <a:lnTo>
                    <a:pt x="74" y="86"/>
                  </a:lnTo>
                  <a:lnTo>
                    <a:pt x="74" y="82"/>
                  </a:lnTo>
                  <a:lnTo>
                    <a:pt x="78" y="82"/>
                  </a:lnTo>
                  <a:lnTo>
                    <a:pt x="78" y="78"/>
                  </a:lnTo>
                  <a:lnTo>
                    <a:pt x="78" y="82"/>
                  </a:lnTo>
                  <a:lnTo>
                    <a:pt x="82" y="78"/>
                  </a:lnTo>
                  <a:lnTo>
                    <a:pt x="82" y="82"/>
                  </a:lnTo>
                  <a:lnTo>
                    <a:pt x="86" y="82"/>
                  </a:lnTo>
                  <a:lnTo>
                    <a:pt x="86" y="86"/>
                  </a:lnTo>
                  <a:lnTo>
                    <a:pt x="86" y="90"/>
                  </a:lnTo>
                  <a:lnTo>
                    <a:pt x="86" y="94"/>
                  </a:lnTo>
                  <a:lnTo>
                    <a:pt x="86" y="90"/>
                  </a:lnTo>
                  <a:lnTo>
                    <a:pt x="90" y="90"/>
                  </a:lnTo>
                  <a:lnTo>
                    <a:pt x="90" y="86"/>
                  </a:lnTo>
                  <a:lnTo>
                    <a:pt x="94" y="86"/>
                  </a:lnTo>
                  <a:lnTo>
                    <a:pt x="94" y="90"/>
                  </a:lnTo>
                  <a:lnTo>
                    <a:pt x="96" y="90"/>
                  </a:lnTo>
                  <a:lnTo>
                    <a:pt x="96" y="94"/>
                  </a:lnTo>
                  <a:lnTo>
                    <a:pt x="96" y="90"/>
                  </a:lnTo>
                  <a:lnTo>
                    <a:pt x="94" y="90"/>
                  </a:lnTo>
                  <a:lnTo>
                    <a:pt x="94" y="94"/>
                  </a:lnTo>
                  <a:lnTo>
                    <a:pt x="94" y="96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0" y="104"/>
                  </a:lnTo>
                  <a:lnTo>
                    <a:pt x="100" y="100"/>
                  </a:lnTo>
                  <a:lnTo>
                    <a:pt x="100" y="104"/>
                  </a:lnTo>
                  <a:lnTo>
                    <a:pt x="100" y="108"/>
                  </a:lnTo>
                  <a:lnTo>
                    <a:pt x="100" y="112"/>
                  </a:lnTo>
                  <a:lnTo>
                    <a:pt x="96" y="112"/>
                  </a:lnTo>
                  <a:lnTo>
                    <a:pt x="96" y="108"/>
                  </a:lnTo>
                  <a:lnTo>
                    <a:pt x="96" y="104"/>
                  </a:lnTo>
                  <a:lnTo>
                    <a:pt x="100" y="104"/>
                  </a:lnTo>
                  <a:lnTo>
                    <a:pt x="96" y="104"/>
                  </a:lnTo>
                  <a:lnTo>
                    <a:pt x="94" y="104"/>
                  </a:lnTo>
                  <a:lnTo>
                    <a:pt x="90" y="104"/>
                  </a:lnTo>
                  <a:lnTo>
                    <a:pt x="90" y="100"/>
                  </a:lnTo>
                  <a:lnTo>
                    <a:pt x="90" y="104"/>
                  </a:lnTo>
                  <a:lnTo>
                    <a:pt x="90" y="100"/>
                  </a:lnTo>
                  <a:lnTo>
                    <a:pt x="90" y="96"/>
                  </a:lnTo>
                  <a:lnTo>
                    <a:pt x="86" y="96"/>
                  </a:lnTo>
                  <a:lnTo>
                    <a:pt x="86" y="94"/>
                  </a:lnTo>
                  <a:lnTo>
                    <a:pt x="82" y="94"/>
                  </a:lnTo>
                  <a:lnTo>
                    <a:pt x="82" y="90"/>
                  </a:lnTo>
                  <a:lnTo>
                    <a:pt x="78" y="90"/>
                  </a:lnTo>
                  <a:lnTo>
                    <a:pt x="78" y="86"/>
                  </a:lnTo>
                  <a:lnTo>
                    <a:pt x="78" y="90"/>
                  </a:lnTo>
                  <a:lnTo>
                    <a:pt x="78" y="94"/>
                  </a:lnTo>
                  <a:lnTo>
                    <a:pt x="78" y="96"/>
                  </a:lnTo>
                  <a:lnTo>
                    <a:pt x="82" y="96"/>
                  </a:lnTo>
                  <a:lnTo>
                    <a:pt x="82" y="100"/>
                  </a:lnTo>
                  <a:lnTo>
                    <a:pt x="78" y="100"/>
                  </a:lnTo>
                  <a:lnTo>
                    <a:pt x="78" y="96"/>
                  </a:lnTo>
                  <a:lnTo>
                    <a:pt x="78" y="94"/>
                  </a:lnTo>
                  <a:lnTo>
                    <a:pt x="74" y="94"/>
                  </a:lnTo>
                  <a:lnTo>
                    <a:pt x="70" y="90"/>
                  </a:lnTo>
                  <a:lnTo>
                    <a:pt x="66" y="90"/>
                  </a:lnTo>
                  <a:lnTo>
                    <a:pt x="66" y="86"/>
                  </a:lnTo>
                  <a:lnTo>
                    <a:pt x="64" y="90"/>
                  </a:lnTo>
                  <a:lnTo>
                    <a:pt x="64" y="94"/>
                  </a:lnTo>
                  <a:lnTo>
                    <a:pt x="60" y="94"/>
                  </a:lnTo>
                  <a:lnTo>
                    <a:pt x="56" y="94"/>
                  </a:lnTo>
                  <a:lnTo>
                    <a:pt x="56" y="90"/>
                  </a:lnTo>
                  <a:lnTo>
                    <a:pt x="52" y="86"/>
                  </a:lnTo>
                  <a:lnTo>
                    <a:pt x="52" y="90"/>
                  </a:lnTo>
                  <a:lnTo>
                    <a:pt x="52" y="86"/>
                  </a:lnTo>
                  <a:lnTo>
                    <a:pt x="52" y="82"/>
                  </a:lnTo>
                  <a:lnTo>
                    <a:pt x="56" y="78"/>
                  </a:lnTo>
                  <a:lnTo>
                    <a:pt x="56" y="74"/>
                  </a:lnTo>
                  <a:lnTo>
                    <a:pt x="52" y="74"/>
                  </a:lnTo>
                  <a:lnTo>
                    <a:pt x="52" y="70"/>
                  </a:lnTo>
                  <a:lnTo>
                    <a:pt x="50" y="70"/>
                  </a:lnTo>
                  <a:lnTo>
                    <a:pt x="50" y="74"/>
                  </a:lnTo>
                  <a:lnTo>
                    <a:pt x="52" y="74"/>
                  </a:lnTo>
                  <a:lnTo>
                    <a:pt x="52" y="78"/>
                  </a:lnTo>
                  <a:lnTo>
                    <a:pt x="50" y="78"/>
                  </a:lnTo>
                  <a:lnTo>
                    <a:pt x="50" y="74"/>
                  </a:lnTo>
                  <a:lnTo>
                    <a:pt x="46" y="74"/>
                  </a:lnTo>
                  <a:lnTo>
                    <a:pt x="46" y="70"/>
                  </a:lnTo>
                  <a:lnTo>
                    <a:pt x="50" y="70"/>
                  </a:lnTo>
                  <a:lnTo>
                    <a:pt x="46" y="70"/>
                  </a:lnTo>
                  <a:lnTo>
                    <a:pt x="46" y="74"/>
                  </a:lnTo>
                  <a:lnTo>
                    <a:pt x="46" y="70"/>
                  </a:lnTo>
                  <a:lnTo>
                    <a:pt x="46" y="66"/>
                  </a:lnTo>
                  <a:lnTo>
                    <a:pt x="42" y="64"/>
                  </a:lnTo>
                  <a:lnTo>
                    <a:pt x="42" y="60"/>
                  </a:lnTo>
                  <a:lnTo>
                    <a:pt x="42" y="56"/>
                  </a:lnTo>
                  <a:lnTo>
                    <a:pt x="42" y="56"/>
                  </a:lnTo>
                  <a:lnTo>
                    <a:pt x="42" y="56"/>
                  </a:lnTo>
                  <a:close/>
                  <a:moveTo>
                    <a:pt x="70" y="74"/>
                  </a:moveTo>
                  <a:lnTo>
                    <a:pt x="70" y="70"/>
                  </a:lnTo>
                  <a:lnTo>
                    <a:pt x="66" y="70"/>
                  </a:lnTo>
                  <a:lnTo>
                    <a:pt x="66" y="66"/>
                  </a:lnTo>
                  <a:lnTo>
                    <a:pt x="70" y="66"/>
                  </a:lnTo>
                  <a:lnTo>
                    <a:pt x="70" y="70"/>
                  </a:lnTo>
                  <a:lnTo>
                    <a:pt x="70" y="66"/>
                  </a:lnTo>
                  <a:lnTo>
                    <a:pt x="70" y="70"/>
                  </a:lnTo>
                  <a:lnTo>
                    <a:pt x="70" y="74"/>
                  </a:lnTo>
                  <a:lnTo>
                    <a:pt x="70" y="74"/>
                  </a:lnTo>
                  <a:lnTo>
                    <a:pt x="70" y="74"/>
                  </a:lnTo>
                  <a:close/>
                  <a:moveTo>
                    <a:pt x="74" y="74"/>
                  </a:moveTo>
                  <a:lnTo>
                    <a:pt x="74" y="70"/>
                  </a:lnTo>
                  <a:lnTo>
                    <a:pt x="70" y="70"/>
                  </a:lnTo>
                  <a:lnTo>
                    <a:pt x="74" y="70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4"/>
                  </a:lnTo>
                  <a:close/>
                  <a:moveTo>
                    <a:pt x="74" y="86"/>
                  </a:moveTo>
                  <a:lnTo>
                    <a:pt x="70" y="86"/>
                  </a:lnTo>
                  <a:lnTo>
                    <a:pt x="70" y="82"/>
                  </a:lnTo>
                  <a:lnTo>
                    <a:pt x="70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close/>
                  <a:moveTo>
                    <a:pt x="100" y="94"/>
                  </a:moveTo>
                  <a:lnTo>
                    <a:pt x="100" y="90"/>
                  </a:lnTo>
                  <a:lnTo>
                    <a:pt x="100" y="86"/>
                  </a:lnTo>
                  <a:lnTo>
                    <a:pt x="104" y="86"/>
                  </a:lnTo>
                  <a:lnTo>
                    <a:pt x="104" y="90"/>
                  </a:lnTo>
                  <a:lnTo>
                    <a:pt x="104" y="94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100" y="94"/>
                  </a:lnTo>
                  <a:close/>
                  <a:moveTo>
                    <a:pt x="46" y="94"/>
                  </a:moveTo>
                  <a:lnTo>
                    <a:pt x="46" y="90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46" y="94"/>
                  </a:lnTo>
                  <a:close/>
                  <a:moveTo>
                    <a:pt x="70" y="100"/>
                  </a:moveTo>
                  <a:lnTo>
                    <a:pt x="66" y="96"/>
                  </a:lnTo>
                  <a:lnTo>
                    <a:pt x="70" y="94"/>
                  </a:lnTo>
                  <a:lnTo>
                    <a:pt x="70" y="96"/>
                  </a:lnTo>
                  <a:lnTo>
                    <a:pt x="74" y="96"/>
                  </a:lnTo>
                  <a:lnTo>
                    <a:pt x="70" y="100"/>
                  </a:lnTo>
                  <a:lnTo>
                    <a:pt x="70" y="100"/>
                  </a:lnTo>
                  <a:lnTo>
                    <a:pt x="70" y="100"/>
                  </a:lnTo>
                  <a:close/>
                  <a:moveTo>
                    <a:pt x="56" y="116"/>
                  </a:moveTo>
                  <a:lnTo>
                    <a:pt x="56" y="112"/>
                  </a:lnTo>
                  <a:lnTo>
                    <a:pt x="56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0" y="100"/>
                  </a:lnTo>
                  <a:lnTo>
                    <a:pt x="50" y="96"/>
                  </a:lnTo>
                  <a:lnTo>
                    <a:pt x="50" y="94"/>
                  </a:lnTo>
                  <a:lnTo>
                    <a:pt x="52" y="94"/>
                  </a:lnTo>
                  <a:lnTo>
                    <a:pt x="52" y="96"/>
                  </a:lnTo>
                  <a:lnTo>
                    <a:pt x="56" y="94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12"/>
                  </a:lnTo>
                  <a:lnTo>
                    <a:pt x="64" y="116"/>
                  </a:lnTo>
                  <a:lnTo>
                    <a:pt x="60" y="116"/>
                  </a:lnTo>
                  <a:lnTo>
                    <a:pt x="56" y="116"/>
                  </a:lnTo>
                  <a:lnTo>
                    <a:pt x="56" y="116"/>
                  </a:lnTo>
                  <a:lnTo>
                    <a:pt x="56" y="116"/>
                  </a:lnTo>
                  <a:close/>
                  <a:moveTo>
                    <a:pt x="90" y="108"/>
                  </a:moveTo>
                  <a:lnTo>
                    <a:pt x="90" y="104"/>
                  </a:lnTo>
                  <a:lnTo>
                    <a:pt x="86" y="104"/>
                  </a:lnTo>
                  <a:lnTo>
                    <a:pt x="86" y="100"/>
                  </a:lnTo>
                  <a:lnTo>
                    <a:pt x="86" y="104"/>
                  </a:lnTo>
                  <a:lnTo>
                    <a:pt x="90" y="104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close/>
                  <a:moveTo>
                    <a:pt x="70" y="120"/>
                  </a:moveTo>
                  <a:lnTo>
                    <a:pt x="70" y="116"/>
                  </a:lnTo>
                  <a:lnTo>
                    <a:pt x="70" y="112"/>
                  </a:lnTo>
                  <a:lnTo>
                    <a:pt x="70" y="108"/>
                  </a:lnTo>
                  <a:lnTo>
                    <a:pt x="74" y="108"/>
                  </a:lnTo>
                  <a:lnTo>
                    <a:pt x="74" y="112"/>
                  </a:lnTo>
                  <a:lnTo>
                    <a:pt x="70" y="112"/>
                  </a:lnTo>
                  <a:lnTo>
                    <a:pt x="70" y="120"/>
                  </a:lnTo>
                  <a:lnTo>
                    <a:pt x="70" y="120"/>
                  </a:lnTo>
                  <a:lnTo>
                    <a:pt x="70" y="120"/>
                  </a:lnTo>
                  <a:close/>
                  <a:moveTo>
                    <a:pt x="96" y="116"/>
                  </a:moveTo>
                  <a:lnTo>
                    <a:pt x="96" y="112"/>
                  </a:lnTo>
                  <a:lnTo>
                    <a:pt x="94" y="112"/>
                  </a:lnTo>
                  <a:lnTo>
                    <a:pt x="94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96" y="116"/>
                  </a:lnTo>
                  <a:close/>
                  <a:moveTo>
                    <a:pt x="86" y="124"/>
                  </a:moveTo>
                  <a:lnTo>
                    <a:pt x="90" y="120"/>
                  </a:lnTo>
                  <a:lnTo>
                    <a:pt x="90" y="116"/>
                  </a:lnTo>
                  <a:lnTo>
                    <a:pt x="90" y="112"/>
                  </a:lnTo>
                  <a:lnTo>
                    <a:pt x="94" y="112"/>
                  </a:lnTo>
                  <a:lnTo>
                    <a:pt x="94" y="116"/>
                  </a:lnTo>
                  <a:lnTo>
                    <a:pt x="96" y="116"/>
                  </a:lnTo>
                  <a:lnTo>
                    <a:pt x="100" y="120"/>
                  </a:lnTo>
                  <a:lnTo>
                    <a:pt x="100" y="124"/>
                  </a:lnTo>
                  <a:lnTo>
                    <a:pt x="100" y="126"/>
                  </a:lnTo>
                  <a:lnTo>
                    <a:pt x="100" y="124"/>
                  </a:lnTo>
                  <a:lnTo>
                    <a:pt x="96" y="124"/>
                  </a:lnTo>
                  <a:lnTo>
                    <a:pt x="94" y="120"/>
                  </a:lnTo>
                  <a:lnTo>
                    <a:pt x="94" y="116"/>
                  </a:lnTo>
                  <a:lnTo>
                    <a:pt x="90" y="116"/>
                  </a:lnTo>
                  <a:lnTo>
                    <a:pt x="90" y="120"/>
                  </a:lnTo>
                  <a:lnTo>
                    <a:pt x="90" y="124"/>
                  </a:lnTo>
                  <a:lnTo>
                    <a:pt x="86" y="124"/>
                  </a:lnTo>
                  <a:lnTo>
                    <a:pt x="86" y="124"/>
                  </a:lnTo>
                  <a:lnTo>
                    <a:pt x="86" y="124"/>
                  </a:lnTo>
                  <a:close/>
                  <a:moveTo>
                    <a:pt x="104" y="120"/>
                  </a:moveTo>
                  <a:lnTo>
                    <a:pt x="104" y="116"/>
                  </a:lnTo>
                  <a:lnTo>
                    <a:pt x="104" y="112"/>
                  </a:lnTo>
                  <a:lnTo>
                    <a:pt x="108" y="112"/>
                  </a:lnTo>
                  <a:lnTo>
                    <a:pt x="112" y="112"/>
                  </a:lnTo>
                  <a:lnTo>
                    <a:pt x="116" y="112"/>
                  </a:lnTo>
                  <a:lnTo>
                    <a:pt x="120" y="112"/>
                  </a:lnTo>
                  <a:lnTo>
                    <a:pt x="116" y="116"/>
                  </a:lnTo>
                  <a:lnTo>
                    <a:pt x="120" y="116"/>
                  </a:lnTo>
                  <a:lnTo>
                    <a:pt x="120" y="120"/>
                  </a:lnTo>
                  <a:lnTo>
                    <a:pt x="120" y="124"/>
                  </a:lnTo>
                  <a:lnTo>
                    <a:pt x="120" y="126"/>
                  </a:lnTo>
                  <a:lnTo>
                    <a:pt x="120" y="130"/>
                  </a:lnTo>
                  <a:lnTo>
                    <a:pt x="122" y="130"/>
                  </a:lnTo>
                  <a:lnTo>
                    <a:pt x="122" y="134"/>
                  </a:lnTo>
                  <a:lnTo>
                    <a:pt x="120" y="134"/>
                  </a:lnTo>
                  <a:lnTo>
                    <a:pt x="122" y="134"/>
                  </a:lnTo>
                  <a:lnTo>
                    <a:pt x="122" y="138"/>
                  </a:lnTo>
                  <a:lnTo>
                    <a:pt x="122" y="134"/>
                  </a:lnTo>
                  <a:lnTo>
                    <a:pt x="120" y="134"/>
                  </a:lnTo>
                  <a:lnTo>
                    <a:pt x="116" y="134"/>
                  </a:lnTo>
                  <a:lnTo>
                    <a:pt x="112" y="130"/>
                  </a:lnTo>
                  <a:lnTo>
                    <a:pt x="112" y="126"/>
                  </a:lnTo>
                  <a:lnTo>
                    <a:pt x="116" y="126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0"/>
                  </a:lnTo>
                  <a:close/>
                  <a:moveTo>
                    <a:pt x="78" y="116"/>
                  </a:moveTo>
                  <a:lnTo>
                    <a:pt x="78" y="112"/>
                  </a:lnTo>
                  <a:lnTo>
                    <a:pt x="82" y="112"/>
                  </a:lnTo>
                  <a:lnTo>
                    <a:pt x="82" y="116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78" y="116"/>
                  </a:lnTo>
                  <a:close/>
                  <a:moveTo>
                    <a:pt x="46" y="120"/>
                  </a:moveTo>
                  <a:lnTo>
                    <a:pt x="42" y="120"/>
                  </a:lnTo>
                  <a:lnTo>
                    <a:pt x="42" y="116"/>
                  </a:lnTo>
                  <a:lnTo>
                    <a:pt x="46" y="116"/>
                  </a:lnTo>
                  <a:lnTo>
                    <a:pt x="46" y="120"/>
                  </a:lnTo>
                  <a:lnTo>
                    <a:pt x="46" y="116"/>
                  </a:lnTo>
                  <a:lnTo>
                    <a:pt x="50" y="120"/>
                  </a:lnTo>
                  <a:lnTo>
                    <a:pt x="46" y="120"/>
                  </a:lnTo>
                  <a:lnTo>
                    <a:pt x="46" y="120"/>
                  </a:lnTo>
                  <a:lnTo>
                    <a:pt x="46" y="120"/>
                  </a:lnTo>
                  <a:close/>
                  <a:moveTo>
                    <a:pt x="42" y="126"/>
                  </a:moveTo>
                  <a:lnTo>
                    <a:pt x="42" y="124"/>
                  </a:lnTo>
                  <a:lnTo>
                    <a:pt x="42" y="120"/>
                  </a:lnTo>
                  <a:lnTo>
                    <a:pt x="42" y="124"/>
                  </a:lnTo>
                  <a:lnTo>
                    <a:pt x="46" y="124"/>
                  </a:lnTo>
                  <a:lnTo>
                    <a:pt x="46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6"/>
                  </a:lnTo>
                  <a:close/>
                  <a:moveTo>
                    <a:pt x="86" y="134"/>
                  </a:moveTo>
                  <a:lnTo>
                    <a:pt x="86" y="138"/>
                  </a:lnTo>
                  <a:lnTo>
                    <a:pt x="82" y="138"/>
                  </a:lnTo>
                  <a:lnTo>
                    <a:pt x="82" y="142"/>
                  </a:lnTo>
                  <a:lnTo>
                    <a:pt x="78" y="142"/>
                  </a:lnTo>
                  <a:lnTo>
                    <a:pt x="74" y="142"/>
                  </a:lnTo>
                  <a:lnTo>
                    <a:pt x="74" y="146"/>
                  </a:lnTo>
                  <a:lnTo>
                    <a:pt x="70" y="146"/>
                  </a:lnTo>
                  <a:lnTo>
                    <a:pt x="70" y="150"/>
                  </a:lnTo>
                  <a:lnTo>
                    <a:pt x="70" y="146"/>
                  </a:lnTo>
                  <a:lnTo>
                    <a:pt x="70" y="142"/>
                  </a:lnTo>
                  <a:lnTo>
                    <a:pt x="70" y="138"/>
                  </a:lnTo>
                  <a:lnTo>
                    <a:pt x="70" y="134"/>
                  </a:lnTo>
                  <a:lnTo>
                    <a:pt x="70" y="130"/>
                  </a:lnTo>
                  <a:lnTo>
                    <a:pt x="70" y="126"/>
                  </a:lnTo>
                  <a:lnTo>
                    <a:pt x="70" y="124"/>
                  </a:lnTo>
                  <a:lnTo>
                    <a:pt x="66" y="124"/>
                  </a:lnTo>
                  <a:lnTo>
                    <a:pt x="70" y="124"/>
                  </a:lnTo>
                  <a:lnTo>
                    <a:pt x="74" y="124"/>
                  </a:lnTo>
                  <a:lnTo>
                    <a:pt x="78" y="126"/>
                  </a:lnTo>
                  <a:lnTo>
                    <a:pt x="78" y="130"/>
                  </a:lnTo>
                  <a:lnTo>
                    <a:pt x="82" y="126"/>
                  </a:lnTo>
                  <a:lnTo>
                    <a:pt x="82" y="130"/>
                  </a:lnTo>
                  <a:lnTo>
                    <a:pt x="86" y="130"/>
                  </a:lnTo>
                  <a:lnTo>
                    <a:pt x="86" y="126"/>
                  </a:lnTo>
                  <a:lnTo>
                    <a:pt x="86" y="130"/>
                  </a:lnTo>
                  <a:lnTo>
                    <a:pt x="86" y="134"/>
                  </a:lnTo>
                  <a:lnTo>
                    <a:pt x="86" y="134"/>
                  </a:lnTo>
                  <a:lnTo>
                    <a:pt x="86" y="134"/>
                  </a:lnTo>
                  <a:close/>
                  <a:moveTo>
                    <a:pt x="104" y="130"/>
                  </a:moveTo>
                  <a:lnTo>
                    <a:pt x="104" y="126"/>
                  </a:lnTo>
                  <a:lnTo>
                    <a:pt x="108" y="126"/>
                  </a:lnTo>
                  <a:lnTo>
                    <a:pt x="108" y="130"/>
                  </a:lnTo>
                  <a:lnTo>
                    <a:pt x="104" y="130"/>
                  </a:lnTo>
                  <a:lnTo>
                    <a:pt x="104" y="130"/>
                  </a:lnTo>
                  <a:lnTo>
                    <a:pt x="104" y="130"/>
                  </a:lnTo>
                  <a:close/>
                  <a:moveTo>
                    <a:pt x="108" y="146"/>
                  </a:moveTo>
                  <a:lnTo>
                    <a:pt x="112" y="146"/>
                  </a:lnTo>
                  <a:lnTo>
                    <a:pt x="112" y="142"/>
                  </a:lnTo>
                  <a:lnTo>
                    <a:pt x="108" y="142"/>
                  </a:lnTo>
                  <a:lnTo>
                    <a:pt x="108" y="138"/>
                  </a:lnTo>
                  <a:lnTo>
                    <a:pt x="108" y="142"/>
                  </a:lnTo>
                  <a:lnTo>
                    <a:pt x="104" y="142"/>
                  </a:lnTo>
                  <a:lnTo>
                    <a:pt x="104" y="138"/>
                  </a:lnTo>
                  <a:lnTo>
                    <a:pt x="104" y="134"/>
                  </a:lnTo>
                  <a:lnTo>
                    <a:pt x="104" y="130"/>
                  </a:lnTo>
                  <a:lnTo>
                    <a:pt x="104" y="126"/>
                  </a:lnTo>
                  <a:lnTo>
                    <a:pt x="108" y="130"/>
                  </a:lnTo>
                  <a:lnTo>
                    <a:pt x="108" y="134"/>
                  </a:lnTo>
                  <a:lnTo>
                    <a:pt x="108" y="130"/>
                  </a:lnTo>
                  <a:lnTo>
                    <a:pt x="112" y="130"/>
                  </a:lnTo>
                  <a:lnTo>
                    <a:pt x="112" y="134"/>
                  </a:lnTo>
                  <a:lnTo>
                    <a:pt x="116" y="138"/>
                  </a:lnTo>
                  <a:lnTo>
                    <a:pt x="112" y="138"/>
                  </a:lnTo>
                  <a:lnTo>
                    <a:pt x="112" y="142"/>
                  </a:lnTo>
                  <a:lnTo>
                    <a:pt x="116" y="142"/>
                  </a:lnTo>
                  <a:lnTo>
                    <a:pt x="116" y="146"/>
                  </a:lnTo>
                  <a:lnTo>
                    <a:pt x="116" y="150"/>
                  </a:lnTo>
                  <a:lnTo>
                    <a:pt x="116" y="152"/>
                  </a:lnTo>
                  <a:lnTo>
                    <a:pt x="116" y="150"/>
                  </a:lnTo>
                  <a:lnTo>
                    <a:pt x="112" y="150"/>
                  </a:lnTo>
                  <a:lnTo>
                    <a:pt x="112" y="152"/>
                  </a:lnTo>
                  <a:lnTo>
                    <a:pt x="108" y="152"/>
                  </a:lnTo>
                  <a:lnTo>
                    <a:pt x="112" y="150"/>
                  </a:lnTo>
                  <a:lnTo>
                    <a:pt x="108" y="150"/>
                  </a:lnTo>
                  <a:lnTo>
                    <a:pt x="108" y="146"/>
                  </a:lnTo>
                  <a:lnTo>
                    <a:pt x="108" y="146"/>
                  </a:lnTo>
                  <a:lnTo>
                    <a:pt x="108" y="146"/>
                  </a:lnTo>
                  <a:close/>
                  <a:moveTo>
                    <a:pt x="42" y="130"/>
                  </a:moveTo>
                  <a:lnTo>
                    <a:pt x="38" y="130"/>
                  </a:lnTo>
                  <a:lnTo>
                    <a:pt x="42" y="130"/>
                  </a:lnTo>
                  <a:lnTo>
                    <a:pt x="42" y="130"/>
                  </a:lnTo>
                  <a:lnTo>
                    <a:pt x="42" y="130"/>
                  </a:lnTo>
                  <a:close/>
                  <a:moveTo>
                    <a:pt x="38" y="146"/>
                  </a:moveTo>
                  <a:lnTo>
                    <a:pt x="38" y="150"/>
                  </a:lnTo>
                  <a:lnTo>
                    <a:pt x="34" y="150"/>
                  </a:lnTo>
                  <a:lnTo>
                    <a:pt x="34" y="152"/>
                  </a:lnTo>
                  <a:lnTo>
                    <a:pt x="30" y="152"/>
                  </a:lnTo>
                  <a:lnTo>
                    <a:pt x="26" y="156"/>
                  </a:lnTo>
                  <a:lnTo>
                    <a:pt x="24" y="160"/>
                  </a:lnTo>
                  <a:lnTo>
                    <a:pt x="26" y="160"/>
                  </a:lnTo>
                  <a:lnTo>
                    <a:pt x="24" y="164"/>
                  </a:lnTo>
                  <a:lnTo>
                    <a:pt x="24" y="168"/>
                  </a:lnTo>
                  <a:lnTo>
                    <a:pt x="20" y="168"/>
                  </a:lnTo>
                  <a:lnTo>
                    <a:pt x="16" y="168"/>
                  </a:lnTo>
                  <a:lnTo>
                    <a:pt x="16" y="172"/>
                  </a:lnTo>
                  <a:lnTo>
                    <a:pt x="16" y="176"/>
                  </a:lnTo>
                  <a:lnTo>
                    <a:pt x="12" y="176"/>
                  </a:lnTo>
                  <a:lnTo>
                    <a:pt x="12" y="180"/>
                  </a:lnTo>
                  <a:lnTo>
                    <a:pt x="8" y="180"/>
                  </a:lnTo>
                  <a:lnTo>
                    <a:pt x="4" y="182"/>
                  </a:lnTo>
                  <a:lnTo>
                    <a:pt x="4" y="180"/>
                  </a:lnTo>
                  <a:lnTo>
                    <a:pt x="4" y="176"/>
                  </a:lnTo>
                  <a:lnTo>
                    <a:pt x="8" y="176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6" y="168"/>
                  </a:lnTo>
                  <a:lnTo>
                    <a:pt x="20" y="160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6" y="152"/>
                  </a:lnTo>
                  <a:lnTo>
                    <a:pt x="26" y="156"/>
                  </a:lnTo>
                  <a:lnTo>
                    <a:pt x="26" y="152"/>
                  </a:lnTo>
                  <a:lnTo>
                    <a:pt x="30" y="150"/>
                  </a:lnTo>
                  <a:lnTo>
                    <a:pt x="26" y="150"/>
                  </a:lnTo>
                  <a:lnTo>
                    <a:pt x="30" y="150"/>
                  </a:lnTo>
                  <a:lnTo>
                    <a:pt x="34" y="146"/>
                  </a:lnTo>
                  <a:lnTo>
                    <a:pt x="34" y="142"/>
                  </a:lnTo>
                  <a:lnTo>
                    <a:pt x="30" y="142"/>
                  </a:lnTo>
                  <a:lnTo>
                    <a:pt x="30" y="138"/>
                  </a:lnTo>
                  <a:lnTo>
                    <a:pt x="34" y="138"/>
                  </a:lnTo>
                  <a:lnTo>
                    <a:pt x="34" y="142"/>
                  </a:lnTo>
                  <a:lnTo>
                    <a:pt x="34" y="138"/>
                  </a:lnTo>
                  <a:lnTo>
                    <a:pt x="34" y="134"/>
                  </a:lnTo>
                  <a:lnTo>
                    <a:pt x="34" y="138"/>
                  </a:lnTo>
                  <a:lnTo>
                    <a:pt x="34" y="134"/>
                  </a:lnTo>
                  <a:lnTo>
                    <a:pt x="34" y="130"/>
                  </a:lnTo>
                  <a:lnTo>
                    <a:pt x="38" y="130"/>
                  </a:lnTo>
                  <a:lnTo>
                    <a:pt x="38" y="134"/>
                  </a:lnTo>
                  <a:lnTo>
                    <a:pt x="34" y="138"/>
                  </a:lnTo>
                  <a:lnTo>
                    <a:pt x="34" y="142"/>
                  </a:lnTo>
                  <a:lnTo>
                    <a:pt x="38" y="142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8" y="146"/>
                  </a:lnTo>
                  <a:close/>
                  <a:moveTo>
                    <a:pt x="90" y="152"/>
                  </a:moveTo>
                  <a:lnTo>
                    <a:pt x="94" y="152"/>
                  </a:lnTo>
                  <a:lnTo>
                    <a:pt x="94" y="150"/>
                  </a:lnTo>
                  <a:lnTo>
                    <a:pt x="94" y="146"/>
                  </a:lnTo>
                  <a:lnTo>
                    <a:pt x="96" y="146"/>
                  </a:lnTo>
                  <a:lnTo>
                    <a:pt x="96" y="142"/>
                  </a:lnTo>
                  <a:lnTo>
                    <a:pt x="96" y="138"/>
                  </a:lnTo>
                  <a:lnTo>
                    <a:pt x="96" y="134"/>
                  </a:lnTo>
                  <a:lnTo>
                    <a:pt x="100" y="134"/>
                  </a:lnTo>
                  <a:lnTo>
                    <a:pt x="100" y="138"/>
                  </a:lnTo>
                  <a:lnTo>
                    <a:pt x="100" y="142"/>
                  </a:lnTo>
                  <a:lnTo>
                    <a:pt x="100" y="146"/>
                  </a:lnTo>
                  <a:lnTo>
                    <a:pt x="100" y="150"/>
                  </a:lnTo>
                  <a:lnTo>
                    <a:pt x="96" y="150"/>
                  </a:lnTo>
                  <a:lnTo>
                    <a:pt x="96" y="152"/>
                  </a:lnTo>
                  <a:lnTo>
                    <a:pt x="94" y="152"/>
                  </a:lnTo>
                  <a:lnTo>
                    <a:pt x="94" y="156"/>
                  </a:lnTo>
                  <a:lnTo>
                    <a:pt x="94" y="160"/>
                  </a:lnTo>
                  <a:lnTo>
                    <a:pt x="94" y="164"/>
                  </a:lnTo>
                  <a:lnTo>
                    <a:pt x="90" y="164"/>
                  </a:lnTo>
                  <a:lnTo>
                    <a:pt x="90" y="160"/>
                  </a:lnTo>
                  <a:lnTo>
                    <a:pt x="90" y="156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90" y="152"/>
                  </a:lnTo>
                  <a:close/>
                  <a:moveTo>
                    <a:pt x="90" y="150"/>
                  </a:moveTo>
                  <a:lnTo>
                    <a:pt x="90" y="152"/>
                  </a:lnTo>
                  <a:lnTo>
                    <a:pt x="90" y="156"/>
                  </a:lnTo>
                  <a:lnTo>
                    <a:pt x="86" y="156"/>
                  </a:lnTo>
                  <a:lnTo>
                    <a:pt x="86" y="160"/>
                  </a:lnTo>
                  <a:lnTo>
                    <a:pt x="86" y="164"/>
                  </a:lnTo>
                  <a:lnTo>
                    <a:pt x="90" y="164"/>
                  </a:lnTo>
                  <a:lnTo>
                    <a:pt x="90" y="168"/>
                  </a:lnTo>
                  <a:lnTo>
                    <a:pt x="90" y="172"/>
                  </a:lnTo>
                  <a:lnTo>
                    <a:pt x="86" y="172"/>
                  </a:lnTo>
                  <a:lnTo>
                    <a:pt x="82" y="172"/>
                  </a:lnTo>
                  <a:lnTo>
                    <a:pt x="82" y="168"/>
                  </a:lnTo>
                  <a:lnTo>
                    <a:pt x="82" y="164"/>
                  </a:lnTo>
                  <a:lnTo>
                    <a:pt x="78" y="164"/>
                  </a:lnTo>
                  <a:lnTo>
                    <a:pt x="78" y="160"/>
                  </a:lnTo>
                  <a:lnTo>
                    <a:pt x="74" y="160"/>
                  </a:lnTo>
                  <a:lnTo>
                    <a:pt x="78" y="160"/>
                  </a:lnTo>
                  <a:lnTo>
                    <a:pt x="78" y="156"/>
                  </a:lnTo>
                  <a:lnTo>
                    <a:pt x="82" y="156"/>
                  </a:lnTo>
                  <a:lnTo>
                    <a:pt x="82" y="152"/>
                  </a:lnTo>
                  <a:lnTo>
                    <a:pt x="82" y="150"/>
                  </a:lnTo>
                  <a:lnTo>
                    <a:pt x="82" y="146"/>
                  </a:lnTo>
                  <a:lnTo>
                    <a:pt x="86" y="142"/>
                  </a:lnTo>
                  <a:lnTo>
                    <a:pt x="86" y="138"/>
                  </a:lnTo>
                  <a:lnTo>
                    <a:pt x="90" y="138"/>
                  </a:lnTo>
                  <a:lnTo>
                    <a:pt x="94" y="138"/>
                  </a:lnTo>
                  <a:lnTo>
                    <a:pt x="94" y="142"/>
                  </a:lnTo>
                  <a:lnTo>
                    <a:pt x="94" y="146"/>
                  </a:lnTo>
                  <a:lnTo>
                    <a:pt x="90" y="146"/>
                  </a:lnTo>
                  <a:lnTo>
                    <a:pt x="90" y="150"/>
                  </a:lnTo>
                  <a:lnTo>
                    <a:pt x="90" y="150"/>
                  </a:lnTo>
                  <a:lnTo>
                    <a:pt x="90" y="150"/>
                  </a:lnTo>
                  <a:close/>
                  <a:moveTo>
                    <a:pt x="122" y="156"/>
                  </a:moveTo>
                  <a:lnTo>
                    <a:pt x="120" y="152"/>
                  </a:lnTo>
                  <a:lnTo>
                    <a:pt x="120" y="150"/>
                  </a:lnTo>
                  <a:lnTo>
                    <a:pt x="122" y="146"/>
                  </a:lnTo>
                  <a:lnTo>
                    <a:pt x="122" y="150"/>
                  </a:lnTo>
                  <a:lnTo>
                    <a:pt x="122" y="152"/>
                  </a:lnTo>
                  <a:lnTo>
                    <a:pt x="122" y="156"/>
                  </a:lnTo>
                  <a:lnTo>
                    <a:pt x="122" y="156"/>
                  </a:lnTo>
                  <a:lnTo>
                    <a:pt x="122" y="156"/>
                  </a:lnTo>
                  <a:close/>
                  <a:moveTo>
                    <a:pt x="108" y="152"/>
                  </a:moveTo>
                  <a:lnTo>
                    <a:pt x="108" y="156"/>
                  </a:lnTo>
                  <a:lnTo>
                    <a:pt x="108" y="160"/>
                  </a:lnTo>
                  <a:lnTo>
                    <a:pt x="104" y="160"/>
                  </a:lnTo>
                  <a:lnTo>
                    <a:pt x="100" y="160"/>
                  </a:lnTo>
                  <a:lnTo>
                    <a:pt x="96" y="160"/>
                  </a:lnTo>
                  <a:lnTo>
                    <a:pt x="96" y="156"/>
                  </a:lnTo>
                  <a:lnTo>
                    <a:pt x="100" y="156"/>
                  </a:lnTo>
                  <a:lnTo>
                    <a:pt x="100" y="152"/>
                  </a:lnTo>
                  <a:lnTo>
                    <a:pt x="104" y="152"/>
                  </a:lnTo>
                  <a:lnTo>
                    <a:pt x="108" y="152"/>
                  </a:lnTo>
                  <a:lnTo>
                    <a:pt x="108" y="152"/>
                  </a:lnTo>
                  <a:lnTo>
                    <a:pt x="108" y="152"/>
                  </a:lnTo>
                  <a:close/>
                  <a:moveTo>
                    <a:pt x="116" y="156"/>
                  </a:moveTo>
                  <a:lnTo>
                    <a:pt x="116" y="152"/>
                  </a:lnTo>
                  <a:lnTo>
                    <a:pt x="116" y="156"/>
                  </a:lnTo>
                  <a:lnTo>
                    <a:pt x="116" y="156"/>
                  </a:lnTo>
                  <a:lnTo>
                    <a:pt x="116" y="156"/>
                  </a:lnTo>
                  <a:close/>
                  <a:moveTo>
                    <a:pt x="126" y="160"/>
                  </a:moveTo>
                  <a:lnTo>
                    <a:pt x="126" y="156"/>
                  </a:lnTo>
                  <a:lnTo>
                    <a:pt x="126" y="152"/>
                  </a:lnTo>
                  <a:lnTo>
                    <a:pt x="130" y="156"/>
                  </a:lnTo>
                  <a:lnTo>
                    <a:pt x="130" y="160"/>
                  </a:lnTo>
                  <a:lnTo>
                    <a:pt x="126" y="160"/>
                  </a:lnTo>
                  <a:lnTo>
                    <a:pt x="126" y="160"/>
                  </a:lnTo>
                  <a:lnTo>
                    <a:pt x="126" y="160"/>
                  </a:lnTo>
                  <a:close/>
                  <a:moveTo>
                    <a:pt x="74" y="202"/>
                  </a:moveTo>
                  <a:lnTo>
                    <a:pt x="74" y="206"/>
                  </a:lnTo>
                  <a:lnTo>
                    <a:pt x="74" y="208"/>
                  </a:lnTo>
                  <a:lnTo>
                    <a:pt x="70" y="208"/>
                  </a:lnTo>
                  <a:lnTo>
                    <a:pt x="70" y="206"/>
                  </a:lnTo>
                  <a:lnTo>
                    <a:pt x="70" y="202"/>
                  </a:lnTo>
                  <a:lnTo>
                    <a:pt x="70" y="198"/>
                  </a:lnTo>
                  <a:lnTo>
                    <a:pt x="70" y="194"/>
                  </a:lnTo>
                  <a:lnTo>
                    <a:pt x="74" y="194"/>
                  </a:lnTo>
                  <a:lnTo>
                    <a:pt x="74" y="190"/>
                  </a:lnTo>
                  <a:lnTo>
                    <a:pt x="78" y="186"/>
                  </a:lnTo>
                  <a:lnTo>
                    <a:pt x="78" y="190"/>
                  </a:lnTo>
                  <a:lnTo>
                    <a:pt x="82" y="186"/>
                  </a:lnTo>
                  <a:lnTo>
                    <a:pt x="86" y="186"/>
                  </a:lnTo>
                  <a:lnTo>
                    <a:pt x="86" y="182"/>
                  </a:lnTo>
                  <a:lnTo>
                    <a:pt x="86" y="180"/>
                  </a:lnTo>
                  <a:lnTo>
                    <a:pt x="90" y="180"/>
                  </a:lnTo>
                  <a:lnTo>
                    <a:pt x="90" y="176"/>
                  </a:lnTo>
                  <a:lnTo>
                    <a:pt x="94" y="180"/>
                  </a:lnTo>
                  <a:lnTo>
                    <a:pt x="96" y="180"/>
                  </a:lnTo>
                  <a:lnTo>
                    <a:pt x="96" y="182"/>
                  </a:lnTo>
                  <a:lnTo>
                    <a:pt x="96" y="186"/>
                  </a:lnTo>
                  <a:lnTo>
                    <a:pt x="96" y="190"/>
                  </a:lnTo>
                  <a:lnTo>
                    <a:pt x="94" y="190"/>
                  </a:lnTo>
                  <a:lnTo>
                    <a:pt x="96" y="190"/>
                  </a:lnTo>
                  <a:lnTo>
                    <a:pt x="96" y="186"/>
                  </a:lnTo>
                  <a:lnTo>
                    <a:pt x="100" y="186"/>
                  </a:lnTo>
                  <a:lnTo>
                    <a:pt x="104" y="186"/>
                  </a:lnTo>
                  <a:lnTo>
                    <a:pt x="104" y="182"/>
                  </a:lnTo>
                  <a:lnTo>
                    <a:pt x="100" y="182"/>
                  </a:lnTo>
                  <a:lnTo>
                    <a:pt x="104" y="182"/>
                  </a:lnTo>
                  <a:lnTo>
                    <a:pt x="104" y="180"/>
                  </a:lnTo>
                  <a:lnTo>
                    <a:pt x="108" y="180"/>
                  </a:lnTo>
                  <a:lnTo>
                    <a:pt x="108" y="182"/>
                  </a:lnTo>
                  <a:lnTo>
                    <a:pt x="108" y="180"/>
                  </a:lnTo>
                  <a:lnTo>
                    <a:pt x="108" y="176"/>
                  </a:lnTo>
                  <a:lnTo>
                    <a:pt x="112" y="176"/>
                  </a:lnTo>
                  <a:lnTo>
                    <a:pt x="112" y="172"/>
                  </a:lnTo>
                  <a:lnTo>
                    <a:pt x="112" y="176"/>
                  </a:lnTo>
                  <a:lnTo>
                    <a:pt x="116" y="176"/>
                  </a:lnTo>
                  <a:lnTo>
                    <a:pt x="116" y="172"/>
                  </a:lnTo>
                  <a:lnTo>
                    <a:pt x="120" y="172"/>
                  </a:lnTo>
                  <a:lnTo>
                    <a:pt x="120" y="168"/>
                  </a:lnTo>
                  <a:lnTo>
                    <a:pt x="120" y="164"/>
                  </a:lnTo>
                  <a:lnTo>
                    <a:pt x="120" y="160"/>
                  </a:lnTo>
                  <a:lnTo>
                    <a:pt x="120" y="156"/>
                  </a:lnTo>
                  <a:lnTo>
                    <a:pt x="120" y="160"/>
                  </a:lnTo>
                  <a:lnTo>
                    <a:pt x="122" y="160"/>
                  </a:lnTo>
                  <a:lnTo>
                    <a:pt x="122" y="164"/>
                  </a:lnTo>
                  <a:lnTo>
                    <a:pt x="126" y="164"/>
                  </a:lnTo>
                  <a:lnTo>
                    <a:pt x="126" y="168"/>
                  </a:lnTo>
                  <a:lnTo>
                    <a:pt x="130" y="168"/>
                  </a:lnTo>
                  <a:lnTo>
                    <a:pt x="130" y="172"/>
                  </a:lnTo>
                  <a:lnTo>
                    <a:pt x="130" y="176"/>
                  </a:lnTo>
                  <a:lnTo>
                    <a:pt x="130" y="180"/>
                  </a:lnTo>
                  <a:lnTo>
                    <a:pt x="126" y="180"/>
                  </a:lnTo>
                  <a:lnTo>
                    <a:pt x="130" y="180"/>
                  </a:lnTo>
                  <a:lnTo>
                    <a:pt x="134" y="180"/>
                  </a:lnTo>
                  <a:lnTo>
                    <a:pt x="134" y="182"/>
                  </a:lnTo>
                  <a:lnTo>
                    <a:pt x="130" y="182"/>
                  </a:lnTo>
                  <a:lnTo>
                    <a:pt x="130" y="186"/>
                  </a:lnTo>
                  <a:lnTo>
                    <a:pt x="134" y="186"/>
                  </a:lnTo>
                  <a:lnTo>
                    <a:pt x="134" y="190"/>
                  </a:lnTo>
                  <a:lnTo>
                    <a:pt x="134" y="194"/>
                  </a:lnTo>
                  <a:lnTo>
                    <a:pt x="134" y="198"/>
                  </a:lnTo>
                  <a:lnTo>
                    <a:pt x="134" y="202"/>
                  </a:lnTo>
                  <a:lnTo>
                    <a:pt x="134" y="206"/>
                  </a:lnTo>
                  <a:lnTo>
                    <a:pt x="130" y="206"/>
                  </a:lnTo>
                  <a:lnTo>
                    <a:pt x="130" y="208"/>
                  </a:lnTo>
                  <a:lnTo>
                    <a:pt x="130" y="212"/>
                  </a:lnTo>
                  <a:lnTo>
                    <a:pt x="130" y="216"/>
                  </a:lnTo>
                  <a:lnTo>
                    <a:pt x="130" y="220"/>
                  </a:lnTo>
                  <a:lnTo>
                    <a:pt x="130" y="216"/>
                  </a:lnTo>
                  <a:lnTo>
                    <a:pt x="126" y="216"/>
                  </a:lnTo>
                  <a:lnTo>
                    <a:pt x="126" y="212"/>
                  </a:lnTo>
                  <a:lnTo>
                    <a:pt x="130" y="212"/>
                  </a:lnTo>
                  <a:lnTo>
                    <a:pt x="126" y="208"/>
                  </a:lnTo>
                  <a:lnTo>
                    <a:pt x="126" y="206"/>
                  </a:lnTo>
                  <a:lnTo>
                    <a:pt x="126" y="202"/>
                  </a:lnTo>
                  <a:lnTo>
                    <a:pt x="122" y="202"/>
                  </a:lnTo>
                  <a:lnTo>
                    <a:pt x="122" y="206"/>
                  </a:lnTo>
                  <a:lnTo>
                    <a:pt x="120" y="206"/>
                  </a:lnTo>
                  <a:lnTo>
                    <a:pt x="120" y="208"/>
                  </a:lnTo>
                  <a:lnTo>
                    <a:pt x="120" y="212"/>
                  </a:lnTo>
                  <a:lnTo>
                    <a:pt x="122" y="216"/>
                  </a:lnTo>
                  <a:lnTo>
                    <a:pt x="122" y="220"/>
                  </a:lnTo>
                  <a:lnTo>
                    <a:pt x="122" y="224"/>
                  </a:lnTo>
                  <a:lnTo>
                    <a:pt x="122" y="228"/>
                  </a:lnTo>
                  <a:lnTo>
                    <a:pt x="120" y="228"/>
                  </a:lnTo>
                  <a:lnTo>
                    <a:pt x="120" y="232"/>
                  </a:lnTo>
                  <a:lnTo>
                    <a:pt x="116" y="232"/>
                  </a:lnTo>
                  <a:lnTo>
                    <a:pt x="120" y="232"/>
                  </a:lnTo>
                  <a:lnTo>
                    <a:pt x="116" y="228"/>
                  </a:lnTo>
                  <a:lnTo>
                    <a:pt x="116" y="224"/>
                  </a:lnTo>
                  <a:lnTo>
                    <a:pt x="116" y="220"/>
                  </a:lnTo>
                  <a:lnTo>
                    <a:pt x="116" y="224"/>
                  </a:lnTo>
                  <a:lnTo>
                    <a:pt x="116" y="228"/>
                  </a:lnTo>
                  <a:lnTo>
                    <a:pt x="112" y="228"/>
                  </a:lnTo>
                  <a:lnTo>
                    <a:pt x="108" y="224"/>
                  </a:lnTo>
                  <a:lnTo>
                    <a:pt x="104" y="224"/>
                  </a:lnTo>
                  <a:lnTo>
                    <a:pt x="104" y="220"/>
                  </a:lnTo>
                  <a:lnTo>
                    <a:pt x="100" y="220"/>
                  </a:lnTo>
                  <a:lnTo>
                    <a:pt x="100" y="216"/>
                  </a:lnTo>
                  <a:lnTo>
                    <a:pt x="100" y="212"/>
                  </a:lnTo>
                  <a:lnTo>
                    <a:pt x="100" y="208"/>
                  </a:lnTo>
                  <a:lnTo>
                    <a:pt x="96" y="208"/>
                  </a:lnTo>
                  <a:lnTo>
                    <a:pt x="100" y="206"/>
                  </a:lnTo>
                  <a:lnTo>
                    <a:pt x="104" y="202"/>
                  </a:lnTo>
                  <a:lnTo>
                    <a:pt x="100" y="198"/>
                  </a:lnTo>
                  <a:lnTo>
                    <a:pt x="100" y="202"/>
                  </a:lnTo>
                  <a:lnTo>
                    <a:pt x="100" y="198"/>
                  </a:lnTo>
                  <a:lnTo>
                    <a:pt x="100" y="194"/>
                  </a:lnTo>
                  <a:lnTo>
                    <a:pt x="96" y="194"/>
                  </a:lnTo>
                  <a:lnTo>
                    <a:pt x="94" y="194"/>
                  </a:lnTo>
                  <a:lnTo>
                    <a:pt x="94" y="190"/>
                  </a:lnTo>
                  <a:lnTo>
                    <a:pt x="94" y="194"/>
                  </a:lnTo>
                  <a:lnTo>
                    <a:pt x="90" y="194"/>
                  </a:lnTo>
                  <a:lnTo>
                    <a:pt x="94" y="194"/>
                  </a:lnTo>
                  <a:lnTo>
                    <a:pt x="94" y="198"/>
                  </a:lnTo>
                  <a:lnTo>
                    <a:pt x="90" y="198"/>
                  </a:lnTo>
                  <a:lnTo>
                    <a:pt x="94" y="202"/>
                  </a:lnTo>
                  <a:lnTo>
                    <a:pt x="90" y="202"/>
                  </a:lnTo>
                  <a:lnTo>
                    <a:pt x="90" y="198"/>
                  </a:lnTo>
                  <a:lnTo>
                    <a:pt x="86" y="198"/>
                  </a:lnTo>
                  <a:lnTo>
                    <a:pt x="90" y="198"/>
                  </a:lnTo>
                  <a:lnTo>
                    <a:pt x="86" y="198"/>
                  </a:lnTo>
                  <a:lnTo>
                    <a:pt x="90" y="198"/>
                  </a:lnTo>
                  <a:lnTo>
                    <a:pt x="86" y="198"/>
                  </a:lnTo>
                  <a:lnTo>
                    <a:pt x="86" y="194"/>
                  </a:lnTo>
                  <a:lnTo>
                    <a:pt x="86" y="198"/>
                  </a:lnTo>
                  <a:lnTo>
                    <a:pt x="82" y="198"/>
                  </a:lnTo>
                  <a:lnTo>
                    <a:pt x="82" y="194"/>
                  </a:lnTo>
                  <a:lnTo>
                    <a:pt x="78" y="194"/>
                  </a:lnTo>
                  <a:lnTo>
                    <a:pt x="78" y="198"/>
                  </a:lnTo>
                  <a:lnTo>
                    <a:pt x="74" y="198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4" y="202"/>
                  </a:lnTo>
                  <a:close/>
                  <a:moveTo>
                    <a:pt x="126" y="164"/>
                  </a:moveTo>
                  <a:lnTo>
                    <a:pt x="126" y="160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4"/>
                  </a:lnTo>
                  <a:close/>
                  <a:moveTo>
                    <a:pt x="108" y="172"/>
                  </a:moveTo>
                  <a:lnTo>
                    <a:pt x="108" y="168"/>
                  </a:lnTo>
                  <a:lnTo>
                    <a:pt x="112" y="168"/>
                  </a:lnTo>
                  <a:lnTo>
                    <a:pt x="112" y="172"/>
                  </a:lnTo>
                  <a:lnTo>
                    <a:pt x="108" y="172"/>
                  </a:lnTo>
                  <a:lnTo>
                    <a:pt x="108" y="172"/>
                  </a:lnTo>
                  <a:lnTo>
                    <a:pt x="108" y="172"/>
                  </a:lnTo>
                  <a:close/>
                  <a:moveTo>
                    <a:pt x="122" y="208"/>
                  </a:moveTo>
                  <a:lnTo>
                    <a:pt x="122" y="206"/>
                  </a:lnTo>
                  <a:lnTo>
                    <a:pt x="122" y="208"/>
                  </a:lnTo>
                  <a:lnTo>
                    <a:pt x="122" y="208"/>
                  </a:lnTo>
                  <a:lnTo>
                    <a:pt x="122" y="208"/>
                  </a:lnTo>
                  <a:close/>
                  <a:moveTo>
                    <a:pt x="70" y="216"/>
                  </a:moveTo>
                  <a:lnTo>
                    <a:pt x="66" y="212"/>
                  </a:lnTo>
                  <a:lnTo>
                    <a:pt x="70" y="212"/>
                  </a:lnTo>
                  <a:lnTo>
                    <a:pt x="74" y="212"/>
                  </a:lnTo>
                  <a:lnTo>
                    <a:pt x="74" y="216"/>
                  </a:lnTo>
                  <a:lnTo>
                    <a:pt x="70" y="216"/>
                  </a:lnTo>
                  <a:lnTo>
                    <a:pt x="70" y="216"/>
                  </a:lnTo>
                  <a:lnTo>
                    <a:pt x="70" y="216"/>
                  </a:lnTo>
                  <a:close/>
                  <a:moveTo>
                    <a:pt x="60" y="228"/>
                  </a:moveTo>
                  <a:lnTo>
                    <a:pt x="60" y="224"/>
                  </a:lnTo>
                  <a:lnTo>
                    <a:pt x="56" y="228"/>
                  </a:lnTo>
                  <a:lnTo>
                    <a:pt x="56" y="224"/>
                  </a:lnTo>
                  <a:lnTo>
                    <a:pt x="60" y="224"/>
                  </a:lnTo>
                  <a:lnTo>
                    <a:pt x="64" y="224"/>
                  </a:lnTo>
                  <a:lnTo>
                    <a:pt x="60" y="228"/>
                  </a:lnTo>
                  <a:lnTo>
                    <a:pt x="60" y="228"/>
                  </a:lnTo>
                  <a:lnTo>
                    <a:pt x="60" y="228"/>
                  </a:lnTo>
                  <a:close/>
                  <a:moveTo>
                    <a:pt x="42" y="238"/>
                  </a:moveTo>
                  <a:lnTo>
                    <a:pt x="42" y="236"/>
                  </a:lnTo>
                  <a:lnTo>
                    <a:pt x="46" y="236"/>
                  </a:lnTo>
                  <a:lnTo>
                    <a:pt x="46" y="238"/>
                  </a:lnTo>
                  <a:lnTo>
                    <a:pt x="42" y="238"/>
                  </a:lnTo>
                  <a:lnTo>
                    <a:pt x="42" y="238"/>
                  </a:lnTo>
                  <a:lnTo>
                    <a:pt x="42" y="23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09" name="Freeform 49">
              <a:extLst>
                <a:ext uri="{FF2B5EF4-FFF2-40B4-BE49-F238E27FC236}">
                  <a16:creationId xmlns:a16="http://schemas.microsoft.com/office/drawing/2014/main" id="{778B2DDE-E13C-8664-EB96-F9A2DB3600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5848" y="3318889"/>
              <a:ext cx="19482" cy="49023"/>
            </a:xfrm>
            <a:custGeom>
              <a:avLst/>
              <a:gdLst>
                <a:gd name="T0" fmla="*/ 6 w 10"/>
                <a:gd name="T1" fmla="*/ 26 h 26"/>
                <a:gd name="T2" fmla="*/ 6 w 10"/>
                <a:gd name="T3" fmla="*/ 26 h 26"/>
                <a:gd name="T4" fmla="*/ 6 w 10"/>
                <a:gd name="T5" fmla="*/ 26 h 26"/>
                <a:gd name="T6" fmla="*/ 6 w 10"/>
                <a:gd name="T7" fmla="*/ 26 h 26"/>
                <a:gd name="T8" fmla="*/ 4 w 10"/>
                <a:gd name="T9" fmla="*/ 26 h 26"/>
                <a:gd name="T10" fmla="*/ 4 w 10"/>
                <a:gd name="T11" fmla="*/ 26 h 26"/>
                <a:gd name="T12" fmla="*/ 0 w 10"/>
                <a:gd name="T13" fmla="*/ 26 h 26"/>
                <a:gd name="T14" fmla="*/ 0 w 10"/>
                <a:gd name="T15" fmla="*/ 22 h 26"/>
                <a:gd name="T16" fmla="*/ 0 w 10"/>
                <a:gd name="T17" fmla="*/ 22 h 26"/>
                <a:gd name="T18" fmla="*/ 0 w 10"/>
                <a:gd name="T19" fmla="*/ 22 h 26"/>
                <a:gd name="T20" fmla="*/ 0 w 10"/>
                <a:gd name="T21" fmla="*/ 18 h 26"/>
                <a:gd name="T22" fmla="*/ 0 w 10"/>
                <a:gd name="T23" fmla="*/ 14 h 26"/>
                <a:gd name="T24" fmla="*/ 0 w 10"/>
                <a:gd name="T25" fmla="*/ 10 h 26"/>
                <a:gd name="T26" fmla="*/ 0 w 10"/>
                <a:gd name="T27" fmla="*/ 10 h 26"/>
                <a:gd name="T28" fmla="*/ 0 w 10"/>
                <a:gd name="T29" fmla="*/ 10 h 26"/>
                <a:gd name="T30" fmla="*/ 0 w 10"/>
                <a:gd name="T31" fmla="*/ 10 h 26"/>
                <a:gd name="T32" fmla="*/ 0 w 10"/>
                <a:gd name="T33" fmla="*/ 6 h 26"/>
                <a:gd name="T34" fmla="*/ 0 w 10"/>
                <a:gd name="T35" fmla="*/ 6 h 26"/>
                <a:gd name="T36" fmla="*/ 0 w 10"/>
                <a:gd name="T37" fmla="*/ 6 h 26"/>
                <a:gd name="T38" fmla="*/ 0 w 10"/>
                <a:gd name="T39" fmla="*/ 6 h 26"/>
                <a:gd name="T40" fmla="*/ 0 w 10"/>
                <a:gd name="T41" fmla="*/ 6 h 26"/>
                <a:gd name="T42" fmla="*/ 0 w 10"/>
                <a:gd name="T43" fmla="*/ 2 h 26"/>
                <a:gd name="T44" fmla="*/ 0 w 10"/>
                <a:gd name="T45" fmla="*/ 2 h 26"/>
                <a:gd name="T46" fmla="*/ 0 w 10"/>
                <a:gd name="T47" fmla="*/ 2 h 26"/>
                <a:gd name="T48" fmla="*/ 0 w 10"/>
                <a:gd name="T49" fmla="*/ 2 h 26"/>
                <a:gd name="T50" fmla="*/ 4 w 10"/>
                <a:gd name="T51" fmla="*/ 0 h 26"/>
                <a:gd name="T52" fmla="*/ 4 w 10"/>
                <a:gd name="T53" fmla="*/ 0 h 26"/>
                <a:gd name="T54" fmla="*/ 6 w 10"/>
                <a:gd name="T55" fmla="*/ 0 h 26"/>
                <a:gd name="T56" fmla="*/ 6 w 10"/>
                <a:gd name="T57" fmla="*/ 0 h 26"/>
                <a:gd name="T58" fmla="*/ 6 w 10"/>
                <a:gd name="T59" fmla="*/ 2 h 26"/>
                <a:gd name="T60" fmla="*/ 6 w 10"/>
                <a:gd name="T61" fmla="*/ 2 h 26"/>
                <a:gd name="T62" fmla="*/ 10 w 10"/>
                <a:gd name="T63" fmla="*/ 2 h 26"/>
                <a:gd name="T64" fmla="*/ 10 w 10"/>
                <a:gd name="T65" fmla="*/ 6 h 26"/>
                <a:gd name="T66" fmla="*/ 10 w 10"/>
                <a:gd name="T67" fmla="*/ 6 h 26"/>
                <a:gd name="T68" fmla="*/ 6 w 10"/>
                <a:gd name="T69" fmla="*/ 6 h 26"/>
                <a:gd name="T70" fmla="*/ 6 w 10"/>
                <a:gd name="T71" fmla="*/ 10 h 26"/>
                <a:gd name="T72" fmla="*/ 6 w 10"/>
                <a:gd name="T73" fmla="*/ 10 h 26"/>
                <a:gd name="T74" fmla="*/ 10 w 10"/>
                <a:gd name="T75" fmla="*/ 10 h 26"/>
                <a:gd name="T76" fmla="*/ 6 w 10"/>
                <a:gd name="T77" fmla="*/ 14 h 26"/>
                <a:gd name="T78" fmla="*/ 10 w 10"/>
                <a:gd name="T79" fmla="*/ 14 h 26"/>
                <a:gd name="T80" fmla="*/ 10 w 10"/>
                <a:gd name="T81" fmla="*/ 14 h 26"/>
                <a:gd name="T82" fmla="*/ 10 w 10"/>
                <a:gd name="T83" fmla="*/ 14 h 26"/>
                <a:gd name="T84" fmla="*/ 10 w 10"/>
                <a:gd name="T85" fmla="*/ 22 h 26"/>
                <a:gd name="T86" fmla="*/ 6 w 10"/>
                <a:gd name="T87" fmla="*/ 22 h 26"/>
                <a:gd name="T88" fmla="*/ 6 w 10"/>
                <a:gd name="T89" fmla="*/ 22 h 26"/>
                <a:gd name="T90" fmla="*/ 6 w 10"/>
                <a:gd name="T91" fmla="*/ 2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" h="26">
                  <a:moveTo>
                    <a:pt x="6" y="22"/>
                  </a:move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8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10" name="Freeform 50">
              <a:extLst>
                <a:ext uri="{FF2B5EF4-FFF2-40B4-BE49-F238E27FC236}">
                  <a16:creationId xmlns:a16="http://schemas.microsoft.com/office/drawing/2014/main" id="{2123BBBF-FB53-DF77-9138-F8E4B78467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43861" y="3107712"/>
              <a:ext cx="580570" cy="531713"/>
            </a:xfrm>
            <a:custGeom>
              <a:avLst/>
              <a:gdLst>
                <a:gd name="T0" fmla="*/ 232 w 298"/>
                <a:gd name="T1" fmla="*/ 240 h 282"/>
                <a:gd name="T2" fmla="*/ 186 w 298"/>
                <a:gd name="T3" fmla="*/ 264 h 282"/>
                <a:gd name="T4" fmla="*/ 172 w 298"/>
                <a:gd name="T5" fmla="*/ 268 h 282"/>
                <a:gd name="T6" fmla="*/ 142 w 298"/>
                <a:gd name="T7" fmla="*/ 264 h 282"/>
                <a:gd name="T8" fmla="*/ 130 w 298"/>
                <a:gd name="T9" fmla="*/ 264 h 282"/>
                <a:gd name="T10" fmla="*/ 122 w 298"/>
                <a:gd name="T11" fmla="*/ 270 h 282"/>
                <a:gd name="T12" fmla="*/ 120 w 298"/>
                <a:gd name="T13" fmla="*/ 282 h 282"/>
                <a:gd name="T14" fmla="*/ 112 w 298"/>
                <a:gd name="T15" fmla="*/ 274 h 282"/>
                <a:gd name="T16" fmla="*/ 112 w 298"/>
                <a:gd name="T17" fmla="*/ 268 h 282"/>
                <a:gd name="T18" fmla="*/ 104 w 298"/>
                <a:gd name="T19" fmla="*/ 256 h 282"/>
                <a:gd name="T20" fmla="*/ 96 w 298"/>
                <a:gd name="T21" fmla="*/ 248 h 282"/>
                <a:gd name="T22" fmla="*/ 96 w 298"/>
                <a:gd name="T23" fmla="*/ 238 h 282"/>
                <a:gd name="T24" fmla="*/ 90 w 298"/>
                <a:gd name="T25" fmla="*/ 226 h 282"/>
                <a:gd name="T26" fmla="*/ 82 w 298"/>
                <a:gd name="T27" fmla="*/ 218 h 282"/>
                <a:gd name="T28" fmla="*/ 74 w 298"/>
                <a:gd name="T29" fmla="*/ 212 h 282"/>
                <a:gd name="T30" fmla="*/ 66 w 298"/>
                <a:gd name="T31" fmla="*/ 204 h 282"/>
                <a:gd name="T32" fmla="*/ 64 w 298"/>
                <a:gd name="T33" fmla="*/ 190 h 282"/>
                <a:gd name="T34" fmla="*/ 64 w 298"/>
                <a:gd name="T35" fmla="*/ 174 h 282"/>
                <a:gd name="T36" fmla="*/ 64 w 298"/>
                <a:gd name="T37" fmla="*/ 168 h 282"/>
                <a:gd name="T38" fmla="*/ 56 w 298"/>
                <a:gd name="T39" fmla="*/ 152 h 282"/>
                <a:gd name="T40" fmla="*/ 44 w 298"/>
                <a:gd name="T41" fmla="*/ 142 h 282"/>
                <a:gd name="T42" fmla="*/ 40 w 298"/>
                <a:gd name="T43" fmla="*/ 138 h 282"/>
                <a:gd name="T44" fmla="*/ 36 w 298"/>
                <a:gd name="T45" fmla="*/ 126 h 282"/>
                <a:gd name="T46" fmla="*/ 34 w 298"/>
                <a:gd name="T47" fmla="*/ 118 h 282"/>
                <a:gd name="T48" fmla="*/ 26 w 298"/>
                <a:gd name="T49" fmla="*/ 112 h 282"/>
                <a:gd name="T50" fmla="*/ 22 w 298"/>
                <a:gd name="T51" fmla="*/ 96 h 282"/>
                <a:gd name="T52" fmla="*/ 14 w 298"/>
                <a:gd name="T53" fmla="*/ 90 h 282"/>
                <a:gd name="T54" fmla="*/ 10 w 298"/>
                <a:gd name="T55" fmla="*/ 78 h 282"/>
                <a:gd name="T56" fmla="*/ 4 w 298"/>
                <a:gd name="T57" fmla="*/ 70 h 282"/>
                <a:gd name="T58" fmla="*/ 4 w 298"/>
                <a:gd name="T59" fmla="*/ 56 h 282"/>
                <a:gd name="T60" fmla="*/ 22 w 298"/>
                <a:gd name="T61" fmla="*/ 56 h 282"/>
                <a:gd name="T62" fmla="*/ 36 w 298"/>
                <a:gd name="T63" fmla="*/ 40 h 282"/>
                <a:gd name="T64" fmla="*/ 44 w 298"/>
                <a:gd name="T65" fmla="*/ 22 h 282"/>
                <a:gd name="T66" fmla="*/ 36 w 298"/>
                <a:gd name="T67" fmla="*/ 10 h 282"/>
                <a:gd name="T68" fmla="*/ 56 w 298"/>
                <a:gd name="T69" fmla="*/ 8 h 282"/>
                <a:gd name="T70" fmla="*/ 78 w 298"/>
                <a:gd name="T71" fmla="*/ 4 h 282"/>
                <a:gd name="T72" fmla="*/ 120 w 298"/>
                <a:gd name="T73" fmla="*/ 30 h 282"/>
                <a:gd name="T74" fmla="*/ 164 w 298"/>
                <a:gd name="T75" fmla="*/ 56 h 282"/>
                <a:gd name="T76" fmla="*/ 182 w 298"/>
                <a:gd name="T77" fmla="*/ 60 h 282"/>
                <a:gd name="T78" fmla="*/ 198 w 298"/>
                <a:gd name="T79" fmla="*/ 66 h 282"/>
                <a:gd name="T80" fmla="*/ 202 w 298"/>
                <a:gd name="T81" fmla="*/ 78 h 282"/>
                <a:gd name="T82" fmla="*/ 206 w 298"/>
                <a:gd name="T83" fmla="*/ 86 h 282"/>
                <a:gd name="T84" fmla="*/ 206 w 298"/>
                <a:gd name="T85" fmla="*/ 86 h 282"/>
                <a:gd name="T86" fmla="*/ 212 w 298"/>
                <a:gd name="T87" fmla="*/ 96 h 282"/>
                <a:gd name="T88" fmla="*/ 220 w 298"/>
                <a:gd name="T89" fmla="*/ 104 h 282"/>
                <a:gd name="T90" fmla="*/ 220 w 298"/>
                <a:gd name="T91" fmla="*/ 112 h 282"/>
                <a:gd name="T92" fmla="*/ 224 w 298"/>
                <a:gd name="T93" fmla="*/ 122 h 282"/>
                <a:gd name="T94" fmla="*/ 232 w 298"/>
                <a:gd name="T95" fmla="*/ 134 h 282"/>
                <a:gd name="T96" fmla="*/ 238 w 298"/>
                <a:gd name="T97" fmla="*/ 142 h 282"/>
                <a:gd name="T98" fmla="*/ 242 w 298"/>
                <a:gd name="T99" fmla="*/ 144 h 282"/>
                <a:gd name="T100" fmla="*/ 294 w 298"/>
                <a:gd name="T101" fmla="*/ 198 h 282"/>
                <a:gd name="T102" fmla="*/ 104 w 298"/>
                <a:gd name="T103" fmla="*/ 270 h 282"/>
                <a:gd name="T104" fmla="*/ 104 w 298"/>
                <a:gd name="T105" fmla="*/ 270 h 282"/>
                <a:gd name="T106" fmla="*/ 100 w 298"/>
                <a:gd name="T107" fmla="*/ 274 h 282"/>
                <a:gd name="T108" fmla="*/ 108 w 298"/>
                <a:gd name="T109" fmla="*/ 274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8" h="282">
                  <a:moveTo>
                    <a:pt x="290" y="218"/>
                  </a:moveTo>
                  <a:lnTo>
                    <a:pt x="246" y="238"/>
                  </a:lnTo>
                  <a:lnTo>
                    <a:pt x="236" y="238"/>
                  </a:lnTo>
                  <a:lnTo>
                    <a:pt x="232" y="240"/>
                  </a:lnTo>
                  <a:lnTo>
                    <a:pt x="206" y="240"/>
                  </a:lnTo>
                  <a:lnTo>
                    <a:pt x="194" y="252"/>
                  </a:lnTo>
                  <a:lnTo>
                    <a:pt x="190" y="260"/>
                  </a:lnTo>
                  <a:lnTo>
                    <a:pt x="186" y="264"/>
                  </a:lnTo>
                  <a:lnTo>
                    <a:pt x="182" y="270"/>
                  </a:lnTo>
                  <a:lnTo>
                    <a:pt x="180" y="270"/>
                  </a:lnTo>
                  <a:lnTo>
                    <a:pt x="176" y="270"/>
                  </a:lnTo>
                  <a:lnTo>
                    <a:pt x="172" y="268"/>
                  </a:lnTo>
                  <a:lnTo>
                    <a:pt x="168" y="268"/>
                  </a:lnTo>
                  <a:lnTo>
                    <a:pt x="164" y="268"/>
                  </a:lnTo>
                  <a:lnTo>
                    <a:pt x="152" y="264"/>
                  </a:lnTo>
                  <a:lnTo>
                    <a:pt x="142" y="264"/>
                  </a:lnTo>
                  <a:lnTo>
                    <a:pt x="138" y="264"/>
                  </a:lnTo>
                  <a:lnTo>
                    <a:pt x="134" y="264"/>
                  </a:lnTo>
                  <a:lnTo>
                    <a:pt x="134" y="268"/>
                  </a:lnTo>
                  <a:lnTo>
                    <a:pt x="130" y="264"/>
                  </a:lnTo>
                  <a:lnTo>
                    <a:pt x="126" y="264"/>
                  </a:lnTo>
                  <a:lnTo>
                    <a:pt x="122" y="264"/>
                  </a:lnTo>
                  <a:lnTo>
                    <a:pt x="122" y="268"/>
                  </a:lnTo>
                  <a:lnTo>
                    <a:pt x="122" y="270"/>
                  </a:lnTo>
                  <a:lnTo>
                    <a:pt x="122" y="274"/>
                  </a:lnTo>
                  <a:lnTo>
                    <a:pt x="122" y="278"/>
                  </a:lnTo>
                  <a:lnTo>
                    <a:pt x="120" y="278"/>
                  </a:lnTo>
                  <a:lnTo>
                    <a:pt x="120" y="282"/>
                  </a:lnTo>
                  <a:lnTo>
                    <a:pt x="116" y="282"/>
                  </a:lnTo>
                  <a:lnTo>
                    <a:pt x="116" y="278"/>
                  </a:lnTo>
                  <a:lnTo>
                    <a:pt x="116" y="274"/>
                  </a:lnTo>
                  <a:lnTo>
                    <a:pt x="112" y="274"/>
                  </a:lnTo>
                  <a:lnTo>
                    <a:pt x="112" y="270"/>
                  </a:lnTo>
                  <a:lnTo>
                    <a:pt x="112" y="268"/>
                  </a:lnTo>
                  <a:lnTo>
                    <a:pt x="112" y="270"/>
                  </a:lnTo>
                  <a:lnTo>
                    <a:pt x="112" y="268"/>
                  </a:lnTo>
                  <a:lnTo>
                    <a:pt x="112" y="264"/>
                  </a:lnTo>
                  <a:lnTo>
                    <a:pt x="108" y="264"/>
                  </a:lnTo>
                  <a:lnTo>
                    <a:pt x="108" y="260"/>
                  </a:lnTo>
                  <a:lnTo>
                    <a:pt x="104" y="256"/>
                  </a:lnTo>
                  <a:lnTo>
                    <a:pt x="100" y="256"/>
                  </a:lnTo>
                  <a:lnTo>
                    <a:pt x="100" y="252"/>
                  </a:lnTo>
                  <a:lnTo>
                    <a:pt x="100" y="248"/>
                  </a:lnTo>
                  <a:lnTo>
                    <a:pt x="96" y="248"/>
                  </a:lnTo>
                  <a:lnTo>
                    <a:pt x="96" y="244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96" y="238"/>
                  </a:lnTo>
                  <a:lnTo>
                    <a:pt x="92" y="238"/>
                  </a:lnTo>
                  <a:lnTo>
                    <a:pt x="92" y="234"/>
                  </a:lnTo>
                  <a:lnTo>
                    <a:pt x="90" y="230"/>
                  </a:lnTo>
                  <a:lnTo>
                    <a:pt x="90" y="226"/>
                  </a:lnTo>
                  <a:lnTo>
                    <a:pt x="90" y="222"/>
                  </a:lnTo>
                  <a:lnTo>
                    <a:pt x="86" y="222"/>
                  </a:lnTo>
                  <a:lnTo>
                    <a:pt x="86" y="218"/>
                  </a:lnTo>
                  <a:lnTo>
                    <a:pt x="82" y="218"/>
                  </a:lnTo>
                  <a:lnTo>
                    <a:pt x="82" y="214"/>
                  </a:lnTo>
                  <a:lnTo>
                    <a:pt x="78" y="214"/>
                  </a:lnTo>
                  <a:lnTo>
                    <a:pt x="74" y="214"/>
                  </a:lnTo>
                  <a:lnTo>
                    <a:pt x="74" y="212"/>
                  </a:lnTo>
                  <a:lnTo>
                    <a:pt x="70" y="212"/>
                  </a:lnTo>
                  <a:lnTo>
                    <a:pt x="70" y="208"/>
                  </a:lnTo>
                  <a:lnTo>
                    <a:pt x="70" y="204"/>
                  </a:lnTo>
                  <a:lnTo>
                    <a:pt x="66" y="204"/>
                  </a:lnTo>
                  <a:lnTo>
                    <a:pt x="66" y="200"/>
                  </a:lnTo>
                  <a:lnTo>
                    <a:pt x="64" y="198"/>
                  </a:lnTo>
                  <a:lnTo>
                    <a:pt x="66" y="194"/>
                  </a:lnTo>
                  <a:lnTo>
                    <a:pt x="64" y="190"/>
                  </a:lnTo>
                  <a:lnTo>
                    <a:pt x="64" y="186"/>
                  </a:lnTo>
                  <a:lnTo>
                    <a:pt x="64" y="182"/>
                  </a:lnTo>
                  <a:lnTo>
                    <a:pt x="64" y="178"/>
                  </a:lnTo>
                  <a:lnTo>
                    <a:pt x="64" y="174"/>
                  </a:lnTo>
                  <a:lnTo>
                    <a:pt x="64" y="172"/>
                  </a:lnTo>
                  <a:lnTo>
                    <a:pt x="64" y="168"/>
                  </a:lnTo>
                  <a:lnTo>
                    <a:pt x="60" y="168"/>
                  </a:lnTo>
                  <a:lnTo>
                    <a:pt x="64" y="168"/>
                  </a:lnTo>
                  <a:lnTo>
                    <a:pt x="60" y="164"/>
                  </a:lnTo>
                  <a:lnTo>
                    <a:pt x="60" y="160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2"/>
                  </a:lnTo>
                  <a:lnTo>
                    <a:pt x="44" y="144"/>
                  </a:lnTo>
                  <a:lnTo>
                    <a:pt x="40" y="144"/>
                  </a:lnTo>
                  <a:lnTo>
                    <a:pt x="40" y="142"/>
                  </a:lnTo>
                  <a:lnTo>
                    <a:pt x="40" y="138"/>
                  </a:lnTo>
                  <a:lnTo>
                    <a:pt x="36" y="138"/>
                  </a:lnTo>
                  <a:lnTo>
                    <a:pt x="36" y="134"/>
                  </a:lnTo>
                  <a:lnTo>
                    <a:pt x="36" y="130"/>
                  </a:lnTo>
                  <a:lnTo>
                    <a:pt x="36" y="126"/>
                  </a:lnTo>
                  <a:lnTo>
                    <a:pt x="36" y="122"/>
                  </a:lnTo>
                  <a:lnTo>
                    <a:pt x="34" y="118"/>
                  </a:lnTo>
                  <a:lnTo>
                    <a:pt x="34" y="116"/>
                  </a:lnTo>
                  <a:lnTo>
                    <a:pt x="34" y="118"/>
                  </a:lnTo>
                  <a:lnTo>
                    <a:pt x="30" y="118"/>
                  </a:lnTo>
                  <a:lnTo>
                    <a:pt x="30" y="116"/>
                  </a:lnTo>
                  <a:lnTo>
                    <a:pt x="30" y="112"/>
                  </a:lnTo>
                  <a:lnTo>
                    <a:pt x="26" y="112"/>
                  </a:lnTo>
                  <a:lnTo>
                    <a:pt x="26" y="108"/>
                  </a:lnTo>
                  <a:lnTo>
                    <a:pt x="26" y="104"/>
                  </a:lnTo>
                  <a:lnTo>
                    <a:pt x="22" y="100"/>
                  </a:lnTo>
                  <a:lnTo>
                    <a:pt x="22" y="96"/>
                  </a:lnTo>
                  <a:lnTo>
                    <a:pt x="18" y="96"/>
                  </a:lnTo>
                  <a:lnTo>
                    <a:pt x="18" y="92"/>
                  </a:lnTo>
                  <a:lnTo>
                    <a:pt x="18" y="90"/>
                  </a:lnTo>
                  <a:lnTo>
                    <a:pt x="14" y="90"/>
                  </a:lnTo>
                  <a:lnTo>
                    <a:pt x="14" y="86"/>
                  </a:lnTo>
                  <a:lnTo>
                    <a:pt x="14" y="82"/>
                  </a:lnTo>
                  <a:lnTo>
                    <a:pt x="10" y="82"/>
                  </a:lnTo>
                  <a:lnTo>
                    <a:pt x="10" y="78"/>
                  </a:lnTo>
                  <a:lnTo>
                    <a:pt x="6" y="74"/>
                  </a:lnTo>
                  <a:lnTo>
                    <a:pt x="4" y="74"/>
                  </a:lnTo>
                  <a:lnTo>
                    <a:pt x="0" y="74"/>
                  </a:lnTo>
                  <a:lnTo>
                    <a:pt x="4" y="70"/>
                  </a:lnTo>
                  <a:lnTo>
                    <a:pt x="4" y="66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6" y="52"/>
                  </a:lnTo>
                  <a:lnTo>
                    <a:pt x="10" y="52"/>
                  </a:lnTo>
                  <a:lnTo>
                    <a:pt x="14" y="52"/>
                  </a:lnTo>
                  <a:lnTo>
                    <a:pt x="22" y="56"/>
                  </a:lnTo>
                  <a:lnTo>
                    <a:pt x="26" y="52"/>
                  </a:lnTo>
                  <a:lnTo>
                    <a:pt x="30" y="48"/>
                  </a:lnTo>
                  <a:lnTo>
                    <a:pt x="30" y="44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4" y="34"/>
                  </a:lnTo>
                  <a:lnTo>
                    <a:pt x="48" y="30"/>
                  </a:lnTo>
                  <a:lnTo>
                    <a:pt x="44" y="22"/>
                  </a:lnTo>
                  <a:lnTo>
                    <a:pt x="40" y="22"/>
                  </a:lnTo>
                  <a:lnTo>
                    <a:pt x="40" y="18"/>
                  </a:lnTo>
                  <a:lnTo>
                    <a:pt x="34" y="10"/>
                  </a:lnTo>
                  <a:lnTo>
                    <a:pt x="36" y="10"/>
                  </a:lnTo>
                  <a:lnTo>
                    <a:pt x="40" y="10"/>
                  </a:lnTo>
                  <a:lnTo>
                    <a:pt x="44" y="10"/>
                  </a:lnTo>
                  <a:lnTo>
                    <a:pt x="48" y="8"/>
                  </a:lnTo>
                  <a:lnTo>
                    <a:pt x="56" y="8"/>
                  </a:lnTo>
                  <a:lnTo>
                    <a:pt x="64" y="4"/>
                  </a:lnTo>
                  <a:lnTo>
                    <a:pt x="66" y="0"/>
                  </a:lnTo>
                  <a:lnTo>
                    <a:pt x="70" y="0"/>
                  </a:lnTo>
                  <a:lnTo>
                    <a:pt x="78" y="4"/>
                  </a:lnTo>
                  <a:lnTo>
                    <a:pt x="82" y="4"/>
                  </a:lnTo>
                  <a:lnTo>
                    <a:pt x="96" y="14"/>
                  </a:lnTo>
                  <a:lnTo>
                    <a:pt x="108" y="18"/>
                  </a:lnTo>
                  <a:lnTo>
                    <a:pt x="120" y="30"/>
                  </a:lnTo>
                  <a:lnTo>
                    <a:pt x="120" y="34"/>
                  </a:lnTo>
                  <a:lnTo>
                    <a:pt x="130" y="40"/>
                  </a:lnTo>
                  <a:lnTo>
                    <a:pt x="146" y="56"/>
                  </a:lnTo>
                  <a:lnTo>
                    <a:pt x="164" y="56"/>
                  </a:lnTo>
                  <a:lnTo>
                    <a:pt x="168" y="56"/>
                  </a:lnTo>
                  <a:lnTo>
                    <a:pt x="172" y="56"/>
                  </a:lnTo>
                  <a:lnTo>
                    <a:pt x="176" y="56"/>
                  </a:lnTo>
                  <a:lnTo>
                    <a:pt x="182" y="60"/>
                  </a:lnTo>
                  <a:lnTo>
                    <a:pt x="186" y="64"/>
                  </a:lnTo>
                  <a:lnTo>
                    <a:pt x="186" y="66"/>
                  </a:lnTo>
                  <a:lnTo>
                    <a:pt x="194" y="66"/>
                  </a:lnTo>
                  <a:lnTo>
                    <a:pt x="198" y="66"/>
                  </a:lnTo>
                  <a:lnTo>
                    <a:pt x="198" y="70"/>
                  </a:lnTo>
                  <a:lnTo>
                    <a:pt x="198" y="74"/>
                  </a:lnTo>
                  <a:lnTo>
                    <a:pt x="202" y="74"/>
                  </a:lnTo>
                  <a:lnTo>
                    <a:pt x="202" y="78"/>
                  </a:lnTo>
                  <a:lnTo>
                    <a:pt x="202" y="82"/>
                  </a:lnTo>
                  <a:lnTo>
                    <a:pt x="202" y="78"/>
                  </a:lnTo>
                  <a:lnTo>
                    <a:pt x="202" y="82"/>
                  </a:lnTo>
                  <a:lnTo>
                    <a:pt x="206" y="86"/>
                  </a:lnTo>
                  <a:lnTo>
                    <a:pt x="206" y="82"/>
                  </a:lnTo>
                  <a:lnTo>
                    <a:pt x="206" y="86"/>
                  </a:lnTo>
                  <a:lnTo>
                    <a:pt x="210" y="86"/>
                  </a:lnTo>
                  <a:lnTo>
                    <a:pt x="206" y="86"/>
                  </a:lnTo>
                  <a:lnTo>
                    <a:pt x="210" y="90"/>
                  </a:lnTo>
                  <a:lnTo>
                    <a:pt x="210" y="92"/>
                  </a:lnTo>
                  <a:lnTo>
                    <a:pt x="212" y="92"/>
                  </a:lnTo>
                  <a:lnTo>
                    <a:pt x="212" y="96"/>
                  </a:lnTo>
                  <a:lnTo>
                    <a:pt x="216" y="96"/>
                  </a:lnTo>
                  <a:lnTo>
                    <a:pt x="220" y="96"/>
                  </a:lnTo>
                  <a:lnTo>
                    <a:pt x="220" y="100"/>
                  </a:lnTo>
                  <a:lnTo>
                    <a:pt x="220" y="104"/>
                  </a:lnTo>
                  <a:lnTo>
                    <a:pt x="224" y="108"/>
                  </a:lnTo>
                  <a:lnTo>
                    <a:pt x="220" y="112"/>
                  </a:lnTo>
                  <a:lnTo>
                    <a:pt x="220" y="108"/>
                  </a:lnTo>
                  <a:lnTo>
                    <a:pt x="220" y="112"/>
                  </a:lnTo>
                  <a:lnTo>
                    <a:pt x="220" y="116"/>
                  </a:lnTo>
                  <a:lnTo>
                    <a:pt x="224" y="118"/>
                  </a:lnTo>
                  <a:lnTo>
                    <a:pt x="220" y="118"/>
                  </a:lnTo>
                  <a:lnTo>
                    <a:pt x="224" y="122"/>
                  </a:lnTo>
                  <a:lnTo>
                    <a:pt x="228" y="122"/>
                  </a:lnTo>
                  <a:lnTo>
                    <a:pt x="228" y="126"/>
                  </a:lnTo>
                  <a:lnTo>
                    <a:pt x="228" y="130"/>
                  </a:lnTo>
                  <a:lnTo>
                    <a:pt x="232" y="134"/>
                  </a:lnTo>
                  <a:lnTo>
                    <a:pt x="232" y="138"/>
                  </a:lnTo>
                  <a:lnTo>
                    <a:pt x="236" y="138"/>
                  </a:lnTo>
                  <a:lnTo>
                    <a:pt x="238" y="138"/>
                  </a:lnTo>
                  <a:lnTo>
                    <a:pt x="238" y="142"/>
                  </a:lnTo>
                  <a:lnTo>
                    <a:pt x="238" y="144"/>
                  </a:lnTo>
                  <a:lnTo>
                    <a:pt x="238" y="142"/>
                  </a:lnTo>
                  <a:lnTo>
                    <a:pt x="238" y="144"/>
                  </a:lnTo>
                  <a:lnTo>
                    <a:pt x="242" y="144"/>
                  </a:lnTo>
                  <a:lnTo>
                    <a:pt x="256" y="168"/>
                  </a:lnTo>
                  <a:lnTo>
                    <a:pt x="290" y="172"/>
                  </a:lnTo>
                  <a:lnTo>
                    <a:pt x="298" y="182"/>
                  </a:lnTo>
                  <a:lnTo>
                    <a:pt x="294" y="198"/>
                  </a:lnTo>
                  <a:lnTo>
                    <a:pt x="290" y="218"/>
                  </a:lnTo>
                  <a:lnTo>
                    <a:pt x="290" y="218"/>
                  </a:lnTo>
                  <a:lnTo>
                    <a:pt x="290" y="218"/>
                  </a:lnTo>
                  <a:close/>
                  <a:moveTo>
                    <a:pt x="104" y="270"/>
                  </a:moveTo>
                  <a:lnTo>
                    <a:pt x="104" y="274"/>
                  </a:lnTo>
                  <a:lnTo>
                    <a:pt x="104" y="270"/>
                  </a:lnTo>
                  <a:lnTo>
                    <a:pt x="104" y="270"/>
                  </a:lnTo>
                  <a:lnTo>
                    <a:pt x="104" y="270"/>
                  </a:lnTo>
                  <a:close/>
                  <a:moveTo>
                    <a:pt x="108" y="278"/>
                  </a:moveTo>
                  <a:lnTo>
                    <a:pt x="104" y="278"/>
                  </a:lnTo>
                  <a:lnTo>
                    <a:pt x="104" y="274"/>
                  </a:lnTo>
                  <a:lnTo>
                    <a:pt x="100" y="274"/>
                  </a:lnTo>
                  <a:lnTo>
                    <a:pt x="104" y="274"/>
                  </a:lnTo>
                  <a:lnTo>
                    <a:pt x="108" y="274"/>
                  </a:lnTo>
                  <a:lnTo>
                    <a:pt x="104" y="274"/>
                  </a:lnTo>
                  <a:lnTo>
                    <a:pt x="108" y="274"/>
                  </a:lnTo>
                  <a:lnTo>
                    <a:pt x="108" y="278"/>
                  </a:lnTo>
                  <a:lnTo>
                    <a:pt x="108" y="278"/>
                  </a:lnTo>
                  <a:lnTo>
                    <a:pt x="108" y="27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11" name="Freeform 51">
              <a:extLst>
                <a:ext uri="{FF2B5EF4-FFF2-40B4-BE49-F238E27FC236}">
                  <a16:creationId xmlns:a16="http://schemas.microsoft.com/office/drawing/2014/main" id="{32DCC0B1-4EA3-51C1-C908-C7F661B33F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5324" y="4125886"/>
              <a:ext cx="15586" cy="7542"/>
            </a:xfrm>
            <a:custGeom>
              <a:avLst/>
              <a:gdLst>
                <a:gd name="T0" fmla="*/ 8 w 8"/>
                <a:gd name="T1" fmla="*/ 0 h 4"/>
                <a:gd name="T2" fmla="*/ 8 w 8"/>
                <a:gd name="T3" fmla="*/ 0 h 4"/>
                <a:gd name="T4" fmla="*/ 8 w 8"/>
                <a:gd name="T5" fmla="*/ 0 h 4"/>
                <a:gd name="T6" fmla="*/ 8 w 8"/>
                <a:gd name="T7" fmla="*/ 0 h 4"/>
                <a:gd name="T8" fmla="*/ 8 w 8"/>
                <a:gd name="T9" fmla="*/ 0 h 4"/>
                <a:gd name="T10" fmla="*/ 4 w 8"/>
                <a:gd name="T11" fmla="*/ 4 h 4"/>
                <a:gd name="T12" fmla="*/ 4 w 8"/>
                <a:gd name="T13" fmla="*/ 4 h 4"/>
                <a:gd name="T14" fmla="*/ 0 w 8"/>
                <a:gd name="T15" fmla="*/ 4 h 4"/>
                <a:gd name="T16" fmla="*/ 0 w 8"/>
                <a:gd name="T17" fmla="*/ 0 h 4"/>
                <a:gd name="T18" fmla="*/ 0 w 8"/>
                <a:gd name="T19" fmla="*/ 0 h 4"/>
                <a:gd name="T20" fmla="*/ 0 w 8"/>
                <a:gd name="T21" fmla="*/ 0 h 4"/>
                <a:gd name="T22" fmla="*/ 0 w 8"/>
                <a:gd name="T23" fmla="*/ 0 h 4"/>
                <a:gd name="T24" fmla="*/ 0 w 8"/>
                <a:gd name="T25" fmla="*/ 0 h 4"/>
                <a:gd name="T26" fmla="*/ 4 w 8"/>
                <a:gd name="T27" fmla="*/ 0 h 4"/>
                <a:gd name="T28" fmla="*/ 4 w 8"/>
                <a:gd name="T29" fmla="*/ 0 h 4"/>
                <a:gd name="T30" fmla="*/ 4 w 8"/>
                <a:gd name="T31" fmla="*/ 0 h 4"/>
                <a:gd name="T32" fmla="*/ 4 w 8"/>
                <a:gd name="T33" fmla="*/ 0 h 4"/>
                <a:gd name="T34" fmla="*/ 4 w 8"/>
                <a:gd name="T35" fmla="*/ 0 h 4"/>
                <a:gd name="T36" fmla="*/ 4 w 8"/>
                <a:gd name="T37" fmla="*/ 0 h 4"/>
                <a:gd name="T38" fmla="*/ 4 w 8"/>
                <a:gd name="T39" fmla="*/ 0 h 4"/>
                <a:gd name="T40" fmla="*/ 4 w 8"/>
                <a:gd name="T41" fmla="*/ 0 h 4"/>
                <a:gd name="T42" fmla="*/ 8 w 8"/>
                <a:gd name="T43" fmla="*/ 0 h 4"/>
                <a:gd name="T44" fmla="*/ 8 w 8"/>
                <a:gd name="T45" fmla="*/ 0 h 4"/>
                <a:gd name="T46" fmla="*/ 8 w 8"/>
                <a:gd name="T47" fmla="*/ 0 h 4"/>
                <a:gd name="T48" fmla="*/ 8 w 8"/>
                <a:gd name="T4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" h="4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12" name="Freeform 52">
              <a:extLst>
                <a:ext uri="{FF2B5EF4-FFF2-40B4-BE49-F238E27FC236}">
                  <a16:creationId xmlns:a16="http://schemas.microsoft.com/office/drawing/2014/main" id="{91815036-59D6-E525-2189-51EAEBF9CB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68754" y="2881451"/>
              <a:ext cx="93515" cy="188551"/>
            </a:xfrm>
            <a:custGeom>
              <a:avLst/>
              <a:gdLst>
                <a:gd name="T0" fmla="*/ 4 w 48"/>
                <a:gd name="T1" fmla="*/ 40 h 100"/>
                <a:gd name="T2" fmla="*/ 0 w 48"/>
                <a:gd name="T3" fmla="*/ 34 h 100"/>
                <a:gd name="T4" fmla="*/ 0 w 48"/>
                <a:gd name="T5" fmla="*/ 38 h 100"/>
                <a:gd name="T6" fmla="*/ 0 w 48"/>
                <a:gd name="T7" fmla="*/ 34 h 100"/>
                <a:gd name="T8" fmla="*/ 0 w 48"/>
                <a:gd name="T9" fmla="*/ 30 h 100"/>
                <a:gd name="T10" fmla="*/ 4 w 48"/>
                <a:gd name="T11" fmla="*/ 30 h 100"/>
                <a:gd name="T12" fmla="*/ 12 w 48"/>
                <a:gd name="T13" fmla="*/ 34 h 100"/>
                <a:gd name="T14" fmla="*/ 8 w 48"/>
                <a:gd name="T15" fmla="*/ 26 h 100"/>
                <a:gd name="T16" fmla="*/ 4 w 48"/>
                <a:gd name="T17" fmla="*/ 18 h 100"/>
                <a:gd name="T18" fmla="*/ 8 w 48"/>
                <a:gd name="T19" fmla="*/ 10 h 100"/>
                <a:gd name="T20" fmla="*/ 16 w 48"/>
                <a:gd name="T21" fmla="*/ 4 h 100"/>
                <a:gd name="T22" fmla="*/ 26 w 48"/>
                <a:gd name="T23" fmla="*/ 4 h 100"/>
                <a:gd name="T24" fmla="*/ 34 w 48"/>
                <a:gd name="T25" fmla="*/ 4 h 100"/>
                <a:gd name="T26" fmla="*/ 38 w 48"/>
                <a:gd name="T27" fmla="*/ 14 h 100"/>
                <a:gd name="T28" fmla="*/ 44 w 48"/>
                <a:gd name="T29" fmla="*/ 22 h 100"/>
                <a:gd name="T30" fmla="*/ 44 w 48"/>
                <a:gd name="T31" fmla="*/ 34 h 100"/>
                <a:gd name="T32" fmla="*/ 44 w 48"/>
                <a:gd name="T33" fmla="*/ 48 h 100"/>
                <a:gd name="T34" fmla="*/ 44 w 48"/>
                <a:gd name="T35" fmla="*/ 60 h 100"/>
                <a:gd name="T36" fmla="*/ 38 w 48"/>
                <a:gd name="T37" fmla="*/ 64 h 100"/>
                <a:gd name="T38" fmla="*/ 30 w 48"/>
                <a:gd name="T39" fmla="*/ 66 h 100"/>
                <a:gd name="T40" fmla="*/ 30 w 48"/>
                <a:gd name="T41" fmla="*/ 70 h 100"/>
                <a:gd name="T42" fmla="*/ 26 w 48"/>
                <a:gd name="T43" fmla="*/ 70 h 100"/>
                <a:gd name="T44" fmla="*/ 18 w 48"/>
                <a:gd name="T45" fmla="*/ 66 h 100"/>
                <a:gd name="T46" fmla="*/ 18 w 48"/>
                <a:gd name="T47" fmla="*/ 74 h 100"/>
                <a:gd name="T48" fmla="*/ 16 w 48"/>
                <a:gd name="T49" fmla="*/ 74 h 100"/>
                <a:gd name="T50" fmla="*/ 16 w 48"/>
                <a:gd name="T51" fmla="*/ 74 h 100"/>
                <a:gd name="T52" fmla="*/ 16 w 48"/>
                <a:gd name="T53" fmla="*/ 70 h 100"/>
                <a:gd name="T54" fmla="*/ 8 w 48"/>
                <a:gd name="T55" fmla="*/ 78 h 100"/>
                <a:gd name="T56" fmla="*/ 4 w 48"/>
                <a:gd name="T57" fmla="*/ 82 h 100"/>
                <a:gd name="T58" fmla="*/ 0 w 48"/>
                <a:gd name="T59" fmla="*/ 74 h 100"/>
                <a:gd name="T60" fmla="*/ 4 w 48"/>
                <a:gd name="T61" fmla="*/ 70 h 100"/>
                <a:gd name="T62" fmla="*/ 4 w 48"/>
                <a:gd name="T63" fmla="*/ 66 h 100"/>
                <a:gd name="T64" fmla="*/ 4 w 48"/>
                <a:gd name="T65" fmla="*/ 66 h 100"/>
                <a:gd name="T66" fmla="*/ 4 w 48"/>
                <a:gd name="T67" fmla="*/ 56 h 100"/>
                <a:gd name="T68" fmla="*/ 8 w 48"/>
                <a:gd name="T69" fmla="*/ 52 h 100"/>
                <a:gd name="T70" fmla="*/ 4 w 48"/>
                <a:gd name="T71" fmla="*/ 48 h 100"/>
                <a:gd name="T72" fmla="*/ 8 w 48"/>
                <a:gd name="T73" fmla="*/ 48 h 100"/>
                <a:gd name="T74" fmla="*/ 4 w 48"/>
                <a:gd name="T75" fmla="*/ 14 h 100"/>
                <a:gd name="T76" fmla="*/ 4 w 48"/>
                <a:gd name="T77" fmla="*/ 40 h 100"/>
                <a:gd name="T78" fmla="*/ 4 w 48"/>
                <a:gd name="T79" fmla="*/ 38 h 100"/>
                <a:gd name="T80" fmla="*/ 4 w 48"/>
                <a:gd name="T81" fmla="*/ 40 h 100"/>
                <a:gd name="T82" fmla="*/ 34 w 48"/>
                <a:gd name="T83" fmla="*/ 70 h 100"/>
                <a:gd name="T84" fmla="*/ 38 w 48"/>
                <a:gd name="T85" fmla="*/ 66 h 100"/>
                <a:gd name="T86" fmla="*/ 22 w 48"/>
                <a:gd name="T87" fmla="*/ 70 h 100"/>
                <a:gd name="T88" fmla="*/ 22 w 48"/>
                <a:gd name="T89" fmla="*/ 70 h 100"/>
                <a:gd name="T90" fmla="*/ 26 w 48"/>
                <a:gd name="T91" fmla="*/ 66 h 100"/>
                <a:gd name="T92" fmla="*/ 0 w 48"/>
                <a:gd name="T93" fmla="*/ 78 h 100"/>
                <a:gd name="T94" fmla="*/ 4 w 48"/>
                <a:gd name="T95" fmla="*/ 78 h 100"/>
                <a:gd name="T96" fmla="*/ 12 w 48"/>
                <a:gd name="T97" fmla="*/ 94 h 100"/>
                <a:gd name="T98" fmla="*/ 8 w 48"/>
                <a:gd name="T99" fmla="*/ 100 h 100"/>
                <a:gd name="T100" fmla="*/ 0 w 48"/>
                <a:gd name="T101" fmla="*/ 96 h 100"/>
                <a:gd name="T102" fmla="*/ 8 w 48"/>
                <a:gd name="T103" fmla="*/ 9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8" h="100">
                  <a:moveTo>
                    <a:pt x="8" y="48"/>
                  </a:moveTo>
                  <a:lnTo>
                    <a:pt x="4" y="44"/>
                  </a:lnTo>
                  <a:lnTo>
                    <a:pt x="4" y="40"/>
                  </a:lnTo>
                  <a:lnTo>
                    <a:pt x="4" y="38"/>
                  </a:lnTo>
                  <a:lnTo>
                    <a:pt x="4" y="34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0" y="34"/>
                  </a:lnTo>
                  <a:lnTo>
                    <a:pt x="4" y="34"/>
                  </a:lnTo>
                  <a:lnTo>
                    <a:pt x="4" y="30"/>
                  </a:lnTo>
                  <a:lnTo>
                    <a:pt x="0" y="30"/>
                  </a:lnTo>
                  <a:lnTo>
                    <a:pt x="4" y="30"/>
                  </a:lnTo>
                  <a:lnTo>
                    <a:pt x="4" y="34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8" y="34"/>
                  </a:lnTo>
                  <a:lnTo>
                    <a:pt x="12" y="34"/>
                  </a:lnTo>
                  <a:lnTo>
                    <a:pt x="12" y="30"/>
                  </a:lnTo>
                  <a:lnTo>
                    <a:pt x="8" y="30"/>
                  </a:lnTo>
                  <a:lnTo>
                    <a:pt x="8" y="26"/>
                  </a:lnTo>
                  <a:lnTo>
                    <a:pt x="8" y="22"/>
                  </a:lnTo>
                  <a:lnTo>
                    <a:pt x="8" y="18"/>
                  </a:lnTo>
                  <a:lnTo>
                    <a:pt x="4" y="18"/>
                  </a:lnTo>
                  <a:lnTo>
                    <a:pt x="4" y="14"/>
                  </a:lnTo>
                  <a:lnTo>
                    <a:pt x="8" y="14"/>
                  </a:lnTo>
                  <a:lnTo>
                    <a:pt x="8" y="10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8" y="4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0" y="0"/>
                  </a:lnTo>
                  <a:lnTo>
                    <a:pt x="34" y="4"/>
                  </a:lnTo>
                  <a:lnTo>
                    <a:pt x="34" y="8"/>
                  </a:lnTo>
                  <a:lnTo>
                    <a:pt x="38" y="10"/>
                  </a:lnTo>
                  <a:lnTo>
                    <a:pt x="38" y="14"/>
                  </a:lnTo>
                  <a:lnTo>
                    <a:pt x="40" y="14"/>
                  </a:lnTo>
                  <a:lnTo>
                    <a:pt x="40" y="18"/>
                  </a:lnTo>
                  <a:lnTo>
                    <a:pt x="44" y="22"/>
                  </a:lnTo>
                  <a:lnTo>
                    <a:pt x="44" y="26"/>
                  </a:lnTo>
                  <a:lnTo>
                    <a:pt x="44" y="30"/>
                  </a:lnTo>
                  <a:lnTo>
                    <a:pt x="44" y="34"/>
                  </a:lnTo>
                  <a:lnTo>
                    <a:pt x="44" y="38"/>
                  </a:lnTo>
                  <a:lnTo>
                    <a:pt x="44" y="40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0" y="64"/>
                  </a:lnTo>
                  <a:lnTo>
                    <a:pt x="38" y="66"/>
                  </a:lnTo>
                  <a:lnTo>
                    <a:pt x="38" y="64"/>
                  </a:lnTo>
                  <a:lnTo>
                    <a:pt x="38" y="66"/>
                  </a:lnTo>
                  <a:lnTo>
                    <a:pt x="34" y="64"/>
                  </a:lnTo>
                  <a:lnTo>
                    <a:pt x="30" y="66"/>
                  </a:lnTo>
                  <a:lnTo>
                    <a:pt x="34" y="66"/>
                  </a:lnTo>
                  <a:lnTo>
                    <a:pt x="34" y="70"/>
                  </a:lnTo>
                  <a:lnTo>
                    <a:pt x="30" y="70"/>
                  </a:lnTo>
                  <a:lnTo>
                    <a:pt x="30" y="66"/>
                  </a:lnTo>
                  <a:lnTo>
                    <a:pt x="30" y="70"/>
                  </a:lnTo>
                  <a:lnTo>
                    <a:pt x="26" y="70"/>
                  </a:lnTo>
                  <a:lnTo>
                    <a:pt x="26" y="66"/>
                  </a:lnTo>
                  <a:lnTo>
                    <a:pt x="22" y="66"/>
                  </a:lnTo>
                  <a:lnTo>
                    <a:pt x="18" y="66"/>
                  </a:lnTo>
                  <a:lnTo>
                    <a:pt x="18" y="70"/>
                  </a:lnTo>
                  <a:lnTo>
                    <a:pt x="22" y="70"/>
                  </a:lnTo>
                  <a:lnTo>
                    <a:pt x="18" y="74"/>
                  </a:lnTo>
                  <a:lnTo>
                    <a:pt x="18" y="70"/>
                  </a:lnTo>
                  <a:lnTo>
                    <a:pt x="16" y="70"/>
                  </a:lnTo>
                  <a:lnTo>
                    <a:pt x="16" y="74"/>
                  </a:lnTo>
                  <a:lnTo>
                    <a:pt x="18" y="74"/>
                  </a:lnTo>
                  <a:lnTo>
                    <a:pt x="16" y="78"/>
                  </a:lnTo>
                  <a:lnTo>
                    <a:pt x="16" y="74"/>
                  </a:lnTo>
                  <a:lnTo>
                    <a:pt x="12" y="74"/>
                  </a:lnTo>
                  <a:lnTo>
                    <a:pt x="16" y="74"/>
                  </a:lnTo>
                  <a:lnTo>
                    <a:pt x="16" y="70"/>
                  </a:lnTo>
                  <a:lnTo>
                    <a:pt x="12" y="74"/>
                  </a:lnTo>
                  <a:lnTo>
                    <a:pt x="12" y="78"/>
                  </a:lnTo>
                  <a:lnTo>
                    <a:pt x="8" y="78"/>
                  </a:lnTo>
                  <a:lnTo>
                    <a:pt x="8" y="74"/>
                  </a:lnTo>
                  <a:lnTo>
                    <a:pt x="8" y="78"/>
                  </a:lnTo>
                  <a:lnTo>
                    <a:pt x="4" y="82"/>
                  </a:lnTo>
                  <a:lnTo>
                    <a:pt x="4" y="78"/>
                  </a:lnTo>
                  <a:lnTo>
                    <a:pt x="4" y="74"/>
                  </a:lnTo>
                  <a:lnTo>
                    <a:pt x="0" y="74"/>
                  </a:lnTo>
                  <a:lnTo>
                    <a:pt x="0" y="70"/>
                  </a:lnTo>
                  <a:lnTo>
                    <a:pt x="4" y="74"/>
                  </a:lnTo>
                  <a:lnTo>
                    <a:pt x="4" y="70"/>
                  </a:lnTo>
                  <a:lnTo>
                    <a:pt x="8" y="70"/>
                  </a:lnTo>
                  <a:lnTo>
                    <a:pt x="4" y="70"/>
                  </a:lnTo>
                  <a:lnTo>
                    <a:pt x="4" y="66"/>
                  </a:lnTo>
                  <a:lnTo>
                    <a:pt x="0" y="66"/>
                  </a:lnTo>
                  <a:lnTo>
                    <a:pt x="0" y="64"/>
                  </a:lnTo>
                  <a:lnTo>
                    <a:pt x="4" y="66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52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close/>
                  <a:moveTo>
                    <a:pt x="4" y="14"/>
                  </a:moveTo>
                  <a:lnTo>
                    <a:pt x="4" y="18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close/>
                  <a:moveTo>
                    <a:pt x="4" y="40"/>
                  </a:moveTo>
                  <a:lnTo>
                    <a:pt x="0" y="40"/>
                  </a:lnTo>
                  <a:lnTo>
                    <a:pt x="0" y="38"/>
                  </a:lnTo>
                  <a:lnTo>
                    <a:pt x="4" y="38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close/>
                  <a:moveTo>
                    <a:pt x="38" y="66"/>
                  </a:moveTo>
                  <a:lnTo>
                    <a:pt x="38" y="70"/>
                  </a:lnTo>
                  <a:lnTo>
                    <a:pt x="34" y="70"/>
                  </a:lnTo>
                  <a:lnTo>
                    <a:pt x="34" y="66"/>
                  </a:lnTo>
                  <a:lnTo>
                    <a:pt x="38" y="66"/>
                  </a:lnTo>
                  <a:lnTo>
                    <a:pt x="38" y="66"/>
                  </a:lnTo>
                  <a:lnTo>
                    <a:pt x="38" y="66"/>
                  </a:lnTo>
                  <a:close/>
                  <a:moveTo>
                    <a:pt x="26" y="66"/>
                  </a:moveTo>
                  <a:lnTo>
                    <a:pt x="22" y="70"/>
                  </a:lnTo>
                  <a:lnTo>
                    <a:pt x="26" y="70"/>
                  </a:lnTo>
                  <a:lnTo>
                    <a:pt x="26" y="74"/>
                  </a:lnTo>
                  <a:lnTo>
                    <a:pt x="22" y="70"/>
                  </a:lnTo>
                  <a:lnTo>
                    <a:pt x="22" y="66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6" y="66"/>
                  </a:lnTo>
                  <a:close/>
                  <a:moveTo>
                    <a:pt x="4" y="78"/>
                  </a:moveTo>
                  <a:lnTo>
                    <a:pt x="0" y="78"/>
                  </a:lnTo>
                  <a:lnTo>
                    <a:pt x="0" y="74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4" y="78"/>
                  </a:lnTo>
                  <a:close/>
                  <a:moveTo>
                    <a:pt x="8" y="94"/>
                  </a:moveTo>
                  <a:lnTo>
                    <a:pt x="12" y="94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4" y="96"/>
                  </a:lnTo>
                  <a:lnTo>
                    <a:pt x="8" y="94"/>
                  </a:lnTo>
                  <a:lnTo>
                    <a:pt x="8" y="94"/>
                  </a:lnTo>
                  <a:lnTo>
                    <a:pt x="8" y="94"/>
                  </a:lnTo>
                  <a:close/>
                </a:path>
              </a:pathLst>
            </a:custGeom>
            <a:solidFill>
              <a:srgbClr val="FFFF00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13" name="Freeform 53">
              <a:extLst>
                <a:ext uri="{FF2B5EF4-FFF2-40B4-BE49-F238E27FC236}">
                  <a16:creationId xmlns:a16="http://schemas.microsoft.com/office/drawing/2014/main" id="{258638B9-575F-5051-6D26-36B91C1B27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82929" y="3850602"/>
              <a:ext cx="66239" cy="128214"/>
            </a:xfrm>
            <a:custGeom>
              <a:avLst/>
              <a:gdLst>
                <a:gd name="T0" fmla="*/ 4 w 34"/>
                <a:gd name="T1" fmla="*/ 16 h 68"/>
                <a:gd name="T2" fmla="*/ 0 w 34"/>
                <a:gd name="T3" fmla="*/ 16 h 68"/>
                <a:gd name="T4" fmla="*/ 4 w 34"/>
                <a:gd name="T5" fmla="*/ 16 h 68"/>
                <a:gd name="T6" fmla="*/ 30 w 34"/>
                <a:gd name="T7" fmla="*/ 56 h 68"/>
                <a:gd name="T8" fmla="*/ 30 w 34"/>
                <a:gd name="T9" fmla="*/ 60 h 68"/>
                <a:gd name="T10" fmla="*/ 20 w 34"/>
                <a:gd name="T11" fmla="*/ 68 h 68"/>
                <a:gd name="T12" fmla="*/ 20 w 34"/>
                <a:gd name="T13" fmla="*/ 68 h 68"/>
                <a:gd name="T14" fmla="*/ 12 w 34"/>
                <a:gd name="T15" fmla="*/ 68 h 68"/>
                <a:gd name="T16" fmla="*/ 8 w 34"/>
                <a:gd name="T17" fmla="*/ 64 h 68"/>
                <a:gd name="T18" fmla="*/ 4 w 34"/>
                <a:gd name="T19" fmla="*/ 56 h 68"/>
                <a:gd name="T20" fmla="*/ 4 w 34"/>
                <a:gd name="T21" fmla="*/ 52 h 68"/>
                <a:gd name="T22" fmla="*/ 4 w 34"/>
                <a:gd name="T23" fmla="*/ 48 h 68"/>
                <a:gd name="T24" fmla="*/ 4 w 34"/>
                <a:gd name="T25" fmla="*/ 42 h 68"/>
                <a:gd name="T26" fmla="*/ 4 w 34"/>
                <a:gd name="T27" fmla="*/ 34 h 68"/>
                <a:gd name="T28" fmla="*/ 4 w 34"/>
                <a:gd name="T29" fmla="*/ 34 h 68"/>
                <a:gd name="T30" fmla="*/ 0 w 34"/>
                <a:gd name="T31" fmla="*/ 30 h 68"/>
                <a:gd name="T32" fmla="*/ 4 w 34"/>
                <a:gd name="T33" fmla="*/ 34 h 68"/>
                <a:gd name="T34" fmla="*/ 4 w 34"/>
                <a:gd name="T35" fmla="*/ 34 h 68"/>
                <a:gd name="T36" fmla="*/ 4 w 34"/>
                <a:gd name="T37" fmla="*/ 34 h 68"/>
                <a:gd name="T38" fmla="*/ 4 w 34"/>
                <a:gd name="T39" fmla="*/ 22 h 68"/>
                <a:gd name="T40" fmla="*/ 4 w 34"/>
                <a:gd name="T41" fmla="*/ 16 h 68"/>
                <a:gd name="T42" fmla="*/ 8 w 34"/>
                <a:gd name="T43" fmla="*/ 16 h 68"/>
                <a:gd name="T44" fmla="*/ 8 w 34"/>
                <a:gd name="T45" fmla="*/ 12 h 68"/>
                <a:gd name="T46" fmla="*/ 8 w 34"/>
                <a:gd name="T47" fmla="*/ 8 h 68"/>
                <a:gd name="T48" fmla="*/ 8 w 34"/>
                <a:gd name="T49" fmla="*/ 8 h 68"/>
                <a:gd name="T50" fmla="*/ 8 w 34"/>
                <a:gd name="T51" fmla="*/ 8 h 68"/>
                <a:gd name="T52" fmla="*/ 16 w 34"/>
                <a:gd name="T53" fmla="*/ 8 h 68"/>
                <a:gd name="T54" fmla="*/ 16 w 34"/>
                <a:gd name="T55" fmla="*/ 8 h 68"/>
                <a:gd name="T56" fmla="*/ 12 w 34"/>
                <a:gd name="T57" fmla="*/ 8 h 68"/>
                <a:gd name="T58" fmla="*/ 8 w 34"/>
                <a:gd name="T59" fmla="*/ 4 h 68"/>
                <a:gd name="T60" fmla="*/ 8 w 34"/>
                <a:gd name="T61" fmla="*/ 4 h 68"/>
                <a:gd name="T62" fmla="*/ 8 w 34"/>
                <a:gd name="T63" fmla="*/ 4 h 68"/>
                <a:gd name="T64" fmla="*/ 4 w 34"/>
                <a:gd name="T65" fmla="*/ 0 h 68"/>
                <a:gd name="T66" fmla="*/ 8 w 34"/>
                <a:gd name="T67" fmla="*/ 4 h 68"/>
                <a:gd name="T68" fmla="*/ 8 w 34"/>
                <a:gd name="T69" fmla="*/ 4 h 68"/>
                <a:gd name="T70" fmla="*/ 12 w 34"/>
                <a:gd name="T71" fmla="*/ 4 h 68"/>
                <a:gd name="T72" fmla="*/ 8 w 34"/>
                <a:gd name="T73" fmla="*/ 4 h 68"/>
                <a:gd name="T74" fmla="*/ 12 w 34"/>
                <a:gd name="T75" fmla="*/ 0 h 68"/>
                <a:gd name="T76" fmla="*/ 12 w 34"/>
                <a:gd name="T77" fmla="*/ 4 h 68"/>
                <a:gd name="T78" fmla="*/ 16 w 34"/>
                <a:gd name="T79" fmla="*/ 8 h 68"/>
                <a:gd name="T80" fmla="*/ 16 w 34"/>
                <a:gd name="T81" fmla="*/ 8 h 68"/>
                <a:gd name="T82" fmla="*/ 20 w 34"/>
                <a:gd name="T83" fmla="*/ 12 h 68"/>
                <a:gd name="T84" fmla="*/ 20 w 34"/>
                <a:gd name="T85" fmla="*/ 16 h 68"/>
                <a:gd name="T86" fmla="*/ 20 w 34"/>
                <a:gd name="T87" fmla="*/ 18 h 68"/>
                <a:gd name="T88" fmla="*/ 24 w 34"/>
                <a:gd name="T89" fmla="*/ 22 h 68"/>
                <a:gd name="T90" fmla="*/ 24 w 34"/>
                <a:gd name="T91" fmla="*/ 22 h 68"/>
                <a:gd name="T92" fmla="*/ 24 w 34"/>
                <a:gd name="T93" fmla="*/ 26 h 68"/>
                <a:gd name="T94" fmla="*/ 26 w 34"/>
                <a:gd name="T95" fmla="*/ 26 h 68"/>
                <a:gd name="T96" fmla="*/ 26 w 34"/>
                <a:gd name="T97" fmla="*/ 30 h 68"/>
                <a:gd name="T98" fmla="*/ 30 w 34"/>
                <a:gd name="T99" fmla="*/ 38 h 68"/>
                <a:gd name="T100" fmla="*/ 30 w 34"/>
                <a:gd name="T101" fmla="*/ 38 h 68"/>
                <a:gd name="T102" fmla="*/ 30 w 34"/>
                <a:gd name="T103" fmla="*/ 42 h 68"/>
                <a:gd name="T104" fmla="*/ 30 w 34"/>
                <a:gd name="T105" fmla="*/ 42 h 68"/>
                <a:gd name="T106" fmla="*/ 34 w 34"/>
                <a:gd name="T107" fmla="*/ 46 h 68"/>
                <a:gd name="T108" fmla="*/ 34 w 34"/>
                <a:gd name="T109" fmla="*/ 48 h 68"/>
                <a:gd name="T110" fmla="*/ 30 w 34"/>
                <a:gd name="T111" fmla="*/ 5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" h="68">
                  <a:moveTo>
                    <a:pt x="4" y="16"/>
                  </a:move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close/>
                  <a:moveTo>
                    <a:pt x="30" y="56"/>
                  </a:moveTo>
                  <a:lnTo>
                    <a:pt x="30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4" y="64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0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8"/>
                  </a:lnTo>
                  <a:lnTo>
                    <a:pt x="24" y="18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6" y="22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4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4" y="42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0" y="56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14" name="Freeform 54">
              <a:extLst>
                <a:ext uri="{FF2B5EF4-FFF2-40B4-BE49-F238E27FC236}">
                  <a16:creationId xmlns:a16="http://schemas.microsoft.com/office/drawing/2014/main" id="{10121EBD-CC81-FD6C-FA50-47707907E9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1136" y="2922932"/>
              <a:ext cx="190926" cy="177238"/>
            </a:xfrm>
            <a:custGeom>
              <a:avLst/>
              <a:gdLst>
                <a:gd name="T0" fmla="*/ 0 w 98"/>
                <a:gd name="T1" fmla="*/ 78 h 94"/>
                <a:gd name="T2" fmla="*/ 4 w 98"/>
                <a:gd name="T3" fmla="*/ 76 h 94"/>
                <a:gd name="T4" fmla="*/ 4 w 98"/>
                <a:gd name="T5" fmla="*/ 76 h 94"/>
                <a:gd name="T6" fmla="*/ 4 w 98"/>
                <a:gd name="T7" fmla="*/ 72 h 94"/>
                <a:gd name="T8" fmla="*/ 12 w 98"/>
                <a:gd name="T9" fmla="*/ 68 h 94"/>
                <a:gd name="T10" fmla="*/ 12 w 98"/>
                <a:gd name="T11" fmla="*/ 68 h 94"/>
                <a:gd name="T12" fmla="*/ 16 w 98"/>
                <a:gd name="T13" fmla="*/ 60 h 94"/>
                <a:gd name="T14" fmla="*/ 12 w 98"/>
                <a:gd name="T15" fmla="*/ 56 h 94"/>
                <a:gd name="T16" fmla="*/ 12 w 98"/>
                <a:gd name="T17" fmla="*/ 52 h 94"/>
                <a:gd name="T18" fmla="*/ 8 w 98"/>
                <a:gd name="T19" fmla="*/ 52 h 94"/>
                <a:gd name="T20" fmla="*/ 4 w 98"/>
                <a:gd name="T21" fmla="*/ 52 h 94"/>
                <a:gd name="T22" fmla="*/ 4 w 98"/>
                <a:gd name="T23" fmla="*/ 44 h 94"/>
                <a:gd name="T24" fmla="*/ 4 w 98"/>
                <a:gd name="T25" fmla="*/ 42 h 94"/>
                <a:gd name="T26" fmla="*/ 4 w 98"/>
                <a:gd name="T27" fmla="*/ 34 h 94"/>
                <a:gd name="T28" fmla="*/ 4 w 98"/>
                <a:gd name="T29" fmla="*/ 26 h 94"/>
                <a:gd name="T30" fmla="*/ 8 w 98"/>
                <a:gd name="T31" fmla="*/ 30 h 94"/>
                <a:gd name="T32" fmla="*/ 8 w 98"/>
                <a:gd name="T33" fmla="*/ 26 h 94"/>
                <a:gd name="T34" fmla="*/ 12 w 98"/>
                <a:gd name="T35" fmla="*/ 22 h 94"/>
                <a:gd name="T36" fmla="*/ 16 w 98"/>
                <a:gd name="T37" fmla="*/ 22 h 94"/>
                <a:gd name="T38" fmla="*/ 16 w 98"/>
                <a:gd name="T39" fmla="*/ 18 h 94"/>
                <a:gd name="T40" fmla="*/ 16 w 98"/>
                <a:gd name="T41" fmla="*/ 12 h 94"/>
                <a:gd name="T42" fmla="*/ 24 w 98"/>
                <a:gd name="T43" fmla="*/ 14 h 94"/>
                <a:gd name="T44" fmla="*/ 30 w 98"/>
                <a:gd name="T45" fmla="*/ 12 h 94"/>
                <a:gd name="T46" fmla="*/ 34 w 98"/>
                <a:gd name="T47" fmla="*/ 12 h 94"/>
                <a:gd name="T48" fmla="*/ 34 w 98"/>
                <a:gd name="T49" fmla="*/ 12 h 94"/>
                <a:gd name="T50" fmla="*/ 42 w 98"/>
                <a:gd name="T51" fmla="*/ 8 h 94"/>
                <a:gd name="T52" fmla="*/ 46 w 98"/>
                <a:gd name="T53" fmla="*/ 12 h 94"/>
                <a:gd name="T54" fmla="*/ 50 w 98"/>
                <a:gd name="T55" fmla="*/ 12 h 94"/>
                <a:gd name="T56" fmla="*/ 52 w 98"/>
                <a:gd name="T57" fmla="*/ 14 h 94"/>
                <a:gd name="T58" fmla="*/ 60 w 98"/>
                <a:gd name="T59" fmla="*/ 12 h 94"/>
                <a:gd name="T60" fmla="*/ 68 w 98"/>
                <a:gd name="T61" fmla="*/ 8 h 94"/>
                <a:gd name="T62" fmla="*/ 72 w 98"/>
                <a:gd name="T63" fmla="*/ 8 h 94"/>
                <a:gd name="T64" fmla="*/ 76 w 98"/>
                <a:gd name="T65" fmla="*/ 4 h 94"/>
                <a:gd name="T66" fmla="*/ 82 w 98"/>
                <a:gd name="T67" fmla="*/ 4 h 94"/>
                <a:gd name="T68" fmla="*/ 90 w 98"/>
                <a:gd name="T69" fmla="*/ 4 h 94"/>
                <a:gd name="T70" fmla="*/ 94 w 98"/>
                <a:gd name="T71" fmla="*/ 0 h 94"/>
                <a:gd name="T72" fmla="*/ 98 w 98"/>
                <a:gd name="T73" fmla="*/ 4 h 94"/>
                <a:gd name="T74" fmla="*/ 82 w 98"/>
                <a:gd name="T75" fmla="*/ 18 h 94"/>
                <a:gd name="T76" fmla="*/ 82 w 98"/>
                <a:gd name="T77" fmla="*/ 30 h 94"/>
                <a:gd name="T78" fmla="*/ 82 w 98"/>
                <a:gd name="T79" fmla="*/ 38 h 94"/>
                <a:gd name="T80" fmla="*/ 80 w 98"/>
                <a:gd name="T81" fmla="*/ 42 h 94"/>
                <a:gd name="T82" fmla="*/ 80 w 98"/>
                <a:gd name="T83" fmla="*/ 44 h 94"/>
                <a:gd name="T84" fmla="*/ 80 w 98"/>
                <a:gd name="T85" fmla="*/ 56 h 94"/>
                <a:gd name="T86" fmla="*/ 60 w 98"/>
                <a:gd name="T87" fmla="*/ 68 h 94"/>
                <a:gd name="T88" fmla="*/ 46 w 98"/>
                <a:gd name="T89" fmla="*/ 76 h 94"/>
                <a:gd name="T90" fmla="*/ 30 w 98"/>
                <a:gd name="T91" fmla="*/ 86 h 94"/>
                <a:gd name="T92" fmla="*/ 20 w 98"/>
                <a:gd name="T93" fmla="*/ 94 h 94"/>
                <a:gd name="T94" fmla="*/ 12 w 98"/>
                <a:gd name="T95" fmla="*/ 94 h 94"/>
                <a:gd name="T96" fmla="*/ 8 w 98"/>
                <a:gd name="T97" fmla="*/ 90 h 94"/>
                <a:gd name="T98" fmla="*/ 4 w 98"/>
                <a:gd name="T99" fmla="*/ 86 h 94"/>
                <a:gd name="T100" fmla="*/ 0 w 98"/>
                <a:gd name="T101" fmla="*/ 86 h 94"/>
                <a:gd name="T102" fmla="*/ 0 w 98"/>
                <a:gd name="T103" fmla="*/ 86 h 94"/>
                <a:gd name="T104" fmla="*/ 0 w 98"/>
                <a:gd name="T105" fmla="*/ 82 h 94"/>
                <a:gd name="T106" fmla="*/ 0 w 98"/>
                <a:gd name="T107" fmla="*/ 78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8" h="94">
                  <a:moveTo>
                    <a:pt x="0" y="78"/>
                  </a:move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8" y="12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6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8" y="0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0" y="14"/>
                  </a:lnTo>
                  <a:lnTo>
                    <a:pt x="82" y="14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8"/>
                  </a:lnTo>
                  <a:lnTo>
                    <a:pt x="82" y="38"/>
                  </a:lnTo>
                  <a:lnTo>
                    <a:pt x="82" y="38"/>
                  </a:lnTo>
                  <a:lnTo>
                    <a:pt x="82" y="38"/>
                  </a:lnTo>
                  <a:lnTo>
                    <a:pt x="82" y="38"/>
                  </a:lnTo>
                  <a:lnTo>
                    <a:pt x="82" y="38"/>
                  </a:lnTo>
                  <a:lnTo>
                    <a:pt x="80" y="42"/>
                  </a:lnTo>
                  <a:lnTo>
                    <a:pt x="80" y="42"/>
                  </a:lnTo>
                  <a:lnTo>
                    <a:pt x="80" y="42"/>
                  </a:lnTo>
                  <a:lnTo>
                    <a:pt x="80" y="42"/>
                  </a:lnTo>
                  <a:lnTo>
                    <a:pt x="80" y="42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2" y="60"/>
                  </a:lnTo>
                  <a:lnTo>
                    <a:pt x="68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2" y="72"/>
                  </a:lnTo>
                  <a:lnTo>
                    <a:pt x="50" y="76"/>
                  </a:lnTo>
                  <a:lnTo>
                    <a:pt x="46" y="76"/>
                  </a:lnTo>
                  <a:lnTo>
                    <a:pt x="46" y="76"/>
                  </a:lnTo>
                  <a:lnTo>
                    <a:pt x="46" y="76"/>
                  </a:lnTo>
                  <a:lnTo>
                    <a:pt x="42" y="78"/>
                  </a:lnTo>
                  <a:lnTo>
                    <a:pt x="38" y="78"/>
                  </a:lnTo>
                  <a:lnTo>
                    <a:pt x="34" y="82"/>
                  </a:lnTo>
                  <a:lnTo>
                    <a:pt x="30" y="86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4" y="90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0" y="86"/>
                  </a:lnTo>
                  <a:lnTo>
                    <a:pt x="0" y="90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15" name="Freeform 55">
              <a:extLst>
                <a:ext uri="{FF2B5EF4-FFF2-40B4-BE49-F238E27FC236}">
                  <a16:creationId xmlns:a16="http://schemas.microsoft.com/office/drawing/2014/main" id="{6DFF0770-50A7-CDB1-F768-930211A52C2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1732" y="2787176"/>
              <a:ext cx="210408" cy="165925"/>
            </a:xfrm>
            <a:custGeom>
              <a:avLst/>
              <a:gdLst>
                <a:gd name="T0" fmla="*/ 100 w 108"/>
                <a:gd name="T1" fmla="*/ 72 h 88"/>
                <a:gd name="T2" fmla="*/ 90 w 108"/>
                <a:gd name="T3" fmla="*/ 76 h 88"/>
                <a:gd name="T4" fmla="*/ 90 w 108"/>
                <a:gd name="T5" fmla="*/ 72 h 88"/>
                <a:gd name="T6" fmla="*/ 82 w 108"/>
                <a:gd name="T7" fmla="*/ 72 h 88"/>
                <a:gd name="T8" fmla="*/ 74 w 108"/>
                <a:gd name="T9" fmla="*/ 76 h 88"/>
                <a:gd name="T10" fmla="*/ 68 w 108"/>
                <a:gd name="T11" fmla="*/ 80 h 88"/>
                <a:gd name="T12" fmla="*/ 60 w 108"/>
                <a:gd name="T13" fmla="*/ 84 h 88"/>
                <a:gd name="T14" fmla="*/ 56 w 108"/>
                <a:gd name="T15" fmla="*/ 72 h 88"/>
                <a:gd name="T16" fmla="*/ 60 w 108"/>
                <a:gd name="T17" fmla="*/ 64 h 88"/>
                <a:gd name="T18" fmla="*/ 52 w 108"/>
                <a:gd name="T19" fmla="*/ 60 h 88"/>
                <a:gd name="T20" fmla="*/ 52 w 108"/>
                <a:gd name="T21" fmla="*/ 54 h 88"/>
                <a:gd name="T22" fmla="*/ 44 w 108"/>
                <a:gd name="T23" fmla="*/ 58 h 88"/>
                <a:gd name="T24" fmla="*/ 38 w 108"/>
                <a:gd name="T25" fmla="*/ 64 h 88"/>
                <a:gd name="T26" fmla="*/ 38 w 108"/>
                <a:gd name="T27" fmla="*/ 68 h 88"/>
                <a:gd name="T28" fmla="*/ 26 w 108"/>
                <a:gd name="T29" fmla="*/ 72 h 88"/>
                <a:gd name="T30" fmla="*/ 22 w 108"/>
                <a:gd name="T31" fmla="*/ 72 h 88"/>
                <a:gd name="T32" fmla="*/ 12 w 108"/>
                <a:gd name="T33" fmla="*/ 76 h 88"/>
                <a:gd name="T34" fmla="*/ 4 w 108"/>
                <a:gd name="T35" fmla="*/ 76 h 88"/>
                <a:gd name="T36" fmla="*/ 8 w 108"/>
                <a:gd name="T37" fmla="*/ 68 h 88"/>
                <a:gd name="T38" fmla="*/ 12 w 108"/>
                <a:gd name="T39" fmla="*/ 58 h 88"/>
                <a:gd name="T40" fmla="*/ 12 w 108"/>
                <a:gd name="T41" fmla="*/ 54 h 88"/>
                <a:gd name="T42" fmla="*/ 12 w 108"/>
                <a:gd name="T43" fmla="*/ 46 h 88"/>
                <a:gd name="T44" fmla="*/ 4 w 108"/>
                <a:gd name="T45" fmla="*/ 42 h 88"/>
                <a:gd name="T46" fmla="*/ 0 w 108"/>
                <a:gd name="T47" fmla="*/ 34 h 88"/>
                <a:gd name="T48" fmla="*/ 8 w 108"/>
                <a:gd name="T49" fmla="*/ 28 h 88"/>
                <a:gd name="T50" fmla="*/ 14 w 108"/>
                <a:gd name="T51" fmla="*/ 30 h 88"/>
                <a:gd name="T52" fmla="*/ 18 w 108"/>
                <a:gd name="T53" fmla="*/ 24 h 88"/>
                <a:gd name="T54" fmla="*/ 18 w 108"/>
                <a:gd name="T55" fmla="*/ 20 h 88"/>
                <a:gd name="T56" fmla="*/ 18 w 108"/>
                <a:gd name="T57" fmla="*/ 16 h 88"/>
                <a:gd name="T58" fmla="*/ 26 w 108"/>
                <a:gd name="T59" fmla="*/ 12 h 88"/>
                <a:gd name="T60" fmla="*/ 30 w 108"/>
                <a:gd name="T61" fmla="*/ 4 h 88"/>
                <a:gd name="T62" fmla="*/ 38 w 108"/>
                <a:gd name="T63" fmla="*/ 8 h 88"/>
                <a:gd name="T64" fmla="*/ 42 w 108"/>
                <a:gd name="T65" fmla="*/ 0 h 88"/>
                <a:gd name="T66" fmla="*/ 48 w 108"/>
                <a:gd name="T67" fmla="*/ 4 h 88"/>
                <a:gd name="T68" fmla="*/ 44 w 108"/>
                <a:gd name="T69" fmla="*/ 12 h 88"/>
                <a:gd name="T70" fmla="*/ 44 w 108"/>
                <a:gd name="T71" fmla="*/ 16 h 88"/>
                <a:gd name="T72" fmla="*/ 44 w 108"/>
                <a:gd name="T73" fmla="*/ 20 h 88"/>
                <a:gd name="T74" fmla="*/ 44 w 108"/>
                <a:gd name="T75" fmla="*/ 24 h 88"/>
                <a:gd name="T76" fmla="*/ 38 w 108"/>
                <a:gd name="T77" fmla="*/ 16 h 88"/>
                <a:gd name="T78" fmla="*/ 30 w 108"/>
                <a:gd name="T79" fmla="*/ 24 h 88"/>
                <a:gd name="T80" fmla="*/ 26 w 108"/>
                <a:gd name="T81" fmla="*/ 24 h 88"/>
                <a:gd name="T82" fmla="*/ 30 w 108"/>
                <a:gd name="T83" fmla="*/ 30 h 88"/>
                <a:gd name="T84" fmla="*/ 42 w 108"/>
                <a:gd name="T85" fmla="*/ 30 h 88"/>
                <a:gd name="T86" fmla="*/ 44 w 108"/>
                <a:gd name="T87" fmla="*/ 30 h 88"/>
                <a:gd name="T88" fmla="*/ 52 w 108"/>
                <a:gd name="T89" fmla="*/ 30 h 88"/>
                <a:gd name="T90" fmla="*/ 60 w 108"/>
                <a:gd name="T91" fmla="*/ 30 h 88"/>
                <a:gd name="T92" fmla="*/ 60 w 108"/>
                <a:gd name="T93" fmla="*/ 34 h 88"/>
                <a:gd name="T94" fmla="*/ 68 w 108"/>
                <a:gd name="T95" fmla="*/ 38 h 88"/>
                <a:gd name="T96" fmla="*/ 74 w 108"/>
                <a:gd name="T97" fmla="*/ 34 h 88"/>
                <a:gd name="T98" fmla="*/ 82 w 108"/>
                <a:gd name="T99" fmla="*/ 30 h 88"/>
                <a:gd name="T100" fmla="*/ 90 w 108"/>
                <a:gd name="T101" fmla="*/ 34 h 88"/>
                <a:gd name="T102" fmla="*/ 90 w 108"/>
                <a:gd name="T103" fmla="*/ 42 h 88"/>
                <a:gd name="T104" fmla="*/ 94 w 108"/>
                <a:gd name="T105" fmla="*/ 50 h 88"/>
                <a:gd name="T106" fmla="*/ 100 w 108"/>
                <a:gd name="T107" fmla="*/ 50 h 88"/>
                <a:gd name="T108" fmla="*/ 104 w 108"/>
                <a:gd name="T109" fmla="*/ 58 h 88"/>
                <a:gd name="T110" fmla="*/ 108 w 108"/>
                <a:gd name="T111" fmla="*/ 64 h 88"/>
                <a:gd name="T112" fmla="*/ 108 w 108"/>
                <a:gd name="T113" fmla="*/ 68 h 88"/>
                <a:gd name="T114" fmla="*/ 104 w 108"/>
                <a:gd name="T115" fmla="*/ 7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8" h="88">
                  <a:moveTo>
                    <a:pt x="104" y="76"/>
                  </a:moveTo>
                  <a:lnTo>
                    <a:pt x="104" y="72"/>
                  </a:lnTo>
                  <a:lnTo>
                    <a:pt x="100" y="72"/>
                  </a:lnTo>
                  <a:lnTo>
                    <a:pt x="98" y="72"/>
                  </a:lnTo>
                  <a:lnTo>
                    <a:pt x="94" y="72"/>
                  </a:lnTo>
                  <a:lnTo>
                    <a:pt x="90" y="76"/>
                  </a:lnTo>
                  <a:lnTo>
                    <a:pt x="86" y="76"/>
                  </a:lnTo>
                  <a:lnTo>
                    <a:pt x="86" y="72"/>
                  </a:lnTo>
                  <a:lnTo>
                    <a:pt x="90" y="72"/>
                  </a:lnTo>
                  <a:lnTo>
                    <a:pt x="86" y="72"/>
                  </a:lnTo>
                  <a:lnTo>
                    <a:pt x="86" y="68"/>
                  </a:lnTo>
                  <a:lnTo>
                    <a:pt x="82" y="72"/>
                  </a:lnTo>
                  <a:lnTo>
                    <a:pt x="78" y="72"/>
                  </a:lnTo>
                  <a:lnTo>
                    <a:pt x="78" y="76"/>
                  </a:lnTo>
                  <a:lnTo>
                    <a:pt x="74" y="76"/>
                  </a:lnTo>
                  <a:lnTo>
                    <a:pt x="74" y="80"/>
                  </a:lnTo>
                  <a:lnTo>
                    <a:pt x="70" y="80"/>
                  </a:lnTo>
                  <a:lnTo>
                    <a:pt x="68" y="80"/>
                  </a:lnTo>
                  <a:lnTo>
                    <a:pt x="64" y="84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56" y="80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6" y="58"/>
                  </a:lnTo>
                  <a:lnTo>
                    <a:pt x="56" y="54"/>
                  </a:lnTo>
                  <a:lnTo>
                    <a:pt x="52" y="54"/>
                  </a:lnTo>
                  <a:lnTo>
                    <a:pt x="48" y="50"/>
                  </a:lnTo>
                  <a:lnTo>
                    <a:pt x="44" y="54"/>
                  </a:lnTo>
                  <a:lnTo>
                    <a:pt x="44" y="58"/>
                  </a:lnTo>
                  <a:lnTo>
                    <a:pt x="42" y="60"/>
                  </a:lnTo>
                  <a:lnTo>
                    <a:pt x="38" y="60"/>
                  </a:lnTo>
                  <a:lnTo>
                    <a:pt x="38" y="64"/>
                  </a:lnTo>
                  <a:lnTo>
                    <a:pt x="42" y="64"/>
                  </a:lnTo>
                  <a:lnTo>
                    <a:pt x="42" y="68"/>
                  </a:lnTo>
                  <a:lnTo>
                    <a:pt x="38" y="68"/>
                  </a:lnTo>
                  <a:lnTo>
                    <a:pt x="34" y="68"/>
                  </a:lnTo>
                  <a:lnTo>
                    <a:pt x="30" y="68"/>
                  </a:lnTo>
                  <a:lnTo>
                    <a:pt x="26" y="72"/>
                  </a:lnTo>
                  <a:lnTo>
                    <a:pt x="26" y="76"/>
                  </a:lnTo>
                  <a:lnTo>
                    <a:pt x="22" y="76"/>
                  </a:lnTo>
                  <a:lnTo>
                    <a:pt x="22" y="72"/>
                  </a:lnTo>
                  <a:lnTo>
                    <a:pt x="18" y="72"/>
                  </a:lnTo>
                  <a:lnTo>
                    <a:pt x="14" y="76"/>
                  </a:lnTo>
                  <a:lnTo>
                    <a:pt x="12" y="76"/>
                  </a:lnTo>
                  <a:lnTo>
                    <a:pt x="12" y="80"/>
                  </a:lnTo>
                  <a:lnTo>
                    <a:pt x="8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4" y="58"/>
                  </a:lnTo>
                  <a:lnTo>
                    <a:pt x="12" y="58"/>
                  </a:lnTo>
                  <a:lnTo>
                    <a:pt x="12" y="54"/>
                  </a:lnTo>
                  <a:lnTo>
                    <a:pt x="8" y="50"/>
                  </a:lnTo>
                  <a:lnTo>
                    <a:pt x="8" y="46"/>
                  </a:lnTo>
                  <a:lnTo>
                    <a:pt x="12" y="46"/>
                  </a:lnTo>
                  <a:lnTo>
                    <a:pt x="12" y="42"/>
                  </a:lnTo>
                  <a:lnTo>
                    <a:pt x="8" y="42"/>
                  </a:lnTo>
                  <a:lnTo>
                    <a:pt x="4" y="42"/>
                  </a:lnTo>
                  <a:lnTo>
                    <a:pt x="4" y="38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0"/>
                  </a:lnTo>
                  <a:lnTo>
                    <a:pt x="12" y="30"/>
                  </a:lnTo>
                  <a:lnTo>
                    <a:pt x="14" y="30"/>
                  </a:lnTo>
                  <a:lnTo>
                    <a:pt x="14" y="28"/>
                  </a:lnTo>
                  <a:lnTo>
                    <a:pt x="14" y="24"/>
                  </a:lnTo>
                  <a:lnTo>
                    <a:pt x="18" y="24"/>
                  </a:lnTo>
                  <a:lnTo>
                    <a:pt x="18" y="20"/>
                  </a:lnTo>
                  <a:lnTo>
                    <a:pt x="22" y="20"/>
                  </a:lnTo>
                  <a:lnTo>
                    <a:pt x="18" y="20"/>
                  </a:lnTo>
                  <a:lnTo>
                    <a:pt x="14" y="20"/>
                  </a:lnTo>
                  <a:lnTo>
                    <a:pt x="14" y="16"/>
                  </a:lnTo>
                  <a:lnTo>
                    <a:pt x="18" y="16"/>
                  </a:lnTo>
                  <a:lnTo>
                    <a:pt x="22" y="16"/>
                  </a:lnTo>
                  <a:lnTo>
                    <a:pt x="26" y="16"/>
                  </a:lnTo>
                  <a:lnTo>
                    <a:pt x="26" y="12"/>
                  </a:lnTo>
                  <a:lnTo>
                    <a:pt x="26" y="8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0" y="8"/>
                  </a:lnTo>
                  <a:lnTo>
                    <a:pt x="34" y="8"/>
                  </a:lnTo>
                  <a:lnTo>
                    <a:pt x="38" y="8"/>
                  </a:lnTo>
                  <a:lnTo>
                    <a:pt x="38" y="4"/>
                  </a:lnTo>
                  <a:lnTo>
                    <a:pt x="42" y="4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2" y="12"/>
                  </a:lnTo>
                  <a:lnTo>
                    <a:pt x="42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2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2" y="20"/>
                  </a:lnTo>
                  <a:lnTo>
                    <a:pt x="38" y="16"/>
                  </a:lnTo>
                  <a:lnTo>
                    <a:pt x="34" y="20"/>
                  </a:lnTo>
                  <a:lnTo>
                    <a:pt x="30" y="20"/>
                  </a:lnTo>
                  <a:lnTo>
                    <a:pt x="30" y="24"/>
                  </a:lnTo>
                  <a:lnTo>
                    <a:pt x="26" y="24"/>
                  </a:lnTo>
                  <a:lnTo>
                    <a:pt x="26" y="20"/>
                  </a:lnTo>
                  <a:lnTo>
                    <a:pt x="26" y="24"/>
                  </a:lnTo>
                  <a:lnTo>
                    <a:pt x="26" y="28"/>
                  </a:lnTo>
                  <a:lnTo>
                    <a:pt x="26" y="30"/>
                  </a:lnTo>
                  <a:lnTo>
                    <a:pt x="30" y="30"/>
                  </a:lnTo>
                  <a:lnTo>
                    <a:pt x="34" y="30"/>
                  </a:lnTo>
                  <a:lnTo>
                    <a:pt x="38" y="30"/>
                  </a:lnTo>
                  <a:lnTo>
                    <a:pt x="42" y="30"/>
                  </a:lnTo>
                  <a:lnTo>
                    <a:pt x="42" y="28"/>
                  </a:lnTo>
                  <a:lnTo>
                    <a:pt x="44" y="28"/>
                  </a:lnTo>
                  <a:lnTo>
                    <a:pt x="44" y="30"/>
                  </a:lnTo>
                  <a:lnTo>
                    <a:pt x="48" y="30"/>
                  </a:lnTo>
                  <a:lnTo>
                    <a:pt x="48" y="34"/>
                  </a:lnTo>
                  <a:lnTo>
                    <a:pt x="52" y="30"/>
                  </a:lnTo>
                  <a:lnTo>
                    <a:pt x="56" y="30"/>
                  </a:lnTo>
                  <a:lnTo>
                    <a:pt x="56" y="28"/>
                  </a:lnTo>
                  <a:lnTo>
                    <a:pt x="60" y="30"/>
                  </a:lnTo>
                  <a:lnTo>
                    <a:pt x="56" y="30"/>
                  </a:lnTo>
                  <a:lnTo>
                    <a:pt x="60" y="30"/>
                  </a:lnTo>
                  <a:lnTo>
                    <a:pt x="60" y="34"/>
                  </a:lnTo>
                  <a:lnTo>
                    <a:pt x="64" y="34"/>
                  </a:lnTo>
                  <a:lnTo>
                    <a:pt x="68" y="34"/>
                  </a:lnTo>
                  <a:lnTo>
                    <a:pt x="68" y="38"/>
                  </a:lnTo>
                  <a:lnTo>
                    <a:pt x="68" y="34"/>
                  </a:lnTo>
                  <a:lnTo>
                    <a:pt x="70" y="34"/>
                  </a:lnTo>
                  <a:lnTo>
                    <a:pt x="74" y="34"/>
                  </a:lnTo>
                  <a:lnTo>
                    <a:pt x="78" y="34"/>
                  </a:lnTo>
                  <a:lnTo>
                    <a:pt x="82" y="34"/>
                  </a:lnTo>
                  <a:lnTo>
                    <a:pt x="82" y="30"/>
                  </a:lnTo>
                  <a:lnTo>
                    <a:pt x="86" y="30"/>
                  </a:lnTo>
                  <a:lnTo>
                    <a:pt x="90" y="30"/>
                  </a:lnTo>
                  <a:lnTo>
                    <a:pt x="90" y="34"/>
                  </a:lnTo>
                  <a:lnTo>
                    <a:pt x="86" y="34"/>
                  </a:lnTo>
                  <a:lnTo>
                    <a:pt x="90" y="38"/>
                  </a:lnTo>
                  <a:lnTo>
                    <a:pt x="90" y="42"/>
                  </a:lnTo>
                  <a:lnTo>
                    <a:pt x="90" y="46"/>
                  </a:lnTo>
                  <a:lnTo>
                    <a:pt x="90" y="50"/>
                  </a:lnTo>
                  <a:lnTo>
                    <a:pt x="94" y="50"/>
                  </a:lnTo>
                  <a:lnTo>
                    <a:pt x="94" y="46"/>
                  </a:lnTo>
                  <a:lnTo>
                    <a:pt x="98" y="46"/>
                  </a:lnTo>
                  <a:lnTo>
                    <a:pt x="100" y="50"/>
                  </a:lnTo>
                  <a:lnTo>
                    <a:pt x="104" y="50"/>
                  </a:lnTo>
                  <a:lnTo>
                    <a:pt x="104" y="54"/>
                  </a:lnTo>
                  <a:lnTo>
                    <a:pt x="104" y="58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8" y="64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16" name="Freeform 56">
              <a:extLst>
                <a:ext uri="{FF2B5EF4-FFF2-40B4-BE49-F238E27FC236}">
                  <a16:creationId xmlns:a16="http://schemas.microsoft.com/office/drawing/2014/main" id="{6624E343-D2C8-483F-4C0C-C241AAA4A6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73880" y="3507440"/>
              <a:ext cx="229890" cy="486461"/>
            </a:xfrm>
            <a:custGeom>
              <a:avLst/>
              <a:gdLst>
                <a:gd name="T0" fmla="*/ 54 w 118"/>
                <a:gd name="T1" fmla="*/ 258 h 258"/>
                <a:gd name="T2" fmla="*/ 50 w 118"/>
                <a:gd name="T3" fmla="*/ 246 h 258"/>
                <a:gd name="T4" fmla="*/ 40 w 118"/>
                <a:gd name="T5" fmla="*/ 242 h 258"/>
                <a:gd name="T6" fmla="*/ 36 w 118"/>
                <a:gd name="T7" fmla="*/ 232 h 258"/>
                <a:gd name="T8" fmla="*/ 24 w 118"/>
                <a:gd name="T9" fmla="*/ 220 h 258"/>
                <a:gd name="T10" fmla="*/ 18 w 118"/>
                <a:gd name="T11" fmla="*/ 212 h 258"/>
                <a:gd name="T12" fmla="*/ 14 w 118"/>
                <a:gd name="T13" fmla="*/ 202 h 258"/>
                <a:gd name="T14" fmla="*/ 18 w 118"/>
                <a:gd name="T15" fmla="*/ 182 h 258"/>
                <a:gd name="T16" fmla="*/ 28 w 118"/>
                <a:gd name="T17" fmla="*/ 160 h 258"/>
                <a:gd name="T18" fmla="*/ 32 w 118"/>
                <a:gd name="T19" fmla="*/ 142 h 258"/>
                <a:gd name="T20" fmla="*/ 28 w 118"/>
                <a:gd name="T21" fmla="*/ 122 h 258"/>
                <a:gd name="T22" fmla="*/ 20 w 118"/>
                <a:gd name="T23" fmla="*/ 108 h 258"/>
                <a:gd name="T24" fmla="*/ 14 w 118"/>
                <a:gd name="T25" fmla="*/ 94 h 258"/>
                <a:gd name="T26" fmla="*/ 18 w 118"/>
                <a:gd name="T27" fmla="*/ 74 h 258"/>
                <a:gd name="T28" fmla="*/ 18 w 118"/>
                <a:gd name="T29" fmla="*/ 60 h 258"/>
                <a:gd name="T30" fmla="*/ 6 w 118"/>
                <a:gd name="T31" fmla="*/ 48 h 258"/>
                <a:gd name="T32" fmla="*/ 4 w 118"/>
                <a:gd name="T33" fmla="*/ 34 h 258"/>
                <a:gd name="T34" fmla="*/ 6 w 118"/>
                <a:gd name="T35" fmla="*/ 22 h 258"/>
                <a:gd name="T36" fmla="*/ 18 w 118"/>
                <a:gd name="T37" fmla="*/ 12 h 258"/>
                <a:gd name="T38" fmla="*/ 28 w 118"/>
                <a:gd name="T39" fmla="*/ 8 h 258"/>
                <a:gd name="T40" fmla="*/ 40 w 118"/>
                <a:gd name="T41" fmla="*/ 4 h 258"/>
                <a:gd name="T42" fmla="*/ 44 w 118"/>
                <a:gd name="T43" fmla="*/ 12 h 258"/>
                <a:gd name="T44" fmla="*/ 54 w 118"/>
                <a:gd name="T45" fmla="*/ 22 h 258"/>
                <a:gd name="T46" fmla="*/ 54 w 118"/>
                <a:gd name="T47" fmla="*/ 38 h 258"/>
                <a:gd name="T48" fmla="*/ 54 w 118"/>
                <a:gd name="T49" fmla="*/ 52 h 258"/>
                <a:gd name="T50" fmla="*/ 66 w 118"/>
                <a:gd name="T51" fmla="*/ 40 h 258"/>
                <a:gd name="T52" fmla="*/ 76 w 118"/>
                <a:gd name="T53" fmla="*/ 44 h 258"/>
                <a:gd name="T54" fmla="*/ 88 w 118"/>
                <a:gd name="T55" fmla="*/ 38 h 258"/>
                <a:gd name="T56" fmla="*/ 102 w 118"/>
                <a:gd name="T57" fmla="*/ 48 h 258"/>
                <a:gd name="T58" fmla="*/ 106 w 118"/>
                <a:gd name="T59" fmla="*/ 64 h 258"/>
                <a:gd name="T60" fmla="*/ 110 w 118"/>
                <a:gd name="T61" fmla="*/ 78 h 258"/>
                <a:gd name="T62" fmla="*/ 114 w 118"/>
                <a:gd name="T63" fmla="*/ 94 h 258"/>
                <a:gd name="T64" fmla="*/ 110 w 118"/>
                <a:gd name="T65" fmla="*/ 104 h 258"/>
                <a:gd name="T66" fmla="*/ 96 w 118"/>
                <a:gd name="T67" fmla="*/ 104 h 258"/>
                <a:gd name="T68" fmla="*/ 80 w 118"/>
                <a:gd name="T69" fmla="*/ 112 h 258"/>
                <a:gd name="T70" fmla="*/ 70 w 118"/>
                <a:gd name="T71" fmla="*/ 122 h 258"/>
                <a:gd name="T72" fmla="*/ 76 w 118"/>
                <a:gd name="T73" fmla="*/ 142 h 258"/>
                <a:gd name="T74" fmla="*/ 76 w 118"/>
                <a:gd name="T75" fmla="*/ 146 h 258"/>
                <a:gd name="T76" fmla="*/ 66 w 118"/>
                <a:gd name="T77" fmla="*/ 134 h 258"/>
                <a:gd name="T78" fmla="*/ 50 w 118"/>
                <a:gd name="T79" fmla="*/ 134 h 258"/>
                <a:gd name="T80" fmla="*/ 50 w 118"/>
                <a:gd name="T81" fmla="*/ 120 h 258"/>
                <a:gd name="T82" fmla="*/ 40 w 118"/>
                <a:gd name="T83" fmla="*/ 126 h 258"/>
                <a:gd name="T84" fmla="*/ 36 w 118"/>
                <a:gd name="T85" fmla="*/ 148 h 258"/>
                <a:gd name="T86" fmla="*/ 28 w 118"/>
                <a:gd name="T87" fmla="*/ 168 h 258"/>
                <a:gd name="T88" fmla="*/ 28 w 118"/>
                <a:gd name="T89" fmla="*/ 190 h 258"/>
                <a:gd name="T90" fmla="*/ 36 w 118"/>
                <a:gd name="T91" fmla="*/ 204 h 258"/>
                <a:gd name="T92" fmla="*/ 44 w 118"/>
                <a:gd name="T93" fmla="*/ 212 h 258"/>
                <a:gd name="T94" fmla="*/ 46 w 118"/>
                <a:gd name="T95" fmla="*/ 232 h 258"/>
                <a:gd name="T96" fmla="*/ 40 w 118"/>
                <a:gd name="T97" fmla="*/ 224 h 258"/>
                <a:gd name="T98" fmla="*/ 46 w 118"/>
                <a:gd name="T99" fmla="*/ 232 h 258"/>
                <a:gd name="T100" fmla="*/ 58 w 118"/>
                <a:gd name="T101" fmla="*/ 234 h 258"/>
                <a:gd name="T102" fmla="*/ 66 w 118"/>
                <a:gd name="T103" fmla="*/ 254 h 258"/>
                <a:gd name="T104" fmla="*/ 18 w 118"/>
                <a:gd name="T105" fmla="*/ 212 h 258"/>
                <a:gd name="T106" fmla="*/ 32 w 118"/>
                <a:gd name="T107" fmla="*/ 238 h 258"/>
                <a:gd name="T108" fmla="*/ 72 w 118"/>
                <a:gd name="T109" fmla="*/ 146 h 258"/>
                <a:gd name="T110" fmla="*/ 72 w 118"/>
                <a:gd name="T111" fmla="*/ 148 h 258"/>
                <a:gd name="T112" fmla="*/ 40 w 118"/>
                <a:gd name="T113" fmla="*/ 190 h 258"/>
                <a:gd name="T114" fmla="*/ 14 w 118"/>
                <a:gd name="T115" fmla="*/ 216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8" h="258">
                  <a:moveTo>
                    <a:pt x="62" y="254"/>
                  </a:moveTo>
                  <a:lnTo>
                    <a:pt x="62" y="250"/>
                  </a:lnTo>
                  <a:lnTo>
                    <a:pt x="58" y="250"/>
                  </a:lnTo>
                  <a:lnTo>
                    <a:pt x="58" y="254"/>
                  </a:lnTo>
                  <a:lnTo>
                    <a:pt x="54" y="254"/>
                  </a:lnTo>
                  <a:lnTo>
                    <a:pt x="54" y="258"/>
                  </a:lnTo>
                  <a:lnTo>
                    <a:pt x="54" y="254"/>
                  </a:lnTo>
                  <a:lnTo>
                    <a:pt x="50" y="254"/>
                  </a:lnTo>
                  <a:lnTo>
                    <a:pt x="50" y="250"/>
                  </a:lnTo>
                  <a:lnTo>
                    <a:pt x="54" y="250"/>
                  </a:lnTo>
                  <a:lnTo>
                    <a:pt x="54" y="246"/>
                  </a:lnTo>
                  <a:lnTo>
                    <a:pt x="50" y="246"/>
                  </a:lnTo>
                  <a:lnTo>
                    <a:pt x="50" y="242"/>
                  </a:lnTo>
                  <a:lnTo>
                    <a:pt x="46" y="242"/>
                  </a:lnTo>
                  <a:lnTo>
                    <a:pt x="44" y="242"/>
                  </a:lnTo>
                  <a:lnTo>
                    <a:pt x="44" y="238"/>
                  </a:lnTo>
                  <a:lnTo>
                    <a:pt x="40" y="238"/>
                  </a:lnTo>
                  <a:lnTo>
                    <a:pt x="40" y="242"/>
                  </a:lnTo>
                  <a:lnTo>
                    <a:pt x="40" y="238"/>
                  </a:lnTo>
                  <a:lnTo>
                    <a:pt x="36" y="238"/>
                  </a:lnTo>
                  <a:lnTo>
                    <a:pt x="36" y="234"/>
                  </a:lnTo>
                  <a:lnTo>
                    <a:pt x="32" y="234"/>
                  </a:lnTo>
                  <a:lnTo>
                    <a:pt x="32" y="232"/>
                  </a:lnTo>
                  <a:lnTo>
                    <a:pt x="36" y="232"/>
                  </a:lnTo>
                  <a:lnTo>
                    <a:pt x="32" y="232"/>
                  </a:lnTo>
                  <a:lnTo>
                    <a:pt x="32" y="228"/>
                  </a:lnTo>
                  <a:lnTo>
                    <a:pt x="28" y="228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24" y="220"/>
                  </a:lnTo>
                  <a:lnTo>
                    <a:pt x="24" y="216"/>
                  </a:lnTo>
                  <a:lnTo>
                    <a:pt x="20" y="216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18" y="208"/>
                  </a:lnTo>
                  <a:lnTo>
                    <a:pt x="18" y="212"/>
                  </a:lnTo>
                  <a:lnTo>
                    <a:pt x="18" y="208"/>
                  </a:lnTo>
                  <a:lnTo>
                    <a:pt x="18" y="212"/>
                  </a:lnTo>
                  <a:lnTo>
                    <a:pt x="14" y="212"/>
                  </a:lnTo>
                  <a:lnTo>
                    <a:pt x="14" y="208"/>
                  </a:lnTo>
                  <a:lnTo>
                    <a:pt x="14" y="204"/>
                  </a:lnTo>
                  <a:lnTo>
                    <a:pt x="14" y="202"/>
                  </a:lnTo>
                  <a:lnTo>
                    <a:pt x="14" y="198"/>
                  </a:lnTo>
                  <a:lnTo>
                    <a:pt x="14" y="194"/>
                  </a:lnTo>
                  <a:lnTo>
                    <a:pt x="14" y="190"/>
                  </a:lnTo>
                  <a:lnTo>
                    <a:pt x="18" y="190"/>
                  </a:lnTo>
                  <a:lnTo>
                    <a:pt x="18" y="186"/>
                  </a:lnTo>
                  <a:lnTo>
                    <a:pt x="18" y="182"/>
                  </a:lnTo>
                  <a:lnTo>
                    <a:pt x="20" y="178"/>
                  </a:lnTo>
                  <a:lnTo>
                    <a:pt x="20" y="176"/>
                  </a:lnTo>
                  <a:lnTo>
                    <a:pt x="20" y="172"/>
                  </a:lnTo>
                  <a:lnTo>
                    <a:pt x="20" y="168"/>
                  </a:lnTo>
                  <a:lnTo>
                    <a:pt x="24" y="164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2" y="146"/>
                  </a:lnTo>
                  <a:lnTo>
                    <a:pt x="32" y="142"/>
                  </a:lnTo>
                  <a:lnTo>
                    <a:pt x="28" y="142"/>
                  </a:lnTo>
                  <a:lnTo>
                    <a:pt x="28" y="138"/>
                  </a:lnTo>
                  <a:lnTo>
                    <a:pt x="28" y="134"/>
                  </a:lnTo>
                  <a:lnTo>
                    <a:pt x="24" y="126"/>
                  </a:lnTo>
                  <a:lnTo>
                    <a:pt x="28" y="126"/>
                  </a:lnTo>
                  <a:lnTo>
                    <a:pt x="28" y="122"/>
                  </a:lnTo>
                  <a:lnTo>
                    <a:pt x="24" y="122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18" y="108"/>
                  </a:lnTo>
                  <a:lnTo>
                    <a:pt x="18" y="104"/>
                  </a:lnTo>
                  <a:lnTo>
                    <a:pt x="18" y="100"/>
                  </a:lnTo>
                  <a:lnTo>
                    <a:pt x="14" y="100"/>
                  </a:lnTo>
                  <a:lnTo>
                    <a:pt x="14" y="96"/>
                  </a:lnTo>
                  <a:lnTo>
                    <a:pt x="14" y="94"/>
                  </a:lnTo>
                  <a:lnTo>
                    <a:pt x="14" y="90"/>
                  </a:lnTo>
                  <a:lnTo>
                    <a:pt x="18" y="90"/>
                  </a:lnTo>
                  <a:lnTo>
                    <a:pt x="18" y="86"/>
                  </a:lnTo>
                  <a:lnTo>
                    <a:pt x="18" y="82"/>
                  </a:lnTo>
                  <a:lnTo>
                    <a:pt x="18" y="78"/>
                  </a:lnTo>
                  <a:lnTo>
                    <a:pt x="18" y="74"/>
                  </a:lnTo>
                  <a:lnTo>
                    <a:pt x="20" y="74"/>
                  </a:lnTo>
                  <a:lnTo>
                    <a:pt x="20" y="70"/>
                  </a:lnTo>
                  <a:lnTo>
                    <a:pt x="18" y="70"/>
                  </a:lnTo>
                  <a:lnTo>
                    <a:pt x="18" y="66"/>
                  </a:lnTo>
                  <a:lnTo>
                    <a:pt x="18" y="64"/>
                  </a:lnTo>
                  <a:lnTo>
                    <a:pt x="18" y="60"/>
                  </a:lnTo>
                  <a:lnTo>
                    <a:pt x="14" y="60"/>
                  </a:lnTo>
                  <a:lnTo>
                    <a:pt x="14" y="56"/>
                  </a:lnTo>
                  <a:lnTo>
                    <a:pt x="10" y="56"/>
                  </a:lnTo>
                  <a:lnTo>
                    <a:pt x="10" y="52"/>
                  </a:lnTo>
                  <a:lnTo>
                    <a:pt x="10" y="48"/>
                  </a:lnTo>
                  <a:lnTo>
                    <a:pt x="6" y="48"/>
                  </a:lnTo>
                  <a:lnTo>
                    <a:pt x="6" y="44"/>
                  </a:lnTo>
                  <a:lnTo>
                    <a:pt x="6" y="40"/>
                  </a:lnTo>
                  <a:lnTo>
                    <a:pt x="4" y="38"/>
                  </a:lnTo>
                  <a:lnTo>
                    <a:pt x="6" y="38"/>
                  </a:lnTo>
                  <a:lnTo>
                    <a:pt x="4" y="38"/>
                  </a:lnTo>
                  <a:lnTo>
                    <a:pt x="4" y="34"/>
                  </a:lnTo>
                  <a:lnTo>
                    <a:pt x="0" y="34"/>
                  </a:lnTo>
                  <a:lnTo>
                    <a:pt x="4" y="34"/>
                  </a:lnTo>
                  <a:lnTo>
                    <a:pt x="6" y="34"/>
                  </a:lnTo>
                  <a:lnTo>
                    <a:pt x="6" y="30"/>
                  </a:lnTo>
                  <a:lnTo>
                    <a:pt x="6" y="26"/>
                  </a:lnTo>
                  <a:lnTo>
                    <a:pt x="6" y="22"/>
                  </a:lnTo>
                  <a:lnTo>
                    <a:pt x="6" y="18"/>
                  </a:lnTo>
                  <a:lnTo>
                    <a:pt x="6" y="14"/>
                  </a:lnTo>
                  <a:lnTo>
                    <a:pt x="10" y="14"/>
                  </a:lnTo>
                  <a:lnTo>
                    <a:pt x="10" y="12"/>
                  </a:lnTo>
                  <a:lnTo>
                    <a:pt x="14" y="12"/>
                  </a:lnTo>
                  <a:lnTo>
                    <a:pt x="18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6" y="4"/>
                  </a:lnTo>
                  <a:lnTo>
                    <a:pt x="46" y="8"/>
                  </a:lnTo>
                  <a:lnTo>
                    <a:pt x="44" y="12"/>
                  </a:lnTo>
                  <a:lnTo>
                    <a:pt x="44" y="14"/>
                  </a:lnTo>
                  <a:lnTo>
                    <a:pt x="46" y="14"/>
                  </a:lnTo>
                  <a:lnTo>
                    <a:pt x="50" y="14"/>
                  </a:lnTo>
                  <a:lnTo>
                    <a:pt x="54" y="14"/>
                  </a:lnTo>
                  <a:lnTo>
                    <a:pt x="54" y="18"/>
                  </a:lnTo>
                  <a:lnTo>
                    <a:pt x="54" y="22"/>
                  </a:lnTo>
                  <a:lnTo>
                    <a:pt x="58" y="22"/>
                  </a:lnTo>
                  <a:lnTo>
                    <a:pt x="58" y="26"/>
                  </a:lnTo>
                  <a:lnTo>
                    <a:pt x="54" y="26"/>
                  </a:lnTo>
                  <a:lnTo>
                    <a:pt x="54" y="30"/>
                  </a:lnTo>
                  <a:lnTo>
                    <a:pt x="54" y="34"/>
                  </a:lnTo>
                  <a:lnTo>
                    <a:pt x="54" y="38"/>
                  </a:lnTo>
                  <a:lnTo>
                    <a:pt x="54" y="40"/>
                  </a:lnTo>
                  <a:lnTo>
                    <a:pt x="54" y="44"/>
                  </a:lnTo>
                  <a:lnTo>
                    <a:pt x="50" y="44"/>
                  </a:lnTo>
                  <a:lnTo>
                    <a:pt x="50" y="48"/>
                  </a:lnTo>
                  <a:lnTo>
                    <a:pt x="50" y="52"/>
                  </a:lnTo>
                  <a:lnTo>
                    <a:pt x="54" y="52"/>
                  </a:lnTo>
                  <a:lnTo>
                    <a:pt x="54" y="48"/>
                  </a:lnTo>
                  <a:lnTo>
                    <a:pt x="58" y="48"/>
                  </a:lnTo>
                  <a:lnTo>
                    <a:pt x="58" y="44"/>
                  </a:lnTo>
                  <a:lnTo>
                    <a:pt x="62" y="44"/>
                  </a:lnTo>
                  <a:lnTo>
                    <a:pt x="62" y="40"/>
                  </a:lnTo>
                  <a:lnTo>
                    <a:pt x="66" y="40"/>
                  </a:lnTo>
                  <a:lnTo>
                    <a:pt x="66" y="38"/>
                  </a:lnTo>
                  <a:lnTo>
                    <a:pt x="70" y="38"/>
                  </a:lnTo>
                  <a:lnTo>
                    <a:pt x="70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4" y="38"/>
                  </a:lnTo>
                  <a:lnTo>
                    <a:pt x="84" y="34"/>
                  </a:lnTo>
                  <a:lnTo>
                    <a:pt x="88" y="34"/>
                  </a:lnTo>
                  <a:lnTo>
                    <a:pt x="88" y="38"/>
                  </a:lnTo>
                  <a:lnTo>
                    <a:pt x="92" y="38"/>
                  </a:lnTo>
                  <a:lnTo>
                    <a:pt x="96" y="38"/>
                  </a:lnTo>
                  <a:lnTo>
                    <a:pt x="96" y="40"/>
                  </a:lnTo>
                  <a:lnTo>
                    <a:pt x="98" y="44"/>
                  </a:lnTo>
                  <a:lnTo>
                    <a:pt x="98" y="48"/>
                  </a:lnTo>
                  <a:lnTo>
                    <a:pt x="102" y="48"/>
                  </a:lnTo>
                  <a:lnTo>
                    <a:pt x="102" y="52"/>
                  </a:lnTo>
                  <a:lnTo>
                    <a:pt x="106" y="52"/>
                  </a:lnTo>
                  <a:lnTo>
                    <a:pt x="106" y="56"/>
                  </a:lnTo>
                  <a:lnTo>
                    <a:pt x="106" y="60"/>
                  </a:lnTo>
                  <a:lnTo>
                    <a:pt x="102" y="60"/>
                  </a:lnTo>
                  <a:lnTo>
                    <a:pt x="106" y="64"/>
                  </a:lnTo>
                  <a:lnTo>
                    <a:pt x="106" y="66"/>
                  </a:lnTo>
                  <a:lnTo>
                    <a:pt x="102" y="66"/>
                  </a:lnTo>
                  <a:lnTo>
                    <a:pt x="106" y="66"/>
                  </a:lnTo>
                  <a:lnTo>
                    <a:pt x="106" y="70"/>
                  </a:lnTo>
                  <a:lnTo>
                    <a:pt x="110" y="74"/>
                  </a:lnTo>
                  <a:lnTo>
                    <a:pt x="110" y="78"/>
                  </a:lnTo>
                  <a:lnTo>
                    <a:pt x="114" y="78"/>
                  </a:lnTo>
                  <a:lnTo>
                    <a:pt x="114" y="82"/>
                  </a:lnTo>
                  <a:lnTo>
                    <a:pt x="118" y="82"/>
                  </a:lnTo>
                  <a:lnTo>
                    <a:pt x="118" y="86"/>
                  </a:lnTo>
                  <a:lnTo>
                    <a:pt x="118" y="90"/>
                  </a:lnTo>
                  <a:lnTo>
                    <a:pt x="114" y="94"/>
                  </a:lnTo>
                  <a:lnTo>
                    <a:pt x="118" y="94"/>
                  </a:lnTo>
                  <a:lnTo>
                    <a:pt x="118" y="96"/>
                  </a:lnTo>
                  <a:lnTo>
                    <a:pt x="114" y="96"/>
                  </a:lnTo>
                  <a:lnTo>
                    <a:pt x="114" y="100"/>
                  </a:lnTo>
                  <a:lnTo>
                    <a:pt x="114" y="104"/>
                  </a:lnTo>
                  <a:lnTo>
                    <a:pt x="110" y="104"/>
                  </a:lnTo>
                  <a:lnTo>
                    <a:pt x="110" y="108"/>
                  </a:lnTo>
                  <a:lnTo>
                    <a:pt x="106" y="108"/>
                  </a:lnTo>
                  <a:lnTo>
                    <a:pt x="106" y="104"/>
                  </a:lnTo>
                  <a:lnTo>
                    <a:pt x="102" y="104"/>
                  </a:lnTo>
                  <a:lnTo>
                    <a:pt x="98" y="104"/>
                  </a:lnTo>
                  <a:lnTo>
                    <a:pt x="96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8"/>
                  </a:lnTo>
                  <a:lnTo>
                    <a:pt x="80" y="108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70" y="120"/>
                  </a:lnTo>
                  <a:lnTo>
                    <a:pt x="70" y="122"/>
                  </a:lnTo>
                  <a:lnTo>
                    <a:pt x="72" y="126"/>
                  </a:lnTo>
                  <a:lnTo>
                    <a:pt x="72" y="130"/>
                  </a:lnTo>
                  <a:lnTo>
                    <a:pt x="72" y="134"/>
                  </a:lnTo>
                  <a:lnTo>
                    <a:pt x="72" y="138"/>
                  </a:lnTo>
                  <a:lnTo>
                    <a:pt x="76" y="138"/>
                  </a:lnTo>
                  <a:lnTo>
                    <a:pt x="76" y="142"/>
                  </a:lnTo>
                  <a:lnTo>
                    <a:pt x="76" y="146"/>
                  </a:lnTo>
                  <a:lnTo>
                    <a:pt x="76" y="148"/>
                  </a:lnTo>
                  <a:lnTo>
                    <a:pt x="80" y="148"/>
                  </a:lnTo>
                  <a:lnTo>
                    <a:pt x="80" y="152"/>
                  </a:lnTo>
                  <a:lnTo>
                    <a:pt x="76" y="148"/>
                  </a:lnTo>
                  <a:lnTo>
                    <a:pt x="76" y="146"/>
                  </a:lnTo>
                  <a:lnTo>
                    <a:pt x="72" y="142"/>
                  </a:lnTo>
                  <a:lnTo>
                    <a:pt x="72" y="146"/>
                  </a:lnTo>
                  <a:lnTo>
                    <a:pt x="70" y="142"/>
                  </a:lnTo>
                  <a:lnTo>
                    <a:pt x="70" y="138"/>
                  </a:lnTo>
                  <a:lnTo>
                    <a:pt x="66" y="138"/>
                  </a:lnTo>
                  <a:lnTo>
                    <a:pt x="66" y="134"/>
                  </a:lnTo>
                  <a:lnTo>
                    <a:pt x="62" y="134"/>
                  </a:lnTo>
                  <a:lnTo>
                    <a:pt x="58" y="134"/>
                  </a:lnTo>
                  <a:lnTo>
                    <a:pt x="58" y="138"/>
                  </a:lnTo>
                  <a:lnTo>
                    <a:pt x="58" y="134"/>
                  </a:lnTo>
                  <a:lnTo>
                    <a:pt x="54" y="134"/>
                  </a:lnTo>
                  <a:lnTo>
                    <a:pt x="50" y="134"/>
                  </a:lnTo>
                  <a:lnTo>
                    <a:pt x="50" y="138"/>
                  </a:lnTo>
                  <a:lnTo>
                    <a:pt x="50" y="134"/>
                  </a:lnTo>
                  <a:lnTo>
                    <a:pt x="50" y="130"/>
                  </a:lnTo>
                  <a:lnTo>
                    <a:pt x="50" y="126"/>
                  </a:lnTo>
                  <a:lnTo>
                    <a:pt x="50" y="122"/>
                  </a:lnTo>
                  <a:lnTo>
                    <a:pt x="50" y="120"/>
                  </a:lnTo>
                  <a:lnTo>
                    <a:pt x="46" y="120"/>
                  </a:lnTo>
                  <a:lnTo>
                    <a:pt x="44" y="120"/>
                  </a:lnTo>
                  <a:lnTo>
                    <a:pt x="40" y="122"/>
                  </a:lnTo>
                  <a:lnTo>
                    <a:pt x="36" y="122"/>
                  </a:lnTo>
                  <a:lnTo>
                    <a:pt x="36" y="126"/>
                  </a:lnTo>
                  <a:lnTo>
                    <a:pt x="40" y="126"/>
                  </a:lnTo>
                  <a:lnTo>
                    <a:pt x="40" y="130"/>
                  </a:lnTo>
                  <a:lnTo>
                    <a:pt x="36" y="134"/>
                  </a:lnTo>
                  <a:lnTo>
                    <a:pt x="36" y="138"/>
                  </a:lnTo>
                  <a:lnTo>
                    <a:pt x="40" y="142"/>
                  </a:lnTo>
                  <a:lnTo>
                    <a:pt x="36" y="146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2" y="152"/>
                  </a:lnTo>
                  <a:lnTo>
                    <a:pt x="32" y="156"/>
                  </a:lnTo>
                  <a:lnTo>
                    <a:pt x="32" y="160"/>
                  </a:lnTo>
                  <a:lnTo>
                    <a:pt x="32" y="164"/>
                  </a:lnTo>
                  <a:lnTo>
                    <a:pt x="28" y="168"/>
                  </a:lnTo>
                  <a:lnTo>
                    <a:pt x="28" y="172"/>
                  </a:lnTo>
                  <a:lnTo>
                    <a:pt x="24" y="176"/>
                  </a:lnTo>
                  <a:lnTo>
                    <a:pt x="24" y="178"/>
                  </a:lnTo>
                  <a:lnTo>
                    <a:pt x="24" y="182"/>
                  </a:lnTo>
                  <a:lnTo>
                    <a:pt x="24" y="186"/>
                  </a:lnTo>
                  <a:lnTo>
                    <a:pt x="28" y="190"/>
                  </a:lnTo>
                  <a:lnTo>
                    <a:pt x="28" y="194"/>
                  </a:lnTo>
                  <a:lnTo>
                    <a:pt x="32" y="194"/>
                  </a:lnTo>
                  <a:lnTo>
                    <a:pt x="36" y="194"/>
                  </a:lnTo>
                  <a:lnTo>
                    <a:pt x="36" y="198"/>
                  </a:lnTo>
                  <a:lnTo>
                    <a:pt x="36" y="202"/>
                  </a:lnTo>
                  <a:lnTo>
                    <a:pt x="36" y="204"/>
                  </a:lnTo>
                  <a:lnTo>
                    <a:pt x="40" y="204"/>
                  </a:lnTo>
                  <a:lnTo>
                    <a:pt x="40" y="208"/>
                  </a:lnTo>
                  <a:lnTo>
                    <a:pt x="40" y="204"/>
                  </a:lnTo>
                  <a:lnTo>
                    <a:pt x="40" y="208"/>
                  </a:lnTo>
                  <a:lnTo>
                    <a:pt x="44" y="208"/>
                  </a:lnTo>
                  <a:lnTo>
                    <a:pt x="44" y="212"/>
                  </a:lnTo>
                  <a:lnTo>
                    <a:pt x="44" y="216"/>
                  </a:lnTo>
                  <a:lnTo>
                    <a:pt x="44" y="220"/>
                  </a:lnTo>
                  <a:lnTo>
                    <a:pt x="44" y="224"/>
                  </a:lnTo>
                  <a:lnTo>
                    <a:pt x="44" y="228"/>
                  </a:lnTo>
                  <a:lnTo>
                    <a:pt x="46" y="228"/>
                  </a:lnTo>
                  <a:lnTo>
                    <a:pt x="46" y="232"/>
                  </a:lnTo>
                  <a:lnTo>
                    <a:pt x="46" y="228"/>
                  </a:lnTo>
                  <a:lnTo>
                    <a:pt x="44" y="228"/>
                  </a:lnTo>
                  <a:lnTo>
                    <a:pt x="44" y="224"/>
                  </a:lnTo>
                  <a:lnTo>
                    <a:pt x="44" y="220"/>
                  </a:lnTo>
                  <a:lnTo>
                    <a:pt x="40" y="220"/>
                  </a:lnTo>
                  <a:lnTo>
                    <a:pt x="40" y="224"/>
                  </a:lnTo>
                  <a:lnTo>
                    <a:pt x="40" y="228"/>
                  </a:lnTo>
                  <a:lnTo>
                    <a:pt x="44" y="228"/>
                  </a:lnTo>
                  <a:lnTo>
                    <a:pt x="44" y="232"/>
                  </a:lnTo>
                  <a:lnTo>
                    <a:pt x="46" y="232"/>
                  </a:lnTo>
                  <a:lnTo>
                    <a:pt x="46" y="228"/>
                  </a:lnTo>
                  <a:lnTo>
                    <a:pt x="46" y="232"/>
                  </a:lnTo>
                  <a:lnTo>
                    <a:pt x="46" y="234"/>
                  </a:lnTo>
                  <a:lnTo>
                    <a:pt x="50" y="234"/>
                  </a:lnTo>
                  <a:lnTo>
                    <a:pt x="54" y="234"/>
                  </a:lnTo>
                  <a:lnTo>
                    <a:pt x="58" y="234"/>
                  </a:lnTo>
                  <a:lnTo>
                    <a:pt x="54" y="234"/>
                  </a:lnTo>
                  <a:lnTo>
                    <a:pt x="58" y="234"/>
                  </a:lnTo>
                  <a:lnTo>
                    <a:pt x="62" y="234"/>
                  </a:lnTo>
                  <a:lnTo>
                    <a:pt x="62" y="238"/>
                  </a:lnTo>
                  <a:lnTo>
                    <a:pt x="62" y="242"/>
                  </a:lnTo>
                  <a:lnTo>
                    <a:pt x="66" y="246"/>
                  </a:lnTo>
                  <a:lnTo>
                    <a:pt x="66" y="250"/>
                  </a:lnTo>
                  <a:lnTo>
                    <a:pt x="66" y="254"/>
                  </a:lnTo>
                  <a:lnTo>
                    <a:pt x="62" y="254"/>
                  </a:lnTo>
                  <a:lnTo>
                    <a:pt x="62" y="254"/>
                  </a:lnTo>
                  <a:lnTo>
                    <a:pt x="62" y="254"/>
                  </a:lnTo>
                  <a:close/>
                  <a:moveTo>
                    <a:pt x="18" y="212"/>
                  </a:moveTo>
                  <a:lnTo>
                    <a:pt x="18" y="216"/>
                  </a:lnTo>
                  <a:lnTo>
                    <a:pt x="18" y="212"/>
                  </a:lnTo>
                  <a:lnTo>
                    <a:pt x="18" y="212"/>
                  </a:lnTo>
                  <a:lnTo>
                    <a:pt x="18" y="212"/>
                  </a:lnTo>
                  <a:close/>
                  <a:moveTo>
                    <a:pt x="32" y="238"/>
                  </a:moveTo>
                  <a:lnTo>
                    <a:pt x="32" y="242"/>
                  </a:lnTo>
                  <a:lnTo>
                    <a:pt x="32" y="238"/>
                  </a:lnTo>
                  <a:lnTo>
                    <a:pt x="32" y="238"/>
                  </a:lnTo>
                  <a:lnTo>
                    <a:pt x="32" y="238"/>
                  </a:lnTo>
                  <a:close/>
                  <a:moveTo>
                    <a:pt x="72" y="146"/>
                  </a:moveTo>
                  <a:lnTo>
                    <a:pt x="72" y="148"/>
                  </a:lnTo>
                  <a:lnTo>
                    <a:pt x="70" y="148"/>
                  </a:lnTo>
                  <a:lnTo>
                    <a:pt x="70" y="146"/>
                  </a:lnTo>
                  <a:lnTo>
                    <a:pt x="72" y="146"/>
                  </a:lnTo>
                  <a:lnTo>
                    <a:pt x="72" y="146"/>
                  </a:lnTo>
                  <a:lnTo>
                    <a:pt x="72" y="146"/>
                  </a:lnTo>
                  <a:close/>
                  <a:moveTo>
                    <a:pt x="72" y="148"/>
                  </a:moveTo>
                  <a:lnTo>
                    <a:pt x="72" y="152"/>
                  </a:lnTo>
                  <a:lnTo>
                    <a:pt x="72" y="148"/>
                  </a:lnTo>
                  <a:lnTo>
                    <a:pt x="72" y="148"/>
                  </a:lnTo>
                  <a:lnTo>
                    <a:pt x="72" y="148"/>
                  </a:lnTo>
                  <a:close/>
                  <a:moveTo>
                    <a:pt x="40" y="190"/>
                  </a:moveTo>
                  <a:lnTo>
                    <a:pt x="36" y="190"/>
                  </a:lnTo>
                  <a:lnTo>
                    <a:pt x="40" y="186"/>
                  </a:lnTo>
                  <a:lnTo>
                    <a:pt x="40" y="190"/>
                  </a:lnTo>
                  <a:lnTo>
                    <a:pt x="40" y="190"/>
                  </a:lnTo>
                  <a:lnTo>
                    <a:pt x="40" y="190"/>
                  </a:lnTo>
                  <a:close/>
                  <a:moveTo>
                    <a:pt x="14" y="212"/>
                  </a:moveTo>
                  <a:lnTo>
                    <a:pt x="14" y="216"/>
                  </a:lnTo>
                  <a:lnTo>
                    <a:pt x="18" y="216"/>
                  </a:lnTo>
                  <a:lnTo>
                    <a:pt x="14" y="220"/>
                  </a:lnTo>
                  <a:lnTo>
                    <a:pt x="14" y="216"/>
                  </a:lnTo>
                  <a:lnTo>
                    <a:pt x="14" y="212"/>
                  </a:lnTo>
                  <a:lnTo>
                    <a:pt x="14" y="212"/>
                  </a:lnTo>
                  <a:lnTo>
                    <a:pt x="14" y="212"/>
                  </a:lnTo>
                  <a:close/>
                </a:path>
              </a:pathLst>
            </a:custGeom>
            <a:solidFill>
              <a:srgbClr val="FFFF00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17" name="Freeform 57">
              <a:extLst>
                <a:ext uri="{FF2B5EF4-FFF2-40B4-BE49-F238E27FC236}">
                  <a16:creationId xmlns:a16="http://schemas.microsoft.com/office/drawing/2014/main" id="{0EDCDC5B-FC10-FB2F-06D2-5669D3911D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0308" y="4435109"/>
              <a:ext cx="85722" cy="41481"/>
            </a:xfrm>
            <a:custGeom>
              <a:avLst/>
              <a:gdLst>
                <a:gd name="T0" fmla="*/ 22 w 44"/>
                <a:gd name="T1" fmla="*/ 4 h 22"/>
                <a:gd name="T2" fmla="*/ 18 w 44"/>
                <a:gd name="T3" fmla="*/ 4 h 22"/>
                <a:gd name="T4" fmla="*/ 18 w 44"/>
                <a:gd name="T5" fmla="*/ 0 h 22"/>
                <a:gd name="T6" fmla="*/ 22 w 44"/>
                <a:gd name="T7" fmla="*/ 0 h 22"/>
                <a:gd name="T8" fmla="*/ 22 w 44"/>
                <a:gd name="T9" fmla="*/ 0 h 22"/>
                <a:gd name="T10" fmla="*/ 44 w 44"/>
                <a:gd name="T11" fmla="*/ 4 h 22"/>
                <a:gd name="T12" fmla="*/ 44 w 44"/>
                <a:gd name="T13" fmla="*/ 4 h 22"/>
                <a:gd name="T14" fmla="*/ 42 w 44"/>
                <a:gd name="T15" fmla="*/ 8 h 22"/>
                <a:gd name="T16" fmla="*/ 42 w 44"/>
                <a:gd name="T17" fmla="*/ 10 h 22"/>
                <a:gd name="T18" fmla="*/ 38 w 44"/>
                <a:gd name="T19" fmla="*/ 10 h 22"/>
                <a:gd name="T20" fmla="*/ 34 w 44"/>
                <a:gd name="T21" fmla="*/ 10 h 22"/>
                <a:gd name="T22" fmla="*/ 34 w 44"/>
                <a:gd name="T23" fmla="*/ 10 h 22"/>
                <a:gd name="T24" fmla="*/ 34 w 44"/>
                <a:gd name="T25" fmla="*/ 14 h 22"/>
                <a:gd name="T26" fmla="*/ 30 w 44"/>
                <a:gd name="T27" fmla="*/ 14 h 22"/>
                <a:gd name="T28" fmla="*/ 30 w 44"/>
                <a:gd name="T29" fmla="*/ 14 h 22"/>
                <a:gd name="T30" fmla="*/ 30 w 44"/>
                <a:gd name="T31" fmla="*/ 14 h 22"/>
                <a:gd name="T32" fmla="*/ 26 w 44"/>
                <a:gd name="T33" fmla="*/ 14 h 22"/>
                <a:gd name="T34" fmla="*/ 26 w 44"/>
                <a:gd name="T35" fmla="*/ 14 h 22"/>
                <a:gd name="T36" fmla="*/ 22 w 44"/>
                <a:gd name="T37" fmla="*/ 14 h 22"/>
                <a:gd name="T38" fmla="*/ 18 w 44"/>
                <a:gd name="T39" fmla="*/ 18 h 22"/>
                <a:gd name="T40" fmla="*/ 16 w 44"/>
                <a:gd name="T41" fmla="*/ 18 h 22"/>
                <a:gd name="T42" fmla="*/ 16 w 44"/>
                <a:gd name="T43" fmla="*/ 22 h 22"/>
                <a:gd name="T44" fmla="*/ 16 w 44"/>
                <a:gd name="T45" fmla="*/ 22 h 22"/>
                <a:gd name="T46" fmla="*/ 12 w 44"/>
                <a:gd name="T47" fmla="*/ 18 h 22"/>
                <a:gd name="T48" fmla="*/ 12 w 44"/>
                <a:gd name="T49" fmla="*/ 18 h 22"/>
                <a:gd name="T50" fmla="*/ 16 w 44"/>
                <a:gd name="T51" fmla="*/ 14 h 22"/>
                <a:gd name="T52" fmla="*/ 16 w 44"/>
                <a:gd name="T53" fmla="*/ 14 h 22"/>
                <a:gd name="T54" fmla="*/ 12 w 44"/>
                <a:gd name="T55" fmla="*/ 14 h 22"/>
                <a:gd name="T56" fmla="*/ 16 w 44"/>
                <a:gd name="T57" fmla="*/ 10 h 22"/>
                <a:gd name="T58" fmla="*/ 16 w 44"/>
                <a:gd name="T59" fmla="*/ 8 h 22"/>
                <a:gd name="T60" fmla="*/ 16 w 44"/>
                <a:gd name="T61" fmla="*/ 8 h 22"/>
                <a:gd name="T62" fmla="*/ 16 w 44"/>
                <a:gd name="T63" fmla="*/ 8 h 22"/>
                <a:gd name="T64" fmla="*/ 18 w 44"/>
                <a:gd name="T65" fmla="*/ 8 h 22"/>
                <a:gd name="T66" fmla="*/ 22 w 44"/>
                <a:gd name="T67" fmla="*/ 8 h 22"/>
                <a:gd name="T68" fmla="*/ 22 w 44"/>
                <a:gd name="T69" fmla="*/ 4 h 22"/>
                <a:gd name="T70" fmla="*/ 26 w 44"/>
                <a:gd name="T71" fmla="*/ 4 h 22"/>
                <a:gd name="T72" fmla="*/ 26 w 44"/>
                <a:gd name="T73" fmla="*/ 4 h 22"/>
                <a:gd name="T74" fmla="*/ 26 w 44"/>
                <a:gd name="T75" fmla="*/ 8 h 22"/>
                <a:gd name="T76" fmla="*/ 26 w 44"/>
                <a:gd name="T77" fmla="*/ 8 h 22"/>
                <a:gd name="T78" fmla="*/ 30 w 44"/>
                <a:gd name="T79" fmla="*/ 4 h 22"/>
                <a:gd name="T80" fmla="*/ 34 w 44"/>
                <a:gd name="T81" fmla="*/ 4 h 22"/>
                <a:gd name="T82" fmla="*/ 34 w 44"/>
                <a:gd name="T83" fmla="*/ 4 h 22"/>
                <a:gd name="T84" fmla="*/ 34 w 44"/>
                <a:gd name="T85" fmla="*/ 4 h 22"/>
                <a:gd name="T86" fmla="*/ 38 w 44"/>
                <a:gd name="T87" fmla="*/ 4 h 22"/>
                <a:gd name="T88" fmla="*/ 42 w 44"/>
                <a:gd name="T89" fmla="*/ 4 h 22"/>
                <a:gd name="T90" fmla="*/ 44 w 44"/>
                <a:gd name="T91" fmla="*/ 4 h 22"/>
                <a:gd name="T92" fmla="*/ 44 w 44"/>
                <a:gd name="T93" fmla="*/ 4 h 22"/>
                <a:gd name="T94" fmla="*/ 0 w 44"/>
                <a:gd name="T95" fmla="*/ 18 h 22"/>
                <a:gd name="T96" fmla="*/ 0 w 44"/>
                <a:gd name="T97" fmla="*/ 18 h 22"/>
                <a:gd name="T98" fmla="*/ 4 w 44"/>
                <a:gd name="T99" fmla="*/ 18 h 22"/>
                <a:gd name="T100" fmla="*/ 4 w 44"/>
                <a:gd name="T101" fmla="*/ 22 h 22"/>
                <a:gd name="T102" fmla="*/ 4 w 44"/>
                <a:gd name="T103" fmla="*/ 22 h 22"/>
                <a:gd name="T104" fmla="*/ 0 w 44"/>
                <a:gd name="T105" fmla="*/ 22 h 22"/>
                <a:gd name="T106" fmla="*/ 0 w 44"/>
                <a:gd name="T107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4" h="22">
                  <a:moveTo>
                    <a:pt x="22" y="0"/>
                  </a:move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44" y="4"/>
                  </a:move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2" y="14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6" y="18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8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close/>
                  <a:moveTo>
                    <a:pt x="0" y="18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18" name="Freeform 58">
              <a:extLst>
                <a:ext uri="{FF2B5EF4-FFF2-40B4-BE49-F238E27FC236}">
                  <a16:creationId xmlns:a16="http://schemas.microsoft.com/office/drawing/2014/main" id="{AE66B5C4-AB02-6F68-4AA3-A0E8ACBCA4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98385" y="2745695"/>
              <a:ext cx="529916" cy="233803"/>
            </a:xfrm>
            <a:custGeom>
              <a:avLst/>
              <a:gdLst>
                <a:gd name="T0" fmla="*/ 22 w 272"/>
                <a:gd name="T1" fmla="*/ 4 h 124"/>
                <a:gd name="T2" fmla="*/ 34 w 272"/>
                <a:gd name="T3" fmla="*/ 8 h 124"/>
                <a:gd name="T4" fmla="*/ 48 w 272"/>
                <a:gd name="T5" fmla="*/ 24 h 124"/>
                <a:gd name="T6" fmla="*/ 26 w 272"/>
                <a:gd name="T7" fmla="*/ 24 h 124"/>
                <a:gd name="T8" fmla="*/ 14 w 272"/>
                <a:gd name="T9" fmla="*/ 38 h 124"/>
                <a:gd name="T10" fmla="*/ 8 w 272"/>
                <a:gd name="T11" fmla="*/ 38 h 124"/>
                <a:gd name="T12" fmla="*/ 14 w 272"/>
                <a:gd name="T13" fmla="*/ 30 h 124"/>
                <a:gd name="T14" fmla="*/ 10 w 272"/>
                <a:gd name="T15" fmla="*/ 20 h 124"/>
                <a:gd name="T16" fmla="*/ 10 w 272"/>
                <a:gd name="T17" fmla="*/ 12 h 124"/>
                <a:gd name="T18" fmla="*/ 10 w 272"/>
                <a:gd name="T19" fmla="*/ 42 h 124"/>
                <a:gd name="T20" fmla="*/ 26 w 272"/>
                <a:gd name="T21" fmla="*/ 34 h 124"/>
                <a:gd name="T22" fmla="*/ 34 w 272"/>
                <a:gd name="T23" fmla="*/ 38 h 124"/>
                <a:gd name="T24" fmla="*/ 48 w 272"/>
                <a:gd name="T25" fmla="*/ 38 h 124"/>
                <a:gd name="T26" fmla="*/ 50 w 272"/>
                <a:gd name="T27" fmla="*/ 30 h 124"/>
                <a:gd name="T28" fmla="*/ 54 w 272"/>
                <a:gd name="T29" fmla="*/ 26 h 124"/>
                <a:gd name="T30" fmla="*/ 58 w 272"/>
                <a:gd name="T31" fmla="*/ 20 h 124"/>
                <a:gd name="T32" fmla="*/ 78 w 272"/>
                <a:gd name="T33" fmla="*/ 24 h 124"/>
                <a:gd name="T34" fmla="*/ 92 w 272"/>
                <a:gd name="T35" fmla="*/ 12 h 124"/>
                <a:gd name="T36" fmla="*/ 106 w 272"/>
                <a:gd name="T37" fmla="*/ 4 h 124"/>
                <a:gd name="T38" fmla="*/ 130 w 272"/>
                <a:gd name="T39" fmla="*/ 4 h 124"/>
                <a:gd name="T40" fmla="*/ 144 w 272"/>
                <a:gd name="T41" fmla="*/ 12 h 124"/>
                <a:gd name="T42" fmla="*/ 152 w 272"/>
                <a:gd name="T43" fmla="*/ 20 h 124"/>
                <a:gd name="T44" fmla="*/ 162 w 272"/>
                <a:gd name="T45" fmla="*/ 24 h 124"/>
                <a:gd name="T46" fmla="*/ 182 w 272"/>
                <a:gd name="T47" fmla="*/ 26 h 124"/>
                <a:gd name="T48" fmla="*/ 200 w 272"/>
                <a:gd name="T49" fmla="*/ 24 h 124"/>
                <a:gd name="T50" fmla="*/ 220 w 272"/>
                <a:gd name="T51" fmla="*/ 20 h 124"/>
                <a:gd name="T52" fmla="*/ 238 w 272"/>
                <a:gd name="T53" fmla="*/ 16 h 124"/>
                <a:gd name="T54" fmla="*/ 252 w 272"/>
                <a:gd name="T55" fmla="*/ 20 h 124"/>
                <a:gd name="T56" fmla="*/ 252 w 272"/>
                <a:gd name="T57" fmla="*/ 38 h 124"/>
                <a:gd name="T58" fmla="*/ 272 w 272"/>
                <a:gd name="T59" fmla="*/ 50 h 124"/>
                <a:gd name="T60" fmla="*/ 260 w 272"/>
                <a:gd name="T61" fmla="*/ 54 h 124"/>
                <a:gd name="T62" fmla="*/ 264 w 272"/>
                <a:gd name="T63" fmla="*/ 76 h 124"/>
                <a:gd name="T64" fmla="*/ 268 w 272"/>
                <a:gd name="T65" fmla="*/ 94 h 124"/>
                <a:gd name="T66" fmla="*/ 264 w 272"/>
                <a:gd name="T67" fmla="*/ 98 h 124"/>
                <a:gd name="T68" fmla="*/ 248 w 272"/>
                <a:gd name="T69" fmla="*/ 94 h 124"/>
                <a:gd name="T70" fmla="*/ 234 w 272"/>
                <a:gd name="T71" fmla="*/ 94 h 124"/>
                <a:gd name="T72" fmla="*/ 216 w 272"/>
                <a:gd name="T73" fmla="*/ 98 h 124"/>
                <a:gd name="T74" fmla="*/ 196 w 272"/>
                <a:gd name="T75" fmla="*/ 106 h 124"/>
                <a:gd name="T76" fmla="*/ 178 w 272"/>
                <a:gd name="T77" fmla="*/ 102 h 124"/>
                <a:gd name="T78" fmla="*/ 162 w 272"/>
                <a:gd name="T79" fmla="*/ 106 h 124"/>
                <a:gd name="T80" fmla="*/ 152 w 272"/>
                <a:gd name="T81" fmla="*/ 116 h 124"/>
                <a:gd name="T82" fmla="*/ 148 w 272"/>
                <a:gd name="T83" fmla="*/ 120 h 124"/>
                <a:gd name="T84" fmla="*/ 148 w 272"/>
                <a:gd name="T85" fmla="*/ 102 h 124"/>
                <a:gd name="T86" fmla="*/ 134 w 272"/>
                <a:gd name="T87" fmla="*/ 106 h 124"/>
                <a:gd name="T88" fmla="*/ 118 w 272"/>
                <a:gd name="T89" fmla="*/ 116 h 124"/>
                <a:gd name="T90" fmla="*/ 104 w 272"/>
                <a:gd name="T91" fmla="*/ 120 h 124"/>
                <a:gd name="T92" fmla="*/ 92 w 272"/>
                <a:gd name="T93" fmla="*/ 110 h 124"/>
                <a:gd name="T94" fmla="*/ 74 w 272"/>
                <a:gd name="T95" fmla="*/ 106 h 124"/>
                <a:gd name="T96" fmla="*/ 66 w 272"/>
                <a:gd name="T97" fmla="*/ 114 h 124"/>
                <a:gd name="T98" fmla="*/ 50 w 272"/>
                <a:gd name="T99" fmla="*/ 114 h 124"/>
                <a:gd name="T100" fmla="*/ 44 w 272"/>
                <a:gd name="T101" fmla="*/ 106 h 124"/>
                <a:gd name="T102" fmla="*/ 36 w 272"/>
                <a:gd name="T103" fmla="*/ 110 h 124"/>
                <a:gd name="T104" fmla="*/ 34 w 272"/>
                <a:gd name="T105" fmla="*/ 106 h 124"/>
                <a:gd name="T106" fmla="*/ 36 w 272"/>
                <a:gd name="T107" fmla="*/ 102 h 124"/>
                <a:gd name="T108" fmla="*/ 30 w 272"/>
                <a:gd name="T109" fmla="*/ 98 h 124"/>
                <a:gd name="T110" fmla="*/ 22 w 272"/>
                <a:gd name="T111" fmla="*/ 86 h 124"/>
                <a:gd name="T112" fmla="*/ 10 w 272"/>
                <a:gd name="T113" fmla="*/ 80 h 124"/>
                <a:gd name="T114" fmla="*/ 14 w 272"/>
                <a:gd name="T115" fmla="*/ 76 h 124"/>
                <a:gd name="T116" fmla="*/ 18 w 272"/>
                <a:gd name="T117" fmla="*/ 68 h 124"/>
                <a:gd name="T118" fmla="*/ 18 w 272"/>
                <a:gd name="T119" fmla="*/ 54 h 124"/>
                <a:gd name="T120" fmla="*/ 30 w 272"/>
                <a:gd name="T121" fmla="*/ 30 h 124"/>
                <a:gd name="T122" fmla="*/ 4 w 272"/>
                <a:gd name="T123" fmla="*/ 3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2" h="124">
                  <a:moveTo>
                    <a:pt x="10" y="12"/>
                  </a:moveTo>
                  <a:lnTo>
                    <a:pt x="10" y="8"/>
                  </a:lnTo>
                  <a:lnTo>
                    <a:pt x="14" y="8"/>
                  </a:lnTo>
                  <a:lnTo>
                    <a:pt x="14" y="4"/>
                  </a:lnTo>
                  <a:lnTo>
                    <a:pt x="18" y="4"/>
                  </a:lnTo>
                  <a:lnTo>
                    <a:pt x="22" y="4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4" y="8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4" y="24"/>
                  </a:lnTo>
                  <a:lnTo>
                    <a:pt x="30" y="24"/>
                  </a:lnTo>
                  <a:lnTo>
                    <a:pt x="26" y="24"/>
                  </a:lnTo>
                  <a:lnTo>
                    <a:pt x="26" y="26"/>
                  </a:lnTo>
                  <a:lnTo>
                    <a:pt x="26" y="30"/>
                  </a:lnTo>
                  <a:lnTo>
                    <a:pt x="22" y="30"/>
                  </a:lnTo>
                  <a:lnTo>
                    <a:pt x="18" y="34"/>
                  </a:lnTo>
                  <a:lnTo>
                    <a:pt x="14" y="34"/>
                  </a:lnTo>
                  <a:lnTo>
                    <a:pt x="14" y="38"/>
                  </a:lnTo>
                  <a:lnTo>
                    <a:pt x="10" y="38"/>
                  </a:lnTo>
                  <a:lnTo>
                    <a:pt x="10" y="42"/>
                  </a:lnTo>
                  <a:lnTo>
                    <a:pt x="8" y="42"/>
                  </a:lnTo>
                  <a:lnTo>
                    <a:pt x="10" y="42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10" y="34"/>
                  </a:lnTo>
                  <a:lnTo>
                    <a:pt x="14" y="34"/>
                  </a:lnTo>
                  <a:lnTo>
                    <a:pt x="18" y="34"/>
                  </a:lnTo>
                  <a:lnTo>
                    <a:pt x="18" y="30"/>
                  </a:lnTo>
                  <a:lnTo>
                    <a:pt x="14" y="30"/>
                  </a:lnTo>
                  <a:lnTo>
                    <a:pt x="10" y="30"/>
                  </a:lnTo>
                  <a:lnTo>
                    <a:pt x="8" y="30"/>
                  </a:lnTo>
                  <a:lnTo>
                    <a:pt x="8" y="26"/>
                  </a:lnTo>
                  <a:lnTo>
                    <a:pt x="10" y="26"/>
                  </a:lnTo>
                  <a:lnTo>
                    <a:pt x="10" y="24"/>
                  </a:lnTo>
                  <a:lnTo>
                    <a:pt x="10" y="20"/>
                  </a:lnTo>
                  <a:lnTo>
                    <a:pt x="14" y="20"/>
                  </a:lnTo>
                  <a:lnTo>
                    <a:pt x="14" y="16"/>
                  </a:lnTo>
                  <a:lnTo>
                    <a:pt x="14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close/>
                  <a:moveTo>
                    <a:pt x="14" y="54"/>
                  </a:moveTo>
                  <a:lnTo>
                    <a:pt x="8" y="54"/>
                  </a:lnTo>
                  <a:lnTo>
                    <a:pt x="8" y="50"/>
                  </a:lnTo>
                  <a:lnTo>
                    <a:pt x="8" y="46"/>
                  </a:lnTo>
                  <a:lnTo>
                    <a:pt x="8" y="42"/>
                  </a:lnTo>
                  <a:lnTo>
                    <a:pt x="10" y="42"/>
                  </a:lnTo>
                  <a:lnTo>
                    <a:pt x="10" y="38"/>
                  </a:lnTo>
                  <a:lnTo>
                    <a:pt x="14" y="38"/>
                  </a:lnTo>
                  <a:lnTo>
                    <a:pt x="14" y="34"/>
                  </a:lnTo>
                  <a:lnTo>
                    <a:pt x="18" y="34"/>
                  </a:lnTo>
                  <a:lnTo>
                    <a:pt x="22" y="34"/>
                  </a:lnTo>
                  <a:lnTo>
                    <a:pt x="26" y="34"/>
                  </a:lnTo>
                  <a:lnTo>
                    <a:pt x="26" y="38"/>
                  </a:lnTo>
                  <a:lnTo>
                    <a:pt x="30" y="38"/>
                  </a:lnTo>
                  <a:lnTo>
                    <a:pt x="34" y="34"/>
                  </a:lnTo>
                  <a:lnTo>
                    <a:pt x="30" y="34"/>
                  </a:lnTo>
                  <a:lnTo>
                    <a:pt x="34" y="34"/>
                  </a:lnTo>
                  <a:lnTo>
                    <a:pt x="34" y="38"/>
                  </a:lnTo>
                  <a:lnTo>
                    <a:pt x="36" y="34"/>
                  </a:lnTo>
                  <a:lnTo>
                    <a:pt x="40" y="34"/>
                  </a:lnTo>
                  <a:lnTo>
                    <a:pt x="44" y="38"/>
                  </a:lnTo>
                  <a:lnTo>
                    <a:pt x="44" y="34"/>
                  </a:lnTo>
                  <a:lnTo>
                    <a:pt x="48" y="34"/>
                  </a:lnTo>
                  <a:lnTo>
                    <a:pt x="48" y="38"/>
                  </a:lnTo>
                  <a:lnTo>
                    <a:pt x="50" y="34"/>
                  </a:lnTo>
                  <a:lnTo>
                    <a:pt x="48" y="34"/>
                  </a:lnTo>
                  <a:lnTo>
                    <a:pt x="44" y="34"/>
                  </a:lnTo>
                  <a:lnTo>
                    <a:pt x="44" y="30"/>
                  </a:lnTo>
                  <a:lnTo>
                    <a:pt x="48" y="30"/>
                  </a:lnTo>
                  <a:lnTo>
                    <a:pt x="50" y="30"/>
                  </a:lnTo>
                  <a:lnTo>
                    <a:pt x="54" y="30"/>
                  </a:lnTo>
                  <a:lnTo>
                    <a:pt x="58" y="30"/>
                  </a:lnTo>
                  <a:lnTo>
                    <a:pt x="62" y="30"/>
                  </a:lnTo>
                  <a:lnTo>
                    <a:pt x="62" y="26"/>
                  </a:lnTo>
                  <a:lnTo>
                    <a:pt x="58" y="26"/>
                  </a:lnTo>
                  <a:lnTo>
                    <a:pt x="54" y="26"/>
                  </a:lnTo>
                  <a:lnTo>
                    <a:pt x="50" y="26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50" y="20"/>
                  </a:lnTo>
                  <a:lnTo>
                    <a:pt x="54" y="20"/>
                  </a:lnTo>
                  <a:lnTo>
                    <a:pt x="58" y="20"/>
                  </a:lnTo>
                  <a:lnTo>
                    <a:pt x="62" y="24"/>
                  </a:lnTo>
                  <a:lnTo>
                    <a:pt x="66" y="20"/>
                  </a:lnTo>
                  <a:lnTo>
                    <a:pt x="70" y="20"/>
                  </a:lnTo>
                  <a:lnTo>
                    <a:pt x="70" y="24"/>
                  </a:lnTo>
                  <a:lnTo>
                    <a:pt x="74" y="24"/>
                  </a:lnTo>
                  <a:lnTo>
                    <a:pt x="78" y="24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6" y="4"/>
                  </a:lnTo>
                  <a:lnTo>
                    <a:pt x="110" y="4"/>
                  </a:lnTo>
                  <a:lnTo>
                    <a:pt x="114" y="4"/>
                  </a:lnTo>
                  <a:lnTo>
                    <a:pt x="118" y="4"/>
                  </a:lnTo>
                  <a:lnTo>
                    <a:pt x="122" y="4"/>
                  </a:lnTo>
                  <a:lnTo>
                    <a:pt x="126" y="4"/>
                  </a:lnTo>
                  <a:lnTo>
                    <a:pt x="130" y="4"/>
                  </a:lnTo>
                  <a:lnTo>
                    <a:pt x="134" y="4"/>
                  </a:lnTo>
                  <a:lnTo>
                    <a:pt x="134" y="8"/>
                  </a:lnTo>
                  <a:lnTo>
                    <a:pt x="136" y="8"/>
                  </a:lnTo>
                  <a:lnTo>
                    <a:pt x="136" y="12"/>
                  </a:lnTo>
                  <a:lnTo>
                    <a:pt x="140" y="12"/>
                  </a:lnTo>
                  <a:lnTo>
                    <a:pt x="144" y="12"/>
                  </a:lnTo>
                  <a:lnTo>
                    <a:pt x="144" y="8"/>
                  </a:lnTo>
                  <a:lnTo>
                    <a:pt x="148" y="8"/>
                  </a:lnTo>
                  <a:lnTo>
                    <a:pt x="148" y="12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0" y="20"/>
                  </a:lnTo>
                  <a:lnTo>
                    <a:pt x="162" y="20"/>
                  </a:lnTo>
                  <a:lnTo>
                    <a:pt x="162" y="24"/>
                  </a:lnTo>
                  <a:lnTo>
                    <a:pt x="166" y="24"/>
                  </a:lnTo>
                  <a:lnTo>
                    <a:pt x="170" y="24"/>
                  </a:lnTo>
                  <a:lnTo>
                    <a:pt x="174" y="24"/>
                  </a:lnTo>
                  <a:lnTo>
                    <a:pt x="178" y="24"/>
                  </a:lnTo>
                  <a:lnTo>
                    <a:pt x="178" y="26"/>
                  </a:lnTo>
                  <a:lnTo>
                    <a:pt x="182" y="26"/>
                  </a:lnTo>
                  <a:lnTo>
                    <a:pt x="186" y="26"/>
                  </a:lnTo>
                  <a:lnTo>
                    <a:pt x="186" y="24"/>
                  </a:lnTo>
                  <a:lnTo>
                    <a:pt x="190" y="24"/>
                  </a:lnTo>
                  <a:lnTo>
                    <a:pt x="192" y="24"/>
                  </a:lnTo>
                  <a:lnTo>
                    <a:pt x="196" y="24"/>
                  </a:lnTo>
                  <a:lnTo>
                    <a:pt x="200" y="24"/>
                  </a:lnTo>
                  <a:lnTo>
                    <a:pt x="204" y="26"/>
                  </a:lnTo>
                  <a:lnTo>
                    <a:pt x="208" y="24"/>
                  </a:lnTo>
                  <a:lnTo>
                    <a:pt x="212" y="24"/>
                  </a:lnTo>
                  <a:lnTo>
                    <a:pt x="216" y="24"/>
                  </a:lnTo>
                  <a:lnTo>
                    <a:pt x="216" y="20"/>
                  </a:lnTo>
                  <a:lnTo>
                    <a:pt x="220" y="20"/>
                  </a:lnTo>
                  <a:lnTo>
                    <a:pt x="222" y="16"/>
                  </a:lnTo>
                  <a:lnTo>
                    <a:pt x="226" y="12"/>
                  </a:lnTo>
                  <a:lnTo>
                    <a:pt x="226" y="16"/>
                  </a:lnTo>
                  <a:lnTo>
                    <a:pt x="230" y="16"/>
                  </a:lnTo>
                  <a:lnTo>
                    <a:pt x="234" y="16"/>
                  </a:lnTo>
                  <a:lnTo>
                    <a:pt x="238" y="16"/>
                  </a:lnTo>
                  <a:lnTo>
                    <a:pt x="242" y="16"/>
                  </a:lnTo>
                  <a:lnTo>
                    <a:pt x="242" y="12"/>
                  </a:lnTo>
                  <a:lnTo>
                    <a:pt x="246" y="12"/>
                  </a:lnTo>
                  <a:lnTo>
                    <a:pt x="246" y="16"/>
                  </a:lnTo>
                  <a:lnTo>
                    <a:pt x="248" y="20"/>
                  </a:lnTo>
                  <a:lnTo>
                    <a:pt x="252" y="20"/>
                  </a:lnTo>
                  <a:lnTo>
                    <a:pt x="252" y="24"/>
                  </a:lnTo>
                  <a:lnTo>
                    <a:pt x="256" y="26"/>
                  </a:lnTo>
                  <a:lnTo>
                    <a:pt x="256" y="30"/>
                  </a:lnTo>
                  <a:lnTo>
                    <a:pt x="256" y="34"/>
                  </a:lnTo>
                  <a:lnTo>
                    <a:pt x="252" y="34"/>
                  </a:lnTo>
                  <a:lnTo>
                    <a:pt x="252" y="38"/>
                  </a:lnTo>
                  <a:lnTo>
                    <a:pt x="256" y="38"/>
                  </a:lnTo>
                  <a:lnTo>
                    <a:pt x="256" y="42"/>
                  </a:lnTo>
                  <a:lnTo>
                    <a:pt x="260" y="42"/>
                  </a:lnTo>
                  <a:lnTo>
                    <a:pt x="264" y="42"/>
                  </a:lnTo>
                  <a:lnTo>
                    <a:pt x="268" y="46"/>
                  </a:lnTo>
                  <a:lnTo>
                    <a:pt x="272" y="50"/>
                  </a:lnTo>
                  <a:lnTo>
                    <a:pt x="268" y="50"/>
                  </a:lnTo>
                  <a:lnTo>
                    <a:pt x="268" y="54"/>
                  </a:lnTo>
                  <a:lnTo>
                    <a:pt x="264" y="54"/>
                  </a:lnTo>
                  <a:lnTo>
                    <a:pt x="264" y="56"/>
                  </a:lnTo>
                  <a:lnTo>
                    <a:pt x="264" y="54"/>
                  </a:lnTo>
                  <a:lnTo>
                    <a:pt x="260" y="54"/>
                  </a:lnTo>
                  <a:lnTo>
                    <a:pt x="260" y="56"/>
                  </a:lnTo>
                  <a:lnTo>
                    <a:pt x="264" y="60"/>
                  </a:lnTo>
                  <a:lnTo>
                    <a:pt x="264" y="64"/>
                  </a:lnTo>
                  <a:lnTo>
                    <a:pt x="264" y="68"/>
                  </a:lnTo>
                  <a:lnTo>
                    <a:pt x="264" y="72"/>
                  </a:lnTo>
                  <a:lnTo>
                    <a:pt x="264" y="76"/>
                  </a:lnTo>
                  <a:lnTo>
                    <a:pt x="268" y="76"/>
                  </a:lnTo>
                  <a:lnTo>
                    <a:pt x="264" y="80"/>
                  </a:lnTo>
                  <a:lnTo>
                    <a:pt x="264" y="84"/>
                  </a:lnTo>
                  <a:lnTo>
                    <a:pt x="268" y="86"/>
                  </a:lnTo>
                  <a:lnTo>
                    <a:pt x="268" y="90"/>
                  </a:lnTo>
                  <a:lnTo>
                    <a:pt x="268" y="94"/>
                  </a:lnTo>
                  <a:lnTo>
                    <a:pt x="272" y="94"/>
                  </a:lnTo>
                  <a:lnTo>
                    <a:pt x="272" y="98"/>
                  </a:lnTo>
                  <a:lnTo>
                    <a:pt x="268" y="98"/>
                  </a:lnTo>
                  <a:lnTo>
                    <a:pt x="268" y="102"/>
                  </a:lnTo>
                  <a:lnTo>
                    <a:pt x="264" y="102"/>
                  </a:lnTo>
                  <a:lnTo>
                    <a:pt x="264" y="98"/>
                  </a:lnTo>
                  <a:lnTo>
                    <a:pt x="264" y="94"/>
                  </a:lnTo>
                  <a:lnTo>
                    <a:pt x="260" y="94"/>
                  </a:lnTo>
                  <a:lnTo>
                    <a:pt x="260" y="98"/>
                  </a:lnTo>
                  <a:lnTo>
                    <a:pt x="256" y="98"/>
                  </a:lnTo>
                  <a:lnTo>
                    <a:pt x="252" y="98"/>
                  </a:lnTo>
                  <a:lnTo>
                    <a:pt x="248" y="94"/>
                  </a:lnTo>
                  <a:lnTo>
                    <a:pt x="246" y="94"/>
                  </a:lnTo>
                  <a:lnTo>
                    <a:pt x="242" y="94"/>
                  </a:lnTo>
                  <a:lnTo>
                    <a:pt x="242" y="98"/>
                  </a:lnTo>
                  <a:lnTo>
                    <a:pt x="238" y="98"/>
                  </a:lnTo>
                  <a:lnTo>
                    <a:pt x="238" y="94"/>
                  </a:lnTo>
                  <a:lnTo>
                    <a:pt x="234" y="94"/>
                  </a:lnTo>
                  <a:lnTo>
                    <a:pt x="234" y="98"/>
                  </a:lnTo>
                  <a:lnTo>
                    <a:pt x="230" y="98"/>
                  </a:lnTo>
                  <a:lnTo>
                    <a:pt x="226" y="98"/>
                  </a:lnTo>
                  <a:lnTo>
                    <a:pt x="222" y="98"/>
                  </a:lnTo>
                  <a:lnTo>
                    <a:pt x="220" y="98"/>
                  </a:lnTo>
                  <a:lnTo>
                    <a:pt x="216" y="98"/>
                  </a:lnTo>
                  <a:lnTo>
                    <a:pt x="212" y="98"/>
                  </a:lnTo>
                  <a:lnTo>
                    <a:pt x="212" y="102"/>
                  </a:lnTo>
                  <a:lnTo>
                    <a:pt x="208" y="102"/>
                  </a:lnTo>
                  <a:lnTo>
                    <a:pt x="204" y="106"/>
                  </a:lnTo>
                  <a:lnTo>
                    <a:pt x="200" y="106"/>
                  </a:lnTo>
                  <a:lnTo>
                    <a:pt x="196" y="106"/>
                  </a:lnTo>
                  <a:lnTo>
                    <a:pt x="192" y="110"/>
                  </a:lnTo>
                  <a:lnTo>
                    <a:pt x="190" y="106"/>
                  </a:lnTo>
                  <a:lnTo>
                    <a:pt x="186" y="106"/>
                  </a:lnTo>
                  <a:lnTo>
                    <a:pt x="182" y="106"/>
                  </a:lnTo>
                  <a:lnTo>
                    <a:pt x="182" y="102"/>
                  </a:lnTo>
                  <a:lnTo>
                    <a:pt x="178" y="102"/>
                  </a:lnTo>
                  <a:lnTo>
                    <a:pt x="178" y="106"/>
                  </a:lnTo>
                  <a:lnTo>
                    <a:pt x="174" y="106"/>
                  </a:lnTo>
                  <a:lnTo>
                    <a:pt x="170" y="106"/>
                  </a:lnTo>
                  <a:lnTo>
                    <a:pt x="166" y="110"/>
                  </a:lnTo>
                  <a:lnTo>
                    <a:pt x="162" y="110"/>
                  </a:lnTo>
                  <a:lnTo>
                    <a:pt x="162" y="106"/>
                  </a:lnTo>
                  <a:lnTo>
                    <a:pt x="160" y="106"/>
                  </a:lnTo>
                  <a:lnTo>
                    <a:pt x="156" y="106"/>
                  </a:lnTo>
                  <a:lnTo>
                    <a:pt x="156" y="110"/>
                  </a:lnTo>
                  <a:lnTo>
                    <a:pt x="156" y="114"/>
                  </a:lnTo>
                  <a:lnTo>
                    <a:pt x="156" y="116"/>
                  </a:lnTo>
                  <a:lnTo>
                    <a:pt x="152" y="116"/>
                  </a:lnTo>
                  <a:lnTo>
                    <a:pt x="152" y="120"/>
                  </a:lnTo>
                  <a:lnTo>
                    <a:pt x="148" y="120"/>
                  </a:lnTo>
                  <a:lnTo>
                    <a:pt x="148" y="124"/>
                  </a:lnTo>
                  <a:lnTo>
                    <a:pt x="148" y="120"/>
                  </a:lnTo>
                  <a:lnTo>
                    <a:pt x="144" y="120"/>
                  </a:lnTo>
                  <a:lnTo>
                    <a:pt x="148" y="120"/>
                  </a:lnTo>
                  <a:lnTo>
                    <a:pt x="144" y="120"/>
                  </a:lnTo>
                  <a:lnTo>
                    <a:pt x="144" y="116"/>
                  </a:lnTo>
                  <a:lnTo>
                    <a:pt x="144" y="114"/>
                  </a:lnTo>
                  <a:lnTo>
                    <a:pt x="148" y="110"/>
                  </a:lnTo>
                  <a:lnTo>
                    <a:pt x="148" y="106"/>
                  </a:lnTo>
                  <a:lnTo>
                    <a:pt x="148" y="102"/>
                  </a:lnTo>
                  <a:lnTo>
                    <a:pt x="144" y="102"/>
                  </a:lnTo>
                  <a:lnTo>
                    <a:pt x="144" y="106"/>
                  </a:lnTo>
                  <a:lnTo>
                    <a:pt x="140" y="106"/>
                  </a:lnTo>
                  <a:lnTo>
                    <a:pt x="140" y="110"/>
                  </a:lnTo>
                  <a:lnTo>
                    <a:pt x="136" y="110"/>
                  </a:lnTo>
                  <a:lnTo>
                    <a:pt x="134" y="106"/>
                  </a:lnTo>
                  <a:lnTo>
                    <a:pt x="130" y="106"/>
                  </a:lnTo>
                  <a:lnTo>
                    <a:pt x="126" y="106"/>
                  </a:lnTo>
                  <a:lnTo>
                    <a:pt x="122" y="110"/>
                  </a:lnTo>
                  <a:lnTo>
                    <a:pt x="122" y="114"/>
                  </a:lnTo>
                  <a:lnTo>
                    <a:pt x="118" y="114"/>
                  </a:lnTo>
                  <a:lnTo>
                    <a:pt x="118" y="116"/>
                  </a:lnTo>
                  <a:lnTo>
                    <a:pt x="118" y="114"/>
                  </a:lnTo>
                  <a:lnTo>
                    <a:pt x="114" y="116"/>
                  </a:lnTo>
                  <a:lnTo>
                    <a:pt x="110" y="116"/>
                  </a:lnTo>
                  <a:lnTo>
                    <a:pt x="106" y="116"/>
                  </a:lnTo>
                  <a:lnTo>
                    <a:pt x="104" y="116"/>
                  </a:lnTo>
                  <a:lnTo>
                    <a:pt x="104" y="120"/>
                  </a:lnTo>
                  <a:lnTo>
                    <a:pt x="100" y="120"/>
                  </a:lnTo>
                  <a:lnTo>
                    <a:pt x="100" y="116"/>
                  </a:lnTo>
                  <a:lnTo>
                    <a:pt x="96" y="116"/>
                  </a:lnTo>
                  <a:lnTo>
                    <a:pt x="92" y="116"/>
                  </a:lnTo>
                  <a:lnTo>
                    <a:pt x="92" y="114"/>
                  </a:lnTo>
                  <a:lnTo>
                    <a:pt x="92" y="110"/>
                  </a:lnTo>
                  <a:lnTo>
                    <a:pt x="88" y="110"/>
                  </a:lnTo>
                  <a:lnTo>
                    <a:pt x="84" y="110"/>
                  </a:lnTo>
                  <a:lnTo>
                    <a:pt x="84" y="106"/>
                  </a:lnTo>
                  <a:lnTo>
                    <a:pt x="80" y="106"/>
                  </a:lnTo>
                  <a:lnTo>
                    <a:pt x="78" y="106"/>
                  </a:lnTo>
                  <a:lnTo>
                    <a:pt x="74" y="106"/>
                  </a:lnTo>
                  <a:lnTo>
                    <a:pt x="70" y="102"/>
                  </a:lnTo>
                  <a:lnTo>
                    <a:pt x="70" y="106"/>
                  </a:lnTo>
                  <a:lnTo>
                    <a:pt x="70" y="110"/>
                  </a:lnTo>
                  <a:lnTo>
                    <a:pt x="70" y="114"/>
                  </a:lnTo>
                  <a:lnTo>
                    <a:pt x="66" y="116"/>
                  </a:lnTo>
                  <a:lnTo>
                    <a:pt x="66" y="114"/>
                  </a:lnTo>
                  <a:lnTo>
                    <a:pt x="62" y="114"/>
                  </a:lnTo>
                  <a:lnTo>
                    <a:pt x="62" y="116"/>
                  </a:lnTo>
                  <a:lnTo>
                    <a:pt x="58" y="116"/>
                  </a:lnTo>
                  <a:lnTo>
                    <a:pt x="54" y="116"/>
                  </a:lnTo>
                  <a:lnTo>
                    <a:pt x="50" y="116"/>
                  </a:lnTo>
                  <a:lnTo>
                    <a:pt x="50" y="114"/>
                  </a:lnTo>
                  <a:lnTo>
                    <a:pt x="48" y="114"/>
                  </a:lnTo>
                  <a:lnTo>
                    <a:pt x="50" y="110"/>
                  </a:lnTo>
                  <a:lnTo>
                    <a:pt x="48" y="110"/>
                  </a:lnTo>
                  <a:lnTo>
                    <a:pt x="48" y="106"/>
                  </a:lnTo>
                  <a:lnTo>
                    <a:pt x="44" y="110"/>
                  </a:lnTo>
                  <a:lnTo>
                    <a:pt x="44" y="106"/>
                  </a:lnTo>
                  <a:lnTo>
                    <a:pt x="40" y="102"/>
                  </a:lnTo>
                  <a:lnTo>
                    <a:pt x="40" y="106"/>
                  </a:lnTo>
                  <a:lnTo>
                    <a:pt x="36" y="106"/>
                  </a:lnTo>
                  <a:lnTo>
                    <a:pt x="36" y="110"/>
                  </a:lnTo>
                  <a:lnTo>
                    <a:pt x="34" y="110"/>
                  </a:lnTo>
                  <a:lnTo>
                    <a:pt x="36" y="110"/>
                  </a:lnTo>
                  <a:lnTo>
                    <a:pt x="34" y="110"/>
                  </a:lnTo>
                  <a:lnTo>
                    <a:pt x="34" y="106"/>
                  </a:lnTo>
                  <a:lnTo>
                    <a:pt x="34" y="110"/>
                  </a:lnTo>
                  <a:lnTo>
                    <a:pt x="34" y="106"/>
                  </a:lnTo>
                  <a:lnTo>
                    <a:pt x="36" y="106"/>
                  </a:lnTo>
                  <a:lnTo>
                    <a:pt x="34" y="106"/>
                  </a:lnTo>
                  <a:lnTo>
                    <a:pt x="30" y="106"/>
                  </a:lnTo>
                  <a:lnTo>
                    <a:pt x="26" y="110"/>
                  </a:lnTo>
                  <a:lnTo>
                    <a:pt x="26" y="106"/>
                  </a:lnTo>
                  <a:lnTo>
                    <a:pt x="30" y="106"/>
                  </a:lnTo>
                  <a:lnTo>
                    <a:pt x="34" y="106"/>
                  </a:lnTo>
                  <a:lnTo>
                    <a:pt x="36" y="102"/>
                  </a:lnTo>
                  <a:lnTo>
                    <a:pt x="34" y="102"/>
                  </a:lnTo>
                  <a:lnTo>
                    <a:pt x="30" y="102"/>
                  </a:lnTo>
                  <a:lnTo>
                    <a:pt x="26" y="102"/>
                  </a:lnTo>
                  <a:lnTo>
                    <a:pt x="22" y="102"/>
                  </a:lnTo>
                  <a:lnTo>
                    <a:pt x="26" y="98"/>
                  </a:lnTo>
                  <a:lnTo>
                    <a:pt x="30" y="98"/>
                  </a:lnTo>
                  <a:lnTo>
                    <a:pt x="30" y="94"/>
                  </a:lnTo>
                  <a:lnTo>
                    <a:pt x="26" y="98"/>
                  </a:lnTo>
                  <a:lnTo>
                    <a:pt x="26" y="94"/>
                  </a:lnTo>
                  <a:lnTo>
                    <a:pt x="22" y="94"/>
                  </a:lnTo>
                  <a:lnTo>
                    <a:pt x="22" y="90"/>
                  </a:lnTo>
                  <a:lnTo>
                    <a:pt x="22" y="86"/>
                  </a:lnTo>
                  <a:lnTo>
                    <a:pt x="22" y="84"/>
                  </a:lnTo>
                  <a:lnTo>
                    <a:pt x="26" y="84"/>
                  </a:lnTo>
                  <a:lnTo>
                    <a:pt x="22" y="84"/>
                  </a:lnTo>
                  <a:lnTo>
                    <a:pt x="18" y="80"/>
                  </a:lnTo>
                  <a:lnTo>
                    <a:pt x="14" y="80"/>
                  </a:lnTo>
                  <a:lnTo>
                    <a:pt x="10" y="80"/>
                  </a:lnTo>
                  <a:lnTo>
                    <a:pt x="10" y="76"/>
                  </a:lnTo>
                  <a:lnTo>
                    <a:pt x="14" y="76"/>
                  </a:lnTo>
                  <a:lnTo>
                    <a:pt x="10" y="72"/>
                  </a:lnTo>
                  <a:lnTo>
                    <a:pt x="10" y="68"/>
                  </a:lnTo>
                  <a:lnTo>
                    <a:pt x="14" y="72"/>
                  </a:lnTo>
                  <a:lnTo>
                    <a:pt x="14" y="76"/>
                  </a:lnTo>
                  <a:lnTo>
                    <a:pt x="18" y="76"/>
                  </a:lnTo>
                  <a:lnTo>
                    <a:pt x="22" y="76"/>
                  </a:lnTo>
                  <a:lnTo>
                    <a:pt x="22" y="72"/>
                  </a:lnTo>
                  <a:lnTo>
                    <a:pt x="18" y="72"/>
                  </a:lnTo>
                  <a:lnTo>
                    <a:pt x="14" y="68"/>
                  </a:lnTo>
                  <a:lnTo>
                    <a:pt x="18" y="68"/>
                  </a:lnTo>
                  <a:lnTo>
                    <a:pt x="22" y="64"/>
                  </a:lnTo>
                  <a:lnTo>
                    <a:pt x="18" y="64"/>
                  </a:lnTo>
                  <a:lnTo>
                    <a:pt x="18" y="60"/>
                  </a:lnTo>
                  <a:lnTo>
                    <a:pt x="14" y="56"/>
                  </a:lnTo>
                  <a:lnTo>
                    <a:pt x="18" y="56"/>
                  </a:lnTo>
                  <a:lnTo>
                    <a:pt x="18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close/>
                  <a:moveTo>
                    <a:pt x="30" y="30"/>
                  </a:moveTo>
                  <a:lnTo>
                    <a:pt x="26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close/>
                  <a:moveTo>
                    <a:pt x="4" y="42"/>
                  </a:moveTo>
                  <a:lnTo>
                    <a:pt x="0" y="42"/>
                  </a:lnTo>
                  <a:lnTo>
                    <a:pt x="4" y="42"/>
                  </a:lnTo>
                  <a:lnTo>
                    <a:pt x="4" y="38"/>
                  </a:lnTo>
                  <a:lnTo>
                    <a:pt x="8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2"/>
                  </a:lnTo>
                  <a:close/>
                </a:path>
              </a:pathLst>
            </a:custGeom>
            <a:solidFill>
              <a:srgbClr val="008BE5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19" name="Freeform 59">
              <a:extLst>
                <a:ext uri="{FF2B5EF4-FFF2-40B4-BE49-F238E27FC236}">
                  <a16:creationId xmlns:a16="http://schemas.microsoft.com/office/drawing/2014/main" id="{1E729FCA-764E-E90A-6C3D-BAC1FCA70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3641" y="2726840"/>
              <a:ext cx="424712" cy="275284"/>
            </a:xfrm>
            <a:custGeom>
              <a:avLst/>
              <a:gdLst>
                <a:gd name="T0" fmla="*/ 208 w 218"/>
                <a:gd name="T1" fmla="*/ 100 h 146"/>
                <a:gd name="T2" fmla="*/ 200 w 218"/>
                <a:gd name="T3" fmla="*/ 108 h 146"/>
                <a:gd name="T4" fmla="*/ 192 w 218"/>
                <a:gd name="T5" fmla="*/ 116 h 146"/>
                <a:gd name="T6" fmla="*/ 188 w 218"/>
                <a:gd name="T7" fmla="*/ 126 h 146"/>
                <a:gd name="T8" fmla="*/ 178 w 218"/>
                <a:gd name="T9" fmla="*/ 130 h 146"/>
                <a:gd name="T10" fmla="*/ 170 w 218"/>
                <a:gd name="T11" fmla="*/ 134 h 146"/>
                <a:gd name="T12" fmla="*/ 166 w 218"/>
                <a:gd name="T13" fmla="*/ 142 h 146"/>
                <a:gd name="T14" fmla="*/ 156 w 218"/>
                <a:gd name="T15" fmla="*/ 146 h 146"/>
                <a:gd name="T16" fmla="*/ 144 w 218"/>
                <a:gd name="T17" fmla="*/ 142 h 146"/>
                <a:gd name="T18" fmla="*/ 140 w 218"/>
                <a:gd name="T19" fmla="*/ 130 h 146"/>
                <a:gd name="T20" fmla="*/ 136 w 218"/>
                <a:gd name="T21" fmla="*/ 118 h 146"/>
                <a:gd name="T22" fmla="*/ 126 w 218"/>
                <a:gd name="T23" fmla="*/ 112 h 146"/>
                <a:gd name="T24" fmla="*/ 114 w 218"/>
                <a:gd name="T25" fmla="*/ 100 h 146"/>
                <a:gd name="T26" fmla="*/ 106 w 218"/>
                <a:gd name="T27" fmla="*/ 100 h 146"/>
                <a:gd name="T28" fmla="*/ 92 w 218"/>
                <a:gd name="T29" fmla="*/ 92 h 146"/>
                <a:gd name="T30" fmla="*/ 84 w 218"/>
                <a:gd name="T31" fmla="*/ 88 h 146"/>
                <a:gd name="T32" fmla="*/ 74 w 218"/>
                <a:gd name="T33" fmla="*/ 86 h 146"/>
                <a:gd name="T34" fmla="*/ 62 w 218"/>
                <a:gd name="T35" fmla="*/ 88 h 146"/>
                <a:gd name="T36" fmla="*/ 54 w 218"/>
                <a:gd name="T37" fmla="*/ 96 h 146"/>
                <a:gd name="T38" fmla="*/ 44 w 218"/>
                <a:gd name="T39" fmla="*/ 104 h 146"/>
                <a:gd name="T40" fmla="*/ 28 w 218"/>
                <a:gd name="T41" fmla="*/ 100 h 146"/>
                <a:gd name="T42" fmla="*/ 18 w 218"/>
                <a:gd name="T43" fmla="*/ 96 h 146"/>
                <a:gd name="T44" fmla="*/ 10 w 218"/>
                <a:gd name="T45" fmla="*/ 88 h 146"/>
                <a:gd name="T46" fmla="*/ 4 w 218"/>
                <a:gd name="T47" fmla="*/ 74 h 146"/>
                <a:gd name="T48" fmla="*/ 6 w 218"/>
                <a:gd name="T49" fmla="*/ 58 h 146"/>
                <a:gd name="T50" fmla="*/ 6 w 218"/>
                <a:gd name="T51" fmla="*/ 40 h 146"/>
                <a:gd name="T52" fmla="*/ 6 w 218"/>
                <a:gd name="T53" fmla="*/ 26 h 146"/>
                <a:gd name="T54" fmla="*/ 20 w 218"/>
                <a:gd name="T55" fmla="*/ 14 h 146"/>
                <a:gd name="T56" fmla="*/ 32 w 218"/>
                <a:gd name="T57" fmla="*/ 10 h 146"/>
                <a:gd name="T58" fmla="*/ 44 w 218"/>
                <a:gd name="T59" fmla="*/ 10 h 146"/>
                <a:gd name="T60" fmla="*/ 54 w 218"/>
                <a:gd name="T61" fmla="*/ 22 h 146"/>
                <a:gd name="T62" fmla="*/ 62 w 218"/>
                <a:gd name="T63" fmla="*/ 30 h 146"/>
                <a:gd name="T64" fmla="*/ 74 w 218"/>
                <a:gd name="T65" fmla="*/ 30 h 146"/>
                <a:gd name="T66" fmla="*/ 84 w 218"/>
                <a:gd name="T67" fmla="*/ 26 h 146"/>
                <a:gd name="T68" fmla="*/ 80 w 218"/>
                <a:gd name="T69" fmla="*/ 14 h 146"/>
                <a:gd name="T70" fmla="*/ 92 w 218"/>
                <a:gd name="T71" fmla="*/ 10 h 146"/>
                <a:gd name="T72" fmla="*/ 100 w 218"/>
                <a:gd name="T73" fmla="*/ 6 h 146"/>
                <a:gd name="T74" fmla="*/ 102 w 218"/>
                <a:gd name="T75" fmla="*/ 4 h 146"/>
                <a:gd name="T76" fmla="*/ 110 w 218"/>
                <a:gd name="T77" fmla="*/ 4 h 146"/>
                <a:gd name="T78" fmla="*/ 122 w 218"/>
                <a:gd name="T79" fmla="*/ 6 h 146"/>
                <a:gd name="T80" fmla="*/ 128 w 218"/>
                <a:gd name="T81" fmla="*/ 18 h 146"/>
                <a:gd name="T82" fmla="*/ 128 w 218"/>
                <a:gd name="T83" fmla="*/ 26 h 146"/>
                <a:gd name="T84" fmla="*/ 140 w 218"/>
                <a:gd name="T85" fmla="*/ 30 h 146"/>
                <a:gd name="T86" fmla="*/ 152 w 218"/>
                <a:gd name="T87" fmla="*/ 36 h 146"/>
                <a:gd name="T88" fmla="*/ 158 w 218"/>
                <a:gd name="T89" fmla="*/ 44 h 146"/>
                <a:gd name="T90" fmla="*/ 162 w 218"/>
                <a:gd name="T91" fmla="*/ 56 h 146"/>
                <a:gd name="T92" fmla="*/ 174 w 218"/>
                <a:gd name="T93" fmla="*/ 62 h 146"/>
                <a:gd name="T94" fmla="*/ 182 w 218"/>
                <a:gd name="T95" fmla="*/ 70 h 146"/>
                <a:gd name="T96" fmla="*/ 188 w 218"/>
                <a:gd name="T97" fmla="*/ 78 h 146"/>
                <a:gd name="T98" fmla="*/ 204 w 218"/>
                <a:gd name="T99" fmla="*/ 86 h 146"/>
                <a:gd name="T100" fmla="*/ 210 w 218"/>
                <a:gd name="T101" fmla="*/ 88 h 146"/>
                <a:gd name="T102" fmla="*/ 218 w 218"/>
                <a:gd name="T103" fmla="*/ 96 h 146"/>
                <a:gd name="T104" fmla="*/ 214 w 218"/>
                <a:gd name="T105" fmla="*/ 10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8" h="146">
                  <a:moveTo>
                    <a:pt x="214" y="104"/>
                  </a:moveTo>
                  <a:lnTo>
                    <a:pt x="210" y="104"/>
                  </a:lnTo>
                  <a:lnTo>
                    <a:pt x="208" y="104"/>
                  </a:lnTo>
                  <a:lnTo>
                    <a:pt x="208" y="100"/>
                  </a:lnTo>
                  <a:lnTo>
                    <a:pt x="204" y="100"/>
                  </a:lnTo>
                  <a:lnTo>
                    <a:pt x="204" y="104"/>
                  </a:lnTo>
                  <a:lnTo>
                    <a:pt x="204" y="108"/>
                  </a:lnTo>
                  <a:lnTo>
                    <a:pt x="200" y="108"/>
                  </a:lnTo>
                  <a:lnTo>
                    <a:pt x="196" y="108"/>
                  </a:lnTo>
                  <a:lnTo>
                    <a:pt x="192" y="108"/>
                  </a:lnTo>
                  <a:lnTo>
                    <a:pt x="192" y="112"/>
                  </a:lnTo>
                  <a:lnTo>
                    <a:pt x="192" y="116"/>
                  </a:lnTo>
                  <a:lnTo>
                    <a:pt x="188" y="116"/>
                  </a:lnTo>
                  <a:lnTo>
                    <a:pt x="188" y="118"/>
                  </a:lnTo>
                  <a:lnTo>
                    <a:pt x="188" y="122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6"/>
                  </a:lnTo>
                  <a:lnTo>
                    <a:pt x="182" y="130"/>
                  </a:lnTo>
                  <a:lnTo>
                    <a:pt x="178" y="130"/>
                  </a:lnTo>
                  <a:lnTo>
                    <a:pt x="174" y="130"/>
                  </a:lnTo>
                  <a:lnTo>
                    <a:pt x="170" y="134"/>
                  </a:lnTo>
                  <a:lnTo>
                    <a:pt x="166" y="134"/>
                  </a:lnTo>
                  <a:lnTo>
                    <a:pt x="170" y="134"/>
                  </a:lnTo>
                  <a:lnTo>
                    <a:pt x="170" y="138"/>
                  </a:lnTo>
                  <a:lnTo>
                    <a:pt x="166" y="138"/>
                  </a:lnTo>
                  <a:lnTo>
                    <a:pt x="170" y="138"/>
                  </a:lnTo>
                  <a:lnTo>
                    <a:pt x="166" y="142"/>
                  </a:lnTo>
                  <a:lnTo>
                    <a:pt x="162" y="142"/>
                  </a:lnTo>
                  <a:lnTo>
                    <a:pt x="162" y="146"/>
                  </a:lnTo>
                  <a:lnTo>
                    <a:pt x="158" y="146"/>
                  </a:lnTo>
                  <a:lnTo>
                    <a:pt x="156" y="146"/>
                  </a:lnTo>
                  <a:lnTo>
                    <a:pt x="156" y="142"/>
                  </a:lnTo>
                  <a:lnTo>
                    <a:pt x="152" y="142"/>
                  </a:lnTo>
                  <a:lnTo>
                    <a:pt x="148" y="142"/>
                  </a:lnTo>
                  <a:lnTo>
                    <a:pt x="144" y="142"/>
                  </a:lnTo>
                  <a:lnTo>
                    <a:pt x="144" y="138"/>
                  </a:lnTo>
                  <a:lnTo>
                    <a:pt x="140" y="138"/>
                  </a:lnTo>
                  <a:lnTo>
                    <a:pt x="140" y="134"/>
                  </a:lnTo>
                  <a:lnTo>
                    <a:pt x="140" y="130"/>
                  </a:lnTo>
                  <a:lnTo>
                    <a:pt x="140" y="126"/>
                  </a:lnTo>
                  <a:lnTo>
                    <a:pt x="140" y="122"/>
                  </a:lnTo>
                  <a:lnTo>
                    <a:pt x="140" y="118"/>
                  </a:lnTo>
                  <a:lnTo>
                    <a:pt x="136" y="118"/>
                  </a:lnTo>
                  <a:lnTo>
                    <a:pt x="132" y="118"/>
                  </a:lnTo>
                  <a:lnTo>
                    <a:pt x="128" y="118"/>
                  </a:lnTo>
                  <a:lnTo>
                    <a:pt x="126" y="116"/>
                  </a:lnTo>
                  <a:lnTo>
                    <a:pt x="126" y="112"/>
                  </a:lnTo>
                  <a:lnTo>
                    <a:pt x="122" y="108"/>
                  </a:lnTo>
                  <a:lnTo>
                    <a:pt x="118" y="108"/>
                  </a:lnTo>
                  <a:lnTo>
                    <a:pt x="114" y="104"/>
                  </a:lnTo>
                  <a:lnTo>
                    <a:pt x="114" y="100"/>
                  </a:lnTo>
                  <a:lnTo>
                    <a:pt x="110" y="100"/>
                  </a:lnTo>
                  <a:lnTo>
                    <a:pt x="110" y="96"/>
                  </a:lnTo>
                  <a:lnTo>
                    <a:pt x="106" y="96"/>
                  </a:lnTo>
                  <a:lnTo>
                    <a:pt x="106" y="100"/>
                  </a:lnTo>
                  <a:lnTo>
                    <a:pt x="106" y="96"/>
                  </a:lnTo>
                  <a:lnTo>
                    <a:pt x="102" y="100"/>
                  </a:lnTo>
                  <a:lnTo>
                    <a:pt x="100" y="96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8" y="88"/>
                  </a:lnTo>
                  <a:lnTo>
                    <a:pt x="84" y="86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6"/>
                  </a:lnTo>
                  <a:lnTo>
                    <a:pt x="76" y="86"/>
                  </a:lnTo>
                  <a:lnTo>
                    <a:pt x="74" y="86"/>
                  </a:lnTo>
                  <a:lnTo>
                    <a:pt x="74" y="88"/>
                  </a:lnTo>
                  <a:lnTo>
                    <a:pt x="70" y="88"/>
                  </a:lnTo>
                  <a:lnTo>
                    <a:pt x="66" y="88"/>
                  </a:lnTo>
                  <a:lnTo>
                    <a:pt x="62" y="88"/>
                  </a:lnTo>
                  <a:lnTo>
                    <a:pt x="58" y="88"/>
                  </a:lnTo>
                  <a:lnTo>
                    <a:pt x="58" y="92"/>
                  </a:lnTo>
                  <a:lnTo>
                    <a:pt x="54" y="92"/>
                  </a:lnTo>
                  <a:lnTo>
                    <a:pt x="54" y="96"/>
                  </a:lnTo>
                  <a:lnTo>
                    <a:pt x="50" y="96"/>
                  </a:lnTo>
                  <a:lnTo>
                    <a:pt x="50" y="100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8" y="96"/>
                  </a:lnTo>
                  <a:lnTo>
                    <a:pt x="14" y="96"/>
                  </a:lnTo>
                  <a:lnTo>
                    <a:pt x="14" y="92"/>
                  </a:lnTo>
                  <a:lnTo>
                    <a:pt x="10" y="92"/>
                  </a:lnTo>
                  <a:lnTo>
                    <a:pt x="10" y="88"/>
                  </a:lnTo>
                  <a:lnTo>
                    <a:pt x="6" y="86"/>
                  </a:lnTo>
                  <a:lnTo>
                    <a:pt x="4" y="82"/>
                  </a:lnTo>
                  <a:lnTo>
                    <a:pt x="4" y="78"/>
                  </a:lnTo>
                  <a:lnTo>
                    <a:pt x="4" y="74"/>
                  </a:lnTo>
                  <a:lnTo>
                    <a:pt x="4" y="70"/>
                  </a:lnTo>
                  <a:lnTo>
                    <a:pt x="6" y="66"/>
                  </a:lnTo>
                  <a:lnTo>
                    <a:pt x="6" y="62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48"/>
                  </a:lnTo>
                  <a:lnTo>
                    <a:pt x="6" y="44"/>
                  </a:lnTo>
                  <a:lnTo>
                    <a:pt x="6" y="40"/>
                  </a:lnTo>
                  <a:lnTo>
                    <a:pt x="6" y="36"/>
                  </a:lnTo>
                  <a:lnTo>
                    <a:pt x="4" y="32"/>
                  </a:lnTo>
                  <a:lnTo>
                    <a:pt x="0" y="30"/>
                  </a:lnTo>
                  <a:lnTo>
                    <a:pt x="6" y="26"/>
                  </a:lnTo>
                  <a:lnTo>
                    <a:pt x="10" y="26"/>
                  </a:lnTo>
                  <a:lnTo>
                    <a:pt x="14" y="22"/>
                  </a:lnTo>
                  <a:lnTo>
                    <a:pt x="18" y="18"/>
                  </a:lnTo>
                  <a:lnTo>
                    <a:pt x="20" y="14"/>
                  </a:lnTo>
                  <a:lnTo>
                    <a:pt x="24" y="14"/>
                  </a:lnTo>
                  <a:lnTo>
                    <a:pt x="24" y="10"/>
                  </a:lnTo>
                  <a:lnTo>
                    <a:pt x="28" y="10"/>
                  </a:lnTo>
                  <a:lnTo>
                    <a:pt x="32" y="10"/>
                  </a:lnTo>
                  <a:lnTo>
                    <a:pt x="36" y="6"/>
                  </a:lnTo>
                  <a:lnTo>
                    <a:pt x="40" y="6"/>
                  </a:lnTo>
                  <a:lnTo>
                    <a:pt x="44" y="6"/>
                  </a:lnTo>
                  <a:lnTo>
                    <a:pt x="44" y="10"/>
                  </a:lnTo>
                  <a:lnTo>
                    <a:pt x="48" y="10"/>
                  </a:lnTo>
                  <a:lnTo>
                    <a:pt x="50" y="14"/>
                  </a:lnTo>
                  <a:lnTo>
                    <a:pt x="54" y="18"/>
                  </a:lnTo>
                  <a:lnTo>
                    <a:pt x="54" y="22"/>
                  </a:lnTo>
                  <a:lnTo>
                    <a:pt x="58" y="22"/>
                  </a:lnTo>
                  <a:lnTo>
                    <a:pt x="58" y="26"/>
                  </a:lnTo>
                  <a:lnTo>
                    <a:pt x="58" y="30"/>
                  </a:lnTo>
                  <a:lnTo>
                    <a:pt x="62" y="30"/>
                  </a:lnTo>
                  <a:lnTo>
                    <a:pt x="66" y="30"/>
                  </a:lnTo>
                  <a:lnTo>
                    <a:pt x="66" y="26"/>
                  </a:lnTo>
                  <a:lnTo>
                    <a:pt x="70" y="30"/>
                  </a:lnTo>
                  <a:lnTo>
                    <a:pt x="74" y="30"/>
                  </a:lnTo>
                  <a:lnTo>
                    <a:pt x="76" y="30"/>
                  </a:lnTo>
                  <a:lnTo>
                    <a:pt x="80" y="30"/>
                  </a:lnTo>
                  <a:lnTo>
                    <a:pt x="84" y="30"/>
                  </a:lnTo>
                  <a:lnTo>
                    <a:pt x="84" y="26"/>
                  </a:lnTo>
                  <a:lnTo>
                    <a:pt x="80" y="26"/>
                  </a:lnTo>
                  <a:lnTo>
                    <a:pt x="80" y="22"/>
                  </a:lnTo>
                  <a:lnTo>
                    <a:pt x="80" y="18"/>
                  </a:lnTo>
                  <a:lnTo>
                    <a:pt x="80" y="14"/>
                  </a:lnTo>
                  <a:lnTo>
                    <a:pt x="84" y="14"/>
                  </a:lnTo>
                  <a:lnTo>
                    <a:pt x="84" y="10"/>
                  </a:lnTo>
                  <a:lnTo>
                    <a:pt x="88" y="10"/>
                  </a:lnTo>
                  <a:lnTo>
                    <a:pt x="92" y="10"/>
                  </a:lnTo>
                  <a:lnTo>
                    <a:pt x="96" y="10"/>
                  </a:lnTo>
                  <a:lnTo>
                    <a:pt x="96" y="6"/>
                  </a:lnTo>
                  <a:lnTo>
                    <a:pt x="96" y="4"/>
                  </a:lnTo>
                  <a:lnTo>
                    <a:pt x="100" y="6"/>
                  </a:lnTo>
                  <a:lnTo>
                    <a:pt x="102" y="6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2" y="4"/>
                  </a:lnTo>
                  <a:lnTo>
                    <a:pt x="102" y="0"/>
                  </a:lnTo>
                  <a:lnTo>
                    <a:pt x="106" y="0"/>
                  </a:lnTo>
                  <a:lnTo>
                    <a:pt x="106" y="4"/>
                  </a:lnTo>
                  <a:lnTo>
                    <a:pt x="110" y="4"/>
                  </a:lnTo>
                  <a:lnTo>
                    <a:pt x="114" y="4"/>
                  </a:lnTo>
                  <a:lnTo>
                    <a:pt x="114" y="6"/>
                  </a:lnTo>
                  <a:lnTo>
                    <a:pt x="118" y="6"/>
                  </a:lnTo>
                  <a:lnTo>
                    <a:pt x="122" y="6"/>
                  </a:lnTo>
                  <a:lnTo>
                    <a:pt x="126" y="10"/>
                  </a:lnTo>
                  <a:lnTo>
                    <a:pt x="126" y="14"/>
                  </a:lnTo>
                  <a:lnTo>
                    <a:pt x="126" y="18"/>
                  </a:lnTo>
                  <a:lnTo>
                    <a:pt x="128" y="18"/>
                  </a:lnTo>
                  <a:lnTo>
                    <a:pt x="126" y="18"/>
                  </a:lnTo>
                  <a:lnTo>
                    <a:pt x="126" y="22"/>
                  </a:lnTo>
                  <a:lnTo>
                    <a:pt x="126" y="26"/>
                  </a:lnTo>
                  <a:lnTo>
                    <a:pt x="128" y="26"/>
                  </a:lnTo>
                  <a:lnTo>
                    <a:pt x="128" y="30"/>
                  </a:lnTo>
                  <a:lnTo>
                    <a:pt x="132" y="30"/>
                  </a:lnTo>
                  <a:lnTo>
                    <a:pt x="136" y="30"/>
                  </a:lnTo>
                  <a:lnTo>
                    <a:pt x="140" y="30"/>
                  </a:lnTo>
                  <a:lnTo>
                    <a:pt x="144" y="30"/>
                  </a:lnTo>
                  <a:lnTo>
                    <a:pt x="148" y="30"/>
                  </a:lnTo>
                  <a:lnTo>
                    <a:pt x="152" y="32"/>
                  </a:lnTo>
                  <a:lnTo>
                    <a:pt x="152" y="36"/>
                  </a:lnTo>
                  <a:lnTo>
                    <a:pt x="152" y="40"/>
                  </a:lnTo>
                  <a:lnTo>
                    <a:pt x="156" y="40"/>
                  </a:lnTo>
                  <a:lnTo>
                    <a:pt x="156" y="44"/>
                  </a:lnTo>
                  <a:lnTo>
                    <a:pt x="158" y="44"/>
                  </a:lnTo>
                  <a:lnTo>
                    <a:pt x="158" y="48"/>
                  </a:lnTo>
                  <a:lnTo>
                    <a:pt x="158" y="52"/>
                  </a:lnTo>
                  <a:lnTo>
                    <a:pt x="158" y="56"/>
                  </a:lnTo>
                  <a:lnTo>
                    <a:pt x="162" y="56"/>
                  </a:lnTo>
                  <a:lnTo>
                    <a:pt x="162" y="58"/>
                  </a:lnTo>
                  <a:lnTo>
                    <a:pt x="166" y="58"/>
                  </a:lnTo>
                  <a:lnTo>
                    <a:pt x="170" y="62"/>
                  </a:lnTo>
                  <a:lnTo>
                    <a:pt x="174" y="62"/>
                  </a:lnTo>
                  <a:lnTo>
                    <a:pt x="174" y="66"/>
                  </a:lnTo>
                  <a:lnTo>
                    <a:pt x="178" y="66"/>
                  </a:lnTo>
                  <a:lnTo>
                    <a:pt x="178" y="70"/>
                  </a:lnTo>
                  <a:lnTo>
                    <a:pt x="182" y="70"/>
                  </a:lnTo>
                  <a:lnTo>
                    <a:pt x="182" y="74"/>
                  </a:lnTo>
                  <a:lnTo>
                    <a:pt x="184" y="74"/>
                  </a:lnTo>
                  <a:lnTo>
                    <a:pt x="188" y="74"/>
                  </a:lnTo>
                  <a:lnTo>
                    <a:pt x="188" y="78"/>
                  </a:lnTo>
                  <a:lnTo>
                    <a:pt x="192" y="78"/>
                  </a:lnTo>
                  <a:lnTo>
                    <a:pt x="196" y="82"/>
                  </a:lnTo>
                  <a:lnTo>
                    <a:pt x="200" y="86"/>
                  </a:lnTo>
                  <a:lnTo>
                    <a:pt x="204" y="86"/>
                  </a:lnTo>
                  <a:lnTo>
                    <a:pt x="204" y="88"/>
                  </a:lnTo>
                  <a:lnTo>
                    <a:pt x="208" y="88"/>
                  </a:lnTo>
                  <a:lnTo>
                    <a:pt x="208" y="86"/>
                  </a:lnTo>
                  <a:lnTo>
                    <a:pt x="210" y="88"/>
                  </a:lnTo>
                  <a:lnTo>
                    <a:pt x="214" y="88"/>
                  </a:lnTo>
                  <a:lnTo>
                    <a:pt x="214" y="92"/>
                  </a:lnTo>
                  <a:lnTo>
                    <a:pt x="218" y="92"/>
                  </a:lnTo>
                  <a:lnTo>
                    <a:pt x="218" y="96"/>
                  </a:lnTo>
                  <a:lnTo>
                    <a:pt x="214" y="100"/>
                  </a:lnTo>
                  <a:lnTo>
                    <a:pt x="214" y="104"/>
                  </a:lnTo>
                  <a:lnTo>
                    <a:pt x="218" y="104"/>
                  </a:lnTo>
                  <a:lnTo>
                    <a:pt x="214" y="104"/>
                  </a:lnTo>
                  <a:lnTo>
                    <a:pt x="214" y="104"/>
                  </a:lnTo>
                  <a:lnTo>
                    <a:pt x="214" y="104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20" name="Freeform 60">
              <a:extLst>
                <a:ext uri="{FF2B5EF4-FFF2-40B4-BE49-F238E27FC236}">
                  <a16:creationId xmlns:a16="http://schemas.microsoft.com/office/drawing/2014/main" id="{8327F80B-1274-B07F-BB65-FB4557348A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15330" y="3318889"/>
              <a:ext cx="128583" cy="113130"/>
            </a:xfrm>
            <a:custGeom>
              <a:avLst/>
              <a:gdLst>
                <a:gd name="T0" fmla="*/ 66 w 66"/>
                <a:gd name="T1" fmla="*/ 14 h 60"/>
                <a:gd name="T2" fmla="*/ 66 w 66"/>
                <a:gd name="T3" fmla="*/ 18 h 60"/>
                <a:gd name="T4" fmla="*/ 66 w 66"/>
                <a:gd name="T5" fmla="*/ 18 h 60"/>
                <a:gd name="T6" fmla="*/ 66 w 66"/>
                <a:gd name="T7" fmla="*/ 22 h 60"/>
                <a:gd name="T8" fmla="*/ 62 w 66"/>
                <a:gd name="T9" fmla="*/ 22 h 60"/>
                <a:gd name="T10" fmla="*/ 62 w 66"/>
                <a:gd name="T11" fmla="*/ 22 h 60"/>
                <a:gd name="T12" fmla="*/ 62 w 66"/>
                <a:gd name="T13" fmla="*/ 22 h 60"/>
                <a:gd name="T14" fmla="*/ 62 w 66"/>
                <a:gd name="T15" fmla="*/ 18 h 60"/>
                <a:gd name="T16" fmla="*/ 60 w 66"/>
                <a:gd name="T17" fmla="*/ 18 h 60"/>
                <a:gd name="T18" fmla="*/ 60 w 66"/>
                <a:gd name="T19" fmla="*/ 22 h 60"/>
                <a:gd name="T20" fmla="*/ 60 w 66"/>
                <a:gd name="T21" fmla="*/ 26 h 60"/>
                <a:gd name="T22" fmla="*/ 60 w 66"/>
                <a:gd name="T23" fmla="*/ 30 h 60"/>
                <a:gd name="T24" fmla="*/ 60 w 66"/>
                <a:gd name="T25" fmla="*/ 34 h 60"/>
                <a:gd name="T26" fmla="*/ 62 w 66"/>
                <a:gd name="T27" fmla="*/ 36 h 60"/>
                <a:gd name="T28" fmla="*/ 56 w 66"/>
                <a:gd name="T29" fmla="*/ 36 h 60"/>
                <a:gd name="T30" fmla="*/ 56 w 66"/>
                <a:gd name="T31" fmla="*/ 40 h 60"/>
                <a:gd name="T32" fmla="*/ 52 w 66"/>
                <a:gd name="T33" fmla="*/ 48 h 60"/>
                <a:gd name="T34" fmla="*/ 52 w 66"/>
                <a:gd name="T35" fmla="*/ 52 h 60"/>
                <a:gd name="T36" fmla="*/ 52 w 66"/>
                <a:gd name="T37" fmla="*/ 56 h 60"/>
                <a:gd name="T38" fmla="*/ 48 w 66"/>
                <a:gd name="T39" fmla="*/ 60 h 60"/>
                <a:gd name="T40" fmla="*/ 0 w 66"/>
                <a:gd name="T41" fmla="*/ 34 h 60"/>
                <a:gd name="T42" fmla="*/ 0 w 66"/>
                <a:gd name="T43" fmla="*/ 34 h 60"/>
                <a:gd name="T44" fmla="*/ 4 w 66"/>
                <a:gd name="T45" fmla="*/ 36 h 60"/>
                <a:gd name="T46" fmla="*/ 6 w 66"/>
                <a:gd name="T47" fmla="*/ 36 h 60"/>
                <a:gd name="T48" fmla="*/ 10 w 66"/>
                <a:gd name="T49" fmla="*/ 34 h 60"/>
                <a:gd name="T50" fmla="*/ 14 w 66"/>
                <a:gd name="T51" fmla="*/ 34 h 60"/>
                <a:gd name="T52" fmla="*/ 18 w 66"/>
                <a:gd name="T53" fmla="*/ 34 h 60"/>
                <a:gd name="T54" fmla="*/ 26 w 66"/>
                <a:gd name="T55" fmla="*/ 34 h 60"/>
                <a:gd name="T56" fmla="*/ 26 w 66"/>
                <a:gd name="T57" fmla="*/ 36 h 60"/>
                <a:gd name="T58" fmla="*/ 36 w 66"/>
                <a:gd name="T59" fmla="*/ 34 h 60"/>
                <a:gd name="T60" fmla="*/ 40 w 66"/>
                <a:gd name="T61" fmla="*/ 30 h 60"/>
                <a:gd name="T62" fmla="*/ 40 w 66"/>
                <a:gd name="T63" fmla="*/ 30 h 60"/>
                <a:gd name="T64" fmla="*/ 40 w 66"/>
                <a:gd name="T65" fmla="*/ 22 h 60"/>
                <a:gd name="T66" fmla="*/ 48 w 66"/>
                <a:gd name="T67" fmla="*/ 18 h 60"/>
                <a:gd name="T68" fmla="*/ 48 w 66"/>
                <a:gd name="T69" fmla="*/ 14 h 60"/>
                <a:gd name="T70" fmla="*/ 52 w 66"/>
                <a:gd name="T71" fmla="*/ 14 h 60"/>
                <a:gd name="T72" fmla="*/ 52 w 66"/>
                <a:gd name="T73" fmla="*/ 14 h 60"/>
                <a:gd name="T74" fmla="*/ 52 w 66"/>
                <a:gd name="T75" fmla="*/ 10 h 60"/>
                <a:gd name="T76" fmla="*/ 56 w 66"/>
                <a:gd name="T77" fmla="*/ 10 h 60"/>
                <a:gd name="T78" fmla="*/ 56 w 66"/>
                <a:gd name="T79" fmla="*/ 6 h 60"/>
                <a:gd name="T80" fmla="*/ 56 w 66"/>
                <a:gd name="T81" fmla="*/ 6 h 60"/>
                <a:gd name="T82" fmla="*/ 60 w 66"/>
                <a:gd name="T83" fmla="*/ 6 h 60"/>
                <a:gd name="T84" fmla="*/ 62 w 66"/>
                <a:gd name="T85" fmla="*/ 0 h 60"/>
                <a:gd name="T86" fmla="*/ 62 w 66"/>
                <a:gd name="T87" fmla="*/ 2 h 60"/>
                <a:gd name="T88" fmla="*/ 62 w 66"/>
                <a:gd name="T89" fmla="*/ 6 h 60"/>
                <a:gd name="T90" fmla="*/ 66 w 66"/>
                <a:gd name="T91" fmla="*/ 6 h 60"/>
                <a:gd name="T92" fmla="*/ 66 w 66"/>
                <a:gd name="T93" fmla="*/ 10 h 60"/>
                <a:gd name="T94" fmla="*/ 36 w 66"/>
                <a:gd name="T95" fmla="*/ 26 h 60"/>
                <a:gd name="T96" fmla="*/ 30 w 66"/>
                <a:gd name="T97" fmla="*/ 34 h 60"/>
                <a:gd name="T98" fmla="*/ 30 w 66"/>
                <a:gd name="T99" fmla="*/ 34 h 60"/>
                <a:gd name="T100" fmla="*/ 30 w 66"/>
                <a:gd name="T101" fmla="*/ 34 h 60"/>
                <a:gd name="T102" fmla="*/ 32 w 66"/>
                <a:gd name="T103" fmla="*/ 34 h 60"/>
                <a:gd name="T104" fmla="*/ 30 w 66"/>
                <a:gd name="T105" fmla="*/ 3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6" h="60">
                  <a:moveTo>
                    <a:pt x="66" y="10"/>
                  </a:moveTo>
                  <a:lnTo>
                    <a:pt x="66" y="10"/>
                  </a:lnTo>
                  <a:lnTo>
                    <a:pt x="66" y="10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0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14" y="56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30" y="36"/>
                  </a:lnTo>
                  <a:lnTo>
                    <a:pt x="32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40" y="34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26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4" y="22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6" y="10"/>
                  </a:lnTo>
                  <a:close/>
                  <a:moveTo>
                    <a:pt x="40" y="30"/>
                  </a:moveTo>
                  <a:lnTo>
                    <a:pt x="36" y="30"/>
                  </a:lnTo>
                  <a:lnTo>
                    <a:pt x="36" y="26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close/>
                  <a:moveTo>
                    <a:pt x="30" y="34"/>
                  </a:move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21" name="Freeform 61">
              <a:extLst>
                <a:ext uri="{FF2B5EF4-FFF2-40B4-BE49-F238E27FC236}">
                  <a16:creationId xmlns:a16="http://schemas.microsoft.com/office/drawing/2014/main" id="{12F44114-B4D2-4BE8-BFEF-D5343A943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6120" y="2621251"/>
              <a:ext cx="475366" cy="309223"/>
            </a:xfrm>
            <a:custGeom>
              <a:avLst/>
              <a:gdLst>
                <a:gd name="T0" fmla="*/ 168 w 244"/>
                <a:gd name="T1" fmla="*/ 118 h 164"/>
                <a:gd name="T2" fmla="*/ 162 w 244"/>
                <a:gd name="T3" fmla="*/ 126 h 164"/>
                <a:gd name="T4" fmla="*/ 172 w 244"/>
                <a:gd name="T5" fmla="*/ 134 h 164"/>
                <a:gd name="T6" fmla="*/ 176 w 244"/>
                <a:gd name="T7" fmla="*/ 144 h 164"/>
                <a:gd name="T8" fmla="*/ 166 w 244"/>
                <a:gd name="T9" fmla="*/ 156 h 164"/>
                <a:gd name="T10" fmla="*/ 158 w 244"/>
                <a:gd name="T11" fmla="*/ 164 h 164"/>
                <a:gd name="T12" fmla="*/ 146 w 244"/>
                <a:gd name="T13" fmla="*/ 156 h 164"/>
                <a:gd name="T14" fmla="*/ 142 w 244"/>
                <a:gd name="T15" fmla="*/ 144 h 164"/>
                <a:gd name="T16" fmla="*/ 132 w 244"/>
                <a:gd name="T17" fmla="*/ 142 h 164"/>
                <a:gd name="T18" fmla="*/ 116 w 244"/>
                <a:gd name="T19" fmla="*/ 130 h 164"/>
                <a:gd name="T20" fmla="*/ 106 w 244"/>
                <a:gd name="T21" fmla="*/ 122 h 164"/>
                <a:gd name="T22" fmla="*/ 94 w 244"/>
                <a:gd name="T23" fmla="*/ 112 h 164"/>
                <a:gd name="T24" fmla="*/ 86 w 244"/>
                <a:gd name="T25" fmla="*/ 100 h 164"/>
                <a:gd name="T26" fmla="*/ 80 w 244"/>
                <a:gd name="T27" fmla="*/ 86 h 164"/>
                <a:gd name="T28" fmla="*/ 60 w 244"/>
                <a:gd name="T29" fmla="*/ 86 h 164"/>
                <a:gd name="T30" fmla="*/ 60 w 244"/>
                <a:gd name="T31" fmla="*/ 74 h 164"/>
                <a:gd name="T32" fmla="*/ 50 w 244"/>
                <a:gd name="T33" fmla="*/ 62 h 164"/>
                <a:gd name="T34" fmla="*/ 38 w 244"/>
                <a:gd name="T35" fmla="*/ 56 h 164"/>
                <a:gd name="T36" fmla="*/ 34 w 244"/>
                <a:gd name="T37" fmla="*/ 62 h 164"/>
                <a:gd name="T38" fmla="*/ 24 w 244"/>
                <a:gd name="T39" fmla="*/ 66 h 164"/>
                <a:gd name="T40" fmla="*/ 12 w 244"/>
                <a:gd name="T41" fmla="*/ 74 h 164"/>
                <a:gd name="T42" fmla="*/ 12 w 244"/>
                <a:gd name="T43" fmla="*/ 86 h 164"/>
                <a:gd name="T44" fmla="*/ 0 w 244"/>
                <a:gd name="T45" fmla="*/ 78 h 164"/>
                <a:gd name="T46" fmla="*/ 0 w 244"/>
                <a:gd name="T47" fmla="*/ 52 h 164"/>
                <a:gd name="T48" fmla="*/ 0 w 244"/>
                <a:gd name="T49" fmla="*/ 22 h 164"/>
                <a:gd name="T50" fmla="*/ 16 w 244"/>
                <a:gd name="T51" fmla="*/ 8 h 164"/>
                <a:gd name="T52" fmla="*/ 34 w 244"/>
                <a:gd name="T53" fmla="*/ 0 h 164"/>
                <a:gd name="T54" fmla="*/ 82 w 244"/>
                <a:gd name="T55" fmla="*/ 38 h 164"/>
                <a:gd name="T56" fmla="*/ 106 w 244"/>
                <a:gd name="T57" fmla="*/ 38 h 164"/>
                <a:gd name="T58" fmla="*/ 128 w 244"/>
                <a:gd name="T59" fmla="*/ 38 h 164"/>
                <a:gd name="T60" fmla="*/ 136 w 244"/>
                <a:gd name="T61" fmla="*/ 48 h 164"/>
                <a:gd name="T62" fmla="*/ 142 w 244"/>
                <a:gd name="T63" fmla="*/ 62 h 164"/>
                <a:gd name="T64" fmla="*/ 150 w 244"/>
                <a:gd name="T65" fmla="*/ 82 h 164"/>
                <a:gd name="T66" fmla="*/ 166 w 244"/>
                <a:gd name="T67" fmla="*/ 86 h 164"/>
                <a:gd name="T68" fmla="*/ 172 w 244"/>
                <a:gd name="T69" fmla="*/ 96 h 164"/>
                <a:gd name="T70" fmla="*/ 180 w 244"/>
                <a:gd name="T71" fmla="*/ 92 h 164"/>
                <a:gd name="T72" fmla="*/ 192 w 244"/>
                <a:gd name="T73" fmla="*/ 78 h 164"/>
                <a:gd name="T74" fmla="*/ 206 w 244"/>
                <a:gd name="T75" fmla="*/ 70 h 164"/>
                <a:gd name="T76" fmla="*/ 210 w 244"/>
                <a:gd name="T77" fmla="*/ 70 h 164"/>
                <a:gd name="T78" fmla="*/ 198 w 244"/>
                <a:gd name="T79" fmla="*/ 78 h 164"/>
                <a:gd name="T80" fmla="*/ 210 w 244"/>
                <a:gd name="T81" fmla="*/ 86 h 164"/>
                <a:gd name="T82" fmla="*/ 218 w 244"/>
                <a:gd name="T83" fmla="*/ 86 h 164"/>
                <a:gd name="T84" fmla="*/ 224 w 244"/>
                <a:gd name="T85" fmla="*/ 86 h 164"/>
                <a:gd name="T86" fmla="*/ 240 w 244"/>
                <a:gd name="T87" fmla="*/ 92 h 164"/>
                <a:gd name="T88" fmla="*/ 236 w 244"/>
                <a:gd name="T89" fmla="*/ 100 h 164"/>
                <a:gd name="T90" fmla="*/ 224 w 244"/>
                <a:gd name="T91" fmla="*/ 104 h 164"/>
                <a:gd name="T92" fmla="*/ 206 w 244"/>
                <a:gd name="T93" fmla="*/ 104 h 164"/>
                <a:gd name="T94" fmla="*/ 210 w 244"/>
                <a:gd name="T95" fmla="*/ 96 h 164"/>
                <a:gd name="T96" fmla="*/ 202 w 244"/>
                <a:gd name="T97" fmla="*/ 92 h 164"/>
                <a:gd name="T98" fmla="*/ 192 w 244"/>
                <a:gd name="T99" fmla="*/ 92 h 164"/>
                <a:gd name="T100" fmla="*/ 184 w 244"/>
                <a:gd name="T101" fmla="*/ 104 h 164"/>
                <a:gd name="T102" fmla="*/ 184 w 244"/>
                <a:gd name="T103" fmla="*/ 108 h 164"/>
                <a:gd name="T104" fmla="*/ 176 w 244"/>
                <a:gd name="T105" fmla="*/ 11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4" h="164">
                  <a:moveTo>
                    <a:pt x="176" y="112"/>
                  </a:moveTo>
                  <a:lnTo>
                    <a:pt x="176" y="116"/>
                  </a:lnTo>
                  <a:lnTo>
                    <a:pt x="176" y="118"/>
                  </a:lnTo>
                  <a:lnTo>
                    <a:pt x="172" y="118"/>
                  </a:lnTo>
                  <a:lnTo>
                    <a:pt x="168" y="118"/>
                  </a:lnTo>
                  <a:lnTo>
                    <a:pt x="168" y="116"/>
                  </a:lnTo>
                  <a:lnTo>
                    <a:pt x="166" y="116"/>
                  </a:lnTo>
                  <a:lnTo>
                    <a:pt x="162" y="118"/>
                  </a:lnTo>
                  <a:lnTo>
                    <a:pt x="162" y="122"/>
                  </a:lnTo>
                  <a:lnTo>
                    <a:pt x="162" y="126"/>
                  </a:lnTo>
                  <a:lnTo>
                    <a:pt x="166" y="126"/>
                  </a:lnTo>
                  <a:lnTo>
                    <a:pt x="166" y="130"/>
                  </a:lnTo>
                  <a:lnTo>
                    <a:pt x="168" y="130"/>
                  </a:lnTo>
                  <a:lnTo>
                    <a:pt x="172" y="130"/>
                  </a:lnTo>
                  <a:lnTo>
                    <a:pt x="172" y="134"/>
                  </a:lnTo>
                  <a:lnTo>
                    <a:pt x="168" y="134"/>
                  </a:lnTo>
                  <a:lnTo>
                    <a:pt x="168" y="138"/>
                  </a:lnTo>
                  <a:lnTo>
                    <a:pt x="172" y="142"/>
                  </a:lnTo>
                  <a:lnTo>
                    <a:pt x="172" y="144"/>
                  </a:lnTo>
                  <a:lnTo>
                    <a:pt x="176" y="144"/>
                  </a:lnTo>
                  <a:lnTo>
                    <a:pt x="172" y="144"/>
                  </a:lnTo>
                  <a:lnTo>
                    <a:pt x="172" y="148"/>
                  </a:lnTo>
                  <a:lnTo>
                    <a:pt x="168" y="152"/>
                  </a:lnTo>
                  <a:lnTo>
                    <a:pt x="168" y="156"/>
                  </a:lnTo>
                  <a:lnTo>
                    <a:pt x="166" y="156"/>
                  </a:lnTo>
                  <a:lnTo>
                    <a:pt x="166" y="160"/>
                  </a:lnTo>
                  <a:lnTo>
                    <a:pt x="166" y="164"/>
                  </a:lnTo>
                  <a:lnTo>
                    <a:pt x="162" y="160"/>
                  </a:lnTo>
                  <a:lnTo>
                    <a:pt x="162" y="164"/>
                  </a:lnTo>
                  <a:lnTo>
                    <a:pt x="158" y="164"/>
                  </a:lnTo>
                  <a:lnTo>
                    <a:pt x="158" y="160"/>
                  </a:lnTo>
                  <a:lnTo>
                    <a:pt x="154" y="160"/>
                  </a:lnTo>
                  <a:lnTo>
                    <a:pt x="150" y="160"/>
                  </a:lnTo>
                  <a:lnTo>
                    <a:pt x="146" y="160"/>
                  </a:lnTo>
                  <a:lnTo>
                    <a:pt x="146" y="156"/>
                  </a:lnTo>
                  <a:lnTo>
                    <a:pt x="150" y="152"/>
                  </a:lnTo>
                  <a:lnTo>
                    <a:pt x="150" y="148"/>
                  </a:lnTo>
                  <a:lnTo>
                    <a:pt x="146" y="148"/>
                  </a:lnTo>
                  <a:lnTo>
                    <a:pt x="146" y="144"/>
                  </a:lnTo>
                  <a:lnTo>
                    <a:pt x="142" y="144"/>
                  </a:lnTo>
                  <a:lnTo>
                    <a:pt x="138" y="142"/>
                  </a:lnTo>
                  <a:lnTo>
                    <a:pt x="138" y="144"/>
                  </a:lnTo>
                  <a:lnTo>
                    <a:pt x="136" y="144"/>
                  </a:lnTo>
                  <a:lnTo>
                    <a:pt x="136" y="142"/>
                  </a:lnTo>
                  <a:lnTo>
                    <a:pt x="132" y="142"/>
                  </a:lnTo>
                  <a:lnTo>
                    <a:pt x="128" y="138"/>
                  </a:lnTo>
                  <a:lnTo>
                    <a:pt x="124" y="134"/>
                  </a:lnTo>
                  <a:lnTo>
                    <a:pt x="120" y="134"/>
                  </a:lnTo>
                  <a:lnTo>
                    <a:pt x="120" y="130"/>
                  </a:lnTo>
                  <a:lnTo>
                    <a:pt x="116" y="130"/>
                  </a:lnTo>
                  <a:lnTo>
                    <a:pt x="112" y="130"/>
                  </a:lnTo>
                  <a:lnTo>
                    <a:pt x="112" y="126"/>
                  </a:lnTo>
                  <a:lnTo>
                    <a:pt x="110" y="126"/>
                  </a:lnTo>
                  <a:lnTo>
                    <a:pt x="110" y="122"/>
                  </a:lnTo>
                  <a:lnTo>
                    <a:pt x="106" y="122"/>
                  </a:lnTo>
                  <a:lnTo>
                    <a:pt x="106" y="118"/>
                  </a:lnTo>
                  <a:lnTo>
                    <a:pt x="102" y="118"/>
                  </a:lnTo>
                  <a:lnTo>
                    <a:pt x="98" y="116"/>
                  </a:lnTo>
                  <a:lnTo>
                    <a:pt x="94" y="116"/>
                  </a:lnTo>
                  <a:lnTo>
                    <a:pt x="94" y="112"/>
                  </a:lnTo>
                  <a:lnTo>
                    <a:pt x="90" y="112"/>
                  </a:lnTo>
                  <a:lnTo>
                    <a:pt x="90" y="108"/>
                  </a:lnTo>
                  <a:lnTo>
                    <a:pt x="90" y="104"/>
                  </a:lnTo>
                  <a:lnTo>
                    <a:pt x="90" y="100"/>
                  </a:lnTo>
                  <a:lnTo>
                    <a:pt x="86" y="100"/>
                  </a:lnTo>
                  <a:lnTo>
                    <a:pt x="86" y="96"/>
                  </a:lnTo>
                  <a:lnTo>
                    <a:pt x="82" y="96"/>
                  </a:lnTo>
                  <a:lnTo>
                    <a:pt x="82" y="92"/>
                  </a:lnTo>
                  <a:lnTo>
                    <a:pt x="82" y="88"/>
                  </a:lnTo>
                  <a:lnTo>
                    <a:pt x="80" y="86"/>
                  </a:lnTo>
                  <a:lnTo>
                    <a:pt x="76" y="86"/>
                  </a:lnTo>
                  <a:lnTo>
                    <a:pt x="72" y="86"/>
                  </a:lnTo>
                  <a:lnTo>
                    <a:pt x="68" y="86"/>
                  </a:lnTo>
                  <a:lnTo>
                    <a:pt x="64" y="86"/>
                  </a:lnTo>
                  <a:lnTo>
                    <a:pt x="60" y="86"/>
                  </a:lnTo>
                  <a:lnTo>
                    <a:pt x="60" y="82"/>
                  </a:lnTo>
                  <a:lnTo>
                    <a:pt x="56" y="82"/>
                  </a:lnTo>
                  <a:lnTo>
                    <a:pt x="56" y="78"/>
                  </a:lnTo>
                  <a:lnTo>
                    <a:pt x="56" y="74"/>
                  </a:lnTo>
                  <a:lnTo>
                    <a:pt x="60" y="74"/>
                  </a:lnTo>
                  <a:lnTo>
                    <a:pt x="56" y="74"/>
                  </a:lnTo>
                  <a:lnTo>
                    <a:pt x="56" y="70"/>
                  </a:lnTo>
                  <a:lnTo>
                    <a:pt x="56" y="66"/>
                  </a:lnTo>
                  <a:lnTo>
                    <a:pt x="52" y="62"/>
                  </a:lnTo>
                  <a:lnTo>
                    <a:pt x="50" y="62"/>
                  </a:lnTo>
                  <a:lnTo>
                    <a:pt x="46" y="62"/>
                  </a:lnTo>
                  <a:lnTo>
                    <a:pt x="46" y="60"/>
                  </a:lnTo>
                  <a:lnTo>
                    <a:pt x="42" y="60"/>
                  </a:lnTo>
                  <a:lnTo>
                    <a:pt x="38" y="60"/>
                  </a:lnTo>
                  <a:lnTo>
                    <a:pt x="38" y="56"/>
                  </a:lnTo>
                  <a:lnTo>
                    <a:pt x="34" y="56"/>
                  </a:lnTo>
                  <a:lnTo>
                    <a:pt x="34" y="60"/>
                  </a:lnTo>
                  <a:lnTo>
                    <a:pt x="30" y="56"/>
                  </a:lnTo>
                  <a:lnTo>
                    <a:pt x="30" y="60"/>
                  </a:lnTo>
                  <a:lnTo>
                    <a:pt x="34" y="62"/>
                  </a:lnTo>
                  <a:lnTo>
                    <a:pt x="30" y="62"/>
                  </a:lnTo>
                  <a:lnTo>
                    <a:pt x="26" y="60"/>
                  </a:lnTo>
                  <a:lnTo>
                    <a:pt x="26" y="62"/>
                  </a:lnTo>
                  <a:lnTo>
                    <a:pt x="26" y="66"/>
                  </a:lnTo>
                  <a:lnTo>
                    <a:pt x="24" y="66"/>
                  </a:lnTo>
                  <a:lnTo>
                    <a:pt x="20" y="66"/>
                  </a:lnTo>
                  <a:lnTo>
                    <a:pt x="16" y="66"/>
                  </a:lnTo>
                  <a:lnTo>
                    <a:pt x="16" y="70"/>
                  </a:lnTo>
                  <a:lnTo>
                    <a:pt x="12" y="70"/>
                  </a:lnTo>
                  <a:lnTo>
                    <a:pt x="12" y="74"/>
                  </a:lnTo>
                  <a:lnTo>
                    <a:pt x="12" y="78"/>
                  </a:lnTo>
                  <a:lnTo>
                    <a:pt x="12" y="82"/>
                  </a:lnTo>
                  <a:lnTo>
                    <a:pt x="16" y="82"/>
                  </a:lnTo>
                  <a:lnTo>
                    <a:pt x="16" y="86"/>
                  </a:lnTo>
                  <a:lnTo>
                    <a:pt x="12" y="86"/>
                  </a:lnTo>
                  <a:lnTo>
                    <a:pt x="8" y="86"/>
                  </a:lnTo>
                  <a:lnTo>
                    <a:pt x="4" y="86"/>
                  </a:lnTo>
                  <a:lnTo>
                    <a:pt x="0" y="86"/>
                  </a:lnTo>
                  <a:lnTo>
                    <a:pt x="0" y="82"/>
                  </a:lnTo>
                  <a:lnTo>
                    <a:pt x="0" y="78"/>
                  </a:lnTo>
                  <a:lnTo>
                    <a:pt x="0" y="74"/>
                  </a:lnTo>
                  <a:lnTo>
                    <a:pt x="0" y="66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0" y="22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6" y="4"/>
                  </a:lnTo>
                  <a:lnTo>
                    <a:pt x="30" y="0"/>
                  </a:lnTo>
                  <a:lnTo>
                    <a:pt x="34" y="0"/>
                  </a:lnTo>
                  <a:lnTo>
                    <a:pt x="50" y="12"/>
                  </a:lnTo>
                  <a:lnTo>
                    <a:pt x="72" y="26"/>
                  </a:lnTo>
                  <a:lnTo>
                    <a:pt x="76" y="30"/>
                  </a:lnTo>
                  <a:lnTo>
                    <a:pt x="80" y="34"/>
                  </a:lnTo>
                  <a:lnTo>
                    <a:pt x="82" y="38"/>
                  </a:lnTo>
                  <a:lnTo>
                    <a:pt x="82" y="42"/>
                  </a:lnTo>
                  <a:lnTo>
                    <a:pt x="90" y="42"/>
                  </a:lnTo>
                  <a:lnTo>
                    <a:pt x="94" y="42"/>
                  </a:lnTo>
                  <a:lnTo>
                    <a:pt x="102" y="38"/>
                  </a:lnTo>
                  <a:lnTo>
                    <a:pt x="106" y="38"/>
                  </a:lnTo>
                  <a:lnTo>
                    <a:pt x="110" y="42"/>
                  </a:lnTo>
                  <a:lnTo>
                    <a:pt x="112" y="42"/>
                  </a:lnTo>
                  <a:lnTo>
                    <a:pt x="120" y="42"/>
                  </a:lnTo>
                  <a:lnTo>
                    <a:pt x="124" y="38"/>
                  </a:lnTo>
                  <a:lnTo>
                    <a:pt x="128" y="38"/>
                  </a:lnTo>
                  <a:lnTo>
                    <a:pt x="128" y="42"/>
                  </a:lnTo>
                  <a:lnTo>
                    <a:pt x="132" y="42"/>
                  </a:lnTo>
                  <a:lnTo>
                    <a:pt x="132" y="46"/>
                  </a:lnTo>
                  <a:lnTo>
                    <a:pt x="136" y="46"/>
                  </a:lnTo>
                  <a:lnTo>
                    <a:pt x="136" y="48"/>
                  </a:lnTo>
                  <a:lnTo>
                    <a:pt x="138" y="52"/>
                  </a:lnTo>
                  <a:lnTo>
                    <a:pt x="142" y="52"/>
                  </a:lnTo>
                  <a:lnTo>
                    <a:pt x="142" y="56"/>
                  </a:lnTo>
                  <a:lnTo>
                    <a:pt x="142" y="60"/>
                  </a:lnTo>
                  <a:lnTo>
                    <a:pt x="142" y="62"/>
                  </a:lnTo>
                  <a:lnTo>
                    <a:pt x="142" y="66"/>
                  </a:lnTo>
                  <a:lnTo>
                    <a:pt x="142" y="70"/>
                  </a:lnTo>
                  <a:lnTo>
                    <a:pt x="146" y="70"/>
                  </a:lnTo>
                  <a:lnTo>
                    <a:pt x="150" y="74"/>
                  </a:lnTo>
                  <a:lnTo>
                    <a:pt x="150" y="82"/>
                  </a:lnTo>
                  <a:lnTo>
                    <a:pt x="150" y="86"/>
                  </a:lnTo>
                  <a:lnTo>
                    <a:pt x="154" y="86"/>
                  </a:lnTo>
                  <a:lnTo>
                    <a:pt x="158" y="86"/>
                  </a:lnTo>
                  <a:lnTo>
                    <a:pt x="162" y="86"/>
                  </a:lnTo>
                  <a:lnTo>
                    <a:pt x="166" y="86"/>
                  </a:lnTo>
                  <a:lnTo>
                    <a:pt x="168" y="86"/>
                  </a:lnTo>
                  <a:lnTo>
                    <a:pt x="168" y="88"/>
                  </a:lnTo>
                  <a:lnTo>
                    <a:pt x="172" y="88"/>
                  </a:lnTo>
                  <a:lnTo>
                    <a:pt x="168" y="92"/>
                  </a:lnTo>
                  <a:lnTo>
                    <a:pt x="172" y="96"/>
                  </a:lnTo>
                  <a:lnTo>
                    <a:pt x="176" y="96"/>
                  </a:lnTo>
                  <a:lnTo>
                    <a:pt x="180" y="96"/>
                  </a:lnTo>
                  <a:lnTo>
                    <a:pt x="176" y="96"/>
                  </a:lnTo>
                  <a:lnTo>
                    <a:pt x="176" y="92"/>
                  </a:lnTo>
                  <a:lnTo>
                    <a:pt x="180" y="92"/>
                  </a:lnTo>
                  <a:lnTo>
                    <a:pt x="180" y="88"/>
                  </a:lnTo>
                  <a:lnTo>
                    <a:pt x="184" y="86"/>
                  </a:lnTo>
                  <a:lnTo>
                    <a:pt x="184" y="82"/>
                  </a:lnTo>
                  <a:lnTo>
                    <a:pt x="188" y="82"/>
                  </a:lnTo>
                  <a:lnTo>
                    <a:pt x="192" y="78"/>
                  </a:lnTo>
                  <a:lnTo>
                    <a:pt x="194" y="78"/>
                  </a:lnTo>
                  <a:lnTo>
                    <a:pt x="198" y="74"/>
                  </a:lnTo>
                  <a:lnTo>
                    <a:pt x="202" y="70"/>
                  </a:lnTo>
                  <a:lnTo>
                    <a:pt x="202" y="66"/>
                  </a:lnTo>
                  <a:lnTo>
                    <a:pt x="206" y="70"/>
                  </a:lnTo>
                  <a:lnTo>
                    <a:pt x="206" y="66"/>
                  </a:lnTo>
                  <a:lnTo>
                    <a:pt x="210" y="66"/>
                  </a:lnTo>
                  <a:lnTo>
                    <a:pt x="214" y="62"/>
                  </a:lnTo>
                  <a:lnTo>
                    <a:pt x="214" y="66"/>
                  </a:lnTo>
                  <a:lnTo>
                    <a:pt x="210" y="70"/>
                  </a:lnTo>
                  <a:lnTo>
                    <a:pt x="206" y="70"/>
                  </a:lnTo>
                  <a:lnTo>
                    <a:pt x="206" y="74"/>
                  </a:lnTo>
                  <a:lnTo>
                    <a:pt x="202" y="74"/>
                  </a:lnTo>
                  <a:lnTo>
                    <a:pt x="202" y="78"/>
                  </a:lnTo>
                  <a:lnTo>
                    <a:pt x="198" y="78"/>
                  </a:lnTo>
                  <a:lnTo>
                    <a:pt x="198" y="82"/>
                  </a:lnTo>
                  <a:lnTo>
                    <a:pt x="202" y="82"/>
                  </a:lnTo>
                  <a:lnTo>
                    <a:pt x="206" y="82"/>
                  </a:lnTo>
                  <a:lnTo>
                    <a:pt x="210" y="82"/>
                  </a:lnTo>
                  <a:lnTo>
                    <a:pt x="210" y="86"/>
                  </a:lnTo>
                  <a:lnTo>
                    <a:pt x="214" y="86"/>
                  </a:lnTo>
                  <a:lnTo>
                    <a:pt x="218" y="88"/>
                  </a:lnTo>
                  <a:lnTo>
                    <a:pt x="218" y="86"/>
                  </a:lnTo>
                  <a:lnTo>
                    <a:pt x="218" y="82"/>
                  </a:lnTo>
                  <a:lnTo>
                    <a:pt x="218" y="86"/>
                  </a:lnTo>
                  <a:lnTo>
                    <a:pt x="222" y="86"/>
                  </a:lnTo>
                  <a:lnTo>
                    <a:pt x="222" y="82"/>
                  </a:lnTo>
                  <a:lnTo>
                    <a:pt x="222" y="78"/>
                  </a:lnTo>
                  <a:lnTo>
                    <a:pt x="224" y="82"/>
                  </a:lnTo>
                  <a:lnTo>
                    <a:pt x="224" y="86"/>
                  </a:lnTo>
                  <a:lnTo>
                    <a:pt x="228" y="86"/>
                  </a:lnTo>
                  <a:lnTo>
                    <a:pt x="228" y="88"/>
                  </a:lnTo>
                  <a:lnTo>
                    <a:pt x="232" y="88"/>
                  </a:lnTo>
                  <a:lnTo>
                    <a:pt x="236" y="92"/>
                  </a:lnTo>
                  <a:lnTo>
                    <a:pt x="240" y="92"/>
                  </a:lnTo>
                  <a:lnTo>
                    <a:pt x="244" y="92"/>
                  </a:lnTo>
                  <a:lnTo>
                    <a:pt x="240" y="92"/>
                  </a:lnTo>
                  <a:lnTo>
                    <a:pt x="240" y="96"/>
                  </a:lnTo>
                  <a:lnTo>
                    <a:pt x="236" y="96"/>
                  </a:lnTo>
                  <a:lnTo>
                    <a:pt x="236" y="100"/>
                  </a:lnTo>
                  <a:lnTo>
                    <a:pt x="232" y="100"/>
                  </a:lnTo>
                  <a:lnTo>
                    <a:pt x="232" y="96"/>
                  </a:lnTo>
                  <a:lnTo>
                    <a:pt x="232" y="100"/>
                  </a:lnTo>
                  <a:lnTo>
                    <a:pt x="228" y="100"/>
                  </a:lnTo>
                  <a:lnTo>
                    <a:pt x="224" y="104"/>
                  </a:lnTo>
                  <a:lnTo>
                    <a:pt x="222" y="108"/>
                  </a:lnTo>
                  <a:lnTo>
                    <a:pt x="218" y="104"/>
                  </a:lnTo>
                  <a:lnTo>
                    <a:pt x="214" y="104"/>
                  </a:lnTo>
                  <a:lnTo>
                    <a:pt x="210" y="104"/>
                  </a:lnTo>
                  <a:lnTo>
                    <a:pt x="206" y="104"/>
                  </a:lnTo>
                  <a:lnTo>
                    <a:pt x="202" y="104"/>
                  </a:lnTo>
                  <a:lnTo>
                    <a:pt x="202" y="100"/>
                  </a:lnTo>
                  <a:lnTo>
                    <a:pt x="206" y="100"/>
                  </a:lnTo>
                  <a:lnTo>
                    <a:pt x="206" y="96"/>
                  </a:lnTo>
                  <a:lnTo>
                    <a:pt x="210" y="96"/>
                  </a:lnTo>
                  <a:lnTo>
                    <a:pt x="210" y="92"/>
                  </a:lnTo>
                  <a:lnTo>
                    <a:pt x="206" y="92"/>
                  </a:lnTo>
                  <a:lnTo>
                    <a:pt x="206" y="88"/>
                  </a:lnTo>
                  <a:lnTo>
                    <a:pt x="202" y="88"/>
                  </a:lnTo>
                  <a:lnTo>
                    <a:pt x="202" y="92"/>
                  </a:lnTo>
                  <a:lnTo>
                    <a:pt x="198" y="92"/>
                  </a:lnTo>
                  <a:lnTo>
                    <a:pt x="198" y="96"/>
                  </a:lnTo>
                  <a:lnTo>
                    <a:pt x="194" y="96"/>
                  </a:lnTo>
                  <a:lnTo>
                    <a:pt x="192" y="96"/>
                  </a:lnTo>
                  <a:lnTo>
                    <a:pt x="192" y="92"/>
                  </a:lnTo>
                  <a:lnTo>
                    <a:pt x="188" y="92"/>
                  </a:lnTo>
                  <a:lnTo>
                    <a:pt x="188" y="96"/>
                  </a:lnTo>
                  <a:lnTo>
                    <a:pt x="188" y="100"/>
                  </a:lnTo>
                  <a:lnTo>
                    <a:pt x="188" y="104"/>
                  </a:lnTo>
                  <a:lnTo>
                    <a:pt x="184" y="104"/>
                  </a:lnTo>
                  <a:lnTo>
                    <a:pt x="180" y="104"/>
                  </a:lnTo>
                  <a:lnTo>
                    <a:pt x="176" y="104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84" y="108"/>
                  </a:lnTo>
                  <a:lnTo>
                    <a:pt x="180" y="108"/>
                  </a:lnTo>
                  <a:lnTo>
                    <a:pt x="180" y="112"/>
                  </a:lnTo>
                  <a:lnTo>
                    <a:pt x="176" y="112"/>
                  </a:lnTo>
                  <a:lnTo>
                    <a:pt x="176" y="112"/>
                  </a:lnTo>
                  <a:lnTo>
                    <a:pt x="176" y="112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22" name="Freeform 62">
              <a:extLst>
                <a:ext uri="{FF2B5EF4-FFF2-40B4-BE49-F238E27FC236}">
                  <a16:creationId xmlns:a16="http://schemas.microsoft.com/office/drawing/2014/main" id="{5FD03A96-C3C0-B113-6C33-704A85B154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99746" y="3409393"/>
              <a:ext cx="194822" cy="486461"/>
            </a:xfrm>
            <a:custGeom>
              <a:avLst/>
              <a:gdLst>
                <a:gd name="T0" fmla="*/ 78 w 100"/>
                <a:gd name="T1" fmla="*/ 122 h 258"/>
                <a:gd name="T2" fmla="*/ 86 w 100"/>
                <a:gd name="T3" fmla="*/ 130 h 258"/>
                <a:gd name="T4" fmla="*/ 92 w 100"/>
                <a:gd name="T5" fmla="*/ 138 h 258"/>
                <a:gd name="T6" fmla="*/ 96 w 100"/>
                <a:gd name="T7" fmla="*/ 148 h 258"/>
                <a:gd name="T8" fmla="*/ 96 w 100"/>
                <a:gd name="T9" fmla="*/ 168 h 258"/>
                <a:gd name="T10" fmla="*/ 100 w 100"/>
                <a:gd name="T11" fmla="*/ 178 h 258"/>
                <a:gd name="T12" fmla="*/ 100 w 100"/>
                <a:gd name="T13" fmla="*/ 194 h 258"/>
                <a:gd name="T14" fmla="*/ 96 w 100"/>
                <a:gd name="T15" fmla="*/ 198 h 258"/>
                <a:gd name="T16" fmla="*/ 92 w 100"/>
                <a:gd name="T17" fmla="*/ 212 h 258"/>
                <a:gd name="T18" fmla="*/ 78 w 100"/>
                <a:gd name="T19" fmla="*/ 220 h 258"/>
                <a:gd name="T20" fmla="*/ 62 w 100"/>
                <a:gd name="T21" fmla="*/ 220 h 258"/>
                <a:gd name="T22" fmla="*/ 62 w 100"/>
                <a:gd name="T23" fmla="*/ 228 h 258"/>
                <a:gd name="T24" fmla="*/ 60 w 100"/>
                <a:gd name="T25" fmla="*/ 232 h 258"/>
                <a:gd name="T26" fmla="*/ 56 w 100"/>
                <a:gd name="T27" fmla="*/ 232 h 258"/>
                <a:gd name="T28" fmla="*/ 52 w 100"/>
                <a:gd name="T29" fmla="*/ 234 h 258"/>
                <a:gd name="T30" fmla="*/ 48 w 100"/>
                <a:gd name="T31" fmla="*/ 246 h 258"/>
                <a:gd name="T32" fmla="*/ 34 w 100"/>
                <a:gd name="T33" fmla="*/ 258 h 258"/>
                <a:gd name="T34" fmla="*/ 36 w 100"/>
                <a:gd name="T35" fmla="*/ 238 h 258"/>
                <a:gd name="T36" fmla="*/ 34 w 100"/>
                <a:gd name="T37" fmla="*/ 228 h 258"/>
                <a:gd name="T38" fmla="*/ 40 w 100"/>
                <a:gd name="T39" fmla="*/ 216 h 258"/>
                <a:gd name="T40" fmla="*/ 56 w 100"/>
                <a:gd name="T41" fmla="*/ 216 h 258"/>
                <a:gd name="T42" fmla="*/ 56 w 100"/>
                <a:gd name="T43" fmla="*/ 204 h 258"/>
                <a:gd name="T44" fmla="*/ 62 w 100"/>
                <a:gd name="T45" fmla="*/ 198 h 258"/>
                <a:gd name="T46" fmla="*/ 74 w 100"/>
                <a:gd name="T47" fmla="*/ 186 h 258"/>
                <a:gd name="T48" fmla="*/ 70 w 100"/>
                <a:gd name="T49" fmla="*/ 164 h 258"/>
                <a:gd name="T50" fmla="*/ 74 w 100"/>
                <a:gd name="T51" fmla="*/ 148 h 258"/>
                <a:gd name="T52" fmla="*/ 70 w 100"/>
                <a:gd name="T53" fmla="*/ 134 h 258"/>
                <a:gd name="T54" fmla="*/ 66 w 100"/>
                <a:gd name="T55" fmla="*/ 122 h 258"/>
                <a:gd name="T56" fmla="*/ 60 w 100"/>
                <a:gd name="T57" fmla="*/ 112 h 258"/>
                <a:gd name="T58" fmla="*/ 48 w 100"/>
                <a:gd name="T59" fmla="*/ 100 h 258"/>
                <a:gd name="T60" fmla="*/ 40 w 100"/>
                <a:gd name="T61" fmla="*/ 86 h 258"/>
                <a:gd name="T62" fmla="*/ 26 w 100"/>
                <a:gd name="T63" fmla="*/ 74 h 258"/>
                <a:gd name="T64" fmla="*/ 26 w 100"/>
                <a:gd name="T65" fmla="*/ 62 h 258"/>
                <a:gd name="T66" fmla="*/ 36 w 100"/>
                <a:gd name="T67" fmla="*/ 58 h 258"/>
                <a:gd name="T68" fmla="*/ 26 w 100"/>
                <a:gd name="T69" fmla="*/ 42 h 258"/>
                <a:gd name="T70" fmla="*/ 10 w 100"/>
                <a:gd name="T71" fmla="*/ 44 h 258"/>
                <a:gd name="T72" fmla="*/ 10 w 100"/>
                <a:gd name="T73" fmla="*/ 34 h 258"/>
                <a:gd name="T74" fmla="*/ 0 w 100"/>
                <a:gd name="T75" fmla="*/ 18 h 258"/>
                <a:gd name="T76" fmla="*/ 10 w 100"/>
                <a:gd name="T77" fmla="*/ 14 h 258"/>
                <a:gd name="T78" fmla="*/ 22 w 100"/>
                <a:gd name="T79" fmla="*/ 12 h 258"/>
                <a:gd name="T80" fmla="*/ 36 w 100"/>
                <a:gd name="T81" fmla="*/ 8 h 258"/>
                <a:gd name="T82" fmla="*/ 48 w 100"/>
                <a:gd name="T83" fmla="*/ 8 h 258"/>
                <a:gd name="T84" fmla="*/ 62 w 100"/>
                <a:gd name="T85" fmla="*/ 14 h 258"/>
                <a:gd name="T86" fmla="*/ 70 w 100"/>
                <a:gd name="T87" fmla="*/ 30 h 258"/>
                <a:gd name="T88" fmla="*/ 74 w 100"/>
                <a:gd name="T89" fmla="*/ 38 h 258"/>
                <a:gd name="T90" fmla="*/ 70 w 100"/>
                <a:gd name="T91" fmla="*/ 42 h 258"/>
                <a:gd name="T92" fmla="*/ 62 w 100"/>
                <a:gd name="T93" fmla="*/ 48 h 258"/>
                <a:gd name="T94" fmla="*/ 56 w 100"/>
                <a:gd name="T95" fmla="*/ 58 h 258"/>
                <a:gd name="T96" fmla="*/ 52 w 100"/>
                <a:gd name="T97" fmla="*/ 70 h 258"/>
                <a:gd name="T98" fmla="*/ 52 w 100"/>
                <a:gd name="T99" fmla="*/ 88 h 258"/>
                <a:gd name="T100" fmla="*/ 62 w 100"/>
                <a:gd name="T101" fmla="*/ 108 h 258"/>
                <a:gd name="T102" fmla="*/ 66 w 100"/>
                <a:gd name="T103" fmla="*/ 224 h 258"/>
                <a:gd name="T104" fmla="*/ 62 w 100"/>
                <a:gd name="T105" fmla="*/ 224 h 258"/>
                <a:gd name="T106" fmla="*/ 74 w 100"/>
                <a:gd name="T107" fmla="*/ 38 h 258"/>
                <a:gd name="T108" fmla="*/ 66 w 100"/>
                <a:gd name="T109" fmla="*/ 44 h 258"/>
                <a:gd name="T110" fmla="*/ 26 w 100"/>
                <a:gd name="T111" fmla="*/ 22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0" h="258">
                  <a:moveTo>
                    <a:pt x="66" y="112"/>
                  </a:moveTo>
                  <a:lnTo>
                    <a:pt x="70" y="112"/>
                  </a:lnTo>
                  <a:lnTo>
                    <a:pt x="70" y="116"/>
                  </a:lnTo>
                  <a:lnTo>
                    <a:pt x="74" y="118"/>
                  </a:lnTo>
                  <a:lnTo>
                    <a:pt x="78" y="118"/>
                  </a:lnTo>
                  <a:lnTo>
                    <a:pt x="78" y="122"/>
                  </a:lnTo>
                  <a:lnTo>
                    <a:pt x="82" y="122"/>
                  </a:lnTo>
                  <a:lnTo>
                    <a:pt x="82" y="126"/>
                  </a:lnTo>
                  <a:lnTo>
                    <a:pt x="86" y="126"/>
                  </a:lnTo>
                  <a:lnTo>
                    <a:pt x="82" y="126"/>
                  </a:lnTo>
                  <a:lnTo>
                    <a:pt x="86" y="126"/>
                  </a:lnTo>
                  <a:lnTo>
                    <a:pt x="86" y="130"/>
                  </a:lnTo>
                  <a:lnTo>
                    <a:pt x="86" y="126"/>
                  </a:lnTo>
                  <a:lnTo>
                    <a:pt x="86" y="130"/>
                  </a:lnTo>
                  <a:lnTo>
                    <a:pt x="86" y="134"/>
                  </a:lnTo>
                  <a:lnTo>
                    <a:pt x="90" y="134"/>
                  </a:lnTo>
                  <a:lnTo>
                    <a:pt x="90" y="138"/>
                  </a:lnTo>
                  <a:lnTo>
                    <a:pt x="92" y="138"/>
                  </a:lnTo>
                  <a:lnTo>
                    <a:pt x="92" y="142"/>
                  </a:lnTo>
                  <a:lnTo>
                    <a:pt x="92" y="138"/>
                  </a:lnTo>
                  <a:lnTo>
                    <a:pt x="92" y="142"/>
                  </a:lnTo>
                  <a:lnTo>
                    <a:pt x="92" y="146"/>
                  </a:lnTo>
                  <a:lnTo>
                    <a:pt x="92" y="148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6" y="156"/>
                  </a:lnTo>
                  <a:lnTo>
                    <a:pt x="96" y="160"/>
                  </a:lnTo>
                  <a:lnTo>
                    <a:pt x="100" y="164"/>
                  </a:lnTo>
                  <a:lnTo>
                    <a:pt x="100" y="168"/>
                  </a:lnTo>
                  <a:lnTo>
                    <a:pt x="96" y="168"/>
                  </a:lnTo>
                  <a:lnTo>
                    <a:pt x="100" y="168"/>
                  </a:lnTo>
                  <a:lnTo>
                    <a:pt x="96" y="168"/>
                  </a:lnTo>
                  <a:lnTo>
                    <a:pt x="100" y="168"/>
                  </a:lnTo>
                  <a:lnTo>
                    <a:pt x="100" y="172"/>
                  </a:lnTo>
                  <a:lnTo>
                    <a:pt x="100" y="174"/>
                  </a:lnTo>
                  <a:lnTo>
                    <a:pt x="100" y="178"/>
                  </a:lnTo>
                  <a:lnTo>
                    <a:pt x="100" y="182"/>
                  </a:lnTo>
                  <a:lnTo>
                    <a:pt x="100" y="186"/>
                  </a:lnTo>
                  <a:lnTo>
                    <a:pt x="96" y="186"/>
                  </a:lnTo>
                  <a:lnTo>
                    <a:pt x="96" y="190"/>
                  </a:lnTo>
                  <a:lnTo>
                    <a:pt x="100" y="190"/>
                  </a:lnTo>
                  <a:lnTo>
                    <a:pt x="100" y="194"/>
                  </a:lnTo>
                  <a:lnTo>
                    <a:pt x="100" y="190"/>
                  </a:lnTo>
                  <a:lnTo>
                    <a:pt x="96" y="190"/>
                  </a:lnTo>
                  <a:lnTo>
                    <a:pt x="96" y="194"/>
                  </a:lnTo>
                  <a:lnTo>
                    <a:pt x="96" y="198"/>
                  </a:lnTo>
                  <a:lnTo>
                    <a:pt x="100" y="202"/>
                  </a:lnTo>
                  <a:lnTo>
                    <a:pt x="96" y="198"/>
                  </a:lnTo>
                  <a:lnTo>
                    <a:pt x="96" y="202"/>
                  </a:lnTo>
                  <a:lnTo>
                    <a:pt x="96" y="204"/>
                  </a:lnTo>
                  <a:lnTo>
                    <a:pt x="96" y="208"/>
                  </a:lnTo>
                  <a:lnTo>
                    <a:pt x="92" y="212"/>
                  </a:lnTo>
                  <a:lnTo>
                    <a:pt x="92" y="208"/>
                  </a:lnTo>
                  <a:lnTo>
                    <a:pt x="92" y="212"/>
                  </a:lnTo>
                  <a:lnTo>
                    <a:pt x="90" y="212"/>
                  </a:lnTo>
                  <a:lnTo>
                    <a:pt x="90" y="216"/>
                  </a:lnTo>
                  <a:lnTo>
                    <a:pt x="86" y="216"/>
                  </a:lnTo>
                  <a:lnTo>
                    <a:pt x="82" y="216"/>
                  </a:lnTo>
                  <a:lnTo>
                    <a:pt x="82" y="220"/>
                  </a:lnTo>
                  <a:lnTo>
                    <a:pt x="78" y="220"/>
                  </a:lnTo>
                  <a:lnTo>
                    <a:pt x="78" y="224"/>
                  </a:lnTo>
                  <a:lnTo>
                    <a:pt x="74" y="224"/>
                  </a:lnTo>
                  <a:lnTo>
                    <a:pt x="70" y="228"/>
                  </a:lnTo>
                  <a:lnTo>
                    <a:pt x="70" y="224"/>
                  </a:lnTo>
                  <a:lnTo>
                    <a:pt x="66" y="224"/>
                  </a:lnTo>
                  <a:lnTo>
                    <a:pt x="62" y="220"/>
                  </a:lnTo>
                  <a:lnTo>
                    <a:pt x="62" y="224"/>
                  </a:lnTo>
                  <a:lnTo>
                    <a:pt x="62" y="228"/>
                  </a:lnTo>
                  <a:lnTo>
                    <a:pt x="62" y="224"/>
                  </a:lnTo>
                  <a:lnTo>
                    <a:pt x="62" y="228"/>
                  </a:lnTo>
                  <a:lnTo>
                    <a:pt x="60" y="228"/>
                  </a:lnTo>
                  <a:lnTo>
                    <a:pt x="62" y="228"/>
                  </a:lnTo>
                  <a:lnTo>
                    <a:pt x="62" y="232"/>
                  </a:lnTo>
                  <a:lnTo>
                    <a:pt x="62" y="234"/>
                  </a:lnTo>
                  <a:lnTo>
                    <a:pt x="60" y="232"/>
                  </a:lnTo>
                  <a:lnTo>
                    <a:pt x="60" y="228"/>
                  </a:lnTo>
                  <a:lnTo>
                    <a:pt x="56" y="228"/>
                  </a:lnTo>
                  <a:lnTo>
                    <a:pt x="60" y="232"/>
                  </a:lnTo>
                  <a:lnTo>
                    <a:pt x="60" y="234"/>
                  </a:lnTo>
                  <a:lnTo>
                    <a:pt x="62" y="234"/>
                  </a:lnTo>
                  <a:lnTo>
                    <a:pt x="60" y="234"/>
                  </a:lnTo>
                  <a:lnTo>
                    <a:pt x="56" y="232"/>
                  </a:lnTo>
                  <a:lnTo>
                    <a:pt x="56" y="228"/>
                  </a:lnTo>
                  <a:lnTo>
                    <a:pt x="56" y="232"/>
                  </a:lnTo>
                  <a:lnTo>
                    <a:pt x="56" y="234"/>
                  </a:lnTo>
                  <a:lnTo>
                    <a:pt x="60" y="234"/>
                  </a:lnTo>
                  <a:lnTo>
                    <a:pt x="60" y="238"/>
                  </a:lnTo>
                  <a:lnTo>
                    <a:pt x="60" y="242"/>
                  </a:lnTo>
                  <a:lnTo>
                    <a:pt x="56" y="238"/>
                  </a:lnTo>
                  <a:lnTo>
                    <a:pt x="52" y="234"/>
                  </a:lnTo>
                  <a:lnTo>
                    <a:pt x="52" y="238"/>
                  </a:lnTo>
                  <a:lnTo>
                    <a:pt x="56" y="238"/>
                  </a:lnTo>
                  <a:lnTo>
                    <a:pt x="56" y="242"/>
                  </a:lnTo>
                  <a:lnTo>
                    <a:pt x="56" y="246"/>
                  </a:lnTo>
                  <a:lnTo>
                    <a:pt x="52" y="246"/>
                  </a:lnTo>
                  <a:lnTo>
                    <a:pt x="48" y="246"/>
                  </a:lnTo>
                  <a:lnTo>
                    <a:pt x="48" y="250"/>
                  </a:lnTo>
                  <a:lnTo>
                    <a:pt x="44" y="250"/>
                  </a:lnTo>
                  <a:lnTo>
                    <a:pt x="44" y="254"/>
                  </a:lnTo>
                  <a:lnTo>
                    <a:pt x="40" y="258"/>
                  </a:lnTo>
                  <a:lnTo>
                    <a:pt x="36" y="258"/>
                  </a:lnTo>
                  <a:lnTo>
                    <a:pt x="34" y="258"/>
                  </a:lnTo>
                  <a:lnTo>
                    <a:pt x="36" y="258"/>
                  </a:lnTo>
                  <a:lnTo>
                    <a:pt x="36" y="254"/>
                  </a:lnTo>
                  <a:lnTo>
                    <a:pt x="36" y="250"/>
                  </a:lnTo>
                  <a:lnTo>
                    <a:pt x="36" y="246"/>
                  </a:lnTo>
                  <a:lnTo>
                    <a:pt x="36" y="242"/>
                  </a:lnTo>
                  <a:lnTo>
                    <a:pt x="36" y="238"/>
                  </a:lnTo>
                  <a:lnTo>
                    <a:pt x="36" y="234"/>
                  </a:lnTo>
                  <a:lnTo>
                    <a:pt x="40" y="234"/>
                  </a:lnTo>
                  <a:lnTo>
                    <a:pt x="40" y="232"/>
                  </a:lnTo>
                  <a:lnTo>
                    <a:pt x="36" y="232"/>
                  </a:lnTo>
                  <a:lnTo>
                    <a:pt x="34" y="232"/>
                  </a:lnTo>
                  <a:lnTo>
                    <a:pt x="34" y="228"/>
                  </a:lnTo>
                  <a:lnTo>
                    <a:pt x="30" y="228"/>
                  </a:lnTo>
                  <a:lnTo>
                    <a:pt x="34" y="228"/>
                  </a:lnTo>
                  <a:lnTo>
                    <a:pt x="34" y="224"/>
                  </a:lnTo>
                  <a:lnTo>
                    <a:pt x="36" y="224"/>
                  </a:lnTo>
                  <a:lnTo>
                    <a:pt x="40" y="220"/>
                  </a:lnTo>
                  <a:lnTo>
                    <a:pt x="40" y="216"/>
                  </a:lnTo>
                  <a:lnTo>
                    <a:pt x="44" y="220"/>
                  </a:lnTo>
                  <a:lnTo>
                    <a:pt x="44" y="216"/>
                  </a:lnTo>
                  <a:lnTo>
                    <a:pt x="48" y="216"/>
                  </a:lnTo>
                  <a:lnTo>
                    <a:pt x="52" y="216"/>
                  </a:lnTo>
                  <a:lnTo>
                    <a:pt x="56" y="220"/>
                  </a:lnTo>
                  <a:lnTo>
                    <a:pt x="56" y="216"/>
                  </a:lnTo>
                  <a:lnTo>
                    <a:pt x="52" y="212"/>
                  </a:lnTo>
                  <a:lnTo>
                    <a:pt x="52" y="208"/>
                  </a:lnTo>
                  <a:lnTo>
                    <a:pt x="52" y="204"/>
                  </a:lnTo>
                  <a:lnTo>
                    <a:pt x="52" y="202"/>
                  </a:lnTo>
                  <a:lnTo>
                    <a:pt x="56" y="202"/>
                  </a:lnTo>
                  <a:lnTo>
                    <a:pt x="56" y="204"/>
                  </a:lnTo>
                  <a:lnTo>
                    <a:pt x="60" y="204"/>
                  </a:lnTo>
                  <a:lnTo>
                    <a:pt x="60" y="202"/>
                  </a:lnTo>
                  <a:lnTo>
                    <a:pt x="60" y="198"/>
                  </a:lnTo>
                  <a:lnTo>
                    <a:pt x="62" y="198"/>
                  </a:lnTo>
                  <a:lnTo>
                    <a:pt x="62" y="202"/>
                  </a:lnTo>
                  <a:lnTo>
                    <a:pt x="62" y="198"/>
                  </a:lnTo>
                  <a:lnTo>
                    <a:pt x="66" y="198"/>
                  </a:lnTo>
                  <a:lnTo>
                    <a:pt x="66" y="194"/>
                  </a:lnTo>
                  <a:lnTo>
                    <a:pt x="70" y="194"/>
                  </a:lnTo>
                  <a:lnTo>
                    <a:pt x="74" y="194"/>
                  </a:lnTo>
                  <a:lnTo>
                    <a:pt x="74" y="190"/>
                  </a:lnTo>
                  <a:lnTo>
                    <a:pt x="74" y="186"/>
                  </a:lnTo>
                  <a:lnTo>
                    <a:pt x="74" y="182"/>
                  </a:lnTo>
                  <a:lnTo>
                    <a:pt x="74" y="174"/>
                  </a:lnTo>
                  <a:lnTo>
                    <a:pt x="74" y="172"/>
                  </a:lnTo>
                  <a:lnTo>
                    <a:pt x="74" y="168"/>
                  </a:lnTo>
                  <a:lnTo>
                    <a:pt x="74" y="164"/>
                  </a:lnTo>
                  <a:lnTo>
                    <a:pt x="70" y="164"/>
                  </a:lnTo>
                  <a:lnTo>
                    <a:pt x="70" y="160"/>
                  </a:lnTo>
                  <a:lnTo>
                    <a:pt x="74" y="160"/>
                  </a:lnTo>
                  <a:lnTo>
                    <a:pt x="70" y="156"/>
                  </a:lnTo>
                  <a:lnTo>
                    <a:pt x="74" y="156"/>
                  </a:lnTo>
                  <a:lnTo>
                    <a:pt x="74" y="152"/>
                  </a:lnTo>
                  <a:lnTo>
                    <a:pt x="74" y="148"/>
                  </a:lnTo>
                  <a:lnTo>
                    <a:pt x="74" y="146"/>
                  </a:lnTo>
                  <a:lnTo>
                    <a:pt x="78" y="142"/>
                  </a:lnTo>
                  <a:lnTo>
                    <a:pt x="74" y="142"/>
                  </a:lnTo>
                  <a:lnTo>
                    <a:pt x="74" y="138"/>
                  </a:lnTo>
                  <a:lnTo>
                    <a:pt x="70" y="138"/>
                  </a:lnTo>
                  <a:lnTo>
                    <a:pt x="70" y="134"/>
                  </a:lnTo>
                  <a:lnTo>
                    <a:pt x="70" y="130"/>
                  </a:lnTo>
                  <a:lnTo>
                    <a:pt x="74" y="130"/>
                  </a:lnTo>
                  <a:lnTo>
                    <a:pt x="74" y="126"/>
                  </a:lnTo>
                  <a:lnTo>
                    <a:pt x="70" y="126"/>
                  </a:lnTo>
                  <a:lnTo>
                    <a:pt x="70" y="122"/>
                  </a:lnTo>
                  <a:lnTo>
                    <a:pt x="66" y="122"/>
                  </a:lnTo>
                  <a:lnTo>
                    <a:pt x="66" y="118"/>
                  </a:lnTo>
                  <a:lnTo>
                    <a:pt x="62" y="118"/>
                  </a:lnTo>
                  <a:lnTo>
                    <a:pt x="62" y="122"/>
                  </a:lnTo>
                  <a:lnTo>
                    <a:pt x="60" y="118"/>
                  </a:lnTo>
                  <a:lnTo>
                    <a:pt x="60" y="116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4" y="92"/>
                  </a:lnTo>
                  <a:lnTo>
                    <a:pt x="44" y="88"/>
                  </a:lnTo>
                  <a:lnTo>
                    <a:pt x="40" y="88"/>
                  </a:lnTo>
                  <a:lnTo>
                    <a:pt x="40" y="86"/>
                  </a:lnTo>
                  <a:lnTo>
                    <a:pt x="40" y="82"/>
                  </a:lnTo>
                  <a:lnTo>
                    <a:pt x="36" y="82"/>
                  </a:lnTo>
                  <a:lnTo>
                    <a:pt x="34" y="82"/>
                  </a:lnTo>
                  <a:lnTo>
                    <a:pt x="34" y="78"/>
                  </a:lnTo>
                  <a:lnTo>
                    <a:pt x="30" y="74"/>
                  </a:lnTo>
                  <a:lnTo>
                    <a:pt x="26" y="74"/>
                  </a:lnTo>
                  <a:lnTo>
                    <a:pt x="22" y="70"/>
                  </a:lnTo>
                  <a:lnTo>
                    <a:pt x="26" y="70"/>
                  </a:lnTo>
                  <a:lnTo>
                    <a:pt x="26" y="66"/>
                  </a:lnTo>
                  <a:lnTo>
                    <a:pt x="26" y="62"/>
                  </a:lnTo>
                  <a:lnTo>
                    <a:pt x="26" y="66"/>
                  </a:lnTo>
                  <a:lnTo>
                    <a:pt x="26" y="62"/>
                  </a:lnTo>
                  <a:lnTo>
                    <a:pt x="30" y="62"/>
                  </a:lnTo>
                  <a:lnTo>
                    <a:pt x="30" y="66"/>
                  </a:lnTo>
                  <a:lnTo>
                    <a:pt x="34" y="66"/>
                  </a:lnTo>
                  <a:lnTo>
                    <a:pt x="34" y="62"/>
                  </a:lnTo>
                  <a:lnTo>
                    <a:pt x="36" y="62"/>
                  </a:lnTo>
                  <a:lnTo>
                    <a:pt x="36" y="58"/>
                  </a:lnTo>
                  <a:lnTo>
                    <a:pt x="36" y="56"/>
                  </a:lnTo>
                  <a:lnTo>
                    <a:pt x="34" y="52"/>
                  </a:lnTo>
                  <a:lnTo>
                    <a:pt x="30" y="52"/>
                  </a:lnTo>
                  <a:lnTo>
                    <a:pt x="34" y="48"/>
                  </a:lnTo>
                  <a:lnTo>
                    <a:pt x="30" y="44"/>
                  </a:lnTo>
                  <a:lnTo>
                    <a:pt x="26" y="42"/>
                  </a:lnTo>
                  <a:lnTo>
                    <a:pt x="22" y="44"/>
                  </a:lnTo>
                  <a:lnTo>
                    <a:pt x="22" y="48"/>
                  </a:lnTo>
                  <a:lnTo>
                    <a:pt x="18" y="48"/>
                  </a:lnTo>
                  <a:lnTo>
                    <a:pt x="18" y="44"/>
                  </a:lnTo>
                  <a:lnTo>
                    <a:pt x="14" y="44"/>
                  </a:lnTo>
                  <a:lnTo>
                    <a:pt x="10" y="44"/>
                  </a:lnTo>
                  <a:lnTo>
                    <a:pt x="10" y="42"/>
                  </a:lnTo>
                  <a:lnTo>
                    <a:pt x="10" y="38"/>
                  </a:lnTo>
                  <a:lnTo>
                    <a:pt x="6" y="38"/>
                  </a:lnTo>
                  <a:lnTo>
                    <a:pt x="10" y="34"/>
                  </a:lnTo>
                  <a:lnTo>
                    <a:pt x="6" y="34"/>
                  </a:lnTo>
                  <a:lnTo>
                    <a:pt x="10" y="34"/>
                  </a:lnTo>
                  <a:lnTo>
                    <a:pt x="10" y="30"/>
                  </a:lnTo>
                  <a:lnTo>
                    <a:pt x="6" y="30"/>
                  </a:lnTo>
                  <a:lnTo>
                    <a:pt x="6" y="26"/>
                  </a:lnTo>
                  <a:lnTo>
                    <a:pt x="4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4" y="14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10" y="14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8" y="12"/>
                  </a:lnTo>
                  <a:lnTo>
                    <a:pt x="18" y="14"/>
                  </a:lnTo>
                  <a:lnTo>
                    <a:pt x="18" y="12"/>
                  </a:lnTo>
                  <a:lnTo>
                    <a:pt x="22" y="12"/>
                  </a:lnTo>
                  <a:lnTo>
                    <a:pt x="22" y="14"/>
                  </a:lnTo>
                  <a:lnTo>
                    <a:pt x="26" y="14"/>
                  </a:lnTo>
                  <a:lnTo>
                    <a:pt x="26" y="12"/>
                  </a:lnTo>
                  <a:lnTo>
                    <a:pt x="30" y="12"/>
                  </a:lnTo>
                  <a:lnTo>
                    <a:pt x="34" y="12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2" y="8"/>
                  </a:lnTo>
                  <a:lnTo>
                    <a:pt x="62" y="12"/>
                  </a:lnTo>
                  <a:lnTo>
                    <a:pt x="62" y="14"/>
                  </a:lnTo>
                  <a:lnTo>
                    <a:pt x="60" y="14"/>
                  </a:lnTo>
                  <a:lnTo>
                    <a:pt x="60" y="18"/>
                  </a:lnTo>
                  <a:lnTo>
                    <a:pt x="62" y="18"/>
                  </a:lnTo>
                  <a:lnTo>
                    <a:pt x="62" y="22"/>
                  </a:lnTo>
                  <a:lnTo>
                    <a:pt x="66" y="26"/>
                  </a:lnTo>
                  <a:lnTo>
                    <a:pt x="70" y="30"/>
                  </a:lnTo>
                  <a:lnTo>
                    <a:pt x="74" y="30"/>
                  </a:lnTo>
                  <a:lnTo>
                    <a:pt x="78" y="30"/>
                  </a:lnTo>
                  <a:lnTo>
                    <a:pt x="82" y="30"/>
                  </a:lnTo>
                  <a:lnTo>
                    <a:pt x="82" y="34"/>
                  </a:lnTo>
                  <a:lnTo>
                    <a:pt x="78" y="34"/>
                  </a:lnTo>
                  <a:lnTo>
                    <a:pt x="74" y="38"/>
                  </a:lnTo>
                  <a:lnTo>
                    <a:pt x="70" y="38"/>
                  </a:lnTo>
                  <a:lnTo>
                    <a:pt x="74" y="42"/>
                  </a:lnTo>
                  <a:lnTo>
                    <a:pt x="70" y="42"/>
                  </a:lnTo>
                  <a:lnTo>
                    <a:pt x="70" y="44"/>
                  </a:lnTo>
                  <a:lnTo>
                    <a:pt x="66" y="42"/>
                  </a:lnTo>
                  <a:lnTo>
                    <a:pt x="70" y="42"/>
                  </a:lnTo>
                  <a:lnTo>
                    <a:pt x="66" y="42"/>
                  </a:lnTo>
                  <a:lnTo>
                    <a:pt x="66" y="44"/>
                  </a:lnTo>
                  <a:lnTo>
                    <a:pt x="62" y="44"/>
                  </a:lnTo>
                  <a:lnTo>
                    <a:pt x="62" y="42"/>
                  </a:lnTo>
                  <a:lnTo>
                    <a:pt x="62" y="44"/>
                  </a:lnTo>
                  <a:lnTo>
                    <a:pt x="62" y="48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8"/>
                  </a:lnTo>
                  <a:lnTo>
                    <a:pt x="52" y="58"/>
                  </a:lnTo>
                  <a:lnTo>
                    <a:pt x="52" y="62"/>
                  </a:lnTo>
                  <a:lnTo>
                    <a:pt x="52" y="66"/>
                  </a:lnTo>
                  <a:lnTo>
                    <a:pt x="52" y="70"/>
                  </a:lnTo>
                  <a:lnTo>
                    <a:pt x="48" y="70"/>
                  </a:lnTo>
                  <a:lnTo>
                    <a:pt x="52" y="70"/>
                  </a:lnTo>
                  <a:lnTo>
                    <a:pt x="48" y="74"/>
                  </a:lnTo>
                  <a:lnTo>
                    <a:pt x="48" y="78"/>
                  </a:lnTo>
                  <a:lnTo>
                    <a:pt x="48" y="82"/>
                  </a:lnTo>
                  <a:lnTo>
                    <a:pt x="52" y="82"/>
                  </a:lnTo>
                  <a:lnTo>
                    <a:pt x="52" y="86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2" y="104"/>
                  </a:lnTo>
                  <a:lnTo>
                    <a:pt x="62" y="108"/>
                  </a:lnTo>
                  <a:lnTo>
                    <a:pt x="66" y="108"/>
                  </a:lnTo>
                  <a:lnTo>
                    <a:pt x="66" y="112"/>
                  </a:lnTo>
                  <a:lnTo>
                    <a:pt x="66" y="112"/>
                  </a:lnTo>
                  <a:lnTo>
                    <a:pt x="66" y="112"/>
                  </a:lnTo>
                  <a:close/>
                  <a:moveTo>
                    <a:pt x="62" y="224"/>
                  </a:moveTo>
                  <a:lnTo>
                    <a:pt x="66" y="224"/>
                  </a:lnTo>
                  <a:lnTo>
                    <a:pt x="62" y="224"/>
                  </a:lnTo>
                  <a:lnTo>
                    <a:pt x="66" y="224"/>
                  </a:lnTo>
                  <a:lnTo>
                    <a:pt x="66" y="228"/>
                  </a:lnTo>
                  <a:lnTo>
                    <a:pt x="62" y="228"/>
                  </a:lnTo>
                  <a:lnTo>
                    <a:pt x="62" y="224"/>
                  </a:lnTo>
                  <a:lnTo>
                    <a:pt x="62" y="224"/>
                  </a:lnTo>
                  <a:lnTo>
                    <a:pt x="62" y="224"/>
                  </a:lnTo>
                  <a:close/>
                  <a:moveTo>
                    <a:pt x="74" y="38"/>
                  </a:moveTo>
                  <a:lnTo>
                    <a:pt x="74" y="42"/>
                  </a:lnTo>
                  <a:lnTo>
                    <a:pt x="70" y="42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close/>
                  <a:moveTo>
                    <a:pt x="66" y="44"/>
                  </a:moveTo>
                  <a:lnTo>
                    <a:pt x="66" y="48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4"/>
                  </a:lnTo>
                  <a:close/>
                  <a:moveTo>
                    <a:pt x="26" y="228"/>
                  </a:moveTo>
                  <a:lnTo>
                    <a:pt x="26" y="232"/>
                  </a:lnTo>
                  <a:lnTo>
                    <a:pt x="22" y="228"/>
                  </a:lnTo>
                  <a:lnTo>
                    <a:pt x="26" y="228"/>
                  </a:lnTo>
                  <a:lnTo>
                    <a:pt x="26" y="228"/>
                  </a:lnTo>
                  <a:lnTo>
                    <a:pt x="26" y="22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23" name="Freeform 63">
              <a:extLst>
                <a:ext uri="{FF2B5EF4-FFF2-40B4-BE49-F238E27FC236}">
                  <a16:creationId xmlns:a16="http://schemas.microsoft.com/office/drawing/2014/main" id="{2DF49EA7-FC77-91CF-5126-B5BB3AC958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1654" y="3092628"/>
              <a:ext cx="19482" cy="41481"/>
            </a:xfrm>
            <a:custGeom>
              <a:avLst/>
              <a:gdLst>
                <a:gd name="T0" fmla="*/ 10 w 10"/>
                <a:gd name="T1" fmla="*/ 12 h 22"/>
                <a:gd name="T2" fmla="*/ 10 w 10"/>
                <a:gd name="T3" fmla="*/ 12 h 22"/>
                <a:gd name="T4" fmla="*/ 10 w 10"/>
                <a:gd name="T5" fmla="*/ 14 h 22"/>
                <a:gd name="T6" fmla="*/ 10 w 10"/>
                <a:gd name="T7" fmla="*/ 14 h 22"/>
                <a:gd name="T8" fmla="*/ 10 w 10"/>
                <a:gd name="T9" fmla="*/ 18 h 22"/>
                <a:gd name="T10" fmla="*/ 10 w 10"/>
                <a:gd name="T11" fmla="*/ 18 h 22"/>
                <a:gd name="T12" fmla="*/ 10 w 10"/>
                <a:gd name="T13" fmla="*/ 18 h 22"/>
                <a:gd name="T14" fmla="*/ 6 w 10"/>
                <a:gd name="T15" fmla="*/ 22 h 22"/>
                <a:gd name="T16" fmla="*/ 6 w 10"/>
                <a:gd name="T17" fmla="*/ 22 h 22"/>
                <a:gd name="T18" fmla="*/ 4 w 10"/>
                <a:gd name="T19" fmla="*/ 22 h 22"/>
                <a:gd name="T20" fmla="*/ 0 w 10"/>
                <a:gd name="T21" fmla="*/ 22 h 22"/>
                <a:gd name="T22" fmla="*/ 0 w 10"/>
                <a:gd name="T23" fmla="*/ 22 h 22"/>
                <a:gd name="T24" fmla="*/ 4 w 10"/>
                <a:gd name="T25" fmla="*/ 22 h 22"/>
                <a:gd name="T26" fmla="*/ 4 w 10"/>
                <a:gd name="T27" fmla="*/ 18 h 22"/>
                <a:gd name="T28" fmla="*/ 4 w 10"/>
                <a:gd name="T29" fmla="*/ 18 h 22"/>
                <a:gd name="T30" fmla="*/ 4 w 10"/>
                <a:gd name="T31" fmla="*/ 18 h 22"/>
                <a:gd name="T32" fmla="*/ 4 w 10"/>
                <a:gd name="T33" fmla="*/ 14 h 22"/>
                <a:gd name="T34" fmla="*/ 6 w 10"/>
                <a:gd name="T35" fmla="*/ 14 h 22"/>
                <a:gd name="T36" fmla="*/ 4 w 10"/>
                <a:gd name="T37" fmla="*/ 14 h 22"/>
                <a:gd name="T38" fmla="*/ 4 w 10"/>
                <a:gd name="T39" fmla="*/ 14 h 22"/>
                <a:gd name="T40" fmla="*/ 4 w 10"/>
                <a:gd name="T41" fmla="*/ 14 h 22"/>
                <a:gd name="T42" fmla="*/ 4 w 10"/>
                <a:gd name="T43" fmla="*/ 12 h 22"/>
                <a:gd name="T44" fmla="*/ 4 w 10"/>
                <a:gd name="T45" fmla="*/ 12 h 22"/>
                <a:gd name="T46" fmla="*/ 4 w 10"/>
                <a:gd name="T47" fmla="*/ 8 h 22"/>
                <a:gd name="T48" fmla="*/ 4 w 10"/>
                <a:gd name="T49" fmla="*/ 8 h 22"/>
                <a:gd name="T50" fmla="*/ 4 w 10"/>
                <a:gd name="T51" fmla="*/ 4 h 22"/>
                <a:gd name="T52" fmla="*/ 4 w 10"/>
                <a:gd name="T53" fmla="*/ 4 h 22"/>
                <a:gd name="T54" fmla="*/ 4 w 10"/>
                <a:gd name="T55" fmla="*/ 4 h 22"/>
                <a:gd name="T56" fmla="*/ 6 w 10"/>
                <a:gd name="T57" fmla="*/ 0 h 22"/>
                <a:gd name="T58" fmla="*/ 6 w 10"/>
                <a:gd name="T59" fmla="*/ 0 h 22"/>
                <a:gd name="T60" fmla="*/ 6 w 10"/>
                <a:gd name="T61" fmla="*/ 0 h 22"/>
                <a:gd name="T62" fmla="*/ 6 w 10"/>
                <a:gd name="T63" fmla="*/ 4 h 22"/>
                <a:gd name="T64" fmla="*/ 10 w 10"/>
                <a:gd name="T65" fmla="*/ 4 h 22"/>
                <a:gd name="T66" fmla="*/ 10 w 10"/>
                <a:gd name="T67" fmla="*/ 8 h 22"/>
                <a:gd name="T68" fmla="*/ 10 w 10"/>
                <a:gd name="T69" fmla="*/ 8 h 22"/>
                <a:gd name="T70" fmla="*/ 6 w 10"/>
                <a:gd name="T71" fmla="*/ 14 h 22"/>
                <a:gd name="T72" fmla="*/ 6 w 10"/>
                <a:gd name="T73" fmla="*/ 14 h 22"/>
                <a:gd name="T74" fmla="*/ 6 w 10"/>
                <a:gd name="T75" fmla="*/ 14 h 22"/>
                <a:gd name="T76" fmla="*/ 6 w 10"/>
                <a:gd name="T77" fmla="*/ 14 h 22"/>
                <a:gd name="T78" fmla="*/ 6 w 10"/>
                <a:gd name="T79" fmla="*/ 14 h 22"/>
                <a:gd name="T80" fmla="*/ 6 w 10"/>
                <a:gd name="T81" fmla="*/ 1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" h="22">
                  <a:moveTo>
                    <a:pt x="10" y="8"/>
                  </a:move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6" y="18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close/>
                  <a:moveTo>
                    <a:pt x="6" y="14"/>
                  </a:move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24" name="Freeform 64">
              <a:extLst>
                <a:ext uri="{FF2B5EF4-FFF2-40B4-BE49-F238E27FC236}">
                  <a16:creationId xmlns:a16="http://schemas.microsoft.com/office/drawing/2014/main" id="{D0CBA94F-0A4E-01F0-2932-1D11D82959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62062" y="3556463"/>
              <a:ext cx="331197" cy="222490"/>
            </a:xfrm>
            <a:custGeom>
              <a:avLst/>
              <a:gdLst>
                <a:gd name="T0" fmla="*/ 64 w 170"/>
                <a:gd name="T1" fmla="*/ 92 h 118"/>
                <a:gd name="T2" fmla="*/ 56 w 170"/>
                <a:gd name="T3" fmla="*/ 96 h 118"/>
                <a:gd name="T4" fmla="*/ 44 w 170"/>
                <a:gd name="T5" fmla="*/ 96 h 118"/>
                <a:gd name="T6" fmla="*/ 40 w 170"/>
                <a:gd name="T7" fmla="*/ 100 h 118"/>
                <a:gd name="T8" fmla="*/ 40 w 170"/>
                <a:gd name="T9" fmla="*/ 104 h 118"/>
                <a:gd name="T10" fmla="*/ 38 w 170"/>
                <a:gd name="T11" fmla="*/ 108 h 118"/>
                <a:gd name="T12" fmla="*/ 34 w 170"/>
                <a:gd name="T13" fmla="*/ 108 h 118"/>
                <a:gd name="T14" fmla="*/ 30 w 170"/>
                <a:gd name="T15" fmla="*/ 108 h 118"/>
                <a:gd name="T16" fmla="*/ 26 w 170"/>
                <a:gd name="T17" fmla="*/ 108 h 118"/>
                <a:gd name="T18" fmla="*/ 18 w 170"/>
                <a:gd name="T19" fmla="*/ 108 h 118"/>
                <a:gd name="T20" fmla="*/ 14 w 170"/>
                <a:gd name="T21" fmla="*/ 108 h 118"/>
                <a:gd name="T22" fmla="*/ 14 w 170"/>
                <a:gd name="T23" fmla="*/ 100 h 118"/>
                <a:gd name="T24" fmla="*/ 10 w 170"/>
                <a:gd name="T25" fmla="*/ 92 h 118"/>
                <a:gd name="T26" fmla="*/ 10 w 170"/>
                <a:gd name="T27" fmla="*/ 90 h 118"/>
                <a:gd name="T28" fmla="*/ 10 w 170"/>
                <a:gd name="T29" fmla="*/ 82 h 118"/>
                <a:gd name="T30" fmla="*/ 8 w 170"/>
                <a:gd name="T31" fmla="*/ 70 h 118"/>
                <a:gd name="T32" fmla="*/ 8 w 170"/>
                <a:gd name="T33" fmla="*/ 66 h 118"/>
                <a:gd name="T34" fmla="*/ 4 w 170"/>
                <a:gd name="T35" fmla="*/ 62 h 118"/>
                <a:gd name="T36" fmla="*/ 4 w 170"/>
                <a:gd name="T37" fmla="*/ 60 h 118"/>
                <a:gd name="T38" fmla="*/ 4 w 170"/>
                <a:gd name="T39" fmla="*/ 56 h 118"/>
                <a:gd name="T40" fmla="*/ 8 w 170"/>
                <a:gd name="T41" fmla="*/ 48 h 118"/>
                <a:gd name="T42" fmla="*/ 8 w 170"/>
                <a:gd name="T43" fmla="*/ 44 h 118"/>
                <a:gd name="T44" fmla="*/ 10 w 170"/>
                <a:gd name="T45" fmla="*/ 40 h 118"/>
                <a:gd name="T46" fmla="*/ 10 w 170"/>
                <a:gd name="T47" fmla="*/ 26 h 118"/>
                <a:gd name="T48" fmla="*/ 14 w 170"/>
                <a:gd name="T49" fmla="*/ 26 h 118"/>
                <a:gd name="T50" fmla="*/ 18 w 170"/>
                <a:gd name="T51" fmla="*/ 26 h 118"/>
                <a:gd name="T52" fmla="*/ 30 w 170"/>
                <a:gd name="T53" fmla="*/ 26 h 118"/>
                <a:gd name="T54" fmla="*/ 60 w 170"/>
                <a:gd name="T55" fmla="*/ 30 h 118"/>
                <a:gd name="T56" fmla="*/ 78 w 170"/>
                <a:gd name="T57" fmla="*/ 22 h 118"/>
                <a:gd name="T58" fmla="*/ 144 w 170"/>
                <a:gd name="T59" fmla="*/ 26 h 118"/>
                <a:gd name="T60" fmla="*/ 148 w 170"/>
                <a:gd name="T61" fmla="*/ 40 h 118"/>
                <a:gd name="T62" fmla="*/ 140 w 170"/>
                <a:gd name="T63" fmla="*/ 44 h 118"/>
                <a:gd name="T64" fmla="*/ 136 w 170"/>
                <a:gd name="T65" fmla="*/ 48 h 118"/>
                <a:gd name="T66" fmla="*/ 134 w 170"/>
                <a:gd name="T67" fmla="*/ 60 h 118"/>
                <a:gd name="T68" fmla="*/ 126 w 170"/>
                <a:gd name="T69" fmla="*/ 62 h 118"/>
                <a:gd name="T70" fmla="*/ 120 w 170"/>
                <a:gd name="T71" fmla="*/ 66 h 118"/>
                <a:gd name="T72" fmla="*/ 112 w 170"/>
                <a:gd name="T73" fmla="*/ 66 h 118"/>
                <a:gd name="T74" fmla="*/ 104 w 170"/>
                <a:gd name="T75" fmla="*/ 70 h 118"/>
                <a:gd name="T76" fmla="*/ 94 w 170"/>
                <a:gd name="T77" fmla="*/ 78 h 118"/>
                <a:gd name="T78" fmla="*/ 90 w 170"/>
                <a:gd name="T79" fmla="*/ 86 h 118"/>
                <a:gd name="T80" fmla="*/ 82 w 170"/>
                <a:gd name="T81" fmla="*/ 86 h 118"/>
                <a:gd name="T82" fmla="*/ 78 w 170"/>
                <a:gd name="T83" fmla="*/ 86 h 118"/>
                <a:gd name="T84" fmla="*/ 78 w 170"/>
                <a:gd name="T85" fmla="*/ 86 h 118"/>
                <a:gd name="T86" fmla="*/ 74 w 170"/>
                <a:gd name="T87" fmla="*/ 90 h 118"/>
                <a:gd name="T88" fmla="*/ 66 w 170"/>
                <a:gd name="T89" fmla="*/ 92 h 118"/>
                <a:gd name="T90" fmla="*/ 136 w 170"/>
                <a:gd name="T91" fmla="*/ 118 h 118"/>
                <a:gd name="T92" fmla="*/ 136 w 170"/>
                <a:gd name="T93" fmla="*/ 116 h 118"/>
                <a:gd name="T94" fmla="*/ 136 w 170"/>
                <a:gd name="T95" fmla="*/ 116 h 118"/>
                <a:gd name="T96" fmla="*/ 140 w 170"/>
                <a:gd name="T97" fmla="*/ 118 h 118"/>
                <a:gd name="T98" fmla="*/ 4 w 170"/>
                <a:gd name="T99" fmla="*/ 62 h 118"/>
                <a:gd name="T100" fmla="*/ 4 w 170"/>
                <a:gd name="T101" fmla="*/ 60 h 118"/>
                <a:gd name="T102" fmla="*/ 4 w 170"/>
                <a:gd name="T103" fmla="*/ 62 h 118"/>
                <a:gd name="T104" fmla="*/ 4 w 170"/>
                <a:gd name="T105" fmla="*/ 86 h 118"/>
                <a:gd name="T106" fmla="*/ 4 w 170"/>
                <a:gd name="T107" fmla="*/ 86 h 118"/>
                <a:gd name="T108" fmla="*/ 170 w 170"/>
                <a:gd name="T109" fmla="*/ 112 h 118"/>
                <a:gd name="T110" fmla="*/ 164 w 170"/>
                <a:gd name="T111" fmla="*/ 116 h 118"/>
                <a:gd name="T112" fmla="*/ 156 w 170"/>
                <a:gd name="T113" fmla="*/ 116 h 118"/>
                <a:gd name="T114" fmla="*/ 156 w 170"/>
                <a:gd name="T115" fmla="*/ 108 h 118"/>
                <a:gd name="T116" fmla="*/ 160 w 170"/>
                <a:gd name="T117" fmla="*/ 112 h 118"/>
                <a:gd name="T118" fmla="*/ 166 w 170"/>
                <a:gd name="T119" fmla="*/ 10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0" h="118">
                  <a:moveTo>
                    <a:pt x="66" y="92"/>
                  </a:moveTo>
                  <a:lnTo>
                    <a:pt x="66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38" y="104"/>
                  </a:lnTo>
                  <a:lnTo>
                    <a:pt x="38" y="104"/>
                  </a:lnTo>
                  <a:lnTo>
                    <a:pt x="38" y="104"/>
                  </a:lnTo>
                  <a:lnTo>
                    <a:pt x="38" y="104"/>
                  </a:lnTo>
                  <a:lnTo>
                    <a:pt x="38" y="104"/>
                  </a:lnTo>
                  <a:lnTo>
                    <a:pt x="38" y="108"/>
                  </a:lnTo>
                  <a:lnTo>
                    <a:pt x="38" y="104"/>
                  </a:lnTo>
                  <a:lnTo>
                    <a:pt x="38" y="104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0" y="108"/>
                  </a:lnTo>
                  <a:lnTo>
                    <a:pt x="30" y="108"/>
                  </a:lnTo>
                  <a:lnTo>
                    <a:pt x="30" y="108"/>
                  </a:lnTo>
                  <a:lnTo>
                    <a:pt x="30" y="108"/>
                  </a:lnTo>
                  <a:lnTo>
                    <a:pt x="30" y="108"/>
                  </a:lnTo>
                  <a:lnTo>
                    <a:pt x="30" y="108"/>
                  </a:lnTo>
                  <a:lnTo>
                    <a:pt x="30" y="108"/>
                  </a:lnTo>
                  <a:lnTo>
                    <a:pt x="26" y="108"/>
                  </a:lnTo>
                  <a:lnTo>
                    <a:pt x="26" y="108"/>
                  </a:lnTo>
                  <a:lnTo>
                    <a:pt x="22" y="112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04"/>
                  </a:lnTo>
                  <a:lnTo>
                    <a:pt x="14" y="100"/>
                  </a:lnTo>
                  <a:lnTo>
                    <a:pt x="10" y="100"/>
                  </a:lnTo>
                  <a:lnTo>
                    <a:pt x="10" y="100"/>
                  </a:lnTo>
                  <a:lnTo>
                    <a:pt x="10" y="96"/>
                  </a:lnTo>
                  <a:lnTo>
                    <a:pt x="10" y="96"/>
                  </a:lnTo>
                  <a:lnTo>
                    <a:pt x="10" y="96"/>
                  </a:lnTo>
                  <a:lnTo>
                    <a:pt x="10" y="92"/>
                  </a:lnTo>
                  <a:lnTo>
                    <a:pt x="10" y="92"/>
                  </a:lnTo>
                  <a:lnTo>
                    <a:pt x="10" y="92"/>
                  </a:lnTo>
                  <a:lnTo>
                    <a:pt x="10" y="92"/>
                  </a:lnTo>
                  <a:lnTo>
                    <a:pt x="10" y="90"/>
                  </a:lnTo>
                  <a:lnTo>
                    <a:pt x="10" y="90"/>
                  </a:lnTo>
                  <a:lnTo>
                    <a:pt x="10" y="90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8" y="82"/>
                  </a:lnTo>
                  <a:lnTo>
                    <a:pt x="8" y="78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4" y="66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10" y="30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22" y="30"/>
                  </a:lnTo>
                  <a:lnTo>
                    <a:pt x="22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52" y="30"/>
                  </a:lnTo>
                  <a:lnTo>
                    <a:pt x="56" y="30"/>
                  </a:lnTo>
                  <a:lnTo>
                    <a:pt x="60" y="30"/>
                  </a:lnTo>
                  <a:lnTo>
                    <a:pt x="64" y="34"/>
                  </a:lnTo>
                  <a:lnTo>
                    <a:pt x="66" y="3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4" y="26"/>
                  </a:lnTo>
                  <a:lnTo>
                    <a:pt x="78" y="22"/>
                  </a:lnTo>
                  <a:lnTo>
                    <a:pt x="82" y="14"/>
                  </a:lnTo>
                  <a:lnTo>
                    <a:pt x="94" y="4"/>
                  </a:lnTo>
                  <a:lnTo>
                    <a:pt x="120" y="4"/>
                  </a:lnTo>
                  <a:lnTo>
                    <a:pt x="122" y="0"/>
                  </a:lnTo>
                  <a:lnTo>
                    <a:pt x="134" y="0"/>
                  </a:lnTo>
                  <a:lnTo>
                    <a:pt x="144" y="26"/>
                  </a:lnTo>
                  <a:lnTo>
                    <a:pt x="144" y="30"/>
                  </a:lnTo>
                  <a:lnTo>
                    <a:pt x="152" y="40"/>
                  </a:lnTo>
                  <a:lnTo>
                    <a:pt x="148" y="40"/>
                  </a:lnTo>
                  <a:lnTo>
                    <a:pt x="148" y="40"/>
                  </a:lnTo>
                  <a:lnTo>
                    <a:pt x="148" y="40"/>
                  </a:lnTo>
                  <a:lnTo>
                    <a:pt x="148" y="40"/>
                  </a:lnTo>
                  <a:lnTo>
                    <a:pt x="148" y="40"/>
                  </a:lnTo>
                  <a:lnTo>
                    <a:pt x="144" y="40"/>
                  </a:lnTo>
                  <a:lnTo>
                    <a:pt x="144" y="40"/>
                  </a:lnTo>
                  <a:lnTo>
                    <a:pt x="144" y="40"/>
                  </a:lnTo>
                  <a:lnTo>
                    <a:pt x="144" y="40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36" y="44"/>
                  </a:lnTo>
                  <a:lnTo>
                    <a:pt x="136" y="48"/>
                  </a:lnTo>
                  <a:lnTo>
                    <a:pt x="136" y="52"/>
                  </a:lnTo>
                  <a:lnTo>
                    <a:pt x="136" y="52"/>
                  </a:lnTo>
                  <a:lnTo>
                    <a:pt x="136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4" y="60"/>
                  </a:lnTo>
                  <a:lnTo>
                    <a:pt x="134" y="60"/>
                  </a:lnTo>
                  <a:lnTo>
                    <a:pt x="130" y="60"/>
                  </a:lnTo>
                  <a:lnTo>
                    <a:pt x="130" y="62"/>
                  </a:lnTo>
                  <a:lnTo>
                    <a:pt x="130" y="62"/>
                  </a:lnTo>
                  <a:lnTo>
                    <a:pt x="130" y="62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2" y="66"/>
                  </a:lnTo>
                  <a:lnTo>
                    <a:pt x="122" y="66"/>
                  </a:lnTo>
                  <a:lnTo>
                    <a:pt x="122" y="66"/>
                  </a:lnTo>
                  <a:lnTo>
                    <a:pt x="122" y="66"/>
                  </a:lnTo>
                  <a:lnTo>
                    <a:pt x="120" y="66"/>
                  </a:lnTo>
                  <a:lnTo>
                    <a:pt x="120" y="66"/>
                  </a:lnTo>
                  <a:lnTo>
                    <a:pt x="116" y="66"/>
                  </a:lnTo>
                  <a:lnTo>
                    <a:pt x="116" y="66"/>
                  </a:lnTo>
                  <a:lnTo>
                    <a:pt x="116" y="66"/>
                  </a:lnTo>
                  <a:lnTo>
                    <a:pt x="116" y="66"/>
                  </a:lnTo>
                  <a:lnTo>
                    <a:pt x="112" y="66"/>
                  </a:lnTo>
                  <a:lnTo>
                    <a:pt x="112" y="66"/>
                  </a:lnTo>
                  <a:lnTo>
                    <a:pt x="108" y="70"/>
                  </a:lnTo>
                  <a:lnTo>
                    <a:pt x="108" y="70"/>
                  </a:lnTo>
                  <a:lnTo>
                    <a:pt x="108" y="70"/>
                  </a:lnTo>
                  <a:lnTo>
                    <a:pt x="108" y="70"/>
                  </a:lnTo>
                  <a:lnTo>
                    <a:pt x="104" y="70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96" y="74"/>
                  </a:lnTo>
                  <a:lnTo>
                    <a:pt x="94" y="78"/>
                  </a:lnTo>
                  <a:lnTo>
                    <a:pt x="94" y="78"/>
                  </a:lnTo>
                  <a:lnTo>
                    <a:pt x="94" y="78"/>
                  </a:lnTo>
                  <a:lnTo>
                    <a:pt x="94" y="78"/>
                  </a:lnTo>
                  <a:lnTo>
                    <a:pt x="94" y="78"/>
                  </a:lnTo>
                  <a:lnTo>
                    <a:pt x="94" y="82"/>
                  </a:lnTo>
                  <a:lnTo>
                    <a:pt x="90" y="82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86" y="86"/>
                  </a:lnTo>
                  <a:lnTo>
                    <a:pt x="86" y="86"/>
                  </a:lnTo>
                  <a:lnTo>
                    <a:pt x="86" y="86"/>
                  </a:lnTo>
                  <a:lnTo>
                    <a:pt x="82" y="86"/>
                  </a:lnTo>
                  <a:lnTo>
                    <a:pt x="82" y="86"/>
                  </a:lnTo>
                  <a:lnTo>
                    <a:pt x="82" y="86"/>
                  </a:lnTo>
                  <a:lnTo>
                    <a:pt x="82" y="86"/>
                  </a:lnTo>
                  <a:lnTo>
                    <a:pt x="82" y="86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0" y="90"/>
                  </a:lnTo>
                  <a:lnTo>
                    <a:pt x="70" y="92"/>
                  </a:lnTo>
                  <a:lnTo>
                    <a:pt x="70" y="92"/>
                  </a:lnTo>
                  <a:lnTo>
                    <a:pt x="70" y="92"/>
                  </a:lnTo>
                  <a:lnTo>
                    <a:pt x="66" y="92"/>
                  </a:lnTo>
                  <a:lnTo>
                    <a:pt x="66" y="92"/>
                  </a:lnTo>
                  <a:lnTo>
                    <a:pt x="66" y="92"/>
                  </a:lnTo>
                  <a:lnTo>
                    <a:pt x="66" y="92"/>
                  </a:lnTo>
                  <a:close/>
                  <a:moveTo>
                    <a:pt x="140" y="118"/>
                  </a:moveTo>
                  <a:lnTo>
                    <a:pt x="136" y="118"/>
                  </a:lnTo>
                  <a:lnTo>
                    <a:pt x="136" y="118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40" y="116"/>
                  </a:lnTo>
                  <a:lnTo>
                    <a:pt x="140" y="116"/>
                  </a:lnTo>
                  <a:lnTo>
                    <a:pt x="140" y="118"/>
                  </a:lnTo>
                  <a:lnTo>
                    <a:pt x="140" y="118"/>
                  </a:lnTo>
                  <a:lnTo>
                    <a:pt x="140" y="118"/>
                  </a:lnTo>
                  <a:lnTo>
                    <a:pt x="140" y="118"/>
                  </a:lnTo>
                  <a:lnTo>
                    <a:pt x="140" y="118"/>
                  </a:lnTo>
                  <a:close/>
                  <a:moveTo>
                    <a:pt x="4" y="62"/>
                  </a:moveTo>
                  <a:lnTo>
                    <a:pt x="4" y="62"/>
                  </a:lnTo>
                  <a:lnTo>
                    <a:pt x="4" y="62"/>
                  </a:lnTo>
                  <a:lnTo>
                    <a:pt x="0" y="62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close/>
                  <a:moveTo>
                    <a:pt x="4" y="86"/>
                  </a:move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close/>
                  <a:moveTo>
                    <a:pt x="166" y="108"/>
                  </a:moveTo>
                  <a:lnTo>
                    <a:pt x="166" y="108"/>
                  </a:lnTo>
                  <a:lnTo>
                    <a:pt x="170" y="112"/>
                  </a:lnTo>
                  <a:lnTo>
                    <a:pt x="170" y="112"/>
                  </a:lnTo>
                  <a:lnTo>
                    <a:pt x="166" y="112"/>
                  </a:lnTo>
                  <a:lnTo>
                    <a:pt x="166" y="112"/>
                  </a:lnTo>
                  <a:lnTo>
                    <a:pt x="166" y="116"/>
                  </a:lnTo>
                  <a:lnTo>
                    <a:pt x="164" y="116"/>
                  </a:lnTo>
                  <a:lnTo>
                    <a:pt x="164" y="116"/>
                  </a:lnTo>
                  <a:lnTo>
                    <a:pt x="164" y="116"/>
                  </a:lnTo>
                  <a:lnTo>
                    <a:pt x="160" y="116"/>
                  </a:lnTo>
                  <a:lnTo>
                    <a:pt x="160" y="116"/>
                  </a:lnTo>
                  <a:lnTo>
                    <a:pt x="160" y="116"/>
                  </a:lnTo>
                  <a:lnTo>
                    <a:pt x="156" y="116"/>
                  </a:lnTo>
                  <a:lnTo>
                    <a:pt x="156" y="116"/>
                  </a:lnTo>
                  <a:lnTo>
                    <a:pt x="156" y="112"/>
                  </a:lnTo>
                  <a:lnTo>
                    <a:pt x="152" y="112"/>
                  </a:lnTo>
                  <a:lnTo>
                    <a:pt x="156" y="112"/>
                  </a:lnTo>
                  <a:lnTo>
                    <a:pt x="156" y="112"/>
                  </a:lnTo>
                  <a:lnTo>
                    <a:pt x="156" y="112"/>
                  </a:lnTo>
                  <a:lnTo>
                    <a:pt x="156" y="108"/>
                  </a:lnTo>
                  <a:lnTo>
                    <a:pt x="156" y="108"/>
                  </a:lnTo>
                  <a:lnTo>
                    <a:pt x="156" y="108"/>
                  </a:lnTo>
                  <a:lnTo>
                    <a:pt x="160" y="108"/>
                  </a:lnTo>
                  <a:lnTo>
                    <a:pt x="160" y="108"/>
                  </a:lnTo>
                  <a:lnTo>
                    <a:pt x="160" y="108"/>
                  </a:lnTo>
                  <a:lnTo>
                    <a:pt x="160" y="112"/>
                  </a:lnTo>
                  <a:lnTo>
                    <a:pt x="164" y="108"/>
                  </a:lnTo>
                  <a:lnTo>
                    <a:pt x="164" y="108"/>
                  </a:lnTo>
                  <a:lnTo>
                    <a:pt x="164" y="108"/>
                  </a:lnTo>
                  <a:lnTo>
                    <a:pt x="164" y="108"/>
                  </a:lnTo>
                  <a:lnTo>
                    <a:pt x="164" y="108"/>
                  </a:lnTo>
                  <a:lnTo>
                    <a:pt x="166" y="108"/>
                  </a:lnTo>
                  <a:lnTo>
                    <a:pt x="166" y="108"/>
                  </a:lnTo>
                  <a:lnTo>
                    <a:pt x="166" y="108"/>
                  </a:lnTo>
                  <a:lnTo>
                    <a:pt x="166" y="10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25" name="Freeform 65">
              <a:extLst>
                <a:ext uri="{FF2B5EF4-FFF2-40B4-BE49-F238E27FC236}">
                  <a16:creationId xmlns:a16="http://schemas.microsoft.com/office/drawing/2014/main" id="{8E5D6F91-6324-4026-AE0C-38202ABFC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0495" y="3760097"/>
              <a:ext cx="7793" cy="7542"/>
            </a:xfrm>
            <a:custGeom>
              <a:avLst/>
              <a:gdLst>
                <a:gd name="T0" fmla="*/ 4 w 4"/>
                <a:gd name="T1" fmla="*/ 4 h 4"/>
                <a:gd name="T2" fmla="*/ 4 w 4"/>
                <a:gd name="T3" fmla="*/ 4 h 4"/>
                <a:gd name="T4" fmla="*/ 0 w 4"/>
                <a:gd name="T5" fmla="*/ 4 h 4"/>
                <a:gd name="T6" fmla="*/ 0 w 4"/>
                <a:gd name="T7" fmla="*/ 0 h 4"/>
                <a:gd name="T8" fmla="*/ 0 w 4"/>
                <a:gd name="T9" fmla="*/ 0 h 4"/>
                <a:gd name="T10" fmla="*/ 4 w 4"/>
                <a:gd name="T11" fmla="*/ 4 h 4"/>
                <a:gd name="T12" fmla="*/ 4 w 4"/>
                <a:gd name="T13" fmla="*/ 4 h 4"/>
                <a:gd name="T14" fmla="*/ 4 w 4"/>
                <a:gd name="T15" fmla="*/ 4 h 4"/>
                <a:gd name="T16" fmla="*/ 4 w 4"/>
                <a:gd name="T17" fmla="*/ 4 h 4"/>
                <a:gd name="T18" fmla="*/ 4 w 4"/>
                <a:gd name="T19" fmla="*/ 4 h 4"/>
                <a:gd name="T20" fmla="*/ 4 w 4"/>
                <a:gd name="T21" fmla="*/ 4 h 4"/>
                <a:gd name="T22" fmla="*/ 4 w 4"/>
                <a:gd name="T23" fmla="*/ 4 h 4"/>
                <a:gd name="T24" fmla="*/ 4 w 4"/>
                <a:gd name="T2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26" name="Freeform 66">
              <a:extLst>
                <a:ext uri="{FF2B5EF4-FFF2-40B4-BE49-F238E27FC236}">
                  <a16:creationId xmlns:a16="http://schemas.microsoft.com/office/drawing/2014/main" id="{85312272-5C2C-5354-1F60-8512970720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4476" y="3571547"/>
              <a:ext cx="38964" cy="82962"/>
            </a:xfrm>
            <a:custGeom>
              <a:avLst/>
              <a:gdLst>
                <a:gd name="T0" fmla="*/ 14 w 20"/>
                <a:gd name="T1" fmla="*/ 0 h 44"/>
                <a:gd name="T2" fmla="*/ 14 w 20"/>
                <a:gd name="T3" fmla="*/ 4 h 44"/>
                <a:gd name="T4" fmla="*/ 16 w 20"/>
                <a:gd name="T5" fmla="*/ 4 h 44"/>
                <a:gd name="T6" fmla="*/ 16 w 20"/>
                <a:gd name="T7" fmla="*/ 4 h 44"/>
                <a:gd name="T8" fmla="*/ 16 w 20"/>
                <a:gd name="T9" fmla="*/ 6 h 44"/>
                <a:gd name="T10" fmla="*/ 14 w 20"/>
                <a:gd name="T11" fmla="*/ 10 h 44"/>
                <a:gd name="T12" fmla="*/ 14 w 20"/>
                <a:gd name="T13" fmla="*/ 10 h 44"/>
                <a:gd name="T14" fmla="*/ 14 w 20"/>
                <a:gd name="T15" fmla="*/ 10 h 44"/>
                <a:gd name="T16" fmla="*/ 14 w 20"/>
                <a:gd name="T17" fmla="*/ 14 h 44"/>
                <a:gd name="T18" fmla="*/ 14 w 20"/>
                <a:gd name="T19" fmla="*/ 14 h 44"/>
                <a:gd name="T20" fmla="*/ 14 w 20"/>
                <a:gd name="T21" fmla="*/ 14 h 44"/>
                <a:gd name="T22" fmla="*/ 14 w 20"/>
                <a:gd name="T23" fmla="*/ 18 h 44"/>
                <a:gd name="T24" fmla="*/ 14 w 20"/>
                <a:gd name="T25" fmla="*/ 22 h 44"/>
                <a:gd name="T26" fmla="*/ 14 w 20"/>
                <a:gd name="T27" fmla="*/ 22 h 44"/>
                <a:gd name="T28" fmla="*/ 14 w 20"/>
                <a:gd name="T29" fmla="*/ 22 h 44"/>
                <a:gd name="T30" fmla="*/ 14 w 20"/>
                <a:gd name="T31" fmla="*/ 26 h 44"/>
                <a:gd name="T32" fmla="*/ 14 w 20"/>
                <a:gd name="T33" fmla="*/ 26 h 44"/>
                <a:gd name="T34" fmla="*/ 14 w 20"/>
                <a:gd name="T35" fmla="*/ 26 h 44"/>
                <a:gd name="T36" fmla="*/ 14 w 20"/>
                <a:gd name="T37" fmla="*/ 28 h 44"/>
                <a:gd name="T38" fmla="*/ 14 w 20"/>
                <a:gd name="T39" fmla="*/ 32 h 44"/>
                <a:gd name="T40" fmla="*/ 14 w 20"/>
                <a:gd name="T41" fmla="*/ 32 h 44"/>
                <a:gd name="T42" fmla="*/ 14 w 20"/>
                <a:gd name="T43" fmla="*/ 32 h 44"/>
                <a:gd name="T44" fmla="*/ 10 w 20"/>
                <a:gd name="T45" fmla="*/ 36 h 44"/>
                <a:gd name="T46" fmla="*/ 6 w 20"/>
                <a:gd name="T47" fmla="*/ 40 h 44"/>
                <a:gd name="T48" fmla="*/ 6 w 20"/>
                <a:gd name="T49" fmla="*/ 40 h 44"/>
                <a:gd name="T50" fmla="*/ 6 w 20"/>
                <a:gd name="T51" fmla="*/ 44 h 44"/>
                <a:gd name="T52" fmla="*/ 6 w 20"/>
                <a:gd name="T53" fmla="*/ 44 h 44"/>
                <a:gd name="T54" fmla="*/ 2 w 20"/>
                <a:gd name="T55" fmla="*/ 44 h 44"/>
                <a:gd name="T56" fmla="*/ 0 w 20"/>
                <a:gd name="T57" fmla="*/ 44 h 44"/>
                <a:gd name="T58" fmla="*/ 0 w 20"/>
                <a:gd name="T59" fmla="*/ 40 h 44"/>
                <a:gd name="T60" fmla="*/ 2 w 20"/>
                <a:gd name="T61" fmla="*/ 26 h 44"/>
                <a:gd name="T62" fmla="*/ 2 w 20"/>
                <a:gd name="T63" fmla="*/ 14 h 44"/>
                <a:gd name="T64" fmla="*/ 2 w 20"/>
                <a:gd name="T65" fmla="*/ 10 h 44"/>
                <a:gd name="T66" fmla="*/ 2 w 20"/>
                <a:gd name="T67" fmla="*/ 6 h 44"/>
                <a:gd name="T68" fmla="*/ 2 w 20"/>
                <a:gd name="T69" fmla="*/ 6 h 44"/>
                <a:gd name="T70" fmla="*/ 6 w 20"/>
                <a:gd name="T71" fmla="*/ 10 h 44"/>
                <a:gd name="T72" fmla="*/ 6 w 20"/>
                <a:gd name="T73" fmla="*/ 6 h 44"/>
                <a:gd name="T74" fmla="*/ 6 w 20"/>
                <a:gd name="T75" fmla="*/ 6 h 44"/>
                <a:gd name="T76" fmla="*/ 10 w 20"/>
                <a:gd name="T77" fmla="*/ 4 h 44"/>
                <a:gd name="T78" fmla="*/ 10 w 20"/>
                <a:gd name="T79" fmla="*/ 0 h 44"/>
                <a:gd name="T80" fmla="*/ 10 w 20"/>
                <a:gd name="T81" fmla="*/ 0 h 44"/>
                <a:gd name="T82" fmla="*/ 14 w 20"/>
                <a:gd name="T83" fmla="*/ 0 h 44"/>
                <a:gd name="T84" fmla="*/ 14 w 20"/>
                <a:gd name="T85" fmla="*/ 0 h 44"/>
                <a:gd name="T86" fmla="*/ 14 w 20"/>
                <a:gd name="T87" fmla="*/ 0 h 44"/>
                <a:gd name="T88" fmla="*/ 16 w 20"/>
                <a:gd name="T89" fmla="*/ 6 h 44"/>
                <a:gd name="T90" fmla="*/ 16 w 20"/>
                <a:gd name="T91" fmla="*/ 10 h 44"/>
                <a:gd name="T92" fmla="*/ 16 w 20"/>
                <a:gd name="T93" fmla="*/ 10 h 44"/>
                <a:gd name="T94" fmla="*/ 16 w 20"/>
                <a:gd name="T95" fmla="*/ 10 h 44"/>
                <a:gd name="T96" fmla="*/ 16 w 20"/>
                <a:gd name="T97" fmla="*/ 10 h 44"/>
                <a:gd name="T98" fmla="*/ 20 w 20"/>
                <a:gd name="T99" fmla="*/ 6 h 44"/>
                <a:gd name="T100" fmla="*/ 20 w 20"/>
                <a:gd name="T101" fmla="*/ 6 h 44"/>
                <a:gd name="T102" fmla="*/ 16 w 20"/>
                <a:gd name="T103" fmla="*/ 6 h 44"/>
                <a:gd name="T104" fmla="*/ 16 w 20"/>
                <a:gd name="T105" fmla="*/ 6 h 44"/>
                <a:gd name="T106" fmla="*/ 16 w 20"/>
                <a:gd name="T107" fmla="*/ 22 h 44"/>
                <a:gd name="T108" fmla="*/ 16 w 20"/>
                <a:gd name="T109" fmla="*/ 22 h 44"/>
                <a:gd name="T110" fmla="*/ 20 w 20"/>
                <a:gd name="T111" fmla="*/ 14 h 44"/>
                <a:gd name="T112" fmla="*/ 20 w 20"/>
                <a:gd name="T113" fmla="*/ 18 h 44"/>
                <a:gd name="T114" fmla="*/ 20 w 20"/>
                <a:gd name="T115" fmla="*/ 18 h 44"/>
                <a:gd name="T116" fmla="*/ 20 w 20"/>
                <a:gd name="T117" fmla="*/ 18 h 44"/>
                <a:gd name="T118" fmla="*/ 20 w 20"/>
                <a:gd name="T119" fmla="*/ 18 h 44"/>
                <a:gd name="T120" fmla="*/ 16 w 20"/>
                <a:gd name="T121" fmla="*/ 18 h 44"/>
                <a:gd name="T122" fmla="*/ 16 w 20"/>
                <a:gd name="T123" fmla="*/ 22 h 44"/>
                <a:gd name="T124" fmla="*/ 16 w 20"/>
                <a:gd name="T125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" h="44">
                  <a:moveTo>
                    <a:pt x="14" y="0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2" y="36"/>
                  </a:lnTo>
                  <a:lnTo>
                    <a:pt x="2" y="26"/>
                  </a:lnTo>
                  <a:lnTo>
                    <a:pt x="2" y="18"/>
                  </a:lnTo>
                  <a:lnTo>
                    <a:pt x="2" y="14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close/>
                  <a:moveTo>
                    <a:pt x="16" y="6"/>
                  </a:moveTo>
                  <a:lnTo>
                    <a:pt x="16" y="6"/>
                  </a:lnTo>
                  <a:lnTo>
                    <a:pt x="16" y="6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close/>
                  <a:moveTo>
                    <a:pt x="16" y="22"/>
                  </a:move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18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27" name="Freeform 67">
              <a:extLst>
                <a:ext uri="{FF2B5EF4-FFF2-40B4-BE49-F238E27FC236}">
                  <a16:creationId xmlns:a16="http://schemas.microsoft.com/office/drawing/2014/main" id="{271864BD-4604-4593-E965-6C38677BA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4664" y="3100170"/>
              <a:ext cx="7793" cy="7542"/>
            </a:xfrm>
            <a:custGeom>
              <a:avLst/>
              <a:gdLst>
                <a:gd name="T0" fmla="*/ 0 w 4"/>
                <a:gd name="T1" fmla="*/ 4 h 4"/>
                <a:gd name="T2" fmla="*/ 0 w 4"/>
                <a:gd name="T3" fmla="*/ 4 h 4"/>
                <a:gd name="T4" fmla="*/ 0 w 4"/>
                <a:gd name="T5" fmla="*/ 4 h 4"/>
                <a:gd name="T6" fmla="*/ 0 w 4"/>
                <a:gd name="T7" fmla="*/ 0 h 4"/>
                <a:gd name="T8" fmla="*/ 0 w 4"/>
                <a:gd name="T9" fmla="*/ 0 h 4"/>
                <a:gd name="T10" fmla="*/ 0 w 4"/>
                <a:gd name="T11" fmla="*/ 0 h 4"/>
                <a:gd name="T12" fmla="*/ 4 w 4"/>
                <a:gd name="T13" fmla="*/ 0 h 4"/>
                <a:gd name="T14" fmla="*/ 0 w 4"/>
                <a:gd name="T15" fmla="*/ 0 h 4"/>
                <a:gd name="T16" fmla="*/ 0 w 4"/>
                <a:gd name="T17" fmla="*/ 0 h 4"/>
                <a:gd name="T18" fmla="*/ 0 w 4"/>
                <a:gd name="T19" fmla="*/ 4 h 4"/>
                <a:gd name="T20" fmla="*/ 0 w 4"/>
                <a:gd name="T21" fmla="*/ 4 h 4"/>
                <a:gd name="T22" fmla="*/ 0 w 4"/>
                <a:gd name="T23" fmla="*/ 4 h 4"/>
                <a:gd name="T24" fmla="*/ 0 w 4"/>
                <a:gd name="T25" fmla="*/ 4 h 4"/>
                <a:gd name="T26" fmla="*/ 0 w 4"/>
                <a:gd name="T27" fmla="*/ 4 h 4"/>
                <a:gd name="T28" fmla="*/ 0 w 4"/>
                <a:gd name="T29" fmla="*/ 4 h 4"/>
                <a:gd name="T30" fmla="*/ 0 w 4"/>
                <a:gd name="T31" fmla="*/ 4 h 4"/>
                <a:gd name="T32" fmla="*/ 0 w 4"/>
                <a:gd name="T3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28" name="Freeform 68">
              <a:extLst>
                <a:ext uri="{FF2B5EF4-FFF2-40B4-BE49-F238E27FC236}">
                  <a16:creationId xmlns:a16="http://schemas.microsoft.com/office/drawing/2014/main" id="{867DE60D-70B8-FA94-E2E4-3F95D69A26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08379" y="897898"/>
              <a:ext cx="2431379" cy="1870423"/>
            </a:xfrm>
            <a:custGeom>
              <a:avLst/>
              <a:gdLst>
                <a:gd name="T0" fmla="*/ 682 w 1248"/>
                <a:gd name="T1" fmla="*/ 556 h 992"/>
                <a:gd name="T2" fmla="*/ 876 w 1248"/>
                <a:gd name="T3" fmla="*/ 788 h 992"/>
                <a:gd name="T4" fmla="*/ 1006 w 1248"/>
                <a:gd name="T5" fmla="*/ 590 h 992"/>
                <a:gd name="T6" fmla="*/ 1106 w 1248"/>
                <a:gd name="T7" fmla="*/ 642 h 992"/>
                <a:gd name="T8" fmla="*/ 1144 w 1248"/>
                <a:gd name="T9" fmla="*/ 754 h 992"/>
                <a:gd name="T10" fmla="*/ 1018 w 1248"/>
                <a:gd name="T11" fmla="*/ 862 h 992"/>
                <a:gd name="T12" fmla="*/ 1080 w 1248"/>
                <a:gd name="T13" fmla="*/ 910 h 992"/>
                <a:gd name="T14" fmla="*/ 672 w 1248"/>
                <a:gd name="T15" fmla="*/ 854 h 992"/>
                <a:gd name="T16" fmla="*/ 194 w 1248"/>
                <a:gd name="T17" fmla="*/ 802 h 992"/>
                <a:gd name="T18" fmla="*/ 100 w 1248"/>
                <a:gd name="T19" fmla="*/ 638 h 992"/>
                <a:gd name="T20" fmla="*/ 124 w 1248"/>
                <a:gd name="T21" fmla="*/ 396 h 992"/>
                <a:gd name="T22" fmla="*/ 384 w 1248"/>
                <a:gd name="T23" fmla="*/ 422 h 992"/>
                <a:gd name="T24" fmla="*/ 596 w 1248"/>
                <a:gd name="T25" fmla="*/ 418 h 992"/>
                <a:gd name="T26" fmla="*/ 646 w 1248"/>
                <a:gd name="T27" fmla="*/ 332 h 992"/>
                <a:gd name="T28" fmla="*/ 790 w 1248"/>
                <a:gd name="T29" fmla="*/ 374 h 992"/>
                <a:gd name="T30" fmla="*/ 992 w 1248"/>
                <a:gd name="T31" fmla="*/ 550 h 992"/>
                <a:gd name="T32" fmla="*/ 790 w 1248"/>
                <a:gd name="T33" fmla="*/ 124 h 992"/>
                <a:gd name="T34" fmla="*/ 336 w 1248"/>
                <a:gd name="T35" fmla="*/ 350 h 992"/>
                <a:gd name="T36" fmla="*/ 1104 w 1248"/>
                <a:gd name="T37" fmla="*/ 440 h 992"/>
                <a:gd name="T38" fmla="*/ 206 w 1248"/>
                <a:gd name="T39" fmla="*/ 806 h 992"/>
                <a:gd name="T40" fmla="*/ 698 w 1248"/>
                <a:gd name="T41" fmla="*/ 116 h 992"/>
                <a:gd name="T42" fmla="*/ 694 w 1248"/>
                <a:gd name="T43" fmla="*/ 64 h 992"/>
                <a:gd name="T44" fmla="*/ 578 w 1248"/>
                <a:gd name="T45" fmla="*/ 132 h 992"/>
                <a:gd name="T46" fmla="*/ 536 w 1248"/>
                <a:gd name="T47" fmla="*/ 142 h 992"/>
                <a:gd name="T48" fmla="*/ 280 w 1248"/>
                <a:gd name="T49" fmla="*/ 208 h 992"/>
                <a:gd name="T50" fmla="*/ 820 w 1248"/>
                <a:gd name="T51" fmla="*/ 246 h 992"/>
                <a:gd name="T52" fmla="*/ 734 w 1248"/>
                <a:gd name="T53" fmla="*/ 202 h 992"/>
                <a:gd name="T54" fmla="*/ 352 w 1248"/>
                <a:gd name="T55" fmla="*/ 216 h 992"/>
                <a:gd name="T56" fmla="*/ 418 w 1248"/>
                <a:gd name="T57" fmla="*/ 246 h 992"/>
                <a:gd name="T58" fmla="*/ 552 w 1248"/>
                <a:gd name="T59" fmla="*/ 202 h 992"/>
                <a:gd name="T60" fmla="*/ 544 w 1248"/>
                <a:gd name="T61" fmla="*/ 208 h 992"/>
                <a:gd name="T62" fmla="*/ 284 w 1248"/>
                <a:gd name="T63" fmla="*/ 250 h 992"/>
                <a:gd name="T64" fmla="*/ 620 w 1248"/>
                <a:gd name="T65" fmla="*/ 280 h 992"/>
                <a:gd name="T66" fmla="*/ 988 w 1248"/>
                <a:gd name="T67" fmla="*/ 522 h 992"/>
                <a:gd name="T68" fmla="*/ 924 w 1248"/>
                <a:gd name="T69" fmla="*/ 396 h 992"/>
                <a:gd name="T70" fmla="*/ 756 w 1248"/>
                <a:gd name="T71" fmla="*/ 340 h 992"/>
                <a:gd name="T72" fmla="*/ 802 w 1248"/>
                <a:gd name="T73" fmla="*/ 288 h 992"/>
                <a:gd name="T74" fmla="*/ 948 w 1248"/>
                <a:gd name="T75" fmla="*/ 314 h 992"/>
                <a:gd name="T76" fmla="*/ 1014 w 1248"/>
                <a:gd name="T77" fmla="*/ 362 h 992"/>
                <a:gd name="T78" fmla="*/ 1056 w 1248"/>
                <a:gd name="T79" fmla="*/ 414 h 992"/>
                <a:gd name="T80" fmla="*/ 1092 w 1248"/>
                <a:gd name="T81" fmla="*/ 494 h 992"/>
                <a:gd name="T82" fmla="*/ 1076 w 1248"/>
                <a:gd name="T83" fmla="*/ 538 h 992"/>
                <a:gd name="T84" fmla="*/ 508 w 1248"/>
                <a:gd name="T85" fmla="*/ 292 h 992"/>
                <a:gd name="T86" fmla="*/ 448 w 1248"/>
                <a:gd name="T87" fmla="*/ 294 h 992"/>
                <a:gd name="T88" fmla="*/ 444 w 1248"/>
                <a:gd name="T89" fmla="*/ 400 h 992"/>
                <a:gd name="T90" fmla="*/ 574 w 1248"/>
                <a:gd name="T91" fmla="*/ 348 h 992"/>
                <a:gd name="T92" fmla="*/ 94 w 1248"/>
                <a:gd name="T93" fmla="*/ 388 h 992"/>
                <a:gd name="T94" fmla="*/ 932 w 1248"/>
                <a:gd name="T95" fmla="*/ 410 h 992"/>
                <a:gd name="T96" fmla="*/ 842 w 1248"/>
                <a:gd name="T97" fmla="*/ 512 h 992"/>
                <a:gd name="T98" fmla="*/ 832 w 1248"/>
                <a:gd name="T99" fmla="*/ 538 h 992"/>
                <a:gd name="T100" fmla="*/ 872 w 1248"/>
                <a:gd name="T101" fmla="*/ 698 h 992"/>
                <a:gd name="T102" fmla="*/ 168 w 1248"/>
                <a:gd name="T103" fmla="*/ 754 h 992"/>
                <a:gd name="T104" fmla="*/ 1208 w 1248"/>
                <a:gd name="T105" fmla="*/ 792 h 992"/>
                <a:gd name="T106" fmla="*/ 1208 w 1248"/>
                <a:gd name="T107" fmla="*/ 874 h 992"/>
                <a:gd name="T108" fmla="*/ 246 w 1248"/>
                <a:gd name="T109" fmla="*/ 852 h 992"/>
                <a:gd name="T110" fmla="*/ 772 w 1248"/>
                <a:gd name="T111" fmla="*/ 78 h 992"/>
                <a:gd name="T112" fmla="*/ 786 w 1248"/>
                <a:gd name="T113" fmla="*/ 34 h 992"/>
                <a:gd name="T114" fmla="*/ 918 w 1248"/>
                <a:gd name="T115" fmla="*/ 4 h 992"/>
                <a:gd name="T116" fmla="*/ 1040 w 1248"/>
                <a:gd name="T117" fmla="*/ 52 h 992"/>
                <a:gd name="T118" fmla="*/ 918 w 1248"/>
                <a:gd name="T119" fmla="*/ 116 h 992"/>
                <a:gd name="T120" fmla="*/ 894 w 1248"/>
                <a:gd name="T121" fmla="*/ 190 h 992"/>
                <a:gd name="T122" fmla="*/ 820 w 1248"/>
                <a:gd name="T123" fmla="*/ 158 h 992"/>
                <a:gd name="T124" fmla="*/ 794 w 1248"/>
                <a:gd name="T125" fmla="*/ 86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48" h="992">
                  <a:moveTo>
                    <a:pt x="600" y="254"/>
                  </a:moveTo>
                  <a:lnTo>
                    <a:pt x="596" y="254"/>
                  </a:lnTo>
                  <a:lnTo>
                    <a:pt x="600" y="250"/>
                  </a:lnTo>
                  <a:lnTo>
                    <a:pt x="600" y="254"/>
                  </a:lnTo>
                  <a:lnTo>
                    <a:pt x="600" y="254"/>
                  </a:lnTo>
                  <a:lnTo>
                    <a:pt x="600" y="254"/>
                  </a:lnTo>
                  <a:close/>
                  <a:moveTo>
                    <a:pt x="612" y="258"/>
                  </a:moveTo>
                  <a:lnTo>
                    <a:pt x="612" y="262"/>
                  </a:lnTo>
                  <a:lnTo>
                    <a:pt x="608" y="264"/>
                  </a:lnTo>
                  <a:lnTo>
                    <a:pt x="604" y="264"/>
                  </a:lnTo>
                  <a:lnTo>
                    <a:pt x="600" y="264"/>
                  </a:lnTo>
                  <a:lnTo>
                    <a:pt x="596" y="264"/>
                  </a:lnTo>
                  <a:lnTo>
                    <a:pt x="592" y="264"/>
                  </a:lnTo>
                  <a:lnTo>
                    <a:pt x="590" y="264"/>
                  </a:lnTo>
                  <a:lnTo>
                    <a:pt x="590" y="262"/>
                  </a:lnTo>
                  <a:lnTo>
                    <a:pt x="592" y="262"/>
                  </a:lnTo>
                  <a:lnTo>
                    <a:pt x="596" y="262"/>
                  </a:lnTo>
                  <a:lnTo>
                    <a:pt x="600" y="262"/>
                  </a:lnTo>
                  <a:lnTo>
                    <a:pt x="604" y="262"/>
                  </a:lnTo>
                  <a:lnTo>
                    <a:pt x="604" y="258"/>
                  </a:lnTo>
                  <a:lnTo>
                    <a:pt x="608" y="258"/>
                  </a:lnTo>
                  <a:lnTo>
                    <a:pt x="612" y="258"/>
                  </a:lnTo>
                  <a:lnTo>
                    <a:pt x="612" y="258"/>
                  </a:lnTo>
                  <a:lnTo>
                    <a:pt x="612" y="258"/>
                  </a:lnTo>
                  <a:close/>
                  <a:moveTo>
                    <a:pt x="764" y="478"/>
                  </a:moveTo>
                  <a:lnTo>
                    <a:pt x="760" y="478"/>
                  </a:lnTo>
                  <a:lnTo>
                    <a:pt x="760" y="482"/>
                  </a:lnTo>
                  <a:lnTo>
                    <a:pt x="756" y="482"/>
                  </a:lnTo>
                  <a:lnTo>
                    <a:pt x="752" y="482"/>
                  </a:lnTo>
                  <a:lnTo>
                    <a:pt x="748" y="482"/>
                  </a:lnTo>
                  <a:lnTo>
                    <a:pt x="746" y="478"/>
                  </a:lnTo>
                  <a:lnTo>
                    <a:pt x="742" y="474"/>
                  </a:lnTo>
                  <a:lnTo>
                    <a:pt x="738" y="474"/>
                  </a:lnTo>
                  <a:lnTo>
                    <a:pt x="742" y="474"/>
                  </a:lnTo>
                  <a:lnTo>
                    <a:pt x="738" y="474"/>
                  </a:lnTo>
                  <a:lnTo>
                    <a:pt x="734" y="474"/>
                  </a:lnTo>
                  <a:lnTo>
                    <a:pt x="734" y="470"/>
                  </a:lnTo>
                  <a:lnTo>
                    <a:pt x="732" y="470"/>
                  </a:lnTo>
                  <a:lnTo>
                    <a:pt x="728" y="466"/>
                  </a:lnTo>
                  <a:lnTo>
                    <a:pt x="724" y="466"/>
                  </a:lnTo>
                  <a:lnTo>
                    <a:pt x="720" y="466"/>
                  </a:lnTo>
                  <a:lnTo>
                    <a:pt x="724" y="466"/>
                  </a:lnTo>
                  <a:lnTo>
                    <a:pt x="724" y="470"/>
                  </a:lnTo>
                  <a:lnTo>
                    <a:pt x="720" y="466"/>
                  </a:lnTo>
                  <a:lnTo>
                    <a:pt x="720" y="470"/>
                  </a:lnTo>
                  <a:lnTo>
                    <a:pt x="716" y="470"/>
                  </a:lnTo>
                  <a:lnTo>
                    <a:pt x="716" y="466"/>
                  </a:lnTo>
                  <a:lnTo>
                    <a:pt x="720" y="466"/>
                  </a:lnTo>
                  <a:lnTo>
                    <a:pt x="716" y="466"/>
                  </a:lnTo>
                  <a:lnTo>
                    <a:pt x="712" y="466"/>
                  </a:lnTo>
                  <a:lnTo>
                    <a:pt x="708" y="466"/>
                  </a:lnTo>
                  <a:lnTo>
                    <a:pt x="706" y="466"/>
                  </a:lnTo>
                  <a:lnTo>
                    <a:pt x="702" y="466"/>
                  </a:lnTo>
                  <a:lnTo>
                    <a:pt x="706" y="470"/>
                  </a:lnTo>
                  <a:lnTo>
                    <a:pt x="708" y="470"/>
                  </a:lnTo>
                  <a:lnTo>
                    <a:pt x="706" y="470"/>
                  </a:lnTo>
                  <a:lnTo>
                    <a:pt x="706" y="466"/>
                  </a:lnTo>
                  <a:lnTo>
                    <a:pt x="708" y="466"/>
                  </a:lnTo>
                  <a:lnTo>
                    <a:pt x="712" y="466"/>
                  </a:lnTo>
                  <a:lnTo>
                    <a:pt x="720" y="470"/>
                  </a:lnTo>
                  <a:lnTo>
                    <a:pt x="724" y="470"/>
                  </a:lnTo>
                  <a:lnTo>
                    <a:pt x="728" y="470"/>
                  </a:lnTo>
                  <a:lnTo>
                    <a:pt x="728" y="474"/>
                  </a:lnTo>
                  <a:lnTo>
                    <a:pt x="732" y="478"/>
                  </a:lnTo>
                  <a:lnTo>
                    <a:pt x="734" y="482"/>
                  </a:lnTo>
                  <a:lnTo>
                    <a:pt x="738" y="482"/>
                  </a:lnTo>
                  <a:lnTo>
                    <a:pt x="742" y="482"/>
                  </a:lnTo>
                  <a:lnTo>
                    <a:pt x="746" y="482"/>
                  </a:lnTo>
                  <a:lnTo>
                    <a:pt x="748" y="482"/>
                  </a:lnTo>
                  <a:lnTo>
                    <a:pt x="752" y="482"/>
                  </a:lnTo>
                  <a:lnTo>
                    <a:pt x="756" y="482"/>
                  </a:lnTo>
                  <a:lnTo>
                    <a:pt x="760" y="482"/>
                  </a:lnTo>
                  <a:lnTo>
                    <a:pt x="764" y="486"/>
                  </a:lnTo>
                  <a:lnTo>
                    <a:pt x="764" y="490"/>
                  </a:lnTo>
                  <a:lnTo>
                    <a:pt x="760" y="490"/>
                  </a:lnTo>
                  <a:lnTo>
                    <a:pt x="756" y="496"/>
                  </a:lnTo>
                  <a:lnTo>
                    <a:pt x="756" y="500"/>
                  </a:lnTo>
                  <a:lnTo>
                    <a:pt x="752" y="500"/>
                  </a:lnTo>
                  <a:lnTo>
                    <a:pt x="752" y="504"/>
                  </a:lnTo>
                  <a:lnTo>
                    <a:pt x="748" y="508"/>
                  </a:lnTo>
                  <a:lnTo>
                    <a:pt x="748" y="512"/>
                  </a:lnTo>
                  <a:lnTo>
                    <a:pt x="746" y="512"/>
                  </a:lnTo>
                  <a:lnTo>
                    <a:pt x="742" y="512"/>
                  </a:lnTo>
                  <a:lnTo>
                    <a:pt x="738" y="516"/>
                  </a:lnTo>
                  <a:lnTo>
                    <a:pt x="734" y="516"/>
                  </a:lnTo>
                  <a:lnTo>
                    <a:pt x="734" y="512"/>
                  </a:lnTo>
                  <a:lnTo>
                    <a:pt x="732" y="512"/>
                  </a:lnTo>
                  <a:lnTo>
                    <a:pt x="732" y="508"/>
                  </a:lnTo>
                  <a:lnTo>
                    <a:pt x="732" y="512"/>
                  </a:lnTo>
                  <a:lnTo>
                    <a:pt x="734" y="512"/>
                  </a:lnTo>
                  <a:lnTo>
                    <a:pt x="734" y="516"/>
                  </a:lnTo>
                  <a:lnTo>
                    <a:pt x="732" y="516"/>
                  </a:lnTo>
                  <a:lnTo>
                    <a:pt x="732" y="512"/>
                  </a:lnTo>
                  <a:lnTo>
                    <a:pt x="728" y="512"/>
                  </a:lnTo>
                  <a:lnTo>
                    <a:pt x="728" y="516"/>
                  </a:lnTo>
                  <a:lnTo>
                    <a:pt x="728" y="512"/>
                  </a:lnTo>
                  <a:lnTo>
                    <a:pt x="724" y="512"/>
                  </a:lnTo>
                  <a:lnTo>
                    <a:pt x="724" y="508"/>
                  </a:lnTo>
                  <a:lnTo>
                    <a:pt x="724" y="512"/>
                  </a:lnTo>
                  <a:lnTo>
                    <a:pt x="724" y="508"/>
                  </a:lnTo>
                  <a:lnTo>
                    <a:pt x="720" y="512"/>
                  </a:lnTo>
                  <a:lnTo>
                    <a:pt x="724" y="512"/>
                  </a:lnTo>
                  <a:lnTo>
                    <a:pt x="724" y="516"/>
                  </a:lnTo>
                  <a:lnTo>
                    <a:pt x="720" y="516"/>
                  </a:lnTo>
                  <a:lnTo>
                    <a:pt x="724" y="516"/>
                  </a:lnTo>
                  <a:lnTo>
                    <a:pt x="720" y="516"/>
                  </a:lnTo>
                  <a:lnTo>
                    <a:pt x="720" y="512"/>
                  </a:lnTo>
                  <a:lnTo>
                    <a:pt x="716" y="512"/>
                  </a:lnTo>
                  <a:lnTo>
                    <a:pt x="720" y="516"/>
                  </a:lnTo>
                  <a:lnTo>
                    <a:pt x="724" y="520"/>
                  </a:lnTo>
                  <a:lnTo>
                    <a:pt x="720" y="520"/>
                  </a:lnTo>
                  <a:lnTo>
                    <a:pt x="720" y="522"/>
                  </a:lnTo>
                  <a:lnTo>
                    <a:pt x="716" y="522"/>
                  </a:lnTo>
                  <a:lnTo>
                    <a:pt x="712" y="520"/>
                  </a:lnTo>
                  <a:lnTo>
                    <a:pt x="712" y="522"/>
                  </a:lnTo>
                  <a:lnTo>
                    <a:pt x="708" y="522"/>
                  </a:lnTo>
                  <a:lnTo>
                    <a:pt x="706" y="522"/>
                  </a:lnTo>
                  <a:lnTo>
                    <a:pt x="702" y="522"/>
                  </a:lnTo>
                  <a:lnTo>
                    <a:pt x="702" y="520"/>
                  </a:lnTo>
                  <a:lnTo>
                    <a:pt x="698" y="520"/>
                  </a:lnTo>
                  <a:lnTo>
                    <a:pt x="694" y="520"/>
                  </a:lnTo>
                  <a:lnTo>
                    <a:pt x="690" y="520"/>
                  </a:lnTo>
                  <a:lnTo>
                    <a:pt x="686" y="520"/>
                  </a:lnTo>
                  <a:lnTo>
                    <a:pt x="682" y="520"/>
                  </a:lnTo>
                  <a:lnTo>
                    <a:pt x="682" y="516"/>
                  </a:lnTo>
                  <a:lnTo>
                    <a:pt x="678" y="516"/>
                  </a:lnTo>
                  <a:lnTo>
                    <a:pt x="676" y="516"/>
                  </a:lnTo>
                  <a:lnTo>
                    <a:pt x="672" y="512"/>
                  </a:lnTo>
                  <a:lnTo>
                    <a:pt x="668" y="508"/>
                  </a:lnTo>
                  <a:lnTo>
                    <a:pt x="672" y="512"/>
                  </a:lnTo>
                  <a:lnTo>
                    <a:pt x="672" y="516"/>
                  </a:lnTo>
                  <a:lnTo>
                    <a:pt x="668" y="516"/>
                  </a:lnTo>
                  <a:lnTo>
                    <a:pt x="672" y="516"/>
                  </a:lnTo>
                  <a:lnTo>
                    <a:pt x="672" y="520"/>
                  </a:lnTo>
                  <a:lnTo>
                    <a:pt x="676" y="520"/>
                  </a:lnTo>
                  <a:lnTo>
                    <a:pt x="676" y="516"/>
                  </a:lnTo>
                  <a:lnTo>
                    <a:pt x="672" y="516"/>
                  </a:lnTo>
                  <a:lnTo>
                    <a:pt x="676" y="516"/>
                  </a:lnTo>
                  <a:lnTo>
                    <a:pt x="678" y="516"/>
                  </a:lnTo>
                  <a:lnTo>
                    <a:pt x="682" y="520"/>
                  </a:lnTo>
                  <a:lnTo>
                    <a:pt x="686" y="520"/>
                  </a:lnTo>
                  <a:lnTo>
                    <a:pt x="690" y="520"/>
                  </a:lnTo>
                  <a:lnTo>
                    <a:pt x="690" y="522"/>
                  </a:lnTo>
                  <a:lnTo>
                    <a:pt x="686" y="522"/>
                  </a:lnTo>
                  <a:lnTo>
                    <a:pt x="690" y="522"/>
                  </a:lnTo>
                  <a:lnTo>
                    <a:pt x="694" y="522"/>
                  </a:lnTo>
                  <a:lnTo>
                    <a:pt x="698" y="520"/>
                  </a:lnTo>
                  <a:lnTo>
                    <a:pt x="698" y="522"/>
                  </a:lnTo>
                  <a:lnTo>
                    <a:pt x="702" y="526"/>
                  </a:lnTo>
                  <a:lnTo>
                    <a:pt x="706" y="526"/>
                  </a:lnTo>
                  <a:lnTo>
                    <a:pt x="708" y="526"/>
                  </a:lnTo>
                  <a:lnTo>
                    <a:pt x="712" y="530"/>
                  </a:lnTo>
                  <a:lnTo>
                    <a:pt x="712" y="534"/>
                  </a:lnTo>
                  <a:lnTo>
                    <a:pt x="712" y="538"/>
                  </a:lnTo>
                  <a:lnTo>
                    <a:pt x="708" y="538"/>
                  </a:lnTo>
                  <a:lnTo>
                    <a:pt x="706" y="538"/>
                  </a:lnTo>
                  <a:lnTo>
                    <a:pt x="706" y="542"/>
                  </a:lnTo>
                  <a:lnTo>
                    <a:pt x="702" y="542"/>
                  </a:lnTo>
                  <a:lnTo>
                    <a:pt x="698" y="542"/>
                  </a:lnTo>
                  <a:lnTo>
                    <a:pt x="694" y="542"/>
                  </a:lnTo>
                  <a:lnTo>
                    <a:pt x="690" y="542"/>
                  </a:lnTo>
                  <a:lnTo>
                    <a:pt x="686" y="542"/>
                  </a:lnTo>
                  <a:lnTo>
                    <a:pt x="690" y="546"/>
                  </a:lnTo>
                  <a:lnTo>
                    <a:pt x="694" y="546"/>
                  </a:lnTo>
                  <a:lnTo>
                    <a:pt x="694" y="550"/>
                  </a:lnTo>
                  <a:lnTo>
                    <a:pt x="690" y="546"/>
                  </a:lnTo>
                  <a:lnTo>
                    <a:pt x="690" y="550"/>
                  </a:lnTo>
                  <a:lnTo>
                    <a:pt x="686" y="550"/>
                  </a:lnTo>
                  <a:lnTo>
                    <a:pt x="682" y="550"/>
                  </a:lnTo>
                  <a:lnTo>
                    <a:pt x="682" y="552"/>
                  </a:lnTo>
                  <a:lnTo>
                    <a:pt x="686" y="552"/>
                  </a:lnTo>
                  <a:lnTo>
                    <a:pt x="686" y="556"/>
                  </a:lnTo>
                  <a:lnTo>
                    <a:pt x="682" y="556"/>
                  </a:lnTo>
                  <a:lnTo>
                    <a:pt x="682" y="552"/>
                  </a:lnTo>
                  <a:lnTo>
                    <a:pt x="678" y="552"/>
                  </a:lnTo>
                  <a:lnTo>
                    <a:pt x="682" y="552"/>
                  </a:lnTo>
                  <a:lnTo>
                    <a:pt x="682" y="556"/>
                  </a:lnTo>
                  <a:lnTo>
                    <a:pt x="678" y="556"/>
                  </a:lnTo>
                  <a:lnTo>
                    <a:pt x="678" y="560"/>
                  </a:lnTo>
                  <a:lnTo>
                    <a:pt x="676" y="560"/>
                  </a:lnTo>
                  <a:lnTo>
                    <a:pt x="676" y="564"/>
                  </a:lnTo>
                  <a:lnTo>
                    <a:pt x="672" y="564"/>
                  </a:lnTo>
                  <a:lnTo>
                    <a:pt x="672" y="560"/>
                  </a:lnTo>
                  <a:lnTo>
                    <a:pt x="672" y="564"/>
                  </a:lnTo>
                  <a:lnTo>
                    <a:pt x="676" y="564"/>
                  </a:lnTo>
                  <a:lnTo>
                    <a:pt x="676" y="566"/>
                  </a:lnTo>
                  <a:lnTo>
                    <a:pt x="672" y="566"/>
                  </a:lnTo>
                  <a:lnTo>
                    <a:pt x="668" y="570"/>
                  </a:lnTo>
                  <a:lnTo>
                    <a:pt x="664" y="570"/>
                  </a:lnTo>
                  <a:lnTo>
                    <a:pt x="664" y="574"/>
                  </a:lnTo>
                  <a:lnTo>
                    <a:pt x="668" y="574"/>
                  </a:lnTo>
                  <a:lnTo>
                    <a:pt x="664" y="578"/>
                  </a:lnTo>
                  <a:lnTo>
                    <a:pt x="664" y="582"/>
                  </a:lnTo>
                  <a:lnTo>
                    <a:pt x="660" y="586"/>
                  </a:lnTo>
                  <a:lnTo>
                    <a:pt x="660" y="590"/>
                  </a:lnTo>
                  <a:lnTo>
                    <a:pt x="656" y="594"/>
                  </a:lnTo>
                  <a:lnTo>
                    <a:pt x="656" y="596"/>
                  </a:lnTo>
                  <a:lnTo>
                    <a:pt x="656" y="600"/>
                  </a:lnTo>
                  <a:lnTo>
                    <a:pt x="656" y="604"/>
                  </a:lnTo>
                  <a:lnTo>
                    <a:pt x="652" y="604"/>
                  </a:lnTo>
                  <a:lnTo>
                    <a:pt x="652" y="608"/>
                  </a:lnTo>
                  <a:lnTo>
                    <a:pt x="652" y="612"/>
                  </a:lnTo>
                  <a:lnTo>
                    <a:pt x="652" y="616"/>
                  </a:lnTo>
                  <a:lnTo>
                    <a:pt x="652" y="620"/>
                  </a:lnTo>
                  <a:lnTo>
                    <a:pt x="656" y="620"/>
                  </a:lnTo>
                  <a:lnTo>
                    <a:pt x="656" y="622"/>
                  </a:lnTo>
                  <a:lnTo>
                    <a:pt x="652" y="622"/>
                  </a:lnTo>
                  <a:lnTo>
                    <a:pt x="652" y="626"/>
                  </a:lnTo>
                  <a:lnTo>
                    <a:pt x="656" y="630"/>
                  </a:lnTo>
                  <a:lnTo>
                    <a:pt x="656" y="634"/>
                  </a:lnTo>
                  <a:lnTo>
                    <a:pt x="660" y="634"/>
                  </a:lnTo>
                  <a:lnTo>
                    <a:pt x="660" y="638"/>
                  </a:lnTo>
                  <a:lnTo>
                    <a:pt x="660" y="642"/>
                  </a:lnTo>
                  <a:lnTo>
                    <a:pt x="660" y="646"/>
                  </a:lnTo>
                  <a:lnTo>
                    <a:pt x="660" y="642"/>
                  </a:lnTo>
                  <a:lnTo>
                    <a:pt x="660" y="638"/>
                  </a:lnTo>
                  <a:lnTo>
                    <a:pt x="664" y="634"/>
                  </a:lnTo>
                  <a:lnTo>
                    <a:pt x="668" y="634"/>
                  </a:lnTo>
                  <a:lnTo>
                    <a:pt x="672" y="634"/>
                  </a:lnTo>
                  <a:lnTo>
                    <a:pt x="676" y="634"/>
                  </a:lnTo>
                  <a:lnTo>
                    <a:pt x="678" y="634"/>
                  </a:lnTo>
                  <a:lnTo>
                    <a:pt x="678" y="638"/>
                  </a:lnTo>
                  <a:lnTo>
                    <a:pt x="678" y="642"/>
                  </a:lnTo>
                  <a:lnTo>
                    <a:pt x="678" y="646"/>
                  </a:lnTo>
                  <a:lnTo>
                    <a:pt x="682" y="650"/>
                  </a:lnTo>
                  <a:lnTo>
                    <a:pt x="682" y="652"/>
                  </a:lnTo>
                  <a:lnTo>
                    <a:pt x="682" y="656"/>
                  </a:lnTo>
                  <a:lnTo>
                    <a:pt x="686" y="660"/>
                  </a:lnTo>
                  <a:lnTo>
                    <a:pt x="686" y="664"/>
                  </a:lnTo>
                  <a:lnTo>
                    <a:pt x="686" y="668"/>
                  </a:lnTo>
                  <a:lnTo>
                    <a:pt x="686" y="672"/>
                  </a:lnTo>
                  <a:lnTo>
                    <a:pt x="682" y="676"/>
                  </a:lnTo>
                  <a:lnTo>
                    <a:pt x="686" y="676"/>
                  </a:lnTo>
                  <a:lnTo>
                    <a:pt x="686" y="672"/>
                  </a:lnTo>
                  <a:lnTo>
                    <a:pt x="690" y="672"/>
                  </a:lnTo>
                  <a:lnTo>
                    <a:pt x="690" y="676"/>
                  </a:lnTo>
                  <a:lnTo>
                    <a:pt x="686" y="676"/>
                  </a:lnTo>
                  <a:lnTo>
                    <a:pt x="690" y="676"/>
                  </a:lnTo>
                  <a:lnTo>
                    <a:pt x="690" y="672"/>
                  </a:lnTo>
                  <a:lnTo>
                    <a:pt x="694" y="672"/>
                  </a:lnTo>
                  <a:lnTo>
                    <a:pt x="698" y="672"/>
                  </a:lnTo>
                  <a:lnTo>
                    <a:pt x="706" y="668"/>
                  </a:lnTo>
                  <a:lnTo>
                    <a:pt x="708" y="668"/>
                  </a:lnTo>
                  <a:lnTo>
                    <a:pt x="712" y="668"/>
                  </a:lnTo>
                  <a:lnTo>
                    <a:pt x="716" y="668"/>
                  </a:lnTo>
                  <a:lnTo>
                    <a:pt x="716" y="672"/>
                  </a:lnTo>
                  <a:lnTo>
                    <a:pt x="720" y="672"/>
                  </a:lnTo>
                  <a:lnTo>
                    <a:pt x="724" y="672"/>
                  </a:lnTo>
                  <a:lnTo>
                    <a:pt x="724" y="676"/>
                  </a:lnTo>
                  <a:lnTo>
                    <a:pt x="728" y="676"/>
                  </a:lnTo>
                  <a:lnTo>
                    <a:pt x="732" y="676"/>
                  </a:lnTo>
                  <a:lnTo>
                    <a:pt x="734" y="676"/>
                  </a:lnTo>
                  <a:lnTo>
                    <a:pt x="738" y="680"/>
                  </a:lnTo>
                  <a:lnTo>
                    <a:pt x="742" y="680"/>
                  </a:lnTo>
                  <a:lnTo>
                    <a:pt x="742" y="682"/>
                  </a:lnTo>
                  <a:lnTo>
                    <a:pt x="746" y="682"/>
                  </a:lnTo>
                  <a:lnTo>
                    <a:pt x="746" y="686"/>
                  </a:lnTo>
                  <a:lnTo>
                    <a:pt x="748" y="686"/>
                  </a:lnTo>
                  <a:lnTo>
                    <a:pt x="752" y="690"/>
                  </a:lnTo>
                  <a:lnTo>
                    <a:pt x="756" y="694"/>
                  </a:lnTo>
                  <a:lnTo>
                    <a:pt x="760" y="698"/>
                  </a:lnTo>
                  <a:lnTo>
                    <a:pt x="764" y="698"/>
                  </a:lnTo>
                  <a:lnTo>
                    <a:pt x="768" y="698"/>
                  </a:lnTo>
                  <a:lnTo>
                    <a:pt x="772" y="698"/>
                  </a:lnTo>
                  <a:lnTo>
                    <a:pt x="772" y="702"/>
                  </a:lnTo>
                  <a:lnTo>
                    <a:pt x="776" y="702"/>
                  </a:lnTo>
                  <a:lnTo>
                    <a:pt x="778" y="702"/>
                  </a:lnTo>
                  <a:lnTo>
                    <a:pt x="782" y="706"/>
                  </a:lnTo>
                  <a:lnTo>
                    <a:pt x="786" y="708"/>
                  </a:lnTo>
                  <a:lnTo>
                    <a:pt x="790" y="708"/>
                  </a:lnTo>
                  <a:lnTo>
                    <a:pt x="790" y="712"/>
                  </a:lnTo>
                  <a:lnTo>
                    <a:pt x="786" y="712"/>
                  </a:lnTo>
                  <a:lnTo>
                    <a:pt x="786" y="716"/>
                  </a:lnTo>
                  <a:lnTo>
                    <a:pt x="786" y="712"/>
                  </a:lnTo>
                  <a:lnTo>
                    <a:pt x="790" y="712"/>
                  </a:lnTo>
                  <a:lnTo>
                    <a:pt x="794" y="712"/>
                  </a:lnTo>
                  <a:lnTo>
                    <a:pt x="798" y="712"/>
                  </a:lnTo>
                  <a:lnTo>
                    <a:pt x="802" y="712"/>
                  </a:lnTo>
                  <a:lnTo>
                    <a:pt x="806" y="712"/>
                  </a:lnTo>
                  <a:lnTo>
                    <a:pt x="806" y="708"/>
                  </a:lnTo>
                  <a:lnTo>
                    <a:pt x="808" y="708"/>
                  </a:lnTo>
                  <a:lnTo>
                    <a:pt x="812" y="712"/>
                  </a:lnTo>
                  <a:lnTo>
                    <a:pt x="808" y="712"/>
                  </a:lnTo>
                  <a:lnTo>
                    <a:pt x="812" y="712"/>
                  </a:lnTo>
                  <a:lnTo>
                    <a:pt x="816" y="712"/>
                  </a:lnTo>
                  <a:lnTo>
                    <a:pt x="820" y="712"/>
                  </a:lnTo>
                  <a:lnTo>
                    <a:pt x="824" y="712"/>
                  </a:lnTo>
                  <a:lnTo>
                    <a:pt x="828" y="712"/>
                  </a:lnTo>
                  <a:lnTo>
                    <a:pt x="828" y="716"/>
                  </a:lnTo>
                  <a:lnTo>
                    <a:pt x="832" y="716"/>
                  </a:lnTo>
                  <a:lnTo>
                    <a:pt x="832" y="712"/>
                  </a:lnTo>
                  <a:lnTo>
                    <a:pt x="832" y="716"/>
                  </a:lnTo>
                  <a:lnTo>
                    <a:pt x="832" y="720"/>
                  </a:lnTo>
                  <a:lnTo>
                    <a:pt x="832" y="728"/>
                  </a:lnTo>
                  <a:lnTo>
                    <a:pt x="828" y="732"/>
                  </a:lnTo>
                  <a:lnTo>
                    <a:pt x="828" y="736"/>
                  </a:lnTo>
                  <a:lnTo>
                    <a:pt x="832" y="736"/>
                  </a:lnTo>
                  <a:lnTo>
                    <a:pt x="832" y="738"/>
                  </a:lnTo>
                  <a:lnTo>
                    <a:pt x="832" y="742"/>
                  </a:lnTo>
                  <a:lnTo>
                    <a:pt x="832" y="746"/>
                  </a:lnTo>
                  <a:lnTo>
                    <a:pt x="832" y="750"/>
                  </a:lnTo>
                  <a:lnTo>
                    <a:pt x="832" y="754"/>
                  </a:lnTo>
                  <a:lnTo>
                    <a:pt x="832" y="758"/>
                  </a:lnTo>
                  <a:lnTo>
                    <a:pt x="832" y="762"/>
                  </a:lnTo>
                  <a:lnTo>
                    <a:pt x="834" y="766"/>
                  </a:lnTo>
                  <a:lnTo>
                    <a:pt x="838" y="768"/>
                  </a:lnTo>
                  <a:lnTo>
                    <a:pt x="838" y="772"/>
                  </a:lnTo>
                  <a:lnTo>
                    <a:pt x="842" y="772"/>
                  </a:lnTo>
                  <a:lnTo>
                    <a:pt x="842" y="776"/>
                  </a:lnTo>
                  <a:lnTo>
                    <a:pt x="838" y="776"/>
                  </a:lnTo>
                  <a:lnTo>
                    <a:pt x="834" y="776"/>
                  </a:lnTo>
                  <a:lnTo>
                    <a:pt x="838" y="776"/>
                  </a:lnTo>
                  <a:lnTo>
                    <a:pt x="842" y="776"/>
                  </a:lnTo>
                  <a:lnTo>
                    <a:pt x="842" y="780"/>
                  </a:lnTo>
                  <a:lnTo>
                    <a:pt x="846" y="780"/>
                  </a:lnTo>
                  <a:lnTo>
                    <a:pt x="850" y="780"/>
                  </a:lnTo>
                  <a:lnTo>
                    <a:pt x="850" y="784"/>
                  </a:lnTo>
                  <a:lnTo>
                    <a:pt x="854" y="788"/>
                  </a:lnTo>
                  <a:lnTo>
                    <a:pt x="854" y="792"/>
                  </a:lnTo>
                  <a:lnTo>
                    <a:pt x="858" y="792"/>
                  </a:lnTo>
                  <a:lnTo>
                    <a:pt x="858" y="794"/>
                  </a:lnTo>
                  <a:lnTo>
                    <a:pt x="854" y="794"/>
                  </a:lnTo>
                  <a:lnTo>
                    <a:pt x="854" y="798"/>
                  </a:lnTo>
                  <a:lnTo>
                    <a:pt x="850" y="798"/>
                  </a:lnTo>
                  <a:lnTo>
                    <a:pt x="850" y="802"/>
                  </a:lnTo>
                  <a:lnTo>
                    <a:pt x="850" y="798"/>
                  </a:lnTo>
                  <a:lnTo>
                    <a:pt x="854" y="798"/>
                  </a:lnTo>
                  <a:lnTo>
                    <a:pt x="854" y="794"/>
                  </a:lnTo>
                  <a:lnTo>
                    <a:pt x="858" y="794"/>
                  </a:lnTo>
                  <a:lnTo>
                    <a:pt x="862" y="794"/>
                  </a:lnTo>
                  <a:lnTo>
                    <a:pt x="862" y="798"/>
                  </a:lnTo>
                  <a:lnTo>
                    <a:pt x="864" y="798"/>
                  </a:lnTo>
                  <a:lnTo>
                    <a:pt x="864" y="802"/>
                  </a:lnTo>
                  <a:lnTo>
                    <a:pt x="868" y="802"/>
                  </a:lnTo>
                  <a:lnTo>
                    <a:pt x="868" y="806"/>
                  </a:lnTo>
                  <a:lnTo>
                    <a:pt x="872" y="806"/>
                  </a:lnTo>
                  <a:lnTo>
                    <a:pt x="872" y="810"/>
                  </a:lnTo>
                  <a:lnTo>
                    <a:pt x="872" y="806"/>
                  </a:lnTo>
                  <a:lnTo>
                    <a:pt x="868" y="806"/>
                  </a:lnTo>
                  <a:lnTo>
                    <a:pt x="868" y="802"/>
                  </a:lnTo>
                  <a:lnTo>
                    <a:pt x="864" y="798"/>
                  </a:lnTo>
                  <a:lnTo>
                    <a:pt x="868" y="798"/>
                  </a:lnTo>
                  <a:lnTo>
                    <a:pt x="868" y="794"/>
                  </a:lnTo>
                  <a:lnTo>
                    <a:pt x="868" y="792"/>
                  </a:lnTo>
                  <a:lnTo>
                    <a:pt x="872" y="792"/>
                  </a:lnTo>
                  <a:lnTo>
                    <a:pt x="872" y="788"/>
                  </a:lnTo>
                  <a:lnTo>
                    <a:pt x="872" y="792"/>
                  </a:lnTo>
                  <a:lnTo>
                    <a:pt x="876" y="792"/>
                  </a:lnTo>
                  <a:lnTo>
                    <a:pt x="876" y="794"/>
                  </a:lnTo>
                  <a:lnTo>
                    <a:pt x="876" y="798"/>
                  </a:lnTo>
                  <a:lnTo>
                    <a:pt x="880" y="798"/>
                  </a:lnTo>
                  <a:lnTo>
                    <a:pt x="880" y="794"/>
                  </a:lnTo>
                  <a:lnTo>
                    <a:pt x="880" y="792"/>
                  </a:lnTo>
                  <a:lnTo>
                    <a:pt x="876" y="788"/>
                  </a:lnTo>
                  <a:lnTo>
                    <a:pt x="880" y="788"/>
                  </a:lnTo>
                  <a:lnTo>
                    <a:pt x="880" y="784"/>
                  </a:lnTo>
                  <a:lnTo>
                    <a:pt x="880" y="780"/>
                  </a:lnTo>
                  <a:lnTo>
                    <a:pt x="884" y="780"/>
                  </a:lnTo>
                  <a:lnTo>
                    <a:pt x="884" y="776"/>
                  </a:lnTo>
                  <a:lnTo>
                    <a:pt x="884" y="772"/>
                  </a:lnTo>
                  <a:lnTo>
                    <a:pt x="884" y="768"/>
                  </a:lnTo>
                  <a:lnTo>
                    <a:pt x="880" y="768"/>
                  </a:lnTo>
                  <a:lnTo>
                    <a:pt x="880" y="766"/>
                  </a:lnTo>
                  <a:lnTo>
                    <a:pt x="880" y="762"/>
                  </a:lnTo>
                  <a:lnTo>
                    <a:pt x="880" y="758"/>
                  </a:lnTo>
                  <a:lnTo>
                    <a:pt x="880" y="754"/>
                  </a:lnTo>
                  <a:lnTo>
                    <a:pt x="876" y="754"/>
                  </a:lnTo>
                  <a:lnTo>
                    <a:pt x="876" y="750"/>
                  </a:lnTo>
                  <a:lnTo>
                    <a:pt x="880" y="750"/>
                  </a:lnTo>
                  <a:lnTo>
                    <a:pt x="876" y="746"/>
                  </a:lnTo>
                  <a:lnTo>
                    <a:pt x="876" y="742"/>
                  </a:lnTo>
                  <a:lnTo>
                    <a:pt x="880" y="742"/>
                  </a:lnTo>
                  <a:lnTo>
                    <a:pt x="876" y="742"/>
                  </a:lnTo>
                  <a:lnTo>
                    <a:pt x="876" y="738"/>
                  </a:lnTo>
                  <a:lnTo>
                    <a:pt x="876" y="736"/>
                  </a:lnTo>
                  <a:lnTo>
                    <a:pt x="872" y="736"/>
                  </a:lnTo>
                  <a:lnTo>
                    <a:pt x="872" y="732"/>
                  </a:lnTo>
                  <a:lnTo>
                    <a:pt x="868" y="732"/>
                  </a:lnTo>
                  <a:lnTo>
                    <a:pt x="868" y="728"/>
                  </a:lnTo>
                  <a:lnTo>
                    <a:pt x="868" y="724"/>
                  </a:lnTo>
                  <a:lnTo>
                    <a:pt x="864" y="724"/>
                  </a:lnTo>
                  <a:lnTo>
                    <a:pt x="868" y="724"/>
                  </a:lnTo>
                  <a:lnTo>
                    <a:pt x="872" y="724"/>
                  </a:lnTo>
                  <a:lnTo>
                    <a:pt x="876" y="720"/>
                  </a:lnTo>
                  <a:lnTo>
                    <a:pt x="880" y="720"/>
                  </a:lnTo>
                  <a:lnTo>
                    <a:pt x="884" y="716"/>
                  </a:lnTo>
                  <a:lnTo>
                    <a:pt x="888" y="716"/>
                  </a:lnTo>
                  <a:lnTo>
                    <a:pt x="890" y="712"/>
                  </a:lnTo>
                  <a:lnTo>
                    <a:pt x="894" y="708"/>
                  </a:lnTo>
                  <a:lnTo>
                    <a:pt x="898" y="706"/>
                  </a:lnTo>
                  <a:lnTo>
                    <a:pt x="902" y="706"/>
                  </a:lnTo>
                  <a:lnTo>
                    <a:pt x="902" y="702"/>
                  </a:lnTo>
                  <a:lnTo>
                    <a:pt x="906" y="702"/>
                  </a:lnTo>
                  <a:lnTo>
                    <a:pt x="910" y="698"/>
                  </a:lnTo>
                  <a:lnTo>
                    <a:pt x="910" y="694"/>
                  </a:lnTo>
                  <a:lnTo>
                    <a:pt x="914" y="690"/>
                  </a:lnTo>
                  <a:lnTo>
                    <a:pt x="914" y="686"/>
                  </a:lnTo>
                  <a:lnTo>
                    <a:pt x="914" y="682"/>
                  </a:lnTo>
                  <a:lnTo>
                    <a:pt x="914" y="680"/>
                  </a:lnTo>
                  <a:lnTo>
                    <a:pt x="914" y="676"/>
                  </a:lnTo>
                  <a:lnTo>
                    <a:pt x="910" y="672"/>
                  </a:lnTo>
                  <a:lnTo>
                    <a:pt x="914" y="672"/>
                  </a:lnTo>
                  <a:lnTo>
                    <a:pt x="910" y="668"/>
                  </a:lnTo>
                  <a:lnTo>
                    <a:pt x="910" y="664"/>
                  </a:lnTo>
                  <a:lnTo>
                    <a:pt x="910" y="660"/>
                  </a:lnTo>
                  <a:lnTo>
                    <a:pt x="906" y="656"/>
                  </a:lnTo>
                  <a:lnTo>
                    <a:pt x="902" y="650"/>
                  </a:lnTo>
                  <a:lnTo>
                    <a:pt x="898" y="650"/>
                  </a:lnTo>
                  <a:lnTo>
                    <a:pt x="898" y="646"/>
                  </a:lnTo>
                  <a:lnTo>
                    <a:pt x="894" y="646"/>
                  </a:lnTo>
                  <a:lnTo>
                    <a:pt x="890" y="642"/>
                  </a:lnTo>
                  <a:lnTo>
                    <a:pt x="888" y="638"/>
                  </a:lnTo>
                  <a:lnTo>
                    <a:pt x="884" y="638"/>
                  </a:lnTo>
                  <a:lnTo>
                    <a:pt x="888" y="638"/>
                  </a:lnTo>
                  <a:lnTo>
                    <a:pt x="884" y="638"/>
                  </a:lnTo>
                  <a:lnTo>
                    <a:pt x="884" y="634"/>
                  </a:lnTo>
                  <a:lnTo>
                    <a:pt x="884" y="630"/>
                  </a:lnTo>
                  <a:lnTo>
                    <a:pt x="888" y="630"/>
                  </a:lnTo>
                  <a:lnTo>
                    <a:pt x="888" y="626"/>
                  </a:lnTo>
                  <a:lnTo>
                    <a:pt x="890" y="626"/>
                  </a:lnTo>
                  <a:lnTo>
                    <a:pt x="890" y="622"/>
                  </a:lnTo>
                  <a:lnTo>
                    <a:pt x="894" y="622"/>
                  </a:lnTo>
                  <a:lnTo>
                    <a:pt x="894" y="620"/>
                  </a:lnTo>
                  <a:lnTo>
                    <a:pt x="890" y="620"/>
                  </a:lnTo>
                  <a:lnTo>
                    <a:pt x="894" y="616"/>
                  </a:lnTo>
                  <a:lnTo>
                    <a:pt x="894" y="612"/>
                  </a:lnTo>
                  <a:lnTo>
                    <a:pt x="898" y="612"/>
                  </a:lnTo>
                  <a:lnTo>
                    <a:pt x="898" y="616"/>
                  </a:lnTo>
                  <a:lnTo>
                    <a:pt x="902" y="616"/>
                  </a:lnTo>
                  <a:lnTo>
                    <a:pt x="898" y="616"/>
                  </a:lnTo>
                  <a:lnTo>
                    <a:pt x="898" y="612"/>
                  </a:lnTo>
                  <a:lnTo>
                    <a:pt x="902" y="612"/>
                  </a:lnTo>
                  <a:lnTo>
                    <a:pt x="898" y="608"/>
                  </a:lnTo>
                  <a:lnTo>
                    <a:pt x="902" y="604"/>
                  </a:lnTo>
                  <a:lnTo>
                    <a:pt x="906" y="604"/>
                  </a:lnTo>
                  <a:lnTo>
                    <a:pt x="910" y="604"/>
                  </a:lnTo>
                  <a:lnTo>
                    <a:pt x="910" y="600"/>
                  </a:lnTo>
                  <a:lnTo>
                    <a:pt x="906" y="600"/>
                  </a:lnTo>
                  <a:lnTo>
                    <a:pt x="906" y="604"/>
                  </a:lnTo>
                  <a:lnTo>
                    <a:pt x="902" y="604"/>
                  </a:lnTo>
                  <a:lnTo>
                    <a:pt x="898" y="604"/>
                  </a:lnTo>
                  <a:lnTo>
                    <a:pt x="898" y="600"/>
                  </a:lnTo>
                  <a:lnTo>
                    <a:pt x="898" y="596"/>
                  </a:lnTo>
                  <a:lnTo>
                    <a:pt x="894" y="596"/>
                  </a:lnTo>
                  <a:lnTo>
                    <a:pt x="898" y="594"/>
                  </a:lnTo>
                  <a:lnTo>
                    <a:pt x="894" y="594"/>
                  </a:lnTo>
                  <a:lnTo>
                    <a:pt x="894" y="590"/>
                  </a:lnTo>
                  <a:lnTo>
                    <a:pt x="898" y="586"/>
                  </a:lnTo>
                  <a:lnTo>
                    <a:pt x="894" y="590"/>
                  </a:lnTo>
                  <a:lnTo>
                    <a:pt x="890" y="590"/>
                  </a:lnTo>
                  <a:lnTo>
                    <a:pt x="890" y="586"/>
                  </a:lnTo>
                  <a:lnTo>
                    <a:pt x="890" y="590"/>
                  </a:lnTo>
                  <a:lnTo>
                    <a:pt x="888" y="590"/>
                  </a:lnTo>
                  <a:lnTo>
                    <a:pt x="888" y="586"/>
                  </a:lnTo>
                  <a:lnTo>
                    <a:pt x="890" y="582"/>
                  </a:lnTo>
                  <a:lnTo>
                    <a:pt x="894" y="582"/>
                  </a:lnTo>
                  <a:lnTo>
                    <a:pt x="894" y="578"/>
                  </a:lnTo>
                  <a:lnTo>
                    <a:pt x="894" y="574"/>
                  </a:lnTo>
                  <a:lnTo>
                    <a:pt x="894" y="570"/>
                  </a:lnTo>
                  <a:lnTo>
                    <a:pt x="898" y="570"/>
                  </a:lnTo>
                  <a:lnTo>
                    <a:pt x="894" y="570"/>
                  </a:lnTo>
                  <a:lnTo>
                    <a:pt x="898" y="570"/>
                  </a:lnTo>
                  <a:lnTo>
                    <a:pt x="894" y="570"/>
                  </a:lnTo>
                  <a:lnTo>
                    <a:pt x="894" y="566"/>
                  </a:lnTo>
                  <a:lnTo>
                    <a:pt x="890" y="566"/>
                  </a:lnTo>
                  <a:lnTo>
                    <a:pt x="890" y="564"/>
                  </a:lnTo>
                  <a:lnTo>
                    <a:pt x="890" y="560"/>
                  </a:lnTo>
                  <a:lnTo>
                    <a:pt x="888" y="560"/>
                  </a:lnTo>
                  <a:lnTo>
                    <a:pt x="888" y="556"/>
                  </a:lnTo>
                  <a:lnTo>
                    <a:pt x="888" y="552"/>
                  </a:lnTo>
                  <a:lnTo>
                    <a:pt x="890" y="552"/>
                  </a:lnTo>
                  <a:lnTo>
                    <a:pt x="894" y="550"/>
                  </a:lnTo>
                  <a:lnTo>
                    <a:pt x="898" y="550"/>
                  </a:lnTo>
                  <a:lnTo>
                    <a:pt x="906" y="550"/>
                  </a:lnTo>
                  <a:lnTo>
                    <a:pt x="910" y="550"/>
                  </a:lnTo>
                  <a:lnTo>
                    <a:pt x="914" y="550"/>
                  </a:lnTo>
                  <a:lnTo>
                    <a:pt x="914" y="552"/>
                  </a:lnTo>
                  <a:lnTo>
                    <a:pt x="918" y="552"/>
                  </a:lnTo>
                  <a:lnTo>
                    <a:pt x="924" y="552"/>
                  </a:lnTo>
                  <a:lnTo>
                    <a:pt x="924" y="556"/>
                  </a:lnTo>
                  <a:lnTo>
                    <a:pt x="920" y="556"/>
                  </a:lnTo>
                  <a:lnTo>
                    <a:pt x="924" y="556"/>
                  </a:lnTo>
                  <a:lnTo>
                    <a:pt x="924" y="552"/>
                  </a:lnTo>
                  <a:lnTo>
                    <a:pt x="928" y="552"/>
                  </a:lnTo>
                  <a:lnTo>
                    <a:pt x="932" y="552"/>
                  </a:lnTo>
                  <a:lnTo>
                    <a:pt x="936" y="556"/>
                  </a:lnTo>
                  <a:lnTo>
                    <a:pt x="940" y="556"/>
                  </a:lnTo>
                  <a:lnTo>
                    <a:pt x="936" y="556"/>
                  </a:lnTo>
                  <a:lnTo>
                    <a:pt x="940" y="556"/>
                  </a:lnTo>
                  <a:lnTo>
                    <a:pt x="944" y="556"/>
                  </a:lnTo>
                  <a:lnTo>
                    <a:pt x="944" y="552"/>
                  </a:lnTo>
                  <a:lnTo>
                    <a:pt x="948" y="552"/>
                  </a:lnTo>
                  <a:lnTo>
                    <a:pt x="950" y="550"/>
                  </a:lnTo>
                  <a:lnTo>
                    <a:pt x="954" y="550"/>
                  </a:lnTo>
                  <a:lnTo>
                    <a:pt x="954" y="552"/>
                  </a:lnTo>
                  <a:lnTo>
                    <a:pt x="958" y="552"/>
                  </a:lnTo>
                  <a:lnTo>
                    <a:pt x="958" y="556"/>
                  </a:lnTo>
                  <a:lnTo>
                    <a:pt x="962" y="556"/>
                  </a:lnTo>
                  <a:lnTo>
                    <a:pt x="966" y="556"/>
                  </a:lnTo>
                  <a:lnTo>
                    <a:pt x="970" y="560"/>
                  </a:lnTo>
                  <a:lnTo>
                    <a:pt x="966" y="560"/>
                  </a:lnTo>
                  <a:lnTo>
                    <a:pt x="966" y="564"/>
                  </a:lnTo>
                  <a:lnTo>
                    <a:pt x="970" y="564"/>
                  </a:lnTo>
                  <a:lnTo>
                    <a:pt x="966" y="564"/>
                  </a:lnTo>
                  <a:lnTo>
                    <a:pt x="970" y="564"/>
                  </a:lnTo>
                  <a:lnTo>
                    <a:pt x="974" y="564"/>
                  </a:lnTo>
                  <a:lnTo>
                    <a:pt x="976" y="566"/>
                  </a:lnTo>
                  <a:lnTo>
                    <a:pt x="974" y="570"/>
                  </a:lnTo>
                  <a:lnTo>
                    <a:pt x="974" y="566"/>
                  </a:lnTo>
                  <a:lnTo>
                    <a:pt x="974" y="570"/>
                  </a:lnTo>
                  <a:lnTo>
                    <a:pt x="976" y="570"/>
                  </a:lnTo>
                  <a:lnTo>
                    <a:pt x="976" y="566"/>
                  </a:lnTo>
                  <a:lnTo>
                    <a:pt x="980" y="566"/>
                  </a:lnTo>
                  <a:lnTo>
                    <a:pt x="980" y="570"/>
                  </a:lnTo>
                  <a:lnTo>
                    <a:pt x="976" y="574"/>
                  </a:lnTo>
                  <a:lnTo>
                    <a:pt x="980" y="574"/>
                  </a:lnTo>
                  <a:lnTo>
                    <a:pt x="980" y="578"/>
                  </a:lnTo>
                  <a:lnTo>
                    <a:pt x="984" y="578"/>
                  </a:lnTo>
                  <a:lnTo>
                    <a:pt x="988" y="578"/>
                  </a:lnTo>
                  <a:lnTo>
                    <a:pt x="992" y="582"/>
                  </a:lnTo>
                  <a:lnTo>
                    <a:pt x="996" y="582"/>
                  </a:lnTo>
                  <a:lnTo>
                    <a:pt x="1000" y="582"/>
                  </a:lnTo>
                  <a:lnTo>
                    <a:pt x="1004" y="582"/>
                  </a:lnTo>
                  <a:lnTo>
                    <a:pt x="1004" y="586"/>
                  </a:lnTo>
                  <a:lnTo>
                    <a:pt x="1006" y="586"/>
                  </a:lnTo>
                  <a:lnTo>
                    <a:pt x="1010" y="586"/>
                  </a:lnTo>
                  <a:lnTo>
                    <a:pt x="1010" y="582"/>
                  </a:lnTo>
                  <a:lnTo>
                    <a:pt x="1014" y="586"/>
                  </a:lnTo>
                  <a:lnTo>
                    <a:pt x="1014" y="590"/>
                  </a:lnTo>
                  <a:lnTo>
                    <a:pt x="1010" y="590"/>
                  </a:lnTo>
                  <a:lnTo>
                    <a:pt x="1006" y="590"/>
                  </a:lnTo>
                  <a:lnTo>
                    <a:pt x="1010" y="590"/>
                  </a:lnTo>
                  <a:lnTo>
                    <a:pt x="1010" y="594"/>
                  </a:lnTo>
                  <a:lnTo>
                    <a:pt x="1006" y="594"/>
                  </a:lnTo>
                  <a:lnTo>
                    <a:pt x="1006" y="596"/>
                  </a:lnTo>
                  <a:lnTo>
                    <a:pt x="1006" y="600"/>
                  </a:lnTo>
                  <a:lnTo>
                    <a:pt x="1010" y="600"/>
                  </a:lnTo>
                  <a:lnTo>
                    <a:pt x="1010" y="604"/>
                  </a:lnTo>
                  <a:lnTo>
                    <a:pt x="1006" y="604"/>
                  </a:lnTo>
                  <a:lnTo>
                    <a:pt x="1004" y="604"/>
                  </a:lnTo>
                  <a:lnTo>
                    <a:pt x="1000" y="604"/>
                  </a:lnTo>
                  <a:lnTo>
                    <a:pt x="996" y="604"/>
                  </a:lnTo>
                  <a:lnTo>
                    <a:pt x="992" y="604"/>
                  </a:lnTo>
                  <a:lnTo>
                    <a:pt x="996" y="608"/>
                  </a:lnTo>
                  <a:lnTo>
                    <a:pt x="1000" y="608"/>
                  </a:lnTo>
                  <a:lnTo>
                    <a:pt x="1004" y="608"/>
                  </a:lnTo>
                  <a:lnTo>
                    <a:pt x="1006" y="608"/>
                  </a:lnTo>
                  <a:lnTo>
                    <a:pt x="1010" y="608"/>
                  </a:lnTo>
                  <a:lnTo>
                    <a:pt x="1010" y="612"/>
                  </a:lnTo>
                  <a:lnTo>
                    <a:pt x="1010" y="616"/>
                  </a:lnTo>
                  <a:lnTo>
                    <a:pt x="1006" y="616"/>
                  </a:lnTo>
                  <a:lnTo>
                    <a:pt x="1006" y="620"/>
                  </a:lnTo>
                  <a:lnTo>
                    <a:pt x="1010" y="620"/>
                  </a:lnTo>
                  <a:lnTo>
                    <a:pt x="1006" y="620"/>
                  </a:lnTo>
                  <a:lnTo>
                    <a:pt x="1006" y="622"/>
                  </a:lnTo>
                  <a:lnTo>
                    <a:pt x="1010" y="622"/>
                  </a:lnTo>
                  <a:lnTo>
                    <a:pt x="1010" y="620"/>
                  </a:lnTo>
                  <a:lnTo>
                    <a:pt x="1014" y="620"/>
                  </a:lnTo>
                  <a:lnTo>
                    <a:pt x="1014" y="622"/>
                  </a:lnTo>
                  <a:lnTo>
                    <a:pt x="1010" y="622"/>
                  </a:lnTo>
                  <a:lnTo>
                    <a:pt x="1010" y="626"/>
                  </a:lnTo>
                  <a:lnTo>
                    <a:pt x="1014" y="626"/>
                  </a:lnTo>
                  <a:lnTo>
                    <a:pt x="1010" y="626"/>
                  </a:lnTo>
                  <a:lnTo>
                    <a:pt x="1010" y="630"/>
                  </a:lnTo>
                  <a:lnTo>
                    <a:pt x="1010" y="634"/>
                  </a:lnTo>
                  <a:lnTo>
                    <a:pt x="1006" y="630"/>
                  </a:lnTo>
                  <a:lnTo>
                    <a:pt x="1010" y="630"/>
                  </a:lnTo>
                  <a:lnTo>
                    <a:pt x="1006" y="630"/>
                  </a:lnTo>
                  <a:lnTo>
                    <a:pt x="1006" y="626"/>
                  </a:lnTo>
                  <a:lnTo>
                    <a:pt x="1006" y="630"/>
                  </a:lnTo>
                  <a:lnTo>
                    <a:pt x="1006" y="634"/>
                  </a:lnTo>
                  <a:lnTo>
                    <a:pt x="1004" y="634"/>
                  </a:lnTo>
                  <a:lnTo>
                    <a:pt x="1006" y="634"/>
                  </a:lnTo>
                  <a:lnTo>
                    <a:pt x="1006" y="638"/>
                  </a:lnTo>
                  <a:lnTo>
                    <a:pt x="1010" y="634"/>
                  </a:lnTo>
                  <a:lnTo>
                    <a:pt x="1014" y="634"/>
                  </a:lnTo>
                  <a:lnTo>
                    <a:pt x="1014" y="630"/>
                  </a:lnTo>
                  <a:lnTo>
                    <a:pt x="1018" y="630"/>
                  </a:lnTo>
                  <a:lnTo>
                    <a:pt x="1022" y="630"/>
                  </a:lnTo>
                  <a:lnTo>
                    <a:pt x="1026" y="630"/>
                  </a:lnTo>
                  <a:lnTo>
                    <a:pt x="1026" y="634"/>
                  </a:lnTo>
                  <a:lnTo>
                    <a:pt x="1030" y="634"/>
                  </a:lnTo>
                  <a:lnTo>
                    <a:pt x="1030" y="638"/>
                  </a:lnTo>
                  <a:lnTo>
                    <a:pt x="1030" y="642"/>
                  </a:lnTo>
                  <a:lnTo>
                    <a:pt x="1030" y="646"/>
                  </a:lnTo>
                  <a:lnTo>
                    <a:pt x="1030" y="650"/>
                  </a:lnTo>
                  <a:lnTo>
                    <a:pt x="1026" y="650"/>
                  </a:lnTo>
                  <a:lnTo>
                    <a:pt x="1022" y="652"/>
                  </a:lnTo>
                  <a:lnTo>
                    <a:pt x="1018" y="652"/>
                  </a:lnTo>
                  <a:lnTo>
                    <a:pt x="1014" y="652"/>
                  </a:lnTo>
                  <a:lnTo>
                    <a:pt x="1014" y="656"/>
                  </a:lnTo>
                  <a:lnTo>
                    <a:pt x="1014" y="652"/>
                  </a:lnTo>
                  <a:lnTo>
                    <a:pt x="1018" y="652"/>
                  </a:lnTo>
                  <a:lnTo>
                    <a:pt x="1022" y="652"/>
                  </a:lnTo>
                  <a:lnTo>
                    <a:pt x="1026" y="652"/>
                  </a:lnTo>
                  <a:lnTo>
                    <a:pt x="1026" y="650"/>
                  </a:lnTo>
                  <a:lnTo>
                    <a:pt x="1030" y="650"/>
                  </a:lnTo>
                  <a:lnTo>
                    <a:pt x="1030" y="646"/>
                  </a:lnTo>
                  <a:lnTo>
                    <a:pt x="1030" y="642"/>
                  </a:lnTo>
                  <a:lnTo>
                    <a:pt x="1030" y="638"/>
                  </a:lnTo>
                  <a:lnTo>
                    <a:pt x="1032" y="638"/>
                  </a:lnTo>
                  <a:lnTo>
                    <a:pt x="1032" y="642"/>
                  </a:lnTo>
                  <a:lnTo>
                    <a:pt x="1032" y="646"/>
                  </a:lnTo>
                  <a:lnTo>
                    <a:pt x="1032" y="650"/>
                  </a:lnTo>
                  <a:lnTo>
                    <a:pt x="1032" y="646"/>
                  </a:lnTo>
                  <a:lnTo>
                    <a:pt x="1036" y="646"/>
                  </a:lnTo>
                  <a:lnTo>
                    <a:pt x="1036" y="642"/>
                  </a:lnTo>
                  <a:lnTo>
                    <a:pt x="1036" y="646"/>
                  </a:lnTo>
                  <a:lnTo>
                    <a:pt x="1036" y="652"/>
                  </a:lnTo>
                  <a:lnTo>
                    <a:pt x="1036" y="650"/>
                  </a:lnTo>
                  <a:lnTo>
                    <a:pt x="1040" y="646"/>
                  </a:lnTo>
                  <a:lnTo>
                    <a:pt x="1044" y="642"/>
                  </a:lnTo>
                  <a:lnTo>
                    <a:pt x="1048" y="642"/>
                  </a:lnTo>
                  <a:lnTo>
                    <a:pt x="1052" y="642"/>
                  </a:lnTo>
                  <a:lnTo>
                    <a:pt x="1052" y="638"/>
                  </a:lnTo>
                  <a:lnTo>
                    <a:pt x="1052" y="634"/>
                  </a:lnTo>
                  <a:lnTo>
                    <a:pt x="1056" y="634"/>
                  </a:lnTo>
                  <a:lnTo>
                    <a:pt x="1056" y="630"/>
                  </a:lnTo>
                  <a:lnTo>
                    <a:pt x="1060" y="634"/>
                  </a:lnTo>
                  <a:lnTo>
                    <a:pt x="1060" y="638"/>
                  </a:lnTo>
                  <a:lnTo>
                    <a:pt x="1062" y="638"/>
                  </a:lnTo>
                  <a:lnTo>
                    <a:pt x="1060" y="642"/>
                  </a:lnTo>
                  <a:lnTo>
                    <a:pt x="1060" y="646"/>
                  </a:lnTo>
                  <a:lnTo>
                    <a:pt x="1060" y="642"/>
                  </a:lnTo>
                  <a:lnTo>
                    <a:pt x="1062" y="642"/>
                  </a:lnTo>
                  <a:lnTo>
                    <a:pt x="1062" y="638"/>
                  </a:lnTo>
                  <a:lnTo>
                    <a:pt x="1060" y="634"/>
                  </a:lnTo>
                  <a:lnTo>
                    <a:pt x="1060" y="630"/>
                  </a:lnTo>
                  <a:lnTo>
                    <a:pt x="1062" y="630"/>
                  </a:lnTo>
                  <a:lnTo>
                    <a:pt x="1062" y="634"/>
                  </a:lnTo>
                  <a:lnTo>
                    <a:pt x="1062" y="630"/>
                  </a:lnTo>
                  <a:lnTo>
                    <a:pt x="1062" y="626"/>
                  </a:lnTo>
                  <a:lnTo>
                    <a:pt x="1066" y="626"/>
                  </a:lnTo>
                  <a:lnTo>
                    <a:pt x="1066" y="630"/>
                  </a:lnTo>
                  <a:lnTo>
                    <a:pt x="1066" y="626"/>
                  </a:lnTo>
                  <a:lnTo>
                    <a:pt x="1070" y="626"/>
                  </a:lnTo>
                  <a:lnTo>
                    <a:pt x="1066" y="626"/>
                  </a:lnTo>
                  <a:lnTo>
                    <a:pt x="1066" y="622"/>
                  </a:lnTo>
                  <a:lnTo>
                    <a:pt x="1066" y="620"/>
                  </a:lnTo>
                  <a:lnTo>
                    <a:pt x="1070" y="620"/>
                  </a:lnTo>
                  <a:lnTo>
                    <a:pt x="1070" y="622"/>
                  </a:lnTo>
                  <a:lnTo>
                    <a:pt x="1070" y="620"/>
                  </a:lnTo>
                  <a:lnTo>
                    <a:pt x="1066" y="620"/>
                  </a:lnTo>
                  <a:lnTo>
                    <a:pt x="1070" y="620"/>
                  </a:lnTo>
                  <a:lnTo>
                    <a:pt x="1074" y="620"/>
                  </a:lnTo>
                  <a:lnTo>
                    <a:pt x="1070" y="620"/>
                  </a:lnTo>
                  <a:lnTo>
                    <a:pt x="1070" y="616"/>
                  </a:lnTo>
                  <a:lnTo>
                    <a:pt x="1066" y="616"/>
                  </a:lnTo>
                  <a:lnTo>
                    <a:pt x="1066" y="612"/>
                  </a:lnTo>
                  <a:lnTo>
                    <a:pt x="1070" y="612"/>
                  </a:lnTo>
                  <a:lnTo>
                    <a:pt x="1070" y="608"/>
                  </a:lnTo>
                  <a:lnTo>
                    <a:pt x="1070" y="612"/>
                  </a:lnTo>
                  <a:lnTo>
                    <a:pt x="1074" y="612"/>
                  </a:lnTo>
                  <a:lnTo>
                    <a:pt x="1074" y="608"/>
                  </a:lnTo>
                  <a:lnTo>
                    <a:pt x="1070" y="608"/>
                  </a:lnTo>
                  <a:lnTo>
                    <a:pt x="1074" y="608"/>
                  </a:lnTo>
                  <a:lnTo>
                    <a:pt x="1074" y="604"/>
                  </a:lnTo>
                  <a:lnTo>
                    <a:pt x="1076" y="600"/>
                  </a:lnTo>
                  <a:lnTo>
                    <a:pt x="1076" y="596"/>
                  </a:lnTo>
                  <a:lnTo>
                    <a:pt x="1080" y="596"/>
                  </a:lnTo>
                  <a:lnTo>
                    <a:pt x="1080" y="600"/>
                  </a:lnTo>
                  <a:lnTo>
                    <a:pt x="1076" y="600"/>
                  </a:lnTo>
                  <a:lnTo>
                    <a:pt x="1080" y="600"/>
                  </a:lnTo>
                  <a:lnTo>
                    <a:pt x="1084" y="600"/>
                  </a:lnTo>
                  <a:lnTo>
                    <a:pt x="1080" y="604"/>
                  </a:lnTo>
                  <a:lnTo>
                    <a:pt x="1076" y="604"/>
                  </a:lnTo>
                  <a:lnTo>
                    <a:pt x="1076" y="608"/>
                  </a:lnTo>
                  <a:lnTo>
                    <a:pt x="1076" y="604"/>
                  </a:lnTo>
                  <a:lnTo>
                    <a:pt x="1080" y="604"/>
                  </a:lnTo>
                  <a:lnTo>
                    <a:pt x="1084" y="604"/>
                  </a:lnTo>
                  <a:lnTo>
                    <a:pt x="1084" y="608"/>
                  </a:lnTo>
                  <a:lnTo>
                    <a:pt x="1080" y="608"/>
                  </a:lnTo>
                  <a:lnTo>
                    <a:pt x="1084" y="608"/>
                  </a:lnTo>
                  <a:lnTo>
                    <a:pt x="1084" y="604"/>
                  </a:lnTo>
                  <a:lnTo>
                    <a:pt x="1088" y="604"/>
                  </a:lnTo>
                  <a:lnTo>
                    <a:pt x="1088" y="608"/>
                  </a:lnTo>
                  <a:lnTo>
                    <a:pt x="1084" y="612"/>
                  </a:lnTo>
                  <a:lnTo>
                    <a:pt x="1088" y="612"/>
                  </a:lnTo>
                  <a:lnTo>
                    <a:pt x="1088" y="616"/>
                  </a:lnTo>
                  <a:lnTo>
                    <a:pt x="1092" y="616"/>
                  </a:lnTo>
                  <a:lnTo>
                    <a:pt x="1092" y="620"/>
                  </a:lnTo>
                  <a:lnTo>
                    <a:pt x="1088" y="620"/>
                  </a:lnTo>
                  <a:lnTo>
                    <a:pt x="1092" y="620"/>
                  </a:lnTo>
                  <a:lnTo>
                    <a:pt x="1092" y="622"/>
                  </a:lnTo>
                  <a:lnTo>
                    <a:pt x="1092" y="620"/>
                  </a:lnTo>
                  <a:lnTo>
                    <a:pt x="1096" y="620"/>
                  </a:lnTo>
                  <a:lnTo>
                    <a:pt x="1096" y="622"/>
                  </a:lnTo>
                  <a:lnTo>
                    <a:pt x="1100" y="622"/>
                  </a:lnTo>
                  <a:lnTo>
                    <a:pt x="1096" y="626"/>
                  </a:lnTo>
                  <a:lnTo>
                    <a:pt x="1092" y="626"/>
                  </a:lnTo>
                  <a:lnTo>
                    <a:pt x="1088" y="626"/>
                  </a:lnTo>
                  <a:lnTo>
                    <a:pt x="1088" y="630"/>
                  </a:lnTo>
                  <a:lnTo>
                    <a:pt x="1092" y="626"/>
                  </a:lnTo>
                  <a:lnTo>
                    <a:pt x="1096" y="626"/>
                  </a:lnTo>
                  <a:lnTo>
                    <a:pt x="1100" y="626"/>
                  </a:lnTo>
                  <a:lnTo>
                    <a:pt x="1100" y="630"/>
                  </a:lnTo>
                  <a:lnTo>
                    <a:pt x="1104" y="630"/>
                  </a:lnTo>
                  <a:lnTo>
                    <a:pt x="1104" y="634"/>
                  </a:lnTo>
                  <a:lnTo>
                    <a:pt x="1106" y="634"/>
                  </a:lnTo>
                  <a:lnTo>
                    <a:pt x="1106" y="638"/>
                  </a:lnTo>
                  <a:lnTo>
                    <a:pt x="1104" y="638"/>
                  </a:lnTo>
                  <a:lnTo>
                    <a:pt x="1100" y="642"/>
                  </a:lnTo>
                  <a:lnTo>
                    <a:pt x="1096" y="642"/>
                  </a:lnTo>
                  <a:lnTo>
                    <a:pt x="1096" y="646"/>
                  </a:lnTo>
                  <a:lnTo>
                    <a:pt x="1096" y="642"/>
                  </a:lnTo>
                  <a:lnTo>
                    <a:pt x="1100" y="642"/>
                  </a:lnTo>
                  <a:lnTo>
                    <a:pt x="1104" y="642"/>
                  </a:lnTo>
                  <a:lnTo>
                    <a:pt x="1106" y="642"/>
                  </a:lnTo>
                  <a:lnTo>
                    <a:pt x="1110" y="642"/>
                  </a:lnTo>
                  <a:lnTo>
                    <a:pt x="1106" y="642"/>
                  </a:lnTo>
                  <a:lnTo>
                    <a:pt x="1106" y="646"/>
                  </a:lnTo>
                  <a:lnTo>
                    <a:pt x="1110" y="646"/>
                  </a:lnTo>
                  <a:lnTo>
                    <a:pt x="1106" y="646"/>
                  </a:lnTo>
                  <a:lnTo>
                    <a:pt x="1106" y="650"/>
                  </a:lnTo>
                  <a:lnTo>
                    <a:pt x="1106" y="646"/>
                  </a:lnTo>
                  <a:lnTo>
                    <a:pt x="1104" y="650"/>
                  </a:lnTo>
                  <a:lnTo>
                    <a:pt x="1100" y="650"/>
                  </a:lnTo>
                  <a:lnTo>
                    <a:pt x="1100" y="652"/>
                  </a:lnTo>
                  <a:lnTo>
                    <a:pt x="1104" y="650"/>
                  </a:lnTo>
                  <a:lnTo>
                    <a:pt x="1106" y="650"/>
                  </a:lnTo>
                  <a:lnTo>
                    <a:pt x="1110" y="650"/>
                  </a:lnTo>
                  <a:lnTo>
                    <a:pt x="1110" y="646"/>
                  </a:lnTo>
                  <a:lnTo>
                    <a:pt x="1110" y="650"/>
                  </a:lnTo>
                  <a:lnTo>
                    <a:pt x="1114" y="650"/>
                  </a:lnTo>
                  <a:lnTo>
                    <a:pt x="1110" y="650"/>
                  </a:lnTo>
                  <a:lnTo>
                    <a:pt x="1110" y="652"/>
                  </a:lnTo>
                  <a:lnTo>
                    <a:pt x="1110" y="650"/>
                  </a:lnTo>
                  <a:lnTo>
                    <a:pt x="1110" y="652"/>
                  </a:lnTo>
                  <a:lnTo>
                    <a:pt x="1106" y="652"/>
                  </a:lnTo>
                  <a:lnTo>
                    <a:pt x="1110" y="652"/>
                  </a:lnTo>
                  <a:lnTo>
                    <a:pt x="1114" y="652"/>
                  </a:lnTo>
                  <a:lnTo>
                    <a:pt x="1114" y="656"/>
                  </a:lnTo>
                  <a:lnTo>
                    <a:pt x="1118" y="656"/>
                  </a:lnTo>
                  <a:lnTo>
                    <a:pt x="1118" y="660"/>
                  </a:lnTo>
                  <a:lnTo>
                    <a:pt x="1114" y="660"/>
                  </a:lnTo>
                  <a:lnTo>
                    <a:pt x="1114" y="664"/>
                  </a:lnTo>
                  <a:lnTo>
                    <a:pt x="1110" y="664"/>
                  </a:lnTo>
                  <a:lnTo>
                    <a:pt x="1110" y="660"/>
                  </a:lnTo>
                  <a:lnTo>
                    <a:pt x="1110" y="664"/>
                  </a:lnTo>
                  <a:lnTo>
                    <a:pt x="1114" y="664"/>
                  </a:lnTo>
                  <a:lnTo>
                    <a:pt x="1118" y="664"/>
                  </a:lnTo>
                  <a:lnTo>
                    <a:pt x="1118" y="668"/>
                  </a:lnTo>
                  <a:lnTo>
                    <a:pt x="1118" y="672"/>
                  </a:lnTo>
                  <a:lnTo>
                    <a:pt x="1122" y="672"/>
                  </a:lnTo>
                  <a:lnTo>
                    <a:pt x="1126" y="672"/>
                  </a:lnTo>
                  <a:lnTo>
                    <a:pt x="1126" y="676"/>
                  </a:lnTo>
                  <a:lnTo>
                    <a:pt x="1122" y="676"/>
                  </a:lnTo>
                  <a:lnTo>
                    <a:pt x="1122" y="680"/>
                  </a:lnTo>
                  <a:lnTo>
                    <a:pt x="1118" y="680"/>
                  </a:lnTo>
                  <a:lnTo>
                    <a:pt x="1122" y="680"/>
                  </a:lnTo>
                  <a:lnTo>
                    <a:pt x="1118" y="680"/>
                  </a:lnTo>
                  <a:lnTo>
                    <a:pt x="1122" y="680"/>
                  </a:lnTo>
                  <a:lnTo>
                    <a:pt x="1122" y="682"/>
                  </a:lnTo>
                  <a:lnTo>
                    <a:pt x="1118" y="682"/>
                  </a:lnTo>
                  <a:lnTo>
                    <a:pt x="1118" y="680"/>
                  </a:lnTo>
                  <a:lnTo>
                    <a:pt x="1114" y="680"/>
                  </a:lnTo>
                  <a:lnTo>
                    <a:pt x="1110" y="680"/>
                  </a:lnTo>
                  <a:lnTo>
                    <a:pt x="1114" y="680"/>
                  </a:lnTo>
                  <a:lnTo>
                    <a:pt x="1114" y="676"/>
                  </a:lnTo>
                  <a:lnTo>
                    <a:pt x="1110" y="676"/>
                  </a:lnTo>
                  <a:lnTo>
                    <a:pt x="1110" y="680"/>
                  </a:lnTo>
                  <a:lnTo>
                    <a:pt x="1114" y="680"/>
                  </a:lnTo>
                  <a:lnTo>
                    <a:pt x="1118" y="682"/>
                  </a:lnTo>
                  <a:lnTo>
                    <a:pt x="1114" y="682"/>
                  </a:lnTo>
                  <a:lnTo>
                    <a:pt x="1118" y="682"/>
                  </a:lnTo>
                  <a:lnTo>
                    <a:pt x="1122" y="682"/>
                  </a:lnTo>
                  <a:lnTo>
                    <a:pt x="1122" y="686"/>
                  </a:lnTo>
                  <a:lnTo>
                    <a:pt x="1118" y="686"/>
                  </a:lnTo>
                  <a:lnTo>
                    <a:pt x="1118" y="682"/>
                  </a:lnTo>
                  <a:lnTo>
                    <a:pt x="1114" y="686"/>
                  </a:lnTo>
                  <a:lnTo>
                    <a:pt x="1118" y="686"/>
                  </a:lnTo>
                  <a:lnTo>
                    <a:pt x="1114" y="686"/>
                  </a:lnTo>
                  <a:lnTo>
                    <a:pt x="1118" y="686"/>
                  </a:lnTo>
                  <a:lnTo>
                    <a:pt x="1122" y="686"/>
                  </a:lnTo>
                  <a:lnTo>
                    <a:pt x="1122" y="690"/>
                  </a:lnTo>
                  <a:lnTo>
                    <a:pt x="1118" y="690"/>
                  </a:lnTo>
                  <a:lnTo>
                    <a:pt x="1114" y="690"/>
                  </a:lnTo>
                  <a:lnTo>
                    <a:pt x="1118" y="690"/>
                  </a:lnTo>
                  <a:lnTo>
                    <a:pt x="1122" y="690"/>
                  </a:lnTo>
                  <a:lnTo>
                    <a:pt x="1126" y="690"/>
                  </a:lnTo>
                  <a:lnTo>
                    <a:pt x="1126" y="694"/>
                  </a:lnTo>
                  <a:lnTo>
                    <a:pt x="1130" y="694"/>
                  </a:lnTo>
                  <a:lnTo>
                    <a:pt x="1126" y="694"/>
                  </a:lnTo>
                  <a:lnTo>
                    <a:pt x="1126" y="698"/>
                  </a:lnTo>
                  <a:lnTo>
                    <a:pt x="1130" y="698"/>
                  </a:lnTo>
                  <a:lnTo>
                    <a:pt x="1132" y="698"/>
                  </a:lnTo>
                  <a:lnTo>
                    <a:pt x="1136" y="698"/>
                  </a:lnTo>
                  <a:lnTo>
                    <a:pt x="1136" y="702"/>
                  </a:lnTo>
                  <a:lnTo>
                    <a:pt x="1132" y="702"/>
                  </a:lnTo>
                  <a:lnTo>
                    <a:pt x="1136" y="702"/>
                  </a:lnTo>
                  <a:lnTo>
                    <a:pt x="1136" y="698"/>
                  </a:lnTo>
                  <a:lnTo>
                    <a:pt x="1136" y="702"/>
                  </a:lnTo>
                  <a:lnTo>
                    <a:pt x="1136" y="706"/>
                  </a:lnTo>
                  <a:lnTo>
                    <a:pt x="1136" y="702"/>
                  </a:lnTo>
                  <a:lnTo>
                    <a:pt x="1140" y="702"/>
                  </a:lnTo>
                  <a:lnTo>
                    <a:pt x="1136" y="702"/>
                  </a:lnTo>
                  <a:lnTo>
                    <a:pt x="1136" y="706"/>
                  </a:lnTo>
                  <a:lnTo>
                    <a:pt x="1140" y="706"/>
                  </a:lnTo>
                  <a:lnTo>
                    <a:pt x="1140" y="708"/>
                  </a:lnTo>
                  <a:lnTo>
                    <a:pt x="1136" y="708"/>
                  </a:lnTo>
                  <a:lnTo>
                    <a:pt x="1140" y="708"/>
                  </a:lnTo>
                  <a:lnTo>
                    <a:pt x="1140" y="706"/>
                  </a:lnTo>
                  <a:lnTo>
                    <a:pt x="1144" y="706"/>
                  </a:lnTo>
                  <a:lnTo>
                    <a:pt x="1144" y="708"/>
                  </a:lnTo>
                  <a:lnTo>
                    <a:pt x="1140" y="708"/>
                  </a:lnTo>
                  <a:lnTo>
                    <a:pt x="1140" y="712"/>
                  </a:lnTo>
                  <a:lnTo>
                    <a:pt x="1136" y="712"/>
                  </a:lnTo>
                  <a:lnTo>
                    <a:pt x="1140" y="712"/>
                  </a:lnTo>
                  <a:lnTo>
                    <a:pt x="1136" y="716"/>
                  </a:lnTo>
                  <a:lnTo>
                    <a:pt x="1140" y="716"/>
                  </a:lnTo>
                  <a:lnTo>
                    <a:pt x="1140" y="712"/>
                  </a:lnTo>
                  <a:lnTo>
                    <a:pt x="1144" y="712"/>
                  </a:lnTo>
                  <a:lnTo>
                    <a:pt x="1144" y="716"/>
                  </a:lnTo>
                  <a:lnTo>
                    <a:pt x="1140" y="716"/>
                  </a:lnTo>
                  <a:lnTo>
                    <a:pt x="1144" y="716"/>
                  </a:lnTo>
                  <a:lnTo>
                    <a:pt x="1144" y="712"/>
                  </a:lnTo>
                  <a:lnTo>
                    <a:pt x="1148" y="712"/>
                  </a:lnTo>
                  <a:lnTo>
                    <a:pt x="1148" y="708"/>
                  </a:lnTo>
                  <a:lnTo>
                    <a:pt x="1148" y="712"/>
                  </a:lnTo>
                  <a:lnTo>
                    <a:pt x="1144" y="712"/>
                  </a:lnTo>
                  <a:lnTo>
                    <a:pt x="1144" y="716"/>
                  </a:lnTo>
                  <a:lnTo>
                    <a:pt x="1148" y="716"/>
                  </a:lnTo>
                  <a:lnTo>
                    <a:pt x="1152" y="712"/>
                  </a:lnTo>
                  <a:lnTo>
                    <a:pt x="1152" y="716"/>
                  </a:lnTo>
                  <a:lnTo>
                    <a:pt x="1148" y="720"/>
                  </a:lnTo>
                  <a:lnTo>
                    <a:pt x="1148" y="724"/>
                  </a:lnTo>
                  <a:lnTo>
                    <a:pt x="1148" y="720"/>
                  </a:lnTo>
                  <a:lnTo>
                    <a:pt x="1152" y="720"/>
                  </a:lnTo>
                  <a:lnTo>
                    <a:pt x="1156" y="716"/>
                  </a:lnTo>
                  <a:lnTo>
                    <a:pt x="1156" y="712"/>
                  </a:lnTo>
                  <a:lnTo>
                    <a:pt x="1160" y="712"/>
                  </a:lnTo>
                  <a:lnTo>
                    <a:pt x="1156" y="712"/>
                  </a:lnTo>
                  <a:lnTo>
                    <a:pt x="1156" y="716"/>
                  </a:lnTo>
                  <a:lnTo>
                    <a:pt x="1160" y="716"/>
                  </a:lnTo>
                  <a:lnTo>
                    <a:pt x="1160" y="712"/>
                  </a:lnTo>
                  <a:lnTo>
                    <a:pt x="1160" y="716"/>
                  </a:lnTo>
                  <a:lnTo>
                    <a:pt x="1160" y="720"/>
                  </a:lnTo>
                  <a:lnTo>
                    <a:pt x="1162" y="720"/>
                  </a:lnTo>
                  <a:lnTo>
                    <a:pt x="1166" y="724"/>
                  </a:lnTo>
                  <a:lnTo>
                    <a:pt x="1166" y="720"/>
                  </a:lnTo>
                  <a:lnTo>
                    <a:pt x="1170" y="720"/>
                  </a:lnTo>
                  <a:lnTo>
                    <a:pt x="1170" y="724"/>
                  </a:lnTo>
                  <a:lnTo>
                    <a:pt x="1174" y="724"/>
                  </a:lnTo>
                  <a:lnTo>
                    <a:pt x="1178" y="724"/>
                  </a:lnTo>
                  <a:lnTo>
                    <a:pt x="1182" y="724"/>
                  </a:lnTo>
                  <a:lnTo>
                    <a:pt x="1182" y="728"/>
                  </a:lnTo>
                  <a:lnTo>
                    <a:pt x="1178" y="728"/>
                  </a:lnTo>
                  <a:lnTo>
                    <a:pt x="1182" y="728"/>
                  </a:lnTo>
                  <a:lnTo>
                    <a:pt x="1182" y="732"/>
                  </a:lnTo>
                  <a:lnTo>
                    <a:pt x="1178" y="732"/>
                  </a:lnTo>
                  <a:lnTo>
                    <a:pt x="1174" y="732"/>
                  </a:lnTo>
                  <a:lnTo>
                    <a:pt x="1170" y="732"/>
                  </a:lnTo>
                  <a:lnTo>
                    <a:pt x="1174" y="732"/>
                  </a:lnTo>
                  <a:lnTo>
                    <a:pt x="1170" y="736"/>
                  </a:lnTo>
                  <a:lnTo>
                    <a:pt x="1166" y="736"/>
                  </a:lnTo>
                  <a:lnTo>
                    <a:pt x="1162" y="736"/>
                  </a:lnTo>
                  <a:lnTo>
                    <a:pt x="1160" y="736"/>
                  </a:lnTo>
                  <a:lnTo>
                    <a:pt x="1156" y="738"/>
                  </a:lnTo>
                  <a:lnTo>
                    <a:pt x="1152" y="738"/>
                  </a:lnTo>
                  <a:lnTo>
                    <a:pt x="1156" y="738"/>
                  </a:lnTo>
                  <a:lnTo>
                    <a:pt x="1160" y="738"/>
                  </a:lnTo>
                  <a:lnTo>
                    <a:pt x="1162" y="736"/>
                  </a:lnTo>
                  <a:lnTo>
                    <a:pt x="1166" y="736"/>
                  </a:lnTo>
                  <a:lnTo>
                    <a:pt x="1166" y="738"/>
                  </a:lnTo>
                  <a:lnTo>
                    <a:pt x="1162" y="738"/>
                  </a:lnTo>
                  <a:lnTo>
                    <a:pt x="1160" y="738"/>
                  </a:lnTo>
                  <a:lnTo>
                    <a:pt x="1156" y="738"/>
                  </a:lnTo>
                  <a:lnTo>
                    <a:pt x="1156" y="742"/>
                  </a:lnTo>
                  <a:lnTo>
                    <a:pt x="1152" y="742"/>
                  </a:lnTo>
                  <a:lnTo>
                    <a:pt x="1148" y="742"/>
                  </a:lnTo>
                  <a:lnTo>
                    <a:pt x="1144" y="742"/>
                  </a:lnTo>
                  <a:lnTo>
                    <a:pt x="1144" y="746"/>
                  </a:lnTo>
                  <a:lnTo>
                    <a:pt x="1144" y="750"/>
                  </a:lnTo>
                  <a:lnTo>
                    <a:pt x="1140" y="746"/>
                  </a:lnTo>
                  <a:lnTo>
                    <a:pt x="1136" y="746"/>
                  </a:lnTo>
                  <a:lnTo>
                    <a:pt x="1132" y="742"/>
                  </a:lnTo>
                  <a:lnTo>
                    <a:pt x="1132" y="746"/>
                  </a:lnTo>
                  <a:lnTo>
                    <a:pt x="1136" y="746"/>
                  </a:lnTo>
                  <a:lnTo>
                    <a:pt x="1140" y="746"/>
                  </a:lnTo>
                  <a:lnTo>
                    <a:pt x="1140" y="750"/>
                  </a:lnTo>
                  <a:lnTo>
                    <a:pt x="1144" y="750"/>
                  </a:lnTo>
                  <a:lnTo>
                    <a:pt x="1140" y="754"/>
                  </a:lnTo>
                  <a:lnTo>
                    <a:pt x="1144" y="754"/>
                  </a:lnTo>
                  <a:lnTo>
                    <a:pt x="1140" y="754"/>
                  </a:lnTo>
                  <a:lnTo>
                    <a:pt x="1144" y="754"/>
                  </a:lnTo>
                  <a:lnTo>
                    <a:pt x="1144" y="750"/>
                  </a:lnTo>
                  <a:lnTo>
                    <a:pt x="1148" y="750"/>
                  </a:lnTo>
                  <a:lnTo>
                    <a:pt x="1152" y="750"/>
                  </a:lnTo>
                  <a:lnTo>
                    <a:pt x="1152" y="746"/>
                  </a:lnTo>
                  <a:lnTo>
                    <a:pt x="1156" y="746"/>
                  </a:lnTo>
                  <a:lnTo>
                    <a:pt x="1160" y="746"/>
                  </a:lnTo>
                  <a:lnTo>
                    <a:pt x="1160" y="742"/>
                  </a:lnTo>
                  <a:lnTo>
                    <a:pt x="1162" y="742"/>
                  </a:lnTo>
                  <a:lnTo>
                    <a:pt x="1166" y="738"/>
                  </a:lnTo>
                  <a:lnTo>
                    <a:pt x="1170" y="738"/>
                  </a:lnTo>
                  <a:lnTo>
                    <a:pt x="1174" y="738"/>
                  </a:lnTo>
                  <a:lnTo>
                    <a:pt x="1178" y="738"/>
                  </a:lnTo>
                  <a:lnTo>
                    <a:pt x="1174" y="736"/>
                  </a:lnTo>
                  <a:lnTo>
                    <a:pt x="1170" y="736"/>
                  </a:lnTo>
                  <a:lnTo>
                    <a:pt x="1166" y="736"/>
                  </a:lnTo>
                  <a:lnTo>
                    <a:pt x="1170" y="736"/>
                  </a:lnTo>
                  <a:lnTo>
                    <a:pt x="1174" y="736"/>
                  </a:lnTo>
                  <a:lnTo>
                    <a:pt x="1178" y="736"/>
                  </a:lnTo>
                  <a:lnTo>
                    <a:pt x="1182" y="736"/>
                  </a:lnTo>
                  <a:lnTo>
                    <a:pt x="1182" y="738"/>
                  </a:lnTo>
                  <a:lnTo>
                    <a:pt x="1186" y="742"/>
                  </a:lnTo>
                  <a:lnTo>
                    <a:pt x="1186" y="746"/>
                  </a:lnTo>
                  <a:lnTo>
                    <a:pt x="1182" y="746"/>
                  </a:lnTo>
                  <a:lnTo>
                    <a:pt x="1186" y="750"/>
                  </a:lnTo>
                  <a:lnTo>
                    <a:pt x="1182" y="750"/>
                  </a:lnTo>
                  <a:lnTo>
                    <a:pt x="1186" y="750"/>
                  </a:lnTo>
                  <a:lnTo>
                    <a:pt x="1186" y="746"/>
                  </a:lnTo>
                  <a:lnTo>
                    <a:pt x="1188" y="746"/>
                  </a:lnTo>
                  <a:lnTo>
                    <a:pt x="1192" y="746"/>
                  </a:lnTo>
                  <a:lnTo>
                    <a:pt x="1192" y="742"/>
                  </a:lnTo>
                  <a:lnTo>
                    <a:pt x="1196" y="742"/>
                  </a:lnTo>
                  <a:lnTo>
                    <a:pt x="1196" y="746"/>
                  </a:lnTo>
                  <a:lnTo>
                    <a:pt x="1192" y="746"/>
                  </a:lnTo>
                  <a:lnTo>
                    <a:pt x="1196" y="746"/>
                  </a:lnTo>
                  <a:lnTo>
                    <a:pt x="1200" y="746"/>
                  </a:lnTo>
                  <a:lnTo>
                    <a:pt x="1204" y="750"/>
                  </a:lnTo>
                  <a:lnTo>
                    <a:pt x="1200" y="750"/>
                  </a:lnTo>
                  <a:lnTo>
                    <a:pt x="1204" y="750"/>
                  </a:lnTo>
                  <a:lnTo>
                    <a:pt x="1200" y="754"/>
                  </a:lnTo>
                  <a:lnTo>
                    <a:pt x="1204" y="754"/>
                  </a:lnTo>
                  <a:lnTo>
                    <a:pt x="1204" y="758"/>
                  </a:lnTo>
                  <a:lnTo>
                    <a:pt x="1204" y="762"/>
                  </a:lnTo>
                  <a:lnTo>
                    <a:pt x="1200" y="762"/>
                  </a:lnTo>
                  <a:lnTo>
                    <a:pt x="1204" y="762"/>
                  </a:lnTo>
                  <a:lnTo>
                    <a:pt x="1204" y="766"/>
                  </a:lnTo>
                  <a:lnTo>
                    <a:pt x="1200" y="766"/>
                  </a:lnTo>
                  <a:lnTo>
                    <a:pt x="1204" y="768"/>
                  </a:lnTo>
                  <a:lnTo>
                    <a:pt x="1200" y="768"/>
                  </a:lnTo>
                  <a:lnTo>
                    <a:pt x="1204" y="768"/>
                  </a:lnTo>
                  <a:lnTo>
                    <a:pt x="1200" y="768"/>
                  </a:lnTo>
                  <a:lnTo>
                    <a:pt x="1196" y="768"/>
                  </a:lnTo>
                  <a:lnTo>
                    <a:pt x="1200" y="768"/>
                  </a:lnTo>
                  <a:lnTo>
                    <a:pt x="1204" y="772"/>
                  </a:lnTo>
                  <a:lnTo>
                    <a:pt x="1208" y="772"/>
                  </a:lnTo>
                  <a:lnTo>
                    <a:pt x="1204" y="776"/>
                  </a:lnTo>
                  <a:lnTo>
                    <a:pt x="1204" y="772"/>
                  </a:lnTo>
                  <a:lnTo>
                    <a:pt x="1200" y="772"/>
                  </a:lnTo>
                  <a:lnTo>
                    <a:pt x="1204" y="772"/>
                  </a:lnTo>
                  <a:lnTo>
                    <a:pt x="1204" y="776"/>
                  </a:lnTo>
                  <a:lnTo>
                    <a:pt x="1208" y="776"/>
                  </a:lnTo>
                  <a:lnTo>
                    <a:pt x="1208" y="780"/>
                  </a:lnTo>
                  <a:lnTo>
                    <a:pt x="1204" y="784"/>
                  </a:lnTo>
                  <a:lnTo>
                    <a:pt x="1200" y="784"/>
                  </a:lnTo>
                  <a:lnTo>
                    <a:pt x="1200" y="788"/>
                  </a:lnTo>
                  <a:lnTo>
                    <a:pt x="1196" y="788"/>
                  </a:lnTo>
                  <a:lnTo>
                    <a:pt x="1192" y="792"/>
                  </a:lnTo>
                  <a:lnTo>
                    <a:pt x="1188" y="792"/>
                  </a:lnTo>
                  <a:lnTo>
                    <a:pt x="1188" y="794"/>
                  </a:lnTo>
                  <a:lnTo>
                    <a:pt x="1186" y="794"/>
                  </a:lnTo>
                  <a:lnTo>
                    <a:pt x="1186" y="792"/>
                  </a:lnTo>
                  <a:lnTo>
                    <a:pt x="1182" y="792"/>
                  </a:lnTo>
                  <a:lnTo>
                    <a:pt x="1182" y="794"/>
                  </a:lnTo>
                  <a:lnTo>
                    <a:pt x="1178" y="794"/>
                  </a:lnTo>
                  <a:lnTo>
                    <a:pt x="1178" y="792"/>
                  </a:lnTo>
                  <a:lnTo>
                    <a:pt x="1174" y="794"/>
                  </a:lnTo>
                  <a:lnTo>
                    <a:pt x="1170" y="798"/>
                  </a:lnTo>
                  <a:lnTo>
                    <a:pt x="1166" y="794"/>
                  </a:lnTo>
                  <a:lnTo>
                    <a:pt x="1166" y="798"/>
                  </a:lnTo>
                  <a:lnTo>
                    <a:pt x="1162" y="798"/>
                  </a:lnTo>
                  <a:lnTo>
                    <a:pt x="1166" y="798"/>
                  </a:lnTo>
                  <a:lnTo>
                    <a:pt x="1162" y="802"/>
                  </a:lnTo>
                  <a:lnTo>
                    <a:pt x="1160" y="802"/>
                  </a:lnTo>
                  <a:lnTo>
                    <a:pt x="1160" y="806"/>
                  </a:lnTo>
                  <a:lnTo>
                    <a:pt x="1160" y="810"/>
                  </a:lnTo>
                  <a:lnTo>
                    <a:pt x="1160" y="806"/>
                  </a:lnTo>
                  <a:lnTo>
                    <a:pt x="1156" y="810"/>
                  </a:lnTo>
                  <a:lnTo>
                    <a:pt x="1152" y="810"/>
                  </a:lnTo>
                  <a:lnTo>
                    <a:pt x="1152" y="814"/>
                  </a:lnTo>
                  <a:lnTo>
                    <a:pt x="1148" y="814"/>
                  </a:lnTo>
                  <a:lnTo>
                    <a:pt x="1148" y="818"/>
                  </a:lnTo>
                  <a:lnTo>
                    <a:pt x="1144" y="818"/>
                  </a:lnTo>
                  <a:lnTo>
                    <a:pt x="1140" y="818"/>
                  </a:lnTo>
                  <a:lnTo>
                    <a:pt x="1136" y="818"/>
                  </a:lnTo>
                  <a:lnTo>
                    <a:pt x="1136" y="822"/>
                  </a:lnTo>
                  <a:lnTo>
                    <a:pt x="1136" y="818"/>
                  </a:lnTo>
                  <a:lnTo>
                    <a:pt x="1132" y="822"/>
                  </a:lnTo>
                  <a:lnTo>
                    <a:pt x="1130" y="822"/>
                  </a:lnTo>
                  <a:lnTo>
                    <a:pt x="1126" y="822"/>
                  </a:lnTo>
                  <a:lnTo>
                    <a:pt x="1122" y="822"/>
                  </a:lnTo>
                  <a:lnTo>
                    <a:pt x="1118" y="822"/>
                  </a:lnTo>
                  <a:lnTo>
                    <a:pt x="1118" y="818"/>
                  </a:lnTo>
                  <a:lnTo>
                    <a:pt x="1114" y="818"/>
                  </a:lnTo>
                  <a:lnTo>
                    <a:pt x="1110" y="818"/>
                  </a:lnTo>
                  <a:lnTo>
                    <a:pt x="1106" y="818"/>
                  </a:lnTo>
                  <a:lnTo>
                    <a:pt x="1100" y="818"/>
                  </a:lnTo>
                  <a:lnTo>
                    <a:pt x="1096" y="818"/>
                  </a:lnTo>
                  <a:lnTo>
                    <a:pt x="1092" y="818"/>
                  </a:lnTo>
                  <a:lnTo>
                    <a:pt x="1088" y="818"/>
                  </a:lnTo>
                  <a:lnTo>
                    <a:pt x="1084" y="818"/>
                  </a:lnTo>
                  <a:lnTo>
                    <a:pt x="1080" y="818"/>
                  </a:lnTo>
                  <a:lnTo>
                    <a:pt x="1076" y="818"/>
                  </a:lnTo>
                  <a:lnTo>
                    <a:pt x="1074" y="818"/>
                  </a:lnTo>
                  <a:lnTo>
                    <a:pt x="1070" y="818"/>
                  </a:lnTo>
                  <a:lnTo>
                    <a:pt x="1066" y="818"/>
                  </a:lnTo>
                  <a:lnTo>
                    <a:pt x="1062" y="818"/>
                  </a:lnTo>
                  <a:lnTo>
                    <a:pt x="1060" y="818"/>
                  </a:lnTo>
                  <a:lnTo>
                    <a:pt x="1060" y="822"/>
                  </a:lnTo>
                  <a:lnTo>
                    <a:pt x="1056" y="822"/>
                  </a:lnTo>
                  <a:lnTo>
                    <a:pt x="1056" y="818"/>
                  </a:lnTo>
                  <a:lnTo>
                    <a:pt x="1052" y="822"/>
                  </a:lnTo>
                  <a:lnTo>
                    <a:pt x="1048" y="824"/>
                  </a:lnTo>
                  <a:lnTo>
                    <a:pt x="1048" y="828"/>
                  </a:lnTo>
                  <a:lnTo>
                    <a:pt x="1044" y="828"/>
                  </a:lnTo>
                  <a:lnTo>
                    <a:pt x="1044" y="832"/>
                  </a:lnTo>
                  <a:lnTo>
                    <a:pt x="1044" y="836"/>
                  </a:lnTo>
                  <a:lnTo>
                    <a:pt x="1040" y="836"/>
                  </a:lnTo>
                  <a:lnTo>
                    <a:pt x="1036" y="840"/>
                  </a:lnTo>
                  <a:lnTo>
                    <a:pt x="1032" y="840"/>
                  </a:lnTo>
                  <a:lnTo>
                    <a:pt x="1030" y="840"/>
                  </a:lnTo>
                  <a:lnTo>
                    <a:pt x="1030" y="844"/>
                  </a:lnTo>
                  <a:lnTo>
                    <a:pt x="1026" y="844"/>
                  </a:lnTo>
                  <a:lnTo>
                    <a:pt x="1022" y="848"/>
                  </a:lnTo>
                  <a:lnTo>
                    <a:pt x="1018" y="852"/>
                  </a:lnTo>
                  <a:lnTo>
                    <a:pt x="1018" y="854"/>
                  </a:lnTo>
                  <a:lnTo>
                    <a:pt x="1014" y="854"/>
                  </a:lnTo>
                  <a:lnTo>
                    <a:pt x="1014" y="858"/>
                  </a:lnTo>
                  <a:lnTo>
                    <a:pt x="1010" y="858"/>
                  </a:lnTo>
                  <a:lnTo>
                    <a:pt x="1010" y="862"/>
                  </a:lnTo>
                  <a:lnTo>
                    <a:pt x="1006" y="862"/>
                  </a:lnTo>
                  <a:lnTo>
                    <a:pt x="1004" y="858"/>
                  </a:lnTo>
                  <a:lnTo>
                    <a:pt x="1000" y="858"/>
                  </a:lnTo>
                  <a:lnTo>
                    <a:pt x="996" y="858"/>
                  </a:lnTo>
                  <a:lnTo>
                    <a:pt x="996" y="854"/>
                  </a:lnTo>
                  <a:lnTo>
                    <a:pt x="992" y="854"/>
                  </a:lnTo>
                  <a:lnTo>
                    <a:pt x="988" y="854"/>
                  </a:lnTo>
                  <a:lnTo>
                    <a:pt x="992" y="854"/>
                  </a:lnTo>
                  <a:lnTo>
                    <a:pt x="992" y="858"/>
                  </a:lnTo>
                  <a:lnTo>
                    <a:pt x="996" y="858"/>
                  </a:lnTo>
                  <a:lnTo>
                    <a:pt x="1000" y="858"/>
                  </a:lnTo>
                  <a:lnTo>
                    <a:pt x="1004" y="858"/>
                  </a:lnTo>
                  <a:lnTo>
                    <a:pt x="1006" y="862"/>
                  </a:lnTo>
                  <a:lnTo>
                    <a:pt x="1006" y="866"/>
                  </a:lnTo>
                  <a:lnTo>
                    <a:pt x="1006" y="870"/>
                  </a:lnTo>
                  <a:lnTo>
                    <a:pt x="1004" y="870"/>
                  </a:lnTo>
                  <a:lnTo>
                    <a:pt x="1004" y="874"/>
                  </a:lnTo>
                  <a:lnTo>
                    <a:pt x="1004" y="878"/>
                  </a:lnTo>
                  <a:lnTo>
                    <a:pt x="1000" y="878"/>
                  </a:lnTo>
                  <a:lnTo>
                    <a:pt x="996" y="878"/>
                  </a:lnTo>
                  <a:lnTo>
                    <a:pt x="996" y="880"/>
                  </a:lnTo>
                  <a:lnTo>
                    <a:pt x="996" y="884"/>
                  </a:lnTo>
                  <a:lnTo>
                    <a:pt x="992" y="884"/>
                  </a:lnTo>
                  <a:lnTo>
                    <a:pt x="988" y="888"/>
                  </a:lnTo>
                  <a:lnTo>
                    <a:pt x="984" y="892"/>
                  </a:lnTo>
                  <a:lnTo>
                    <a:pt x="988" y="888"/>
                  </a:lnTo>
                  <a:lnTo>
                    <a:pt x="992" y="888"/>
                  </a:lnTo>
                  <a:lnTo>
                    <a:pt x="996" y="888"/>
                  </a:lnTo>
                  <a:lnTo>
                    <a:pt x="996" y="884"/>
                  </a:lnTo>
                  <a:lnTo>
                    <a:pt x="1000" y="884"/>
                  </a:lnTo>
                  <a:lnTo>
                    <a:pt x="1000" y="880"/>
                  </a:lnTo>
                  <a:lnTo>
                    <a:pt x="1004" y="878"/>
                  </a:lnTo>
                  <a:lnTo>
                    <a:pt x="1004" y="874"/>
                  </a:lnTo>
                  <a:lnTo>
                    <a:pt x="1006" y="874"/>
                  </a:lnTo>
                  <a:lnTo>
                    <a:pt x="1010" y="870"/>
                  </a:lnTo>
                  <a:lnTo>
                    <a:pt x="1010" y="866"/>
                  </a:lnTo>
                  <a:lnTo>
                    <a:pt x="1014" y="866"/>
                  </a:lnTo>
                  <a:lnTo>
                    <a:pt x="1014" y="862"/>
                  </a:lnTo>
                  <a:lnTo>
                    <a:pt x="1018" y="862"/>
                  </a:lnTo>
                  <a:lnTo>
                    <a:pt x="1018" y="858"/>
                  </a:lnTo>
                  <a:lnTo>
                    <a:pt x="1022" y="858"/>
                  </a:lnTo>
                  <a:lnTo>
                    <a:pt x="1026" y="854"/>
                  </a:lnTo>
                  <a:lnTo>
                    <a:pt x="1030" y="854"/>
                  </a:lnTo>
                  <a:lnTo>
                    <a:pt x="1030" y="852"/>
                  </a:lnTo>
                  <a:lnTo>
                    <a:pt x="1032" y="852"/>
                  </a:lnTo>
                  <a:lnTo>
                    <a:pt x="1036" y="848"/>
                  </a:lnTo>
                  <a:lnTo>
                    <a:pt x="1040" y="848"/>
                  </a:lnTo>
                  <a:lnTo>
                    <a:pt x="1044" y="848"/>
                  </a:lnTo>
                  <a:lnTo>
                    <a:pt x="1044" y="844"/>
                  </a:lnTo>
                  <a:lnTo>
                    <a:pt x="1048" y="844"/>
                  </a:lnTo>
                  <a:lnTo>
                    <a:pt x="1052" y="844"/>
                  </a:lnTo>
                  <a:lnTo>
                    <a:pt x="1056" y="840"/>
                  </a:lnTo>
                  <a:lnTo>
                    <a:pt x="1060" y="840"/>
                  </a:lnTo>
                  <a:lnTo>
                    <a:pt x="1062" y="840"/>
                  </a:lnTo>
                  <a:lnTo>
                    <a:pt x="1066" y="840"/>
                  </a:lnTo>
                  <a:lnTo>
                    <a:pt x="1070" y="840"/>
                  </a:lnTo>
                  <a:lnTo>
                    <a:pt x="1074" y="840"/>
                  </a:lnTo>
                  <a:lnTo>
                    <a:pt x="1076" y="840"/>
                  </a:lnTo>
                  <a:lnTo>
                    <a:pt x="1080" y="844"/>
                  </a:lnTo>
                  <a:lnTo>
                    <a:pt x="1084" y="844"/>
                  </a:lnTo>
                  <a:lnTo>
                    <a:pt x="1084" y="848"/>
                  </a:lnTo>
                  <a:lnTo>
                    <a:pt x="1088" y="852"/>
                  </a:lnTo>
                  <a:lnTo>
                    <a:pt x="1084" y="848"/>
                  </a:lnTo>
                  <a:lnTo>
                    <a:pt x="1080" y="848"/>
                  </a:lnTo>
                  <a:lnTo>
                    <a:pt x="1084" y="848"/>
                  </a:lnTo>
                  <a:lnTo>
                    <a:pt x="1084" y="852"/>
                  </a:lnTo>
                  <a:lnTo>
                    <a:pt x="1088" y="852"/>
                  </a:lnTo>
                  <a:lnTo>
                    <a:pt x="1084" y="852"/>
                  </a:lnTo>
                  <a:lnTo>
                    <a:pt x="1084" y="854"/>
                  </a:lnTo>
                  <a:lnTo>
                    <a:pt x="1084" y="858"/>
                  </a:lnTo>
                  <a:lnTo>
                    <a:pt x="1080" y="858"/>
                  </a:lnTo>
                  <a:lnTo>
                    <a:pt x="1076" y="858"/>
                  </a:lnTo>
                  <a:lnTo>
                    <a:pt x="1076" y="862"/>
                  </a:lnTo>
                  <a:lnTo>
                    <a:pt x="1074" y="862"/>
                  </a:lnTo>
                  <a:lnTo>
                    <a:pt x="1074" y="866"/>
                  </a:lnTo>
                  <a:lnTo>
                    <a:pt x="1070" y="866"/>
                  </a:lnTo>
                  <a:lnTo>
                    <a:pt x="1066" y="866"/>
                  </a:lnTo>
                  <a:lnTo>
                    <a:pt x="1066" y="862"/>
                  </a:lnTo>
                  <a:lnTo>
                    <a:pt x="1062" y="862"/>
                  </a:lnTo>
                  <a:lnTo>
                    <a:pt x="1060" y="862"/>
                  </a:lnTo>
                  <a:lnTo>
                    <a:pt x="1056" y="862"/>
                  </a:lnTo>
                  <a:lnTo>
                    <a:pt x="1052" y="866"/>
                  </a:lnTo>
                  <a:lnTo>
                    <a:pt x="1048" y="866"/>
                  </a:lnTo>
                  <a:lnTo>
                    <a:pt x="1052" y="866"/>
                  </a:lnTo>
                  <a:lnTo>
                    <a:pt x="1056" y="862"/>
                  </a:lnTo>
                  <a:lnTo>
                    <a:pt x="1060" y="866"/>
                  </a:lnTo>
                  <a:lnTo>
                    <a:pt x="1062" y="866"/>
                  </a:lnTo>
                  <a:lnTo>
                    <a:pt x="1066" y="870"/>
                  </a:lnTo>
                  <a:lnTo>
                    <a:pt x="1066" y="874"/>
                  </a:lnTo>
                  <a:lnTo>
                    <a:pt x="1070" y="870"/>
                  </a:lnTo>
                  <a:lnTo>
                    <a:pt x="1074" y="870"/>
                  </a:lnTo>
                  <a:lnTo>
                    <a:pt x="1076" y="870"/>
                  </a:lnTo>
                  <a:lnTo>
                    <a:pt x="1080" y="870"/>
                  </a:lnTo>
                  <a:lnTo>
                    <a:pt x="1076" y="870"/>
                  </a:lnTo>
                  <a:lnTo>
                    <a:pt x="1076" y="874"/>
                  </a:lnTo>
                  <a:lnTo>
                    <a:pt x="1076" y="878"/>
                  </a:lnTo>
                  <a:lnTo>
                    <a:pt x="1074" y="880"/>
                  </a:lnTo>
                  <a:lnTo>
                    <a:pt x="1070" y="884"/>
                  </a:lnTo>
                  <a:lnTo>
                    <a:pt x="1074" y="884"/>
                  </a:lnTo>
                  <a:lnTo>
                    <a:pt x="1076" y="884"/>
                  </a:lnTo>
                  <a:lnTo>
                    <a:pt x="1076" y="888"/>
                  </a:lnTo>
                  <a:lnTo>
                    <a:pt x="1076" y="892"/>
                  </a:lnTo>
                  <a:lnTo>
                    <a:pt x="1080" y="896"/>
                  </a:lnTo>
                  <a:lnTo>
                    <a:pt x="1080" y="900"/>
                  </a:lnTo>
                  <a:lnTo>
                    <a:pt x="1084" y="900"/>
                  </a:lnTo>
                  <a:lnTo>
                    <a:pt x="1088" y="904"/>
                  </a:lnTo>
                  <a:lnTo>
                    <a:pt x="1092" y="904"/>
                  </a:lnTo>
                  <a:lnTo>
                    <a:pt x="1088" y="904"/>
                  </a:lnTo>
                  <a:lnTo>
                    <a:pt x="1088" y="908"/>
                  </a:lnTo>
                  <a:lnTo>
                    <a:pt x="1092" y="908"/>
                  </a:lnTo>
                  <a:lnTo>
                    <a:pt x="1092" y="910"/>
                  </a:lnTo>
                  <a:lnTo>
                    <a:pt x="1096" y="908"/>
                  </a:lnTo>
                  <a:lnTo>
                    <a:pt x="1096" y="910"/>
                  </a:lnTo>
                  <a:lnTo>
                    <a:pt x="1100" y="910"/>
                  </a:lnTo>
                  <a:lnTo>
                    <a:pt x="1104" y="910"/>
                  </a:lnTo>
                  <a:lnTo>
                    <a:pt x="1106" y="910"/>
                  </a:lnTo>
                  <a:lnTo>
                    <a:pt x="1110" y="910"/>
                  </a:lnTo>
                  <a:lnTo>
                    <a:pt x="1110" y="914"/>
                  </a:lnTo>
                  <a:lnTo>
                    <a:pt x="1114" y="910"/>
                  </a:lnTo>
                  <a:lnTo>
                    <a:pt x="1118" y="910"/>
                  </a:lnTo>
                  <a:lnTo>
                    <a:pt x="1118" y="908"/>
                  </a:lnTo>
                  <a:lnTo>
                    <a:pt x="1118" y="910"/>
                  </a:lnTo>
                  <a:lnTo>
                    <a:pt x="1122" y="914"/>
                  </a:lnTo>
                  <a:lnTo>
                    <a:pt x="1122" y="910"/>
                  </a:lnTo>
                  <a:lnTo>
                    <a:pt x="1126" y="910"/>
                  </a:lnTo>
                  <a:lnTo>
                    <a:pt x="1126" y="914"/>
                  </a:lnTo>
                  <a:lnTo>
                    <a:pt x="1130" y="914"/>
                  </a:lnTo>
                  <a:lnTo>
                    <a:pt x="1130" y="918"/>
                  </a:lnTo>
                  <a:lnTo>
                    <a:pt x="1126" y="918"/>
                  </a:lnTo>
                  <a:lnTo>
                    <a:pt x="1130" y="918"/>
                  </a:lnTo>
                  <a:lnTo>
                    <a:pt x="1132" y="918"/>
                  </a:lnTo>
                  <a:lnTo>
                    <a:pt x="1132" y="922"/>
                  </a:lnTo>
                  <a:lnTo>
                    <a:pt x="1130" y="922"/>
                  </a:lnTo>
                  <a:lnTo>
                    <a:pt x="1126" y="922"/>
                  </a:lnTo>
                  <a:lnTo>
                    <a:pt x="1122" y="922"/>
                  </a:lnTo>
                  <a:lnTo>
                    <a:pt x="1122" y="926"/>
                  </a:lnTo>
                  <a:lnTo>
                    <a:pt x="1118" y="926"/>
                  </a:lnTo>
                  <a:lnTo>
                    <a:pt x="1114" y="926"/>
                  </a:lnTo>
                  <a:lnTo>
                    <a:pt x="1110" y="930"/>
                  </a:lnTo>
                  <a:lnTo>
                    <a:pt x="1106" y="930"/>
                  </a:lnTo>
                  <a:lnTo>
                    <a:pt x="1104" y="934"/>
                  </a:lnTo>
                  <a:lnTo>
                    <a:pt x="1104" y="930"/>
                  </a:lnTo>
                  <a:lnTo>
                    <a:pt x="1104" y="934"/>
                  </a:lnTo>
                  <a:lnTo>
                    <a:pt x="1100" y="934"/>
                  </a:lnTo>
                  <a:lnTo>
                    <a:pt x="1096" y="934"/>
                  </a:lnTo>
                  <a:lnTo>
                    <a:pt x="1092" y="934"/>
                  </a:lnTo>
                  <a:lnTo>
                    <a:pt x="1096" y="934"/>
                  </a:lnTo>
                  <a:lnTo>
                    <a:pt x="1096" y="938"/>
                  </a:lnTo>
                  <a:lnTo>
                    <a:pt x="1088" y="938"/>
                  </a:lnTo>
                  <a:lnTo>
                    <a:pt x="1088" y="934"/>
                  </a:lnTo>
                  <a:lnTo>
                    <a:pt x="1088" y="938"/>
                  </a:lnTo>
                  <a:lnTo>
                    <a:pt x="1088" y="934"/>
                  </a:lnTo>
                  <a:lnTo>
                    <a:pt x="1084" y="934"/>
                  </a:lnTo>
                  <a:lnTo>
                    <a:pt x="1084" y="938"/>
                  </a:lnTo>
                  <a:lnTo>
                    <a:pt x="1084" y="940"/>
                  </a:lnTo>
                  <a:lnTo>
                    <a:pt x="1080" y="940"/>
                  </a:lnTo>
                  <a:lnTo>
                    <a:pt x="1080" y="944"/>
                  </a:lnTo>
                  <a:lnTo>
                    <a:pt x="1076" y="948"/>
                  </a:lnTo>
                  <a:lnTo>
                    <a:pt x="1074" y="952"/>
                  </a:lnTo>
                  <a:lnTo>
                    <a:pt x="1070" y="952"/>
                  </a:lnTo>
                  <a:lnTo>
                    <a:pt x="1070" y="956"/>
                  </a:lnTo>
                  <a:lnTo>
                    <a:pt x="1066" y="956"/>
                  </a:lnTo>
                  <a:lnTo>
                    <a:pt x="1062" y="956"/>
                  </a:lnTo>
                  <a:lnTo>
                    <a:pt x="1062" y="952"/>
                  </a:lnTo>
                  <a:lnTo>
                    <a:pt x="1062" y="948"/>
                  </a:lnTo>
                  <a:lnTo>
                    <a:pt x="1062" y="952"/>
                  </a:lnTo>
                  <a:lnTo>
                    <a:pt x="1060" y="952"/>
                  </a:lnTo>
                  <a:lnTo>
                    <a:pt x="1060" y="948"/>
                  </a:lnTo>
                  <a:lnTo>
                    <a:pt x="1060" y="944"/>
                  </a:lnTo>
                  <a:lnTo>
                    <a:pt x="1060" y="940"/>
                  </a:lnTo>
                  <a:lnTo>
                    <a:pt x="1060" y="938"/>
                  </a:lnTo>
                  <a:lnTo>
                    <a:pt x="1062" y="938"/>
                  </a:lnTo>
                  <a:lnTo>
                    <a:pt x="1062" y="934"/>
                  </a:lnTo>
                  <a:lnTo>
                    <a:pt x="1062" y="938"/>
                  </a:lnTo>
                  <a:lnTo>
                    <a:pt x="1060" y="938"/>
                  </a:lnTo>
                  <a:lnTo>
                    <a:pt x="1062" y="934"/>
                  </a:lnTo>
                  <a:lnTo>
                    <a:pt x="1066" y="934"/>
                  </a:lnTo>
                  <a:lnTo>
                    <a:pt x="1066" y="930"/>
                  </a:lnTo>
                  <a:lnTo>
                    <a:pt x="1066" y="934"/>
                  </a:lnTo>
                  <a:lnTo>
                    <a:pt x="1066" y="930"/>
                  </a:lnTo>
                  <a:lnTo>
                    <a:pt x="1070" y="926"/>
                  </a:lnTo>
                  <a:lnTo>
                    <a:pt x="1074" y="926"/>
                  </a:lnTo>
                  <a:lnTo>
                    <a:pt x="1076" y="926"/>
                  </a:lnTo>
                  <a:lnTo>
                    <a:pt x="1076" y="922"/>
                  </a:lnTo>
                  <a:lnTo>
                    <a:pt x="1080" y="922"/>
                  </a:lnTo>
                  <a:lnTo>
                    <a:pt x="1084" y="922"/>
                  </a:lnTo>
                  <a:lnTo>
                    <a:pt x="1084" y="918"/>
                  </a:lnTo>
                  <a:lnTo>
                    <a:pt x="1080" y="918"/>
                  </a:lnTo>
                  <a:lnTo>
                    <a:pt x="1084" y="918"/>
                  </a:lnTo>
                  <a:lnTo>
                    <a:pt x="1084" y="922"/>
                  </a:lnTo>
                  <a:lnTo>
                    <a:pt x="1084" y="926"/>
                  </a:lnTo>
                  <a:lnTo>
                    <a:pt x="1084" y="922"/>
                  </a:lnTo>
                  <a:lnTo>
                    <a:pt x="1088" y="926"/>
                  </a:lnTo>
                  <a:lnTo>
                    <a:pt x="1084" y="922"/>
                  </a:lnTo>
                  <a:lnTo>
                    <a:pt x="1088" y="922"/>
                  </a:lnTo>
                  <a:lnTo>
                    <a:pt x="1092" y="918"/>
                  </a:lnTo>
                  <a:lnTo>
                    <a:pt x="1096" y="918"/>
                  </a:lnTo>
                  <a:lnTo>
                    <a:pt x="1100" y="918"/>
                  </a:lnTo>
                  <a:lnTo>
                    <a:pt x="1092" y="918"/>
                  </a:lnTo>
                  <a:lnTo>
                    <a:pt x="1088" y="918"/>
                  </a:lnTo>
                  <a:lnTo>
                    <a:pt x="1084" y="918"/>
                  </a:lnTo>
                  <a:lnTo>
                    <a:pt x="1080" y="918"/>
                  </a:lnTo>
                  <a:lnTo>
                    <a:pt x="1076" y="918"/>
                  </a:lnTo>
                  <a:lnTo>
                    <a:pt x="1076" y="914"/>
                  </a:lnTo>
                  <a:lnTo>
                    <a:pt x="1080" y="914"/>
                  </a:lnTo>
                  <a:lnTo>
                    <a:pt x="1080" y="910"/>
                  </a:lnTo>
                  <a:lnTo>
                    <a:pt x="1084" y="910"/>
                  </a:lnTo>
                  <a:lnTo>
                    <a:pt x="1084" y="908"/>
                  </a:lnTo>
                  <a:lnTo>
                    <a:pt x="1084" y="910"/>
                  </a:lnTo>
                  <a:lnTo>
                    <a:pt x="1080" y="910"/>
                  </a:lnTo>
                  <a:lnTo>
                    <a:pt x="1080" y="908"/>
                  </a:lnTo>
                  <a:lnTo>
                    <a:pt x="1080" y="904"/>
                  </a:lnTo>
                  <a:lnTo>
                    <a:pt x="1076" y="904"/>
                  </a:lnTo>
                  <a:lnTo>
                    <a:pt x="1076" y="908"/>
                  </a:lnTo>
                  <a:lnTo>
                    <a:pt x="1080" y="908"/>
                  </a:lnTo>
                  <a:lnTo>
                    <a:pt x="1080" y="910"/>
                  </a:lnTo>
                  <a:lnTo>
                    <a:pt x="1076" y="914"/>
                  </a:lnTo>
                  <a:lnTo>
                    <a:pt x="1074" y="914"/>
                  </a:lnTo>
                  <a:lnTo>
                    <a:pt x="1070" y="918"/>
                  </a:lnTo>
                  <a:lnTo>
                    <a:pt x="1066" y="918"/>
                  </a:lnTo>
                  <a:lnTo>
                    <a:pt x="1062" y="922"/>
                  </a:lnTo>
                  <a:lnTo>
                    <a:pt x="1060" y="918"/>
                  </a:lnTo>
                  <a:lnTo>
                    <a:pt x="1062" y="918"/>
                  </a:lnTo>
                  <a:lnTo>
                    <a:pt x="1060" y="918"/>
                  </a:lnTo>
                  <a:lnTo>
                    <a:pt x="1060" y="922"/>
                  </a:lnTo>
                  <a:lnTo>
                    <a:pt x="1056" y="926"/>
                  </a:lnTo>
                  <a:lnTo>
                    <a:pt x="1056" y="922"/>
                  </a:lnTo>
                  <a:lnTo>
                    <a:pt x="1052" y="922"/>
                  </a:lnTo>
                  <a:lnTo>
                    <a:pt x="1052" y="926"/>
                  </a:lnTo>
                  <a:lnTo>
                    <a:pt x="1048" y="922"/>
                  </a:lnTo>
                  <a:lnTo>
                    <a:pt x="1044" y="922"/>
                  </a:lnTo>
                  <a:lnTo>
                    <a:pt x="1040" y="922"/>
                  </a:lnTo>
                  <a:lnTo>
                    <a:pt x="1040" y="918"/>
                  </a:lnTo>
                  <a:lnTo>
                    <a:pt x="1040" y="914"/>
                  </a:lnTo>
                  <a:lnTo>
                    <a:pt x="1036" y="914"/>
                  </a:lnTo>
                  <a:lnTo>
                    <a:pt x="1036" y="910"/>
                  </a:lnTo>
                  <a:lnTo>
                    <a:pt x="1036" y="908"/>
                  </a:lnTo>
                  <a:lnTo>
                    <a:pt x="1036" y="900"/>
                  </a:lnTo>
                  <a:lnTo>
                    <a:pt x="1036" y="888"/>
                  </a:lnTo>
                  <a:lnTo>
                    <a:pt x="1036" y="884"/>
                  </a:lnTo>
                  <a:lnTo>
                    <a:pt x="1032" y="884"/>
                  </a:lnTo>
                  <a:lnTo>
                    <a:pt x="1032" y="880"/>
                  </a:lnTo>
                  <a:lnTo>
                    <a:pt x="1030" y="878"/>
                  </a:lnTo>
                  <a:lnTo>
                    <a:pt x="1026" y="880"/>
                  </a:lnTo>
                  <a:lnTo>
                    <a:pt x="1022" y="880"/>
                  </a:lnTo>
                  <a:lnTo>
                    <a:pt x="1018" y="880"/>
                  </a:lnTo>
                  <a:lnTo>
                    <a:pt x="1018" y="878"/>
                  </a:lnTo>
                  <a:lnTo>
                    <a:pt x="1014" y="878"/>
                  </a:lnTo>
                  <a:lnTo>
                    <a:pt x="1014" y="880"/>
                  </a:lnTo>
                  <a:lnTo>
                    <a:pt x="1010" y="884"/>
                  </a:lnTo>
                  <a:lnTo>
                    <a:pt x="1006" y="884"/>
                  </a:lnTo>
                  <a:lnTo>
                    <a:pt x="1006" y="888"/>
                  </a:lnTo>
                  <a:lnTo>
                    <a:pt x="1004" y="892"/>
                  </a:lnTo>
                  <a:lnTo>
                    <a:pt x="1004" y="896"/>
                  </a:lnTo>
                  <a:lnTo>
                    <a:pt x="1004" y="900"/>
                  </a:lnTo>
                  <a:lnTo>
                    <a:pt x="1000" y="900"/>
                  </a:lnTo>
                  <a:lnTo>
                    <a:pt x="1000" y="904"/>
                  </a:lnTo>
                  <a:lnTo>
                    <a:pt x="1000" y="908"/>
                  </a:lnTo>
                  <a:lnTo>
                    <a:pt x="1000" y="910"/>
                  </a:lnTo>
                  <a:lnTo>
                    <a:pt x="996" y="910"/>
                  </a:lnTo>
                  <a:lnTo>
                    <a:pt x="996" y="914"/>
                  </a:lnTo>
                  <a:lnTo>
                    <a:pt x="996" y="918"/>
                  </a:lnTo>
                  <a:lnTo>
                    <a:pt x="992" y="922"/>
                  </a:lnTo>
                  <a:lnTo>
                    <a:pt x="988" y="918"/>
                  </a:lnTo>
                  <a:lnTo>
                    <a:pt x="988" y="922"/>
                  </a:lnTo>
                  <a:lnTo>
                    <a:pt x="988" y="918"/>
                  </a:lnTo>
                  <a:lnTo>
                    <a:pt x="984" y="918"/>
                  </a:lnTo>
                  <a:lnTo>
                    <a:pt x="984" y="922"/>
                  </a:lnTo>
                  <a:lnTo>
                    <a:pt x="984" y="926"/>
                  </a:lnTo>
                  <a:lnTo>
                    <a:pt x="980" y="926"/>
                  </a:lnTo>
                  <a:lnTo>
                    <a:pt x="976" y="926"/>
                  </a:lnTo>
                  <a:lnTo>
                    <a:pt x="974" y="926"/>
                  </a:lnTo>
                  <a:lnTo>
                    <a:pt x="970" y="926"/>
                  </a:lnTo>
                  <a:lnTo>
                    <a:pt x="966" y="926"/>
                  </a:lnTo>
                  <a:lnTo>
                    <a:pt x="962" y="926"/>
                  </a:lnTo>
                  <a:lnTo>
                    <a:pt x="958" y="926"/>
                  </a:lnTo>
                  <a:lnTo>
                    <a:pt x="954" y="926"/>
                  </a:lnTo>
                  <a:lnTo>
                    <a:pt x="950" y="926"/>
                  </a:lnTo>
                  <a:lnTo>
                    <a:pt x="944" y="926"/>
                  </a:lnTo>
                  <a:lnTo>
                    <a:pt x="940" y="926"/>
                  </a:lnTo>
                  <a:lnTo>
                    <a:pt x="936" y="926"/>
                  </a:lnTo>
                  <a:lnTo>
                    <a:pt x="932" y="926"/>
                  </a:lnTo>
                  <a:lnTo>
                    <a:pt x="932" y="930"/>
                  </a:lnTo>
                  <a:lnTo>
                    <a:pt x="928" y="930"/>
                  </a:lnTo>
                  <a:lnTo>
                    <a:pt x="924" y="934"/>
                  </a:lnTo>
                  <a:lnTo>
                    <a:pt x="924" y="938"/>
                  </a:lnTo>
                  <a:lnTo>
                    <a:pt x="920" y="938"/>
                  </a:lnTo>
                  <a:lnTo>
                    <a:pt x="920" y="940"/>
                  </a:lnTo>
                  <a:lnTo>
                    <a:pt x="918" y="940"/>
                  </a:lnTo>
                  <a:lnTo>
                    <a:pt x="914" y="944"/>
                  </a:lnTo>
                  <a:lnTo>
                    <a:pt x="914" y="948"/>
                  </a:lnTo>
                  <a:lnTo>
                    <a:pt x="910" y="948"/>
                  </a:lnTo>
                  <a:lnTo>
                    <a:pt x="910" y="952"/>
                  </a:lnTo>
                  <a:lnTo>
                    <a:pt x="906" y="952"/>
                  </a:lnTo>
                  <a:lnTo>
                    <a:pt x="902" y="952"/>
                  </a:lnTo>
                  <a:lnTo>
                    <a:pt x="898" y="952"/>
                  </a:lnTo>
                  <a:lnTo>
                    <a:pt x="894" y="952"/>
                  </a:lnTo>
                  <a:lnTo>
                    <a:pt x="890" y="952"/>
                  </a:lnTo>
                  <a:lnTo>
                    <a:pt x="888" y="952"/>
                  </a:lnTo>
                  <a:lnTo>
                    <a:pt x="880" y="952"/>
                  </a:lnTo>
                  <a:lnTo>
                    <a:pt x="876" y="956"/>
                  </a:lnTo>
                  <a:lnTo>
                    <a:pt x="876" y="960"/>
                  </a:lnTo>
                  <a:lnTo>
                    <a:pt x="876" y="964"/>
                  </a:lnTo>
                  <a:lnTo>
                    <a:pt x="876" y="966"/>
                  </a:lnTo>
                  <a:lnTo>
                    <a:pt x="880" y="966"/>
                  </a:lnTo>
                  <a:lnTo>
                    <a:pt x="876" y="966"/>
                  </a:lnTo>
                  <a:lnTo>
                    <a:pt x="876" y="970"/>
                  </a:lnTo>
                  <a:lnTo>
                    <a:pt x="872" y="970"/>
                  </a:lnTo>
                  <a:lnTo>
                    <a:pt x="868" y="974"/>
                  </a:lnTo>
                  <a:lnTo>
                    <a:pt x="864" y="974"/>
                  </a:lnTo>
                  <a:lnTo>
                    <a:pt x="862" y="978"/>
                  </a:lnTo>
                  <a:lnTo>
                    <a:pt x="854" y="978"/>
                  </a:lnTo>
                  <a:lnTo>
                    <a:pt x="850" y="980"/>
                  </a:lnTo>
                  <a:lnTo>
                    <a:pt x="846" y="980"/>
                  </a:lnTo>
                  <a:lnTo>
                    <a:pt x="842" y="980"/>
                  </a:lnTo>
                  <a:lnTo>
                    <a:pt x="838" y="984"/>
                  </a:lnTo>
                  <a:lnTo>
                    <a:pt x="834" y="984"/>
                  </a:lnTo>
                  <a:lnTo>
                    <a:pt x="832" y="988"/>
                  </a:lnTo>
                  <a:lnTo>
                    <a:pt x="828" y="992"/>
                  </a:lnTo>
                  <a:lnTo>
                    <a:pt x="824" y="992"/>
                  </a:lnTo>
                  <a:lnTo>
                    <a:pt x="820" y="988"/>
                  </a:lnTo>
                  <a:lnTo>
                    <a:pt x="820" y="984"/>
                  </a:lnTo>
                  <a:lnTo>
                    <a:pt x="816" y="984"/>
                  </a:lnTo>
                  <a:lnTo>
                    <a:pt x="820" y="980"/>
                  </a:lnTo>
                  <a:lnTo>
                    <a:pt x="820" y="978"/>
                  </a:lnTo>
                  <a:lnTo>
                    <a:pt x="824" y="978"/>
                  </a:lnTo>
                  <a:lnTo>
                    <a:pt x="824" y="974"/>
                  </a:lnTo>
                  <a:lnTo>
                    <a:pt x="828" y="974"/>
                  </a:lnTo>
                  <a:lnTo>
                    <a:pt x="828" y="970"/>
                  </a:lnTo>
                  <a:lnTo>
                    <a:pt x="828" y="966"/>
                  </a:lnTo>
                  <a:lnTo>
                    <a:pt x="828" y="964"/>
                  </a:lnTo>
                  <a:lnTo>
                    <a:pt x="832" y="964"/>
                  </a:lnTo>
                  <a:lnTo>
                    <a:pt x="832" y="960"/>
                  </a:lnTo>
                  <a:lnTo>
                    <a:pt x="832" y="956"/>
                  </a:lnTo>
                  <a:lnTo>
                    <a:pt x="832" y="948"/>
                  </a:lnTo>
                  <a:lnTo>
                    <a:pt x="832" y="938"/>
                  </a:lnTo>
                  <a:lnTo>
                    <a:pt x="828" y="930"/>
                  </a:lnTo>
                  <a:lnTo>
                    <a:pt x="828" y="918"/>
                  </a:lnTo>
                  <a:lnTo>
                    <a:pt x="824" y="918"/>
                  </a:lnTo>
                  <a:lnTo>
                    <a:pt x="820" y="914"/>
                  </a:lnTo>
                  <a:lnTo>
                    <a:pt x="816" y="910"/>
                  </a:lnTo>
                  <a:lnTo>
                    <a:pt x="812" y="910"/>
                  </a:lnTo>
                  <a:lnTo>
                    <a:pt x="812" y="908"/>
                  </a:lnTo>
                  <a:lnTo>
                    <a:pt x="812" y="904"/>
                  </a:lnTo>
                  <a:lnTo>
                    <a:pt x="808" y="904"/>
                  </a:lnTo>
                  <a:lnTo>
                    <a:pt x="806" y="904"/>
                  </a:lnTo>
                  <a:lnTo>
                    <a:pt x="806" y="900"/>
                  </a:lnTo>
                  <a:lnTo>
                    <a:pt x="806" y="896"/>
                  </a:lnTo>
                  <a:lnTo>
                    <a:pt x="802" y="896"/>
                  </a:lnTo>
                  <a:lnTo>
                    <a:pt x="798" y="896"/>
                  </a:lnTo>
                  <a:lnTo>
                    <a:pt x="794" y="892"/>
                  </a:lnTo>
                  <a:lnTo>
                    <a:pt x="794" y="888"/>
                  </a:lnTo>
                  <a:lnTo>
                    <a:pt x="786" y="884"/>
                  </a:lnTo>
                  <a:lnTo>
                    <a:pt x="786" y="880"/>
                  </a:lnTo>
                  <a:lnTo>
                    <a:pt x="782" y="880"/>
                  </a:lnTo>
                  <a:lnTo>
                    <a:pt x="778" y="880"/>
                  </a:lnTo>
                  <a:lnTo>
                    <a:pt x="778" y="878"/>
                  </a:lnTo>
                  <a:lnTo>
                    <a:pt x="776" y="878"/>
                  </a:lnTo>
                  <a:lnTo>
                    <a:pt x="772" y="874"/>
                  </a:lnTo>
                  <a:lnTo>
                    <a:pt x="768" y="874"/>
                  </a:lnTo>
                  <a:lnTo>
                    <a:pt x="764" y="870"/>
                  </a:lnTo>
                  <a:lnTo>
                    <a:pt x="760" y="870"/>
                  </a:lnTo>
                  <a:lnTo>
                    <a:pt x="760" y="866"/>
                  </a:lnTo>
                  <a:lnTo>
                    <a:pt x="756" y="866"/>
                  </a:lnTo>
                  <a:lnTo>
                    <a:pt x="746" y="858"/>
                  </a:lnTo>
                  <a:lnTo>
                    <a:pt x="742" y="858"/>
                  </a:lnTo>
                  <a:lnTo>
                    <a:pt x="738" y="858"/>
                  </a:lnTo>
                  <a:lnTo>
                    <a:pt x="734" y="862"/>
                  </a:lnTo>
                  <a:lnTo>
                    <a:pt x="732" y="866"/>
                  </a:lnTo>
                  <a:lnTo>
                    <a:pt x="728" y="866"/>
                  </a:lnTo>
                  <a:lnTo>
                    <a:pt x="724" y="866"/>
                  </a:lnTo>
                  <a:lnTo>
                    <a:pt x="720" y="866"/>
                  </a:lnTo>
                  <a:lnTo>
                    <a:pt x="720" y="862"/>
                  </a:lnTo>
                  <a:lnTo>
                    <a:pt x="716" y="862"/>
                  </a:lnTo>
                  <a:lnTo>
                    <a:pt x="712" y="862"/>
                  </a:lnTo>
                  <a:lnTo>
                    <a:pt x="708" y="862"/>
                  </a:lnTo>
                  <a:lnTo>
                    <a:pt x="708" y="858"/>
                  </a:lnTo>
                  <a:lnTo>
                    <a:pt x="708" y="862"/>
                  </a:lnTo>
                  <a:lnTo>
                    <a:pt x="706" y="862"/>
                  </a:lnTo>
                  <a:lnTo>
                    <a:pt x="702" y="862"/>
                  </a:lnTo>
                  <a:lnTo>
                    <a:pt x="702" y="866"/>
                  </a:lnTo>
                  <a:lnTo>
                    <a:pt x="702" y="862"/>
                  </a:lnTo>
                  <a:lnTo>
                    <a:pt x="698" y="862"/>
                  </a:lnTo>
                  <a:lnTo>
                    <a:pt x="694" y="862"/>
                  </a:lnTo>
                  <a:lnTo>
                    <a:pt x="694" y="858"/>
                  </a:lnTo>
                  <a:lnTo>
                    <a:pt x="690" y="858"/>
                  </a:lnTo>
                  <a:lnTo>
                    <a:pt x="690" y="862"/>
                  </a:lnTo>
                  <a:lnTo>
                    <a:pt x="686" y="858"/>
                  </a:lnTo>
                  <a:lnTo>
                    <a:pt x="686" y="854"/>
                  </a:lnTo>
                  <a:lnTo>
                    <a:pt x="682" y="854"/>
                  </a:lnTo>
                  <a:lnTo>
                    <a:pt x="678" y="852"/>
                  </a:lnTo>
                  <a:lnTo>
                    <a:pt x="676" y="852"/>
                  </a:lnTo>
                  <a:lnTo>
                    <a:pt x="672" y="854"/>
                  </a:lnTo>
                  <a:lnTo>
                    <a:pt x="668" y="854"/>
                  </a:lnTo>
                  <a:lnTo>
                    <a:pt x="668" y="852"/>
                  </a:lnTo>
                  <a:lnTo>
                    <a:pt x="664" y="852"/>
                  </a:lnTo>
                  <a:lnTo>
                    <a:pt x="660" y="852"/>
                  </a:lnTo>
                  <a:lnTo>
                    <a:pt x="656" y="852"/>
                  </a:lnTo>
                  <a:lnTo>
                    <a:pt x="656" y="848"/>
                  </a:lnTo>
                  <a:lnTo>
                    <a:pt x="656" y="844"/>
                  </a:lnTo>
                  <a:lnTo>
                    <a:pt x="652" y="844"/>
                  </a:lnTo>
                  <a:lnTo>
                    <a:pt x="652" y="840"/>
                  </a:lnTo>
                  <a:lnTo>
                    <a:pt x="652" y="836"/>
                  </a:lnTo>
                  <a:lnTo>
                    <a:pt x="650" y="836"/>
                  </a:lnTo>
                  <a:lnTo>
                    <a:pt x="650" y="840"/>
                  </a:lnTo>
                  <a:lnTo>
                    <a:pt x="650" y="844"/>
                  </a:lnTo>
                  <a:lnTo>
                    <a:pt x="646" y="844"/>
                  </a:lnTo>
                  <a:lnTo>
                    <a:pt x="620" y="844"/>
                  </a:lnTo>
                  <a:lnTo>
                    <a:pt x="616" y="844"/>
                  </a:lnTo>
                  <a:lnTo>
                    <a:pt x="612" y="844"/>
                  </a:lnTo>
                  <a:lnTo>
                    <a:pt x="608" y="844"/>
                  </a:lnTo>
                  <a:lnTo>
                    <a:pt x="604" y="844"/>
                  </a:lnTo>
                  <a:lnTo>
                    <a:pt x="600" y="844"/>
                  </a:lnTo>
                  <a:lnTo>
                    <a:pt x="596" y="844"/>
                  </a:lnTo>
                  <a:lnTo>
                    <a:pt x="590" y="844"/>
                  </a:lnTo>
                  <a:lnTo>
                    <a:pt x="582" y="844"/>
                  </a:lnTo>
                  <a:lnTo>
                    <a:pt x="574" y="844"/>
                  </a:lnTo>
                  <a:lnTo>
                    <a:pt x="564" y="844"/>
                  </a:lnTo>
                  <a:lnTo>
                    <a:pt x="560" y="844"/>
                  </a:lnTo>
                  <a:lnTo>
                    <a:pt x="548" y="844"/>
                  </a:lnTo>
                  <a:lnTo>
                    <a:pt x="544" y="844"/>
                  </a:lnTo>
                  <a:lnTo>
                    <a:pt x="540" y="844"/>
                  </a:lnTo>
                  <a:lnTo>
                    <a:pt x="536" y="844"/>
                  </a:lnTo>
                  <a:lnTo>
                    <a:pt x="534" y="844"/>
                  </a:lnTo>
                  <a:lnTo>
                    <a:pt x="530" y="844"/>
                  </a:lnTo>
                  <a:lnTo>
                    <a:pt x="526" y="844"/>
                  </a:lnTo>
                  <a:lnTo>
                    <a:pt x="522" y="844"/>
                  </a:lnTo>
                  <a:lnTo>
                    <a:pt x="518" y="844"/>
                  </a:lnTo>
                  <a:lnTo>
                    <a:pt x="510" y="844"/>
                  </a:lnTo>
                  <a:lnTo>
                    <a:pt x="508" y="844"/>
                  </a:lnTo>
                  <a:lnTo>
                    <a:pt x="500" y="844"/>
                  </a:lnTo>
                  <a:lnTo>
                    <a:pt x="496" y="844"/>
                  </a:lnTo>
                  <a:lnTo>
                    <a:pt x="492" y="844"/>
                  </a:lnTo>
                  <a:lnTo>
                    <a:pt x="488" y="844"/>
                  </a:lnTo>
                  <a:lnTo>
                    <a:pt x="484" y="844"/>
                  </a:lnTo>
                  <a:lnTo>
                    <a:pt x="478" y="844"/>
                  </a:lnTo>
                  <a:lnTo>
                    <a:pt x="474" y="844"/>
                  </a:lnTo>
                  <a:lnTo>
                    <a:pt x="470" y="844"/>
                  </a:lnTo>
                  <a:lnTo>
                    <a:pt x="466" y="844"/>
                  </a:lnTo>
                  <a:lnTo>
                    <a:pt x="462" y="844"/>
                  </a:lnTo>
                  <a:lnTo>
                    <a:pt x="458" y="844"/>
                  </a:lnTo>
                  <a:lnTo>
                    <a:pt x="454" y="844"/>
                  </a:lnTo>
                  <a:lnTo>
                    <a:pt x="448" y="844"/>
                  </a:lnTo>
                  <a:lnTo>
                    <a:pt x="444" y="844"/>
                  </a:lnTo>
                  <a:lnTo>
                    <a:pt x="440" y="844"/>
                  </a:lnTo>
                  <a:lnTo>
                    <a:pt x="436" y="844"/>
                  </a:lnTo>
                  <a:lnTo>
                    <a:pt x="432" y="844"/>
                  </a:lnTo>
                  <a:lnTo>
                    <a:pt x="428" y="844"/>
                  </a:lnTo>
                  <a:lnTo>
                    <a:pt x="418" y="844"/>
                  </a:lnTo>
                  <a:lnTo>
                    <a:pt x="414" y="844"/>
                  </a:lnTo>
                  <a:lnTo>
                    <a:pt x="410" y="844"/>
                  </a:lnTo>
                  <a:lnTo>
                    <a:pt x="408" y="844"/>
                  </a:lnTo>
                  <a:lnTo>
                    <a:pt x="404" y="844"/>
                  </a:lnTo>
                  <a:lnTo>
                    <a:pt x="396" y="844"/>
                  </a:lnTo>
                  <a:lnTo>
                    <a:pt x="392" y="844"/>
                  </a:lnTo>
                  <a:lnTo>
                    <a:pt x="388" y="844"/>
                  </a:lnTo>
                  <a:lnTo>
                    <a:pt x="380" y="844"/>
                  </a:lnTo>
                  <a:lnTo>
                    <a:pt x="378" y="844"/>
                  </a:lnTo>
                  <a:lnTo>
                    <a:pt x="374" y="844"/>
                  </a:lnTo>
                  <a:lnTo>
                    <a:pt x="370" y="844"/>
                  </a:lnTo>
                  <a:lnTo>
                    <a:pt x="366" y="844"/>
                  </a:lnTo>
                  <a:lnTo>
                    <a:pt x="362" y="844"/>
                  </a:lnTo>
                  <a:lnTo>
                    <a:pt x="358" y="844"/>
                  </a:lnTo>
                  <a:lnTo>
                    <a:pt x="354" y="844"/>
                  </a:lnTo>
                  <a:lnTo>
                    <a:pt x="340" y="844"/>
                  </a:lnTo>
                  <a:lnTo>
                    <a:pt x="336" y="844"/>
                  </a:lnTo>
                  <a:lnTo>
                    <a:pt x="332" y="844"/>
                  </a:lnTo>
                  <a:lnTo>
                    <a:pt x="328" y="844"/>
                  </a:lnTo>
                  <a:lnTo>
                    <a:pt x="324" y="844"/>
                  </a:lnTo>
                  <a:lnTo>
                    <a:pt x="322" y="844"/>
                  </a:lnTo>
                  <a:lnTo>
                    <a:pt x="314" y="844"/>
                  </a:lnTo>
                  <a:lnTo>
                    <a:pt x="310" y="844"/>
                  </a:lnTo>
                  <a:lnTo>
                    <a:pt x="306" y="844"/>
                  </a:lnTo>
                  <a:lnTo>
                    <a:pt x="298" y="844"/>
                  </a:lnTo>
                  <a:lnTo>
                    <a:pt x="294" y="844"/>
                  </a:lnTo>
                  <a:lnTo>
                    <a:pt x="292" y="844"/>
                  </a:lnTo>
                  <a:lnTo>
                    <a:pt x="284" y="844"/>
                  </a:lnTo>
                  <a:lnTo>
                    <a:pt x="268" y="844"/>
                  </a:lnTo>
                  <a:lnTo>
                    <a:pt x="266" y="844"/>
                  </a:lnTo>
                  <a:lnTo>
                    <a:pt x="262" y="844"/>
                  </a:lnTo>
                  <a:lnTo>
                    <a:pt x="258" y="844"/>
                  </a:lnTo>
                  <a:lnTo>
                    <a:pt x="254" y="844"/>
                  </a:lnTo>
                  <a:lnTo>
                    <a:pt x="250" y="844"/>
                  </a:lnTo>
                  <a:lnTo>
                    <a:pt x="250" y="840"/>
                  </a:lnTo>
                  <a:lnTo>
                    <a:pt x="254" y="840"/>
                  </a:lnTo>
                  <a:lnTo>
                    <a:pt x="258" y="840"/>
                  </a:lnTo>
                  <a:lnTo>
                    <a:pt x="258" y="836"/>
                  </a:lnTo>
                  <a:lnTo>
                    <a:pt x="254" y="836"/>
                  </a:lnTo>
                  <a:lnTo>
                    <a:pt x="254" y="840"/>
                  </a:lnTo>
                  <a:lnTo>
                    <a:pt x="250" y="836"/>
                  </a:lnTo>
                  <a:lnTo>
                    <a:pt x="250" y="832"/>
                  </a:lnTo>
                  <a:lnTo>
                    <a:pt x="254" y="828"/>
                  </a:lnTo>
                  <a:lnTo>
                    <a:pt x="250" y="832"/>
                  </a:lnTo>
                  <a:lnTo>
                    <a:pt x="246" y="832"/>
                  </a:lnTo>
                  <a:lnTo>
                    <a:pt x="246" y="836"/>
                  </a:lnTo>
                  <a:lnTo>
                    <a:pt x="242" y="836"/>
                  </a:lnTo>
                  <a:lnTo>
                    <a:pt x="242" y="832"/>
                  </a:lnTo>
                  <a:lnTo>
                    <a:pt x="238" y="832"/>
                  </a:lnTo>
                  <a:lnTo>
                    <a:pt x="238" y="828"/>
                  </a:lnTo>
                  <a:lnTo>
                    <a:pt x="242" y="828"/>
                  </a:lnTo>
                  <a:lnTo>
                    <a:pt x="242" y="832"/>
                  </a:lnTo>
                  <a:lnTo>
                    <a:pt x="246" y="832"/>
                  </a:lnTo>
                  <a:lnTo>
                    <a:pt x="246" y="828"/>
                  </a:lnTo>
                  <a:lnTo>
                    <a:pt x="246" y="832"/>
                  </a:lnTo>
                  <a:lnTo>
                    <a:pt x="242" y="832"/>
                  </a:lnTo>
                  <a:lnTo>
                    <a:pt x="242" y="828"/>
                  </a:lnTo>
                  <a:lnTo>
                    <a:pt x="242" y="824"/>
                  </a:lnTo>
                  <a:lnTo>
                    <a:pt x="242" y="822"/>
                  </a:lnTo>
                  <a:lnTo>
                    <a:pt x="238" y="822"/>
                  </a:lnTo>
                  <a:lnTo>
                    <a:pt x="242" y="822"/>
                  </a:lnTo>
                  <a:lnTo>
                    <a:pt x="242" y="824"/>
                  </a:lnTo>
                  <a:lnTo>
                    <a:pt x="238" y="824"/>
                  </a:lnTo>
                  <a:lnTo>
                    <a:pt x="242" y="824"/>
                  </a:lnTo>
                  <a:lnTo>
                    <a:pt x="242" y="828"/>
                  </a:lnTo>
                  <a:lnTo>
                    <a:pt x="238" y="828"/>
                  </a:lnTo>
                  <a:lnTo>
                    <a:pt x="238" y="824"/>
                  </a:lnTo>
                  <a:lnTo>
                    <a:pt x="238" y="828"/>
                  </a:lnTo>
                  <a:lnTo>
                    <a:pt x="236" y="828"/>
                  </a:lnTo>
                  <a:lnTo>
                    <a:pt x="232" y="828"/>
                  </a:lnTo>
                  <a:lnTo>
                    <a:pt x="232" y="824"/>
                  </a:lnTo>
                  <a:lnTo>
                    <a:pt x="228" y="824"/>
                  </a:lnTo>
                  <a:lnTo>
                    <a:pt x="228" y="822"/>
                  </a:lnTo>
                  <a:lnTo>
                    <a:pt x="232" y="824"/>
                  </a:lnTo>
                  <a:lnTo>
                    <a:pt x="232" y="822"/>
                  </a:lnTo>
                  <a:lnTo>
                    <a:pt x="232" y="818"/>
                  </a:lnTo>
                  <a:lnTo>
                    <a:pt x="232" y="814"/>
                  </a:lnTo>
                  <a:lnTo>
                    <a:pt x="232" y="818"/>
                  </a:lnTo>
                  <a:lnTo>
                    <a:pt x="232" y="814"/>
                  </a:lnTo>
                  <a:lnTo>
                    <a:pt x="236" y="814"/>
                  </a:lnTo>
                  <a:lnTo>
                    <a:pt x="232" y="814"/>
                  </a:lnTo>
                  <a:lnTo>
                    <a:pt x="232" y="818"/>
                  </a:lnTo>
                  <a:lnTo>
                    <a:pt x="228" y="818"/>
                  </a:lnTo>
                  <a:lnTo>
                    <a:pt x="224" y="818"/>
                  </a:lnTo>
                  <a:lnTo>
                    <a:pt x="224" y="814"/>
                  </a:lnTo>
                  <a:lnTo>
                    <a:pt x="228" y="814"/>
                  </a:lnTo>
                  <a:lnTo>
                    <a:pt x="228" y="810"/>
                  </a:lnTo>
                  <a:lnTo>
                    <a:pt x="228" y="806"/>
                  </a:lnTo>
                  <a:lnTo>
                    <a:pt x="228" y="810"/>
                  </a:lnTo>
                  <a:lnTo>
                    <a:pt x="228" y="814"/>
                  </a:lnTo>
                  <a:lnTo>
                    <a:pt x="224" y="814"/>
                  </a:lnTo>
                  <a:lnTo>
                    <a:pt x="220" y="814"/>
                  </a:lnTo>
                  <a:lnTo>
                    <a:pt x="220" y="810"/>
                  </a:lnTo>
                  <a:lnTo>
                    <a:pt x="216" y="810"/>
                  </a:lnTo>
                  <a:lnTo>
                    <a:pt x="216" y="814"/>
                  </a:lnTo>
                  <a:lnTo>
                    <a:pt x="212" y="814"/>
                  </a:lnTo>
                  <a:lnTo>
                    <a:pt x="210" y="814"/>
                  </a:lnTo>
                  <a:lnTo>
                    <a:pt x="210" y="810"/>
                  </a:lnTo>
                  <a:lnTo>
                    <a:pt x="212" y="810"/>
                  </a:lnTo>
                  <a:lnTo>
                    <a:pt x="216" y="810"/>
                  </a:lnTo>
                  <a:lnTo>
                    <a:pt x="220" y="806"/>
                  </a:lnTo>
                  <a:lnTo>
                    <a:pt x="220" y="802"/>
                  </a:lnTo>
                  <a:lnTo>
                    <a:pt x="216" y="802"/>
                  </a:lnTo>
                  <a:lnTo>
                    <a:pt x="216" y="806"/>
                  </a:lnTo>
                  <a:lnTo>
                    <a:pt x="216" y="810"/>
                  </a:lnTo>
                  <a:lnTo>
                    <a:pt x="212" y="810"/>
                  </a:lnTo>
                  <a:lnTo>
                    <a:pt x="210" y="810"/>
                  </a:lnTo>
                  <a:lnTo>
                    <a:pt x="210" y="806"/>
                  </a:lnTo>
                  <a:lnTo>
                    <a:pt x="206" y="806"/>
                  </a:lnTo>
                  <a:lnTo>
                    <a:pt x="210" y="806"/>
                  </a:lnTo>
                  <a:lnTo>
                    <a:pt x="210" y="802"/>
                  </a:lnTo>
                  <a:lnTo>
                    <a:pt x="210" y="806"/>
                  </a:lnTo>
                  <a:lnTo>
                    <a:pt x="206" y="802"/>
                  </a:lnTo>
                  <a:lnTo>
                    <a:pt x="206" y="806"/>
                  </a:lnTo>
                  <a:lnTo>
                    <a:pt x="202" y="806"/>
                  </a:lnTo>
                  <a:lnTo>
                    <a:pt x="198" y="806"/>
                  </a:lnTo>
                  <a:lnTo>
                    <a:pt x="194" y="806"/>
                  </a:lnTo>
                  <a:lnTo>
                    <a:pt x="198" y="806"/>
                  </a:lnTo>
                  <a:lnTo>
                    <a:pt x="194" y="806"/>
                  </a:lnTo>
                  <a:lnTo>
                    <a:pt x="190" y="802"/>
                  </a:lnTo>
                  <a:lnTo>
                    <a:pt x="194" y="802"/>
                  </a:lnTo>
                  <a:lnTo>
                    <a:pt x="198" y="802"/>
                  </a:lnTo>
                  <a:lnTo>
                    <a:pt x="202" y="802"/>
                  </a:lnTo>
                  <a:lnTo>
                    <a:pt x="202" y="798"/>
                  </a:lnTo>
                  <a:lnTo>
                    <a:pt x="202" y="802"/>
                  </a:lnTo>
                  <a:lnTo>
                    <a:pt x="198" y="802"/>
                  </a:lnTo>
                  <a:lnTo>
                    <a:pt x="194" y="802"/>
                  </a:lnTo>
                  <a:lnTo>
                    <a:pt x="190" y="798"/>
                  </a:lnTo>
                  <a:lnTo>
                    <a:pt x="190" y="802"/>
                  </a:lnTo>
                  <a:lnTo>
                    <a:pt x="186" y="798"/>
                  </a:lnTo>
                  <a:lnTo>
                    <a:pt x="190" y="794"/>
                  </a:lnTo>
                  <a:lnTo>
                    <a:pt x="194" y="798"/>
                  </a:lnTo>
                  <a:lnTo>
                    <a:pt x="194" y="794"/>
                  </a:lnTo>
                  <a:lnTo>
                    <a:pt x="198" y="794"/>
                  </a:lnTo>
                  <a:lnTo>
                    <a:pt x="194" y="794"/>
                  </a:lnTo>
                  <a:lnTo>
                    <a:pt x="190" y="794"/>
                  </a:lnTo>
                  <a:lnTo>
                    <a:pt x="186" y="794"/>
                  </a:lnTo>
                  <a:lnTo>
                    <a:pt x="190" y="794"/>
                  </a:lnTo>
                  <a:lnTo>
                    <a:pt x="190" y="792"/>
                  </a:lnTo>
                  <a:lnTo>
                    <a:pt x="194" y="788"/>
                  </a:lnTo>
                  <a:lnTo>
                    <a:pt x="198" y="788"/>
                  </a:lnTo>
                  <a:lnTo>
                    <a:pt x="202" y="792"/>
                  </a:lnTo>
                  <a:lnTo>
                    <a:pt x="202" y="788"/>
                  </a:lnTo>
                  <a:lnTo>
                    <a:pt x="206" y="788"/>
                  </a:lnTo>
                  <a:lnTo>
                    <a:pt x="202" y="788"/>
                  </a:lnTo>
                  <a:lnTo>
                    <a:pt x="198" y="788"/>
                  </a:lnTo>
                  <a:lnTo>
                    <a:pt x="194" y="788"/>
                  </a:lnTo>
                  <a:lnTo>
                    <a:pt x="190" y="788"/>
                  </a:lnTo>
                  <a:lnTo>
                    <a:pt x="194" y="788"/>
                  </a:lnTo>
                  <a:lnTo>
                    <a:pt x="194" y="784"/>
                  </a:lnTo>
                  <a:lnTo>
                    <a:pt x="190" y="788"/>
                  </a:lnTo>
                  <a:lnTo>
                    <a:pt x="190" y="792"/>
                  </a:lnTo>
                  <a:lnTo>
                    <a:pt x="190" y="794"/>
                  </a:lnTo>
                  <a:lnTo>
                    <a:pt x="186" y="794"/>
                  </a:lnTo>
                  <a:lnTo>
                    <a:pt x="186" y="792"/>
                  </a:lnTo>
                  <a:lnTo>
                    <a:pt x="186" y="788"/>
                  </a:lnTo>
                  <a:lnTo>
                    <a:pt x="186" y="784"/>
                  </a:lnTo>
                  <a:lnTo>
                    <a:pt x="190" y="784"/>
                  </a:lnTo>
                  <a:lnTo>
                    <a:pt x="190" y="780"/>
                  </a:lnTo>
                  <a:lnTo>
                    <a:pt x="190" y="776"/>
                  </a:lnTo>
                  <a:lnTo>
                    <a:pt x="194" y="776"/>
                  </a:lnTo>
                  <a:lnTo>
                    <a:pt x="198" y="776"/>
                  </a:lnTo>
                  <a:lnTo>
                    <a:pt x="202" y="780"/>
                  </a:lnTo>
                  <a:lnTo>
                    <a:pt x="202" y="784"/>
                  </a:lnTo>
                  <a:lnTo>
                    <a:pt x="202" y="780"/>
                  </a:lnTo>
                  <a:lnTo>
                    <a:pt x="202" y="776"/>
                  </a:lnTo>
                  <a:lnTo>
                    <a:pt x="198" y="776"/>
                  </a:lnTo>
                  <a:lnTo>
                    <a:pt x="202" y="772"/>
                  </a:lnTo>
                  <a:lnTo>
                    <a:pt x="198" y="772"/>
                  </a:lnTo>
                  <a:lnTo>
                    <a:pt x="198" y="776"/>
                  </a:lnTo>
                  <a:lnTo>
                    <a:pt x="194" y="772"/>
                  </a:lnTo>
                  <a:lnTo>
                    <a:pt x="194" y="768"/>
                  </a:lnTo>
                  <a:lnTo>
                    <a:pt x="198" y="768"/>
                  </a:lnTo>
                  <a:lnTo>
                    <a:pt x="198" y="766"/>
                  </a:lnTo>
                  <a:lnTo>
                    <a:pt x="198" y="768"/>
                  </a:lnTo>
                  <a:lnTo>
                    <a:pt x="194" y="768"/>
                  </a:lnTo>
                  <a:lnTo>
                    <a:pt x="194" y="772"/>
                  </a:lnTo>
                  <a:lnTo>
                    <a:pt x="190" y="772"/>
                  </a:lnTo>
                  <a:lnTo>
                    <a:pt x="190" y="776"/>
                  </a:lnTo>
                  <a:lnTo>
                    <a:pt x="186" y="776"/>
                  </a:lnTo>
                  <a:lnTo>
                    <a:pt x="186" y="772"/>
                  </a:lnTo>
                  <a:lnTo>
                    <a:pt x="182" y="776"/>
                  </a:lnTo>
                  <a:lnTo>
                    <a:pt x="182" y="772"/>
                  </a:lnTo>
                  <a:lnTo>
                    <a:pt x="186" y="768"/>
                  </a:lnTo>
                  <a:lnTo>
                    <a:pt x="182" y="768"/>
                  </a:lnTo>
                  <a:lnTo>
                    <a:pt x="182" y="772"/>
                  </a:lnTo>
                  <a:lnTo>
                    <a:pt x="180" y="776"/>
                  </a:lnTo>
                  <a:lnTo>
                    <a:pt x="180" y="772"/>
                  </a:lnTo>
                  <a:lnTo>
                    <a:pt x="180" y="768"/>
                  </a:lnTo>
                  <a:lnTo>
                    <a:pt x="182" y="768"/>
                  </a:lnTo>
                  <a:lnTo>
                    <a:pt x="182" y="766"/>
                  </a:lnTo>
                  <a:lnTo>
                    <a:pt x="182" y="762"/>
                  </a:lnTo>
                  <a:lnTo>
                    <a:pt x="182" y="766"/>
                  </a:lnTo>
                  <a:lnTo>
                    <a:pt x="180" y="766"/>
                  </a:lnTo>
                  <a:lnTo>
                    <a:pt x="176" y="762"/>
                  </a:lnTo>
                  <a:lnTo>
                    <a:pt x="176" y="758"/>
                  </a:lnTo>
                  <a:lnTo>
                    <a:pt x="172" y="754"/>
                  </a:lnTo>
                  <a:lnTo>
                    <a:pt x="172" y="750"/>
                  </a:lnTo>
                  <a:lnTo>
                    <a:pt x="176" y="750"/>
                  </a:lnTo>
                  <a:lnTo>
                    <a:pt x="176" y="754"/>
                  </a:lnTo>
                  <a:lnTo>
                    <a:pt x="180" y="750"/>
                  </a:lnTo>
                  <a:lnTo>
                    <a:pt x="182" y="750"/>
                  </a:lnTo>
                  <a:lnTo>
                    <a:pt x="182" y="754"/>
                  </a:lnTo>
                  <a:lnTo>
                    <a:pt x="186" y="754"/>
                  </a:lnTo>
                  <a:lnTo>
                    <a:pt x="182" y="754"/>
                  </a:lnTo>
                  <a:lnTo>
                    <a:pt x="182" y="750"/>
                  </a:lnTo>
                  <a:lnTo>
                    <a:pt x="180" y="750"/>
                  </a:lnTo>
                  <a:lnTo>
                    <a:pt x="176" y="750"/>
                  </a:lnTo>
                  <a:lnTo>
                    <a:pt x="172" y="746"/>
                  </a:lnTo>
                  <a:lnTo>
                    <a:pt x="172" y="742"/>
                  </a:lnTo>
                  <a:lnTo>
                    <a:pt x="176" y="742"/>
                  </a:lnTo>
                  <a:lnTo>
                    <a:pt x="176" y="738"/>
                  </a:lnTo>
                  <a:lnTo>
                    <a:pt x="172" y="742"/>
                  </a:lnTo>
                  <a:lnTo>
                    <a:pt x="168" y="746"/>
                  </a:lnTo>
                  <a:lnTo>
                    <a:pt x="168" y="750"/>
                  </a:lnTo>
                  <a:lnTo>
                    <a:pt x="164" y="754"/>
                  </a:lnTo>
                  <a:lnTo>
                    <a:pt x="164" y="750"/>
                  </a:lnTo>
                  <a:lnTo>
                    <a:pt x="160" y="750"/>
                  </a:lnTo>
                  <a:lnTo>
                    <a:pt x="160" y="746"/>
                  </a:lnTo>
                  <a:lnTo>
                    <a:pt x="156" y="742"/>
                  </a:lnTo>
                  <a:lnTo>
                    <a:pt x="152" y="742"/>
                  </a:lnTo>
                  <a:lnTo>
                    <a:pt x="152" y="738"/>
                  </a:lnTo>
                  <a:lnTo>
                    <a:pt x="152" y="736"/>
                  </a:lnTo>
                  <a:lnTo>
                    <a:pt x="156" y="736"/>
                  </a:lnTo>
                  <a:lnTo>
                    <a:pt x="160" y="736"/>
                  </a:lnTo>
                  <a:lnTo>
                    <a:pt x="164" y="736"/>
                  </a:lnTo>
                  <a:lnTo>
                    <a:pt x="160" y="736"/>
                  </a:lnTo>
                  <a:lnTo>
                    <a:pt x="156" y="736"/>
                  </a:lnTo>
                  <a:lnTo>
                    <a:pt x="152" y="736"/>
                  </a:lnTo>
                  <a:lnTo>
                    <a:pt x="152" y="732"/>
                  </a:lnTo>
                  <a:lnTo>
                    <a:pt x="150" y="732"/>
                  </a:lnTo>
                  <a:lnTo>
                    <a:pt x="150" y="728"/>
                  </a:lnTo>
                  <a:lnTo>
                    <a:pt x="150" y="724"/>
                  </a:lnTo>
                  <a:lnTo>
                    <a:pt x="150" y="728"/>
                  </a:lnTo>
                  <a:lnTo>
                    <a:pt x="152" y="728"/>
                  </a:lnTo>
                  <a:lnTo>
                    <a:pt x="152" y="732"/>
                  </a:lnTo>
                  <a:lnTo>
                    <a:pt x="156" y="732"/>
                  </a:lnTo>
                  <a:lnTo>
                    <a:pt x="152" y="728"/>
                  </a:lnTo>
                  <a:lnTo>
                    <a:pt x="150" y="728"/>
                  </a:lnTo>
                  <a:lnTo>
                    <a:pt x="150" y="724"/>
                  </a:lnTo>
                  <a:lnTo>
                    <a:pt x="152" y="724"/>
                  </a:lnTo>
                  <a:lnTo>
                    <a:pt x="156" y="724"/>
                  </a:lnTo>
                  <a:lnTo>
                    <a:pt x="156" y="728"/>
                  </a:lnTo>
                  <a:lnTo>
                    <a:pt x="156" y="724"/>
                  </a:lnTo>
                  <a:lnTo>
                    <a:pt x="152" y="724"/>
                  </a:lnTo>
                  <a:lnTo>
                    <a:pt x="152" y="720"/>
                  </a:lnTo>
                  <a:lnTo>
                    <a:pt x="152" y="716"/>
                  </a:lnTo>
                  <a:lnTo>
                    <a:pt x="156" y="716"/>
                  </a:lnTo>
                  <a:lnTo>
                    <a:pt x="160" y="716"/>
                  </a:lnTo>
                  <a:lnTo>
                    <a:pt x="156" y="716"/>
                  </a:lnTo>
                  <a:lnTo>
                    <a:pt x="156" y="712"/>
                  </a:lnTo>
                  <a:lnTo>
                    <a:pt x="160" y="708"/>
                  </a:lnTo>
                  <a:lnTo>
                    <a:pt x="164" y="708"/>
                  </a:lnTo>
                  <a:lnTo>
                    <a:pt x="164" y="706"/>
                  </a:lnTo>
                  <a:lnTo>
                    <a:pt x="160" y="708"/>
                  </a:lnTo>
                  <a:lnTo>
                    <a:pt x="160" y="706"/>
                  </a:lnTo>
                  <a:lnTo>
                    <a:pt x="160" y="708"/>
                  </a:lnTo>
                  <a:lnTo>
                    <a:pt x="156" y="706"/>
                  </a:lnTo>
                  <a:lnTo>
                    <a:pt x="160" y="706"/>
                  </a:lnTo>
                  <a:lnTo>
                    <a:pt x="160" y="708"/>
                  </a:lnTo>
                  <a:lnTo>
                    <a:pt x="156" y="712"/>
                  </a:lnTo>
                  <a:lnTo>
                    <a:pt x="156" y="716"/>
                  </a:lnTo>
                  <a:lnTo>
                    <a:pt x="152" y="716"/>
                  </a:lnTo>
                  <a:lnTo>
                    <a:pt x="152" y="712"/>
                  </a:lnTo>
                  <a:lnTo>
                    <a:pt x="156" y="712"/>
                  </a:lnTo>
                  <a:lnTo>
                    <a:pt x="156" y="708"/>
                  </a:lnTo>
                  <a:lnTo>
                    <a:pt x="152" y="706"/>
                  </a:lnTo>
                  <a:lnTo>
                    <a:pt x="152" y="702"/>
                  </a:lnTo>
                  <a:lnTo>
                    <a:pt x="152" y="698"/>
                  </a:lnTo>
                  <a:lnTo>
                    <a:pt x="156" y="698"/>
                  </a:lnTo>
                  <a:lnTo>
                    <a:pt x="156" y="694"/>
                  </a:lnTo>
                  <a:lnTo>
                    <a:pt x="152" y="694"/>
                  </a:lnTo>
                  <a:lnTo>
                    <a:pt x="150" y="694"/>
                  </a:lnTo>
                  <a:lnTo>
                    <a:pt x="150" y="690"/>
                  </a:lnTo>
                  <a:lnTo>
                    <a:pt x="146" y="690"/>
                  </a:lnTo>
                  <a:lnTo>
                    <a:pt x="146" y="686"/>
                  </a:lnTo>
                  <a:lnTo>
                    <a:pt x="142" y="686"/>
                  </a:lnTo>
                  <a:lnTo>
                    <a:pt x="138" y="686"/>
                  </a:lnTo>
                  <a:lnTo>
                    <a:pt x="138" y="682"/>
                  </a:lnTo>
                  <a:lnTo>
                    <a:pt x="134" y="682"/>
                  </a:lnTo>
                  <a:lnTo>
                    <a:pt x="130" y="682"/>
                  </a:lnTo>
                  <a:lnTo>
                    <a:pt x="130" y="680"/>
                  </a:lnTo>
                  <a:lnTo>
                    <a:pt x="126" y="676"/>
                  </a:lnTo>
                  <a:lnTo>
                    <a:pt x="126" y="672"/>
                  </a:lnTo>
                  <a:lnTo>
                    <a:pt x="124" y="672"/>
                  </a:lnTo>
                  <a:lnTo>
                    <a:pt x="124" y="668"/>
                  </a:lnTo>
                  <a:lnTo>
                    <a:pt x="124" y="664"/>
                  </a:lnTo>
                  <a:lnTo>
                    <a:pt x="120" y="664"/>
                  </a:lnTo>
                  <a:lnTo>
                    <a:pt x="120" y="660"/>
                  </a:lnTo>
                  <a:lnTo>
                    <a:pt x="116" y="656"/>
                  </a:lnTo>
                  <a:lnTo>
                    <a:pt x="116" y="652"/>
                  </a:lnTo>
                  <a:lnTo>
                    <a:pt x="112" y="652"/>
                  </a:lnTo>
                  <a:lnTo>
                    <a:pt x="112" y="650"/>
                  </a:lnTo>
                  <a:lnTo>
                    <a:pt x="112" y="646"/>
                  </a:lnTo>
                  <a:lnTo>
                    <a:pt x="108" y="646"/>
                  </a:lnTo>
                  <a:lnTo>
                    <a:pt x="108" y="642"/>
                  </a:lnTo>
                  <a:lnTo>
                    <a:pt x="104" y="638"/>
                  </a:lnTo>
                  <a:lnTo>
                    <a:pt x="100" y="638"/>
                  </a:lnTo>
                  <a:lnTo>
                    <a:pt x="100" y="634"/>
                  </a:lnTo>
                  <a:lnTo>
                    <a:pt x="96" y="634"/>
                  </a:lnTo>
                  <a:lnTo>
                    <a:pt x="96" y="630"/>
                  </a:lnTo>
                  <a:lnTo>
                    <a:pt x="94" y="630"/>
                  </a:lnTo>
                  <a:lnTo>
                    <a:pt x="94" y="626"/>
                  </a:lnTo>
                  <a:lnTo>
                    <a:pt x="90" y="626"/>
                  </a:lnTo>
                  <a:lnTo>
                    <a:pt x="90" y="622"/>
                  </a:lnTo>
                  <a:lnTo>
                    <a:pt x="86" y="622"/>
                  </a:lnTo>
                  <a:lnTo>
                    <a:pt x="82" y="620"/>
                  </a:lnTo>
                  <a:lnTo>
                    <a:pt x="86" y="620"/>
                  </a:lnTo>
                  <a:lnTo>
                    <a:pt x="86" y="616"/>
                  </a:lnTo>
                  <a:lnTo>
                    <a:pt x="82" y="616"/>
                  </a:lnTo>
                  <a:lnTo>
                    <a:pt x="80" y="612"/>
                  </a:lnTo>
                  <a:lnTo>
                    <a:pt x="76" y="612"/>
                  </a:lnTo>
                  <a:lnTo>
                    <a:pt x="72" y="612"/>
                  </a:lnTo>
                  <a:lnTo>
                    <a:pt x="72" y="616"/>
                  </a:lnTo>
                  <a:lnTo>
                    <a:pt x="68" y="616"/>
                  </a:lnTo>
                  <a:lnTo>
                    <a:pt x="68" y="620"/>
                  </a:lnTo>
                  <a:lnTo>
                    <a:pt x="64" y="620"/>
                  </a:lnTo>
                  <a:lnTo>
                    <a:pt x="64" y="622"/>
                  </a:lnTo>
                  <a:lnTo>
                    <a:pt x="64" y="626"/>
                  </a:lnTo>
                  <a:lnTo>
                    <a:pt x="60" y="626"/>
                  </a:lnTo>
                  <a:lnTo>
                    <a:pt x="56" y="626"/>
                  </a:lnTo>
                  <a:lnTo>
                    <a:pt x="54" y="626"/>
                  </a:lnTo>
                  <a:lnTo>
                    <a:pt x="54" y="630"/>
                  </a:lnTo>
                  <a:lnTo>
                    <a:pt x="50" y="630"/>
                  </a:lnTo>
                  <a:lnTo>
                    <a:pt x="50" y="626"/>
                  </a:lnTo>
                  <a:lnTo>
                    <a:pt x="50" y="622"/>
                  </a:lnTo>
                  <a:lnTo>
                    <a:pt x="46" y="620"/>
                  </a:lnTo>
                  <a:lnTo>
                    <a:pt x="42" y="616"/>
                  </a:lnTo>
                  <a:lnTo>
                    <a:pt x="38" y="616"/>
                  </a:lnTo>
                  <a:lnTo>
                    <a:pt x="34" y="612"/>
                  </a:lnTo>
                  <a:lnTo>
                    <a:pt x="34" y="608"/>
                  </a:lnTo>
                  <a:lnTo>
                    <a:pt x="30" y="608"/>
                  </a:lnTo>
                  <a:lnTo>
                    <a:pt x="26" y="604"/>
                  </a:lnTo>
                  <a:lnTo>
                    <a:pt x="26" y="600"/>
                  </a:lnTo>
                  <a:lnTo>
                    <a:pt x="26" y="596"/>
                  </a:lnTo>
                  <a:lnTo>
                    <a:pt x="24" y="596"/>
                  </a:lnTo>
                  <a:lnTo>
                    <a:pt x="20" y="596"/>
                  </a:lnTo>
                  <a:lnTo>
                    <a:pt x="20" y="600"/>
                  </a:lnTo>
                  <a:lnTo>
                    <a:pt x="16" y="600"/>
                  </a:lnTo>
                  <a:lnTo>
                    <a:pt x="8" y="600"/>
                  </a:lnTo>
                  <a:lnTo>
                    <a:pt x="0" y="600"/>
                  </a:lnTo>
                  <a:lnTo>
                    <a:pt x="0" y="596"/>
                  </a:lnTo>
                  <a:lnTo>
                    <a:pt x="0" y="586"/>
                  </a:lnTo>
                  <a:lnTo>
                    <a:pt x="0" y="546"/>
                  </a:lnTo>
                  <a:lnTo>
                    <a:pt x="0" y="534"/>
                  </a:lnTo>
                  <a:lnTo>
                    <a:pt x="0" y="520"/>
                  </a:lnTo>
                  <a:lnTo>
                    <a:pt x="0" y="516"/>
                  </a:lnTo>
                  <a:lnTo>
                    <a:pt x="0" y="508"/>
                  </a:lnTo>
                  <a:lnTo>
                    <a:pt x="0" y="486"/>
                  </a:lnTo>
                  <a:lnTo>
                    <a:pt x="0" y="474"/>
                  </a:lnTo>
                  <a:lnTo>
                    <a:pt x="0" y="464"/>
                  </a:lnTo>
                  <a:lnTo>
                    <a:pt x="0" y="452"/>
                  </a:lnTo>
                  <a:lnTo>
                    <a:pt x="0" y="448"/>
                  </a:lnTo>
                  <a:lnTo>
                    <a:pt x="0" y="444"/>
                  </a:lnTo>
                  <a:lnTo>
                    <a:pt x="0" y="440"/>
                  </a:lnTo>
                  <a:lnTo>
                    <a:pt x="0" y="434"/>
                  </a:lnTo>
                  <a:lnTo>
                    <a:pt x="0" y="430"/>
                  </a:lnTo>
                  <a:lnTo>
                    <a:pt x="0" y="422"/>
                  </a:lnTo>
                  <a:lnTo>
                    <a:pt x="0" y="418"/>
                  </a:lnTo>
                  <a:lnTo>
                    <a:pt x="0" y="414"/>
                  </a:lnTo>
                  <a:lnTo>
                    <a:pt x="0" y="410"/>
                  </a:lnTo>
                  <a:lnTo>
                    <a:pt x="0" y="404"/>
                  </a:lnTo>
                  <a:lnTo>
                    <a:pt x="0" y="392"/>
                  </a:lnTo>
                  <a:lnTo>
                    <a:pt x="0" y="380"/>
                  </a:lnTo>
                  <a:lnTo>
                    <a:pt x="0" y="378"/>
                  </a:lnTo>
                  <a:lnTo>
                    <a:pt x="0" y="374"/>
                  </a:lnTo>
                  <a:lnTo>
                    <a:pt x="4" y="374"/>
                  </a:lnTo>
                  <a:lnTo>
                    <a:pt x="4" y="378"/>
                  </a:lnTo>
                  <a:lnTo>
                    <a:pt x="8" y="378"/>
                  </a:lnTo>
                  <a:lnTo>
                    <a:pt x="12" y="378"/>
                  </a:lnTo>
                  <a:lnTo>
                    <a:pt x="16" y="378"/>
                  </a:lnTo>
                  <a:lnTo>
                    <a:pt x="20" y="378"/>
                  </a:lnTo>
                  <a:lnTo>
                    <a:pt x="24" y="378"/>
                  </a:lnTo>
                  <a:lnTo>
                    <a:pt x="26" y="378"/>
                  </a:lnTo>
                  <a:lnTo>
                    <a:pt x="26" y="380"/>
                  </a:lnTo>
                  <a:lnTo>
                    <a:pt x="30" y="380"/>
                  </a:lnTo>
                  <a:lnTo>
                    <a:pt x="34" y="384"/>
                  </a:lnTo>
                  <a:lnTo>
                    <a:pt x="38" y="384"/>
                  </a:lnTo>
                  <a:lnTo>
                    <a:pt x="38" y="388"/>
                  </a:lnTo>
                  <a:lnTo>
                    <a:pt x="42" y="388"/>
                  </a:lnTo>
                  <a:lnTo>
                    <a:pt x="46" y="388"/>
                  </a:lnTo>
                  <a:lnTo>
                    <a:pt x="50" y="392"/>
                  </a:lnTo>
                  <a:lnTo>
                    <a:pt x="54" y="392"/>
                  </a:lnTo>
                  <a:lnTo>
                    <a:pt x="56" y="392"/>
                  </a:lnTo>
                  <a:lnTo>
                    <a:pt x="60" y="396"/>
                  </a:lnTo>
                  <a:lnTo>
                    <a:pt x="64" y="392"/>
                  </a:lnTo>
                  <a:lnTo>
                    <a:pt x="68" y="392"/>
                  </a:lnTo>
                  <a:lnTo>
                    <a:pt x="68" y="396"/>
                  </a:lnTo>
                  <a:lnTo>
                    <a:pt x="72" y="396"/>
                  </a:lnTo>
                  <a:lnTo>
                    <a:pt x="76" y="396"/>
                  </a:lnTo>
                  <a:lnTo>
                    <a:pt x="80" y="396"/>
                  </a:lnTo>
                  <a:lnTo>
                    <a:pt x="80" y="400"/>
                  </a:lnTo>
                  <a:lnTo>
                    <a:pt x="82" y="400"/>
                  </a:lnTo>
                  <a:lnTo>
                    <a:pt x="80" y="396"/>
                  </a:lnTo>
                  <a:lnTo>
                    <a:pt x="76" y="396"/>
                  </a:lnTo>
                  <a:lnTo>
                    <a:pt x="76" y="392"/>
                  </a:lnTo>
                  <a:lnTo>
                    <a:pt x="80" y="392"/>
                  </a:lnTo>
                  <a:lnTo>
                    <a:pt x="82" y="392"/>
                  </a:lnTo>
                  <a:lnTo>
                    <a:pt x="86" y="396"/>
                  </a:lnTo>
                  <a:lnTo>
                    <a:pt x="86" y="392"/>
                  </a:lnTo>
                  <a:lnTo>
                    <a:pt x="90" y="392"/>
                  </a:lnTo>
                  <a:lnTo>
                    <a:pt x="90" y="396"/>
                  </a:lnTo>
                  <a:lnTo>
                    <a:pt x="94" y="400"/>
                  </a:lnTo>
                  <a:lnTo>
                    <a:pt x="96" y="400"/>
                  </a:lnTo>
                  <a:lnTo>
                    <a:pt x="94" y="400"/>
                  </a:lnTo>
                  <a:lnTo>
                    <a:pt x="94" y="396"/>
                  </a:lnTo>
                  <a:lnTo>
                    <a:pt x="90" y="392"/>
                  </a:lnTo>
                  <a:lnTo>
                    <a:pt x="90" y="388"/>
                  </a:lnTo>
                  <a:lnTo>
                    <a:pt x="94" y="388"/>
                  </a:lnTo>
                  <a:lnTo>
                    <a:pt x="96" y="384"/>
                  </a:lnTo>
                  <a:lnTo>
                    <a:pt x="100" y="384"/>
                  </a:lnTo>
                  <a:lnTo>
                    <a:pt x="104" y="380"/>
                  </a:lnTo>
                  <a:lnTo>
                    <a:pt x="108" y="380"/>
                  </a:lnTo>
                  <a:lnTo>
                    <a:pt x="112" y="380"/>
                  </a:lnTo>
                  <a:lnTo>
                    <a:pt x="112" y="378"/>
                  </a:lnTo>
                  <a:lnTo>
                    <a:pt x="116" y="374"/>
                  </a:lnTo>
                  <a:lnTo>
                    <a:pt x="120" y="374"/>
                  </a:lnTo>
                  <a:lnTo>
                    <a:pt x="124" y="374"/>
                  </a:lnTo>
                  <a:lnTo>
                    <a:pt x="120" y="374"/>
                  </a:lnTo>
                  <a:lnTo>
                    <a:pt x="124" y="374"/>
                  </a:lnTo>
                  <a:lnTo>
                    <a:pt x="126" y="374"/>
                  </a:lnTo>
                  <a:lnTo>
                    <a:pt x="130" y="374"/>
                  </a:lnTo>
                  <a:lnTo>
                    <a:pt x="130" y="370"/>
                  </a:lnTo>
                  <a:lnTo>
                    <a:pt x="134" y="370"/>
                  </a:lnTo>
                  <a:lnTo>
                    <a:pt x="134" y="366"/>
                  </a:lnTo>
                  <a:lnTo>
                    <a:pt x="138" y="366"/>
                  </a:lnTo>
                  <a:lnTo>
                    <a:pt x="138" y="370"/>
                  </a:lnTo>
                  <a:lnTo>
                    <a:pt x="142" y="370"/>
                  </a:lnTo>
                  <a:lnTo>
                    <a:pt x="142" y="366"/>
                  </a:lnTo>
                  <a:lnTo>
                    <a:pt x="142" y="362"/>
                  </a:lnTo>
                  <a:lnTo>
                    <a:pt x="146" y="362"/>
                  </a:lnTo>
                  <a:lnTo>
                    <a:pt x="150" y="362"/>
                  </a:lnTo>
                  <a:lnTo>
                    <a:pt x="152" y="366"/>
                  </a:lnTo>
                  <a:lnTo>
                    <a:pt x="156" y="362"/>
                  </a:lnTo>
                  <a:lnTo>
                    <a:pt x="156" y="358"/>
                  </a:lnTo>
                  <a:lnTo>
                    <a:pt x="160" y="358"/>
                  </a:lnTo>
                  <a:lnTo>
                    <a:pt x="164" y="362"/>
                  </a:lnTo>
                  <a:lnTo>
                    <a:pt x="164" y="366"/>
                  </a:lnTo>
                  <a:lnTo>
                    <a:pt x="160" y="366"/>
                  </a:lnTo>
                  <a:lnTo>
                    <a:pt x="156" y="370"/>
                  </a:lnTo>
                  <a:lnTo>
                    <a:pt x="152" y="370"/>
                  </a:lnTo>
                  <a:lnTo>
                    <a:pt x="150" y="370"/>
                  </a:lnTo>
                  <a:lnTo>
                    <a:pt x="150" y="374"/>
                  </a:lnTo>
                  <a:lnTo>
                    <a:pt x="146" y="374"/>
                  </a:lnTo>
                  <a:lnTo>
                    <a:pt x="142" y="378"/>
                  </a:lnTo>
                  <a:lnTo>
                    <a:pt x="142" y="374"/>
                  </a:lnTo>
                  <a:lnTo>
                    <a:pt x="138" y="374"/>
                  </a:lnTo>
                  <a:lnTo>
                    <a:pt x="138" y="378"/>
                  </a:lnTo>
                  <a:lnTo>
                    <a:pt x="134" y="378"/>
                  </a:lnTo>
                  <a:lnTo>
                    <a:pt x="130" y="378"/>
                  </a:lnTo>
                  <a:lnTo>
                    <a:pt x="126" y="378"/>
                  </a:lnTo>
                  <a:lnTo>
                    <a:pt x="126" y="380"/>
                  </a:lnTo>
                  <a:lnTo>
                    <a:pt x="124" y="384"/>
                  </a:lnTo>
                  <a:lnTo>
                    <a:pt x="120" y="384"/>
                  </a:lnTo>
                  <a:lnTo>
                    <a:pt x="116" y="384"/>
                  </a:lnTo>
                  <a:lnTo>
                    <a:pt x="116" y="388"/>
                  </a:lnTo>
                  <a:lnTo>
                    <a:pt x="112" y="388"/>
                  </a:lnTo>
                  <a:lnTo>
                    <a:pt x="112" y="392"/>
                  </a:lnTo>
                  <a:lnTo>
                    <a:pt x="108" y="392"/>
                  </a:lnTo>
                  <a:lnTo>
                    <a:pt x="112" y="392"/>
                  </a:lnTo>
                  <a:lnTo>
                    <a:pt x="108" y="392"/>
                  </a:lnTo>
                  <a:lnTo>
                    <a:pt x="108" y="396"/>
                  </a:lnTo>
                  <a:lnTo>
                    <a:pt x="108" y="392"/>
                  </a:lnTo>
                  <a:lnTo>
                    <a:pt x="104" y="396"/>
                  </a:lnTo>
                  <a:lnTo>
                    <a:pt x="108" y="396"/>
                  </a:lnTo>
                  <a:lnTo>
                    <a:pt x="112" y="400"/>
                  </a:lnTo>
                  <a:lnTo>
                    <a:pt x="116" y="400"/>
                  </a:lnTo>
                  <a:lnTo>
                    <a:pt x="112" y="400"/>
                  </a:lnTo>
                  <a:lnTo>
                    <a:pt x="108" y="396"/>
                  </a:lnTo>
                  <a:lnTo>
                    <a:pt x="112" y="396"/>
                  </a:lnTo>
                  <a:lnTo>
                    <a:pt x="108" y="396"/>
                  </a:lnTo>
                  <a:lnTo>
                    <a:pt x="112" y="396"/>
                  </a:lnTo>
                  <a:lnTo>
                    <a:pt x="116" y="396"/>
                  </a:lnTo>
                  <a:lnTo>
                    <a:pt x="120" y="396"/>
                  </a:lnTo>
                  <a:lnTo>
                    <a:pt x="124" y="396"/>
                  </a:lnTo>
                  <a:lnTo>
                    <a:pt x="120" y="392"/>
                  </a:lnTo>
                  <a:lnTo>
                    <a:pt x="120" y="396"/>
                  </a:lnTo>
                  <a:lnTo>
                    <a:pt x="116" y="396"/>
                  </a:lnTo>
                  <a:lnTo>
                    <a:pt x="116" y="392"/>
                  </a:lnTo>
                  <a:lnTo>
                    <a:pt x="116" y="388"/>
                  </a:lnTo>
                  <a:lnTo>
                    <a:pt x="120" y="388"/>
                  </a:lnTo>
                  <a:lnTo>
                    <a:pt x="124" y="388"/>
                  </a:lnTo>
                  <a:lnTo>
                    <a:pt x="124" y="384"/>
                  </a:lnTo>
                  <a:lnTo>
                    <a:pt x="124" y="388"/>
                  </a:lnTo>
                  <a:lnTo>
                    <a:pt x="124" y="384"/>
                  </a:lnTo>
                  <a:lnTo>
                    <a:pt x="126" y="384"/>
                  </a:lnTo>
                  <a:lnTo>
                    <a:pt x="130" y="384"/>
                  </a:lnTo>
                  <a:lnTo>
                    <a:pt x="130" y="380"/>
                  </a:lnTo>
                  <a:lnTo>
                    <a:pt x="126" y="380"/>
                  </a:lnTo>
                  <a:lnTo>
                    <a:pt x="130" y="380"/>
                  </a:lnTo>
                  <a:lnTo>
                    <a:pt x="134" y="380"/>
                  </a:lnTo>
                  <a:lnTo>
                    <a:pt x="138" y="378"/>
                  </a:lnTo>
                  <a:lnTo>
                    <a:pt x="138" y="380"/>
                  </a:lnTo>
                  <a:lnTo>
                    <a:pt x="134" y="384"/>
                  </a:lnTo>
                  <a:lnTo>
                    <a:pt x="138" y="384"/>
                  </a:lnTo>
                  <a:lnTo>
                    <a:pt x="138" y="380"/>
                  </a:lnTo>
                  <a:lnTo>
                    <a:pt x="138" y="378"/>
                  </a:lnTo>
                  <a:lnTo>
                    <a:pt x="138" y="380"/>
                  </a:lnTo>
                  <a:lnTo>
                    <a:pt x="142" y="380"/>
                  </a:lnTo>
                  <a:lnTo>
                    <a:pt x="142" y="378"/>
                  </a:lnTo>
                  <a:lnTo>
                    <a:pt x="138" y="378"/>
                  </a:lnTo>
                  <a:lnTo>
                    <a:pt x="142" y="378"/>
                  </a:lnTo>
                  <a:lnTo>
                    <a:pt x="142" y="380"/>
                  </a:lnTo>
                  <a:lnTo>
                    <a:pt x="138" y="384"/>
                  </a:lnTo>
                  <a:lnTo>
                    <a:pt x="142" y="380"/>
                  </a:lnTo>
                  <a:lnTo>
                    <a:pt x="142" y="378"/>
                  </a:lnTo>
                  <a:lnTo>
                    <a:pt x="142" y="380"/>
                  </a:lnTo>
                  <a:lnTo>
                    <a:pt x="142" y="384"/>
                  </a:lnTo>
                  <a:lnTo>
                    <a:pt x="142" y="380"/>
                  </a:lnTo>
                  <a:lnTo>
                    <a:pt x="142" y="384"/>
                  </a:lnTo>
                  <a:lnTo>
                    <a:pt x="142" y="388"/>
                  </a:lnTo>
                  <a:lnTo>
                    <a:pt x="142" y="384"/>
                  </a:lnTo>
                  <a:lnTo>
                    <a:pt x="146" y="380"/>
                  </a:lnTo>
                  <a:lnTo>
                    <a:pt x="150" y="378"/>
                  </a:lnTo>
                  <a:lnTo>
                    <a:pt x="150" y="374"/>
                  </a:lnTo>
                  <a:lnTo>
                    <a:pt x="152" y="374"/>
                  </a:lnTo>
                  <a:lnTo>
                    <a:pt x="156" y="374"/>
                  </a:lnTo>
                  <a:lnTo>
                    <a:pt x="160" y="370"/>
                  </a:lnTo>
                  <a:lnTo>
                    <a:pt x="164" y="370"/>
                  </a:lnTo>
                  <a:lnTo>
                    <a:pt x="168" y="370"/>
                  </a:lnTo>
                  <a:lnTo>
                    <a:pt x="168" y="366"/>
                  </a:lnTo>
                  <a:lnTo>
                    <a:pt x="172" y="366"/>
                  </a:lnTo>
                  <a:lnTo>
                    <a:pt x="172" y="370"/>
                  </a:lnTo>
                  <a:lnTo>
                    <a:pt x="168" y="370"/>
                  </a:lnTo>
                  <a:lnTo>
                    <a:pt x="168" y="374"/>
                  </a:lnTo>
                  <a:lnTo>
                    <a:pt x="172" y="374"/>
                  </a:lnTo>
                  <a:lnTo>
                    <a:pt x="176" y="370"/>
                  </a:lnTo>
                  <a:lnTo>
                    <a:pt x="180" y="366"/>
                  </a:lnTo>
                  <a:lnTo>
                    <a:pt x="180" y="362"/>
                  </a:lnTo>
                  <a:lnTo>
                    <a:pt x="182" y="362"/>
                  </a:lnTo>
                  <a:lnTo>
                    <a:pt x="186" y="362"/>
                  </a:lnTo>
                  <a:lnTo>
                    <a:pt x="190" y="358"/>
                  </a:lnTo>
                  <a:lnTo>
                    <a:pt x="186" y="358"/>
                  </a:lnTo>
                  <a:lnTo>
                    <a:pt x="182" y="358"/>
                  </a:lnTo>
                  <a:lnTo>
                    <a:pt x="186" y="354"/>
                  </a:lnTo>
                  <a:lnTo>
                    <a:pt x="182" y="354"/>
                  </a:lnTo>
                  <a:lnTo>
                    <a:pt x="182" y="350"/>
                  </a:lnTo>
                  <a:lnTo>
                    <a:pt x="186" y="350"/>
                  </a:lnTo>
                  <a:lnTo>
                    <a:pt x="186" y="354"/>
                  </a:lnTo>
                  <a:lnTo>
                    <a:pt x="190" y="354"/>
                  </a:lnTo>
                  <a:lnTo>
                    <a:pt x="194" y="358"/>
                  </a:lnTo>
                  <a:lnTo>
                    <a:pt x="198" y="358"/>
                  </a:lnTo>
                  <a:lnTo>
                    <a:pt x="198" y="362"/>
                  </a:lnTo>
                  <a:lnTo>
                    <a:pt x="198" y="366"/>
                  </a:lnTo>
                  <a:lnTo>
                    <a:pt x="202" y="370"/>
                  </a:lnTo>
                  <a:lnTo>
                    <a:pt x="202" y="374"/>
                  </a:lnTo>
                  <a:lnTo>
                    <a:pt x="206" y="374"/>
                  </a:lnTo>
                  <a:lnTo>
                    <a:pt x="210" y="378"/>
                  </a:lnTo>
                  <a:lnTo>
                    <a:pt x="210" y="380"/>
                  </a:lnTo>
                  <a:lnTo>
                    <a:pt x="212" y="380"/>
                  </a:lnTo>
                  <a:lnTo>
                    <a:pt x="220" y="380"/>
                  </a:lnTo>
                  <a:lnTo>
                    <a:pt x="220" y="384"/>
                  </a:lnTo>
                  <a:lnTo>
                    <a:pt x="220" y="380"/>
                  </a:lnTo>
                  <a:lnTo>
                    <a:pt x="224" y="380"/>
                  </a:lnTo>
                  <a:lnTo>
                    <a:pt x="220" y="380"/>
                  </a:lnTo>
                  <a:lnTo>
                    <a:pt x="216" y="380"/>
                  </a:lnTo>
                  <a:lnTo>
                    <a:pt x="220" y="378"/>
                  </a:lnTo>
                  <a:lnTo>
                    <a:pt x="224" y="378"/>
                  </a:lnTo>
                  <a:lnTo>
                    <a:pt x="220" y="374"/>
                  </a:lnTo>
                  <a:lnTo>
                    <a:pt x="224" y="374"/>
                  </a:lnTo>
                  <a:lnTo>
                    <a:pt x="228" y="374"/>
                  </a:lnTo>
                  <a:lnTo>
                    <a:pt x="224" y="374"/>
                  </a:lnTo>
                  <a:lnTo>
                    <a:pt x="224" y="370"/>
                  </a:lnTo>
                  <a:lnTo>
                    <a:pt x="228" y="370"/>
                  </a:lnTo>
                  <a:lnTo>
                    <a:pt x="228" y="366"/>
                  </a:lnTo>
                  <a:lnTo>
                    <a:pt x="232" y="366"/>
                  </a:lnTo>
                  <a:lnTo>
                    <a:pt x="228" y="366"/>
                  </a:lnTo>
                  <a:lnTo>
                    <a:pt x="224" y="366"/>
                  </a:lnTo>
                  <a:lnTo>
                    <a:pt x="228" y="362"/>
                  </a:lnTo>
                  <a:lnTo>
                    <a:pt x="228" y="366"/>
                  </a:lnTo>
                  <a:lnTo>
                    <a:pt x="232" y="362"/>
                  </a:lnTo>
                  <a:lnTo>
                    <a:pt x="232" y="366"/>
                  </a:lnTo>
                  <a:lnTo>
                    <a:pt x="236" y="366"/>
                  </a:lnTo>
                  <a:lnTo>
                    <a:pt x="236" y="362"/>
                  </a:lnTo>
                  <a:lnTo>
                    <a:pt x="232" y="362"/>
                  </a:lnTo>
                  <a:lnTo>
                    <a:pt x="236" y="362"/>
                  </a:lnTo>
                  <a:lnTo>
                    <a:pt x="236" y="366"/>
                  </a:lnTo>
                  <a:lnTo>
                    <a:pt x="236" y="370"/>
                  </a:lnTo>
                  <a:lnTo>
                    <a:pt x="236" y="374"/>
                  </a:lnTo>
                  <a:lnTo>
                    <a:pt x="238" y="374"/>
                  </a:lnTo>
                  <a:lnTo>
                    <a:pt x="238" y="378"/>
                  </a:lnTo>
                  <a:lnTo>
                    <a:pt x="236" y="378"/>
                  </a:lnTo>
                  <a:lnTo>
                    <a:pt x="232" y="380"/>
                  </a:lnTo>
                  <a:lnTo>
                    <a:pt x="236" y="380"/>
                  </a:lnTo>
                  <a:lnTo>
                    <a:pt x="238" y="380"/>
                  </a:lnTo>
                  <a:lnTo>
                    <a:pt x="242" y="380"/>
                  </a:lnTo>
                  <a:lnTo>
                    <a:pt x="246" y="380"/>
                  </a:lnTo>
                  <a:lnTo>
                    <a:pt x="250" y="380"/>
                  </a:lnTo>
                  <a:lnTo>
                    <a:pt x="250" y="378"/>
                  </a:lnTo>
                  <a:lnTo>
                    <a:pt x="254" y="378"/>
                  </a:lnTo>
                  <a:lnTo>
                    <a:pt x="254" y="374"/>
                  </a:lnTo>
                  <a:lnTo>
                    <a:pt x="254" y="370"/>
                  </a:lnTo>
                  <a:lnTo>
                    <a:pt x="258" y="370"/>
                  </a:lnTo>
                  <a:lnTo>
                    <a:pt x="262" y="370"/>
                  </a:lnTo>
                  <a:lnTo>
                    <a:pt x="266" y="370"/>
                  </a:lnTo>
                  <a:lnTo>
                    <a:pt x="268" y="370"/>
                  </a:lnTo>
                  <a:lnTo>
                    <a:pt x="272" y="370"/>
                  </a:lnTo>
                  <a:lnTo>
                    <a:pt x="276" y="374"/>
                  </a:lnTo>
                  <a:lnTo>
                    <a:pt x="280" y="374"/>
                  </a:lnTo>
                  <a:lnTo>
                    <a:pt x="284" y="374"/>
                  </a:lnTo>
                  <a:lnTo>
                    <a:pt x="284" y="378"/>
                  </a:lnTo>
                  <a:lnTo>
                    <a:pt x="288" y="378"/>
                  </a:lnTo>
                  <a:lnTo>
                    <a:pt x="292" y="380"/>
                  </a:lnTo>
                  <a:lnTo>
                    <a:pt x="294" y="380"/>
                  </a:lnTo>
                  <a:lnTo>
                    <a:pt x="298" y="380"/>
                  </a:lnTo>
                  <a:lnTo>
                    <a:pt x="302" y="384"/>
                  </a:lnTo>
                  <a:lnTo>
                    <a:pt x="306" y="384"/>
                  </a:lnTo>
                  <a:lnTo>
                    <a:pt x="310" y="384"/>
                  </a:lnTo>
                  <a:lnTo>
                    <a:pt x="314" y="384"/>
                  </a:lnTo>
                  <a:lnTo>
                    <a:pt x="318" y="384"/>
                  </a:lnTo>
                  <a:lnTo>
                    <a:pt x="318" y="388"/>
                  </a:lnTo>
                  <a:lnTo>
                    <a:pt x="322" y="388"/>
                  </a:lnTo>
                  <a:lnTo>
                    <a:pt x="324" y="388"/>
                  </a:lnTo>
                  <a:lnTo>
                    <a:pt x="324" y="392"/>
                  </a:lnTo>
                  <a:lnTo>
                    <a:pt x="328" y="392"/>
                  </a:lnTo>
                  <a:lnTo>
                    <a:pt x="332" y="392"/>
                  </a:lnTo>
                  <a:lnTo>
                    <a:pt x="336" y="392"/>
                  </a:lnTo>
                  <a:lnTo>
                    <a:pt x="336" y="396"/>
                  </a:lnTo>
                  <a:lnTo>
                    <a:pt x="340" y="392"/>
                  </a:lnTo>
                  <a:lnTo>
                    <a:pt x="344" y="396"/>
                  </a:lnTo>
                  <a:lnTo>
                    <a:pt x="348" y="396"/>
                  </a:lnTo>
                  <a:lnTo>
                    <a:pt x="352" y="396"/>
                  </a:lnTo>
                  <a:lnTo>
                    <a:pt x="354" y="396"/>
                  </a:lnTo>
                  <a:lnTo>
                    <a:pt x="352" y="396"/>
                  </a:lnTo>
                  <a:lnTo>
                    <a:pt x="352" y="392"/>
                  </a:lnTo>
                  <a:lnTo>
                    <a:pt x="354" y="392"/>
                  </a:lnTo>
                  <a:lnTo>
                    <a:pt x="358" y="392"/>
                  </a:lnTo>
                  <a:lnTo>
                    <a:pt x="354" y="392"/>
                  </a:lnTo>
                  <a:lnTo>
                    <a:pt x="358" y="392"/>
                  </a:lnTo>
                  <a:lnTo>
                    <a:pt x="362" y="392"/>
                  </a:lnTo>
                  <a:lnTo>
                    <a:pt x="366" y="396"/>
                  </a:lnTo>
                  <a:lnTo>
                    <a:pt x="370" y="396"/>
                  </a:lnTo>
                  <a:lnTo>
                    <a:pt x="374" y="396"/>
                  </a:lnTo>
                  <a:lnTo>
                    <a:pt x="374" y="400"/>
                  </a:lnTo>
                  <a:lnTo>
                    <a:pt x="378" y="400"/>
                  </a:lnTo>
                  <a:lnTo>
                    <a:pt x="378" y="404"/>
                  </a:lnTo>
                  <a:lnTo>
                    <a:pt x="380" y="404"/>
                  </a:lnTo>
                  <a:lnTo>
                    <a:pt x="380" y="410"/>
                  </a:lnTo>
                  <a:lnTo>
                    <a:pt x="378" y="410"/>
                  </a:lnTo>
                  <a:lnTo>
                    <a:pt x="374" y="410"/>
                  </a:lnTo>
                  <a:lnTo>
                    <a:pt x="370" y="410"/>
                  </a:lnTo>
                  <a:lnTo>
                    <a:pt x="366" y="410"/>
                  </a:lnTo>
                  <a:lnTo>
                    <a:pt x="366" y="414"/>
                  </a:lnTo>
                  <a:lnTo>
                    <a:pt x="366" y="418"/>
                  </a:lnTo>
                  <a:lnTo>
                    <a:pt x="362" y="418"/>
                  </a:lnTo>
                  <a:lnTo>
                    <a:pt x="366" y="418"/>
                  </a:lnTo>
                  <a:lnTo>
                    <a:pt x="366" y="422"/>
                  </a:lnTo>
                  <a:lnTo>
                    <a:pt x="370" y="422"/>
                  </a:lnTo>
                  <a:lnTo>
                    <a:pt x="374" y="422"/>
                  </a:lnTo>
                  <a:lnTo>
                    <a:pt x="378" y="422"/>
                  </a:lnTo>
                  <a:lnTo>
                    <a:pt x="380" y="422"/>
                  </a:lnTo>
                  <a:lnTo>
                    <a:pt x="384" y="422"/>
                  </a:lnTo>
                  <a:lnTo>
                    <a:pt x="388" y="422"/>
                  </a:lnTo>
                  <a:lnTo>
                    <a:pt x="392" y="422"/>
                  </a:lnTo>
                  <a:lnTo>
                    <a:pt x="396" y="422"/>
                  </a:lnTo>
                  <a:lnTo>
                    <a:pt x="396" y="426"/>
                  </a:lnTo>
                  <a:lnTo>
                    <a:pt x="400" y="426"/>
                  </a:lnTo>
                  <a:lnTo>
                    <a:pt x="404" y="426"/>
                  </a:lnTo>
                  <a:lnTo>
                    <a:pt x="408" y="426"/>
                  </a:lnTo>
                  <a:lnTo>
                    <a:pt x="408" y="422"/>
                  </a:lnTo>
                  <a:lnTo>
                    <a:pt x="410" y="422"/>
                  </a:lnTo>
                  <a:lnTo>
                    <a:pt x="414" y="422"/>
                  </a:lnTo>
                  <a:lnTo>
                    <a:pt x="418" y="422"/>
                  </a:lnTo>
                  <a:lnTo>
                    <a:pt x="422" y="422"/>
                  </a:lnTo>
                  <a:lnTo>
                    <a:pt x="424" y="422"/>
                  </a:lnTo>
                  <a:lnTo>
                    <a:pt x="428" y="422"/>
                  </a:lnTo>
                  <a:lnTo>
                    <a:pt x="428" y="418"/>
                  </a:lnTo>
                  <a:lnTo>
                    <a:pt x="432" y="418"/>
                  </a:lnTo>
                  <a:lnTo>
                    <a:pt x="436" y="418"/>
                  </a:lnTo>
                  <a:lnTo>
                    <a:pt x="436" y="414"/>
                  </a:lnTo>
                  <a:lnTo>
                    <a:pt x="440" y="418"/>
                  </a:lnTo>
                  <a:lnTo>
                    <a:pt x="440" y="422"/>
                  </a:lnTo>
                  <a:lnTo>
                    <a:pt x="440" y="418"/>
                  </a:lnTo>
                  <a:lnTo>
                    <a:pt x="440" y="422"/>
                  </a:lnTo>
                  <a:lnTo>
                    <a:pt x="444" y="422"/>
                  </a:lnTo>
                  <a:lnTo>
                    <a:pt x="444" y="426"/>
                  </a:lnTo>
                  <a:lnTo>
                    <a:pt x="444" y="422"/>
                  </a:lnTo>
                  <a:lnTo>
                    <a:pt x="448" y="422"/>
                  </a:lnTo>
                  <a:lnTo>
                    <a:pt x="450" y="422"/>
                  </a:lnTo>
                  <a:lnTo>
                    <a:pt x="450" y="426"/>
                  </a:lnTo>
                  <a:lnTo>
                    <a:pt x="454" y="430"/>
                  </a:lnTo>
                  <a:lnTo>
                    <a:pt x="450" y="430"/>
                  </a:lnTo>
                  <a:lnTo>
                    <a:pt x="454" y="430"/>
                  </a:lnTo>
                  <a:lnTo>
                    <a:pt x="454" y="434"/>
                  </a:lnTo>
                  <a:lnTo>
                    <a:pt x="454" y="430"/>
                  </a:lnTo>
                  <a:lnTo>
                    <a:pt x="454" y="426"/>
                  </a:lnTo>
                  <a:lnTo>
                    <a:pt x="458" y="426"/>
                  </a:lnTo>
                  <a:lnTo>
                    <a:pt x="458" y="430"/>
                  </a:lnTo>
                  <a:lnTo>
                    <a:pt x="458" y="434"/>
                  </a:lnTo>
                  <a:lnTo>
                    <a:pt x="462" y="434"/>
                  </a:lnTo>
                  <a:lnTo>
                    <a:pt x="458" y="430"/>
                  </a:lnTo>
                  <a:lnTo>
                    <a:pt x="462" y="430"/>
                  </a:lnTo>
                  <a:lnTo>
                    <a:pt x="466" y="434"/>
                  </a:lnTo>
                  <a:lnTo>
                    <a:pt x="466" y="436"/>
                  </a:lnTo>
                  <a:lnTo>
                    <a:pt x="470" y="436"/>
                  </a:lnTo>
                  <a:lnTo>
                    <a:pt x="470" y="440"/>
                  </a:lnTo>
                  <a:lnTo>
                    <a:pt x="466" y="440"/>
                  </a:lnTo>
                  <a:lnTo>
                    <a:pt x="462" y="440"/>
                  </a:lnTo>
                  <a:lnTo>
                    <a:pt x="458" y="440"/>
                  </a:lnTo>
                  <a:lnTo>
                    <a:pt x="458" y="436"/>
                  </a:lnTo>
                  <a:lnTo>
                    <a:pt x="458" y="440"/>
                  </a:lnTo>
                  <a:lnTo>
                    <a:pt x="462" y="440"/>
                  </a:lnTo>
                  <a:lnTo>
                    <a:pt x="466" y="440"/>
                  </a:lnTo>
                  <a:lnTo>
                    <a:pt x="466" y="444"/>
                  </a:lnTo>
                  <a:lnTo>
                    <a:pt x="466" y="448"/>
                  </a:lnTo>
                  <a:lnTo>
                    <a:pt x="470" y="448"/>
                  </a:lnTo>
                  <a:lnTo>
                    <a:pt x="470" y="452"/>
                  </a:lnTo>
                  <a:lnTo>
                    <a:pt x="474" y="452"/>
                  </a:lnTo>
                  <a:lnTo>
                    <a:pt x="474" y="456"/>
                  </a:lnTo>
                  <a:lnTo>
                    <a:pt x="478" y="456"/>
                  </a:lnTo>
                  <a:lnTo>
                    <a:pt x="474" y="452"/>
                  </a:lnTo>
                  <a:lnTo>
                    <a:pt x="474" y="448"/>
                  </a:lnTo>
                  <a:lnTo>
                    <a:pt x="470" y="448"/>
                  </a:lnTo>
                  <a:lnTo>
                    <a:pt x="470" y="444"/>
                  </a:lnTo>
                  <a:lnTo>
                    <a:pt x="470" y="440"/>
                  </a:lnTo>
                  <a:lnTo>
                    <a:pt x="474" y="440"/>
                  </a:lnTo>
                  <a:lnTo>
                    <a:pt x="470" y="440"/>
                  </a:lnTo>
                  <a:lnTo>
                    <a:pt x="474" y="440"/>
                  </a:lnTo>
                  <a:lnTo>
                    <a:pt x="474" y="444"/>
                  </a:lnTo>
                  <a:lnTo>
                    <a:pt x="474" y="440"/>
                  </a:lnTo>
                  <a:lnTo>
                    <a:pt x="470" y="440"/>
                  </a:lnTo>
                  <a:lnTo>
                    <a:pt x="474" y="444"/>
                  </a:lnTo>
                  <a:lnTo>
                    <a:pt x="474" y="440"/>
                  </a:lnTo>
                  <a:lnTo>
                    <a:pt x="478" y="440"/>
                  </a:lnTo>
                  <a:lnTo>
                    <a:pt x="478" y="444"/>
                  </a:lnTo>
                  <a:lnTo>
                    <a:pt x="480" y="444"/>
                  </a:lnTo>
                  <a:lnTo>
                    <a:pt x="478" y="444"/>
                  </a:lnTo>
                  <a:lnTo>
                    <a:pt x="478" y="440"/>
                  </a:lnTo>
                  <a:lnTo>
                    <a:pt x="478" y="436"/>
                  </a:lnTo>
                  <a:lnTo>
                    <a:pt x="474" y="436"/>
                  </a:lnTo>
                  <a:lnTo>
                    <a:pt x="470" y="434"/>
                  </a:lnTo>
                  <a:lnTo>
                    <a:pt x="474" y="430"/>
                  </a:lnTo>
                  <a:lnTo>
                    <a:pt x="470" y="426"/>
                  </a:lnTo>
                  <a:lnTo>
                    <a:pt x="466" y="426"/>
                  </a:lnTo>
                  <a:lnTo>
                    <a:pt x="466" y="422"/>
                  </a:lnTo>
                  <a:lnTo>
                    <a:pt x="466" y="418"/>
                  </a:lnTo>
                  <a:lnTo>
                    <a:pt x="470" y="418"/>
                  </a:lnTo>
                  <a:lnTo>
                    <a:pt x="466" y="414"/>
                  </a:lnTo>
                  <a:lnTo>
                    <a:pt x="470" y="414"/>
                  </a:lnTo>
                  <a:lnTo>
                    <a:pt x="474" y="414"/>
                  </a:lnTo>
                  <a:lnTo>
                    <a:pt x="478" y="414"/>
                  </a:lnTo>
                  <a:lnTo>
                    <a:pt x="480" y="414"/>
                  </a:lnTo>
                  <a:lnTo>
                    <a:pt x="484" y="414"/>
                  </a:lnTo>
                  <a:lnTo>
                    <a:pt x="484" y="410"/>
                  </a:lnTo>
                  <a:lnTo>
                    <a:pt x="488" y="410"/>
                  </a:lnTo>
                  <a:lnTo>
                    <a:pt x="488" y="408"/>
                  </a:lnTo>
                  <a:lnTo>
                    <a:pt x="492" y="408"/>
                  </a:lnTo>
                  <a:lnTo>
                    <a:pt x="500" y="408"/>
                  </a:lnTo>
                  <a:lnTo>
                    <a:pt x="500" y="404"/>
                  </a:lnTo>
                  <a:lnTo>
                    <a:pt x="500" y="400"/>
                  </a:lnTo>
                  <a:lnTo>
                    <a:pt x="496" y="400"/>
                  </a:lnTo>
                  <a:lnTo>
                    <a:pt x="492" y="404"/>
                  </a:lnTo>
                  <a:lnTo>
                    <a:pt x="488" y="404"/>
                  </a:lnTo>
                  <a:lnTo>
                    <a:pt x="484" y="404"/>
                  </a:lnTo>
                  <a:lnTo>
                    <a:pt x="488" y="408"/>
                  </a:lnTo>
                  <a:lnTo>
                    <a:pt x="484" y="408"/>
                  </a:lnTo>
                  <a:lnTo>
                    <a:pt x="480" y="408"/>
                  </a:lnTo>
                  <a:lnTo>
                    <a:pt x="478" y="410"/>
                  </a:lnTo>
                  <a:lnTo>
                    <a:pt x="478" y="408"/>
                  </a:lnTo>
                  <a:lnTo>
                    <a:pt x="474" y="408"/>
                  </a:lnTo>
                  <a:lnTo>
                    <a:pt x="470" y="408"/>
                  </a:lnTo>
                  <a:lnTo>
                    <a:pt x="470" y="410"/>
                  </a:lnTo>
                  <a:lnTo>
                    <a:pt x="474" y="410"/>
                  </a:lnTo>
                  <a:lnTo>
                    <a:pt x="470" y="410"/>
                  </a:lnTo>
                  <a:lnTo>
                    <a:pt x="466" y="410"/>
                  </a:lnTo>
                  <a:lnTo>
                    <a:pt x="462" y="410"/>
                  </a:lnTo>
                  <a:lnTo>
                    <a:pt x="462" y="414"/>
                  </a:lnTo>
                  <a:lnTo>
                    <a:pt x="462" y="410"/>
                  </a:lnTo>
                  <a:lnTo>
                    <a:pt x="462" y="414"/>
                  </a:lnTo>
                  <a:lnTo>
                    <a:pt x="462" y="410"/>
                  </a:lnTo>
                  <a:lnTo>
                    <a:pt x="462" y="408"/>
                  </a:lnTo>
                  <a:lnTo>
                    <a:pt x="458" y="408"/>
                  </a:lnTo>
                  <a:lnTo>
                    <a:pt x="458" y="410"/>
                  </a:lnTo>
                  <a:lnTo>
                    <a:pt x="454" y="410"/>
                  </a:lnTo>
                  <a:lnTo>
                    <a:pt x="454" y="408"/>
                  </a:lnTo>
                  <a:lnTo>
                    <a:pt x="458" y="408"/>
                  </a:lnTo>
                  <a:lnTo>
                    <a:pt x="458" y="404"/>
                  </a:lnTo>
                  <a:lnTo>
                    <a:pt x="462" y="404"/>
                  </a:lnTo>
                  <a:lnTo>
                    <a:pt x="462" y="400"/>
                  </a:lnTo>
                  <a:lnTo>
                    <a:pt x="466" y="400"/>
                  </a:lnTo>
                  <a:lnTo>
                    <a:pt x="470" y="400"/>
                  </a:lnTo>
                  <a:lnTo>
                    <a:pt x="474" y="400"/>
                  </a:lnTo>
                  <a:lnTo>
                    <a:pt x="478" y="400"/>
                  </a:lnTo>
                  <a:lnTo>
                    <a:pt x="480" y="396"/>
                  </a:lnTo>
                  <a:lnTo>
                    <a:pt x="484" y="396"/>
                  </a:lnTo>
                  <a:lnTo>
                    <a:pt x="492" y="392"/>
                  </a:lnTo>
                  <a:lnTo>
                    <a:pt x="496" y="396"/>
                  </a:lnTo>
                  <a:lnTo>
                    <a:pt x="500" y="396"/>
                  </a:lnTo>
                  <a:lnTo>
                    <a:pt x="504" y="400"/>
                  </a:lnTo>
                  <a:lnTo>
                    <a:pt x="504" y="404"/>
                  </a:lnTo>
                  <a:lnTo>
                    <a:pt x="500" y="408"/>
                  </a:lnTo>
                  <a:lnTo>
                    <a:pt x="504" y="408"/>
                  </a:lnTo>
                  <a:lnTo>
                    <a:pt x="508" y="410"/>
                  </a:lnTo>
                  <a:lnTo>
                    <a:pt x="508" y="408"/>
                  </a:lnTo>
                  <a:lnTo>
                    <a:pt x="510" y="408"/>
                  </a:lnTo>
                  <a:lnTo>
                    <a:pt x="510" y="410"/>
                  </a:lnTo>
                  <a:lnTo>
                    <a:pt x="514" y="410"/>
                  </a:lnTo>
                  <a:lnTo>
                    <a:pt x="514" y="414"/>
                  </a:lnTo>
                  <a:lnTo>
                    <a:pt x="518" y="414"/>
                  </a:lnTo>
                  <a:lnTo>
                    <a:pt x="522" y="414"/>
                  </a:lnTo>
                  <a:lnTo>
                    <a:pt x="526" y="414"/>
                  </a:lnTo>
                  <a:lnTo>
                    <a:pt x="530" y="414"/>
                  </a:lnTo>
                  <a:lnTo>
                    <a:pt x="530" y="410"/>
                  </a:lnTo>
                  <a:lnTo>
                    <a:pt x="534" y="410"/>
                  </a:lnTo>
                  <a:lnTo>
                    <a:pt x="534" y="414"/>
                  </a:lnTo>
                  <a:lnTo>
                    <a:pt x="534" y="418"/>
                  </a:lnTo>
                  <a:lnTo>
                    <a:pt x="536" y="418"/>
                  </a:lnTo>
                  <a:lnTo>
                    <a:pt x="540" y="422"/>
                  </a:lnTo>
                  <a:lnTo>
                    <a:pt x="544" y="422"/>
                  </a:lnTo>
                  <a:lnTo>
                    <a:pt x="548" y="422"/>
                  </a:lnTo>
                  <a:lnTo>
                    <a:pt x="552" y="422"/>
                  </a:lnTo>
                  <a:lnTo>
                    <a:pt x="556" y="422"/>
                  </a:lnTo>
                  <a:lnTo>
                    <a:pt x="560" y="426"/>
                  </a:lnTo>
                  <a:lnTo>
                    <a:pt x="560" y="422"/>
                  </a:lnTo>
                  <a:lnTo>
                    <a:pt x="564" y="422"/>
                  </a:lnTo>
                  <a:lnTo>
                    <a:pt x="566" y="422"/>
                  </a:lnTo>
                  <a:lnTo>
                    <a:pt x="570" y="422"/>
                  </a:lnTo>
                  <a:lnTo>
                    <a:pt x="574" y="418"/>
                  </a:lnTo>
                  <a:lnTo>
                    <a:pt x="578" y="418"/>
                  </a:lnTo>
                  <a:lnTo>
                    <a:pt x="578" y="422"/>
                  </a:lnTo>
                  <a:lnTo>
                    <a:pt x="582" y="422"/>
                  </a:lnTo>
                  <a:lnTo>
                    <a:pt x="586" y="422"/>
                  </a:lnTo>
                  <a:lnTo>
                    <a:pt x="590" y="422"/>
                  </a:lnTo>
                  <a:lnTo>
                    <a:pt x="592" y="422"/>
                  </a:lnTo>
                  <a:lnTo>
                    <a:pt x="596" y="422"/>
                  </a:lnTo>
                  <a:lnTo>
                    <a:pt x="600" y="422"/>
                  </a:lnTo>
                  <a:lnTo>
                    <a:pt x="604" y="422"/>
                  </a:lnTo>
                  <a:lnTo>
                    <a:pt x="600" y="418"/>
                  </a:lnTo>
                  <a:lnTo>
                    <a:pt x="596" y="418"/>
                  </a:lnTo>
                  <a:lnTo>
                    <a:pt x="596" y="414"/>
                  </a:lnTo>
                  <a:lnTo>
                    <a:pt x="600" y="414"/>
                  </a:lnTo>
                  <a:lnTo>
                    <a:pt x="604" y="418"/>
                  </a:lnTo>
                  <a:lnTo>
                    <a:pt x="608" y="422"/>
                  </a:lnTo>
                  <a:lnTo>
                    <a:pt x="612" y="426"/>
                  </a:lnTo>
                  <a:lnTo>
                    <a:pt x="616" y="426"/>
                  </a:lnTo>
                  <a:lnTo>
                    <a:pt x="620" y="426"/>
                  </a:lnTo>
                  <a:lnTo>
                    <a:pt x="620" y="422"/>
                  </a:lnTo>
                  <a:lnTo>
                    <a:pt x="620" y="418"/>
                  </a:lnTo>
                  <a:lnTo>
                    <a:pt x="616" y="418"/>
                  </a:lnTo>
                  <a:lnTo>
                    <a:pt x="612" y="414"/>
                  </a:lnTo>
                  <a:lnTo>
                    <a:pt x="612" y="418"/>
                  </a:lnTo>
                  <a:lnTo>
                    <a:pt x="608" y="418"/>
                  </a:lnTo>
                  <a:lnTo>
                    <a:pt x="608" y="422"/>
                  </a:lnTo>
                  <a:lnTo>
                    <a:pt x="604" y="418"/>
                  </a:lnTo>
                  <a:lnTo>
                    <a:pt x="604" y="414"/>
                  </a:lnTo>
                  <a:lnTo>
                    <a:pt x="600" y="410"/>
                  </a:lnTo>
                  <a:lnTo>
                    <a:pt x="600" y="414"/>
                  </a:lnTo>
                  <a:lnTo>
                    <a:pt x="604" y="414"/>
                  </a:lnTo>
                  <a:lnTo>
                    <a:pt x="604" y="410"/>
                  </a:lnTo>
                  <a:lnTo>
                    <a:pt x="600" y="410"/>
                  </a:lnTo>
                  <a:lnTo>
                    <a:pt x="600" y="408"/>
                  </a:lnTo>
                  <a:lnTo>
                    <a:pt x="596" y="408"/>
                  </a:lnTo>
                  <a:lnTo>
                    <a:pt x="600" y="408"/>
                  </a:lnTo>
                  <a:lnTo>
                    <a:pt x="604" y="408"/>
                  </a:lnTo>
                  <a:lnTo>
                    <a:pt x="608" y="408"/>
                  </a:lnTo>
                  <a:lnTo>
                    <a:pt x="612" y="408"/>
                  </a:lnTo>
                  <a:lnTo>
                    <a:pt x="608" y="408"/>
                  </a:lnTo>
                  <a:lnTo>
                    <a:pt x="608" y="404"/>
                  </a:lnTo>
                  <a:lnTo>
                    <a:pt x="612" y="404"/>
                  </a:lnTo>
                  <a:lnTo>
                    <a:pt x="616" y="408"/>
                  </a:lnTo>
                  <a:lnTo>
                    <a:pt x="616" y="404"/>
                  </a:lnTo>
                  <a:lnTo>
                    <a:pt x="620" y="404"/>
                  </a:lnTo>
                  <a:lnTo>
                    <a:pt x="620" y="408"/>
                  </a:lnTo>
                  <a:lnTo>
                    <a:pt x="622" y="408"/>
                  </a:lnTo>
                  <a:lnTo>
                    <a:pt x="622" y="410"/>
                  </a:lnTo>
                  <a:lnTo>
                    <a:pt x="626" y="410"/>
                  </a:lnTo>
                  <a:lnTo>
                    <a:pt x="630" y="410"/>
                  </a:lnTo>
                  <a:lnTo>
                    <a:pt x="630" y="408"/>
                  </a:lnTo>
                  <a:lnTo>
                    <a:pt x="630" y="410"/>
                  </a:lnTo>
                  <a:lnTo>
                    <a:pt x="626" y="414"/>
                  </a:lnTo>
                  <a:lnTo>
                    <a:pt x="630" y="414"/>
                  </a:lnTo>
                  <a:lnTo>
                    <a:pt x="630" y="410"/>
                  </a:lnTo>
                  <a:lnTo>
                    <a:pt x="634" y="410"/>
                  </a:lnTo>
                  <a:lnTo>
                    <a:pt x="638" y="410"/>
                  </a:lnTo>
                  <a:lnTo>
                    <a:pt x="634" y="410"/>
                  </a:lnTo>
                  <a:lnTo>
                    <a:pt x="638" y="414"/>
                  </a:lnTo>
                  <a:lnTo>
                    <a:pt x="634" y="414"/>
                  </a:lnTo>
                  <a:lnTo>
                    <a:pt x="634" y="418"/>
                  </a:lnTo>
                  <a:lnTo>
                    <a:pt x="634" y="422"/>
                  </a:lnTo>
                  <a:lnTo>
                    <a:pt x="634" y="426"/>
                  </a:lnTo>
                  <a:lnTo>
                    <a:pt x="630" y="426"/>
                  </a:lnTo>
                  <a:lnTo>
                    <a:pt x="630" y="430"/>
                  </a:lnTo>
                  <a:lnTo>
                    <a:pt x="634" y="430"/>
                  </a:lnTo>
                  <a:lnTo>
                    <a:pt x="634" y="434"/>
                  </a:lnTo>
                  <a:lnTo>
                    <a:pt x="634" y="436"/>
                  </a:lnTo>
                  <a:lnTo>
                    <a:pt x="638" y="434"/>
                  </a:lnTo>
                  <a:lnTo>
                    <a:pt x="642" y="434"/>
                  </a:lnTo>
                  <a:lnTo>
                    <a:pt x="642" y="436"/>
                  </a:lnTo>
                  <a:lnTo>
                    <a:pt x="638" y="436"/>
                  </a:lnTo>
                  <a:lnTo>
                    <a:pt x="642" y="436"/>
                  </a:lnTo>
                  <a:lnTo>
                    <a:pt x="646" y="436"/>
                  </a:lnTo>
                  <a:lnTo>
                    <a:pt x="646" y="440"/>
                  </a:lnTo>
                  <a:lnTo>
                    <a:pt x="642" y="440"/>
                  </a:lnTo>
                  <a:lnTo>
                    <a:pt x="638" y="440"/>
                  </a:lnTo>
                  <a:lnTo>
                    <a:pt x="634" y="440"/>
                  </a:lnTo>
                  <a:lnTo>
                    <a:pt x="630" y="440"/>
                  </a:lnTo>
                  <a:lnTo>
                    <a:pt x="630" y="436"/>
                  </a:lnTo>
                  <a:lnTo>
                    <a:pt x="630" y="440"/>
                  </a:lnTo>
                  <a:lnTo>
                    <a:pt x="634" y="440"/>
                  </a:lnTo>
                  <a:lnTo>
                    <a:pt x="634" y="444"/>
                  </a:lnTo>
                  <a:lnTo>
                    <a:pt x="638" y="444"/>
                  </a:lnTo>
                  <a:lnTo>
                    <a:pt x="638" y="448"/>
                  </a:lnTo>
                  <a:lnTo>
                    <a:pt x="642" y="448"/>
                  </a:lnTo>
                  <a:lnTo>
                    <a:pt x="638" y="444"/>
                  </a:lnTo>
                  <a:lnTo>
                    <a:pt x="634" y="444"/>
                  </a:lnTo>
                  <a:lnTo>
                    <a:pt x="634" y="440"/>
                  </a:lnTo>
                  <a:lnTo>
                    <a:pt x="638" y="440"/>
                  </a:lnTo>
                  <a:lnTo>
                    <a:pt x="642" y="440"/>
                  </a:lnTo>
                  <a:lnTo>
                    <a:pt x="642" y="444"/>
                  </a:lnTo>
                  <a:lnTo>
                    <a:pt x="646" y="444"/>
                  </a:lnTo>
                  <a:lnTo>
                    <a:pt x="650" y="440"/>
                  </a:lnTo>
                  <a:lnTo>
                    <a:pt x="646" y="440"/>
                  </a:lnTo>
                  <a:lnTo>
                    <a:pt x="646" y="436"/>
                  </a:lnTo>
                  <a:lnTo>
                    <a:pt x="650" y="434"/>
                  </a:lnTo>
                  <a:lnTo>
                    <a:pt x="646" y="434"/>
                  </a:lnTo>
                  <a:lnTo>
                    <a:pt x="646" y="430"/>
                  </a:lnTo>
                  <a:lnTo>
                    <a:pt x="646" y="426"/>
                  </a:lnTo>
                  <a:lnTo>
                    <a:pt x="642" y="426"/>
                  </a:lnTo>
                  <a:lnTo>
                    <a:pt x="642" y="422"/>
                  </a:lnTo>
                  <a:lnTo>
                    <a:pt x="646" y="418"/>
                  </a:lnTo>
                  <a:lnTo>
                    <a:pt x="642" y="418"/>
                  </a:lnTo>
                  <a:lnTo>
                    <a:pt x="646" y="418"/>
                  </a:lnTo>
                  <a:lnTo>
                    <a:pt x="646" y="414"/>
                  </a:lnTo>
                  <a:lnTo>
                    <a:pt x="650" y="414"/>
                  </a:lnTo>
                  <a:lnTo>
                    <a:pt x="652" y="414"/>
                  </a:lnTo>
                  <a:lnTo>
                    <a:pt x="656" y="414"/>
                  </a:lnTo>
                  <a:lnTo>
                    <a:pt x="660" y="410"/>
                  </a:lnTo>
                  <a:lnTo>
                    <a:pt x="664" y="410"/>
                  </a:lnTo>
                  <a:lnTo>
                    <a:pt x="664" y="408"/>
                  </a:lnTo>
                  <a:lnTo>
                    <a:pt x="660" y="408"/>
                  </a:lnTo>
                  <a:lnTo>
                    <a:pt x="664" y="408"/>
                  </a:lnTo>
                  <a:lnTo>
                    <a:pt x="664" y="404"/>
                  </a:lnTo>
                  <a:lnTo>
                    <a:pt x="668" y="404"/>
                  </a:lnTo>
                  <a:lnTo>
                    <a:pt x="672" y="404"/>
                  </a:lnTo>
                  <a:lnTo>
                    <a:pt x="672" y="400"/>
                  </a:lnTo>
                  <a:lnTo>
                    <a:pt x="668" y="400"/>
                  </a:lnTo>
                  <a:lnTo>
                    <a:pt x="668" y="396"/>
                  </a:lnTo>
                  <a:lnTo>
                    <a:pt x="672" y="396"/>
                  </a:lnTo>
                  <a:lnTo>
                    <a:pt x="672" y="392"/>
                  </a:lnTo>
                  <a:lnTo>
                    <a:pt x="668" y="392"/>
                  </a:lnTo>
                  <a:lnTo>
                    <a:pt x="664" y="392"/>
                  </a:lnTo>
                  <a:lnTo>
                    <a:pt x="664" y="396"/>
                  </a:lnTo>
                  <a:lnTo>
                    <a:pt x="668" y="396"/>
                  </a:lnTo>
                  <a:lnTo>
                    <a:pt x="668" y="392"/>
                  </a:lnTo>
                  <a:lnTo>
                    <a:pt x="668" y="396"/>
                  </a:lnTo>
                  <a:lnTo>
                    <a:pt x="664" y="396"/>
                  </a:lnTo>
                  <a:lnTo>
                    <a:pt x="660" y="400"/>
                  </a:lnTo>
                  <a:lnTo>
                    <a:pt x="656" y="400"/>
                  </a:lnTo>
                  <a:lnTo>
                    <a:pt x="656" y="396"/>
                  </a:lnTo>
                  <a:lnTo>
                    <a:pt x="656" y="392"/>
                  </a:lnTo>
                  <a:lnTo>
                    <a:pt x="660" y="392"/>
                  </a:lnTo>
                  <a:lnTo>
                    <a:pt x="664" y="388"/>
                  </a:lnTo>
                  <a:lnTo>
                    <a:pt x="660" y="388"/>
                  </a:lnTo>
                  <a:lnTo>
                    <a:pt x="660" y="384"/>
                  </a:lnTo>
                  <a:lnTo>
                    <a:pt x="664" y="380"/>
                  </a:lnTo>
                  <a:lnTo>
                    <a:pt x="668" y="380"/>
                  </a:lnTo>
                  <a:lnTo>
                    <a:pt x="672" y="380"/>
                  </a:lnTo>
                  <a:lnTo>
                    <a:pt x="668" y="380"/>
                  </a:lnTo>
                  <a:lnTo>
                    <a:pt x="668" y="384"/>
                  </a:lnTo>
                  <a:lnTo>
                    <a:pt x="668" y="388"/>
                  </a:lnTo>
                  <a:lnTo>
                    <a:pt x="672" y="384"/>
                  </a:lnTo>
                  <a:lnTo>
                    <a:pt x="676" y="380"/>
                  </a:lnTo>
                  <a:lnTo>
                    <a:pt x="672" y="380"/>
                  </a:lnTo>
                  <a:lnTo>
                    <a:pt x="672" y="378"/>
                  </a:lnTo>
                  <a:lnTo>
                    <a:pt x="668" y="378"/>
                  </a:lnTo>
                  <a:lnTo>
                    <a:pt x="668" y="380"/>
                  </a:lnTo>
                  <a:lnTo>
                    <a:pt x="664" y="380"/>
                  </a:lnTo>
                  <a:lnTo>
                    <a:pt x="660" y="380"/>
                  </a:lnTo>
                  <a:lnTo>
                    <a:pt x="660" y="378"/>
                  </a:lnTo>
                  <a:lnTo>
                    <a:pt x="656" y="378"/>
                  </a:lnTo>
                  <a:lnTo>
                    <a:pt x="656" y="374"/>
                  </a:lnTo>
                  <a:lnTo>
                    <a:pt x="652" y="374"/>
                  </a:lnTo>
                  <a:lnTo>
                    <a:pt x="656" y="378"/>
                  </a:lnTo>
                  <a:lnTo>
                    <a:pt x="652" y="378"/>
                  </a:lnTo>
                  <a:lnTo>
                    <a:pt x="650" y="378"/>
                  </a:lnTo>
                  <a:lnTo>
                    <a:pt x="650" y="374"/>
                  </a:lnTo>
                  <a:lnTo>
                    <a:pt x="646" y="374"/>
                  </a:lnTo>
                  <a:lnTo>
                    <a:pt x="642" y="374"/>
                  </a:lnTo>
                  <a:lnTo>
                    <a:pt x="642" y="370"/>
                  </a:lnTo>
                  <a:lnTo>
                    <a:pt x="638" y="370"/>
                  </a:lnTo>
                  <a:lnTo>
                    <a:pt x="634" y="370"/>
                  </a:lnTo>
                  <a:lnTo>
                    <a:pt x="634" y="366"/>
                  </a:lnTo>
                  <a:lnTo>
                    <a:pt x="630" y="366"/>
                  </a:lnTo>
                  <a:lnTo>
                    <a:pt x="630" y="362"/>
                  </a:lnTo>
                  <a:lnTo>
                    <a:pt x="630" y="358"/>
                  </a:lnTo>
                  <a:lnTo>
                    <a:pt x="634" y="350"/>
                  </a:lnTo>
                  <a:lnTo>
                    <a:pt x="638" y="350"/>
                  </a:lnTo>
                  <a:lnTo>
                    <a:pt x="634" y="350"/>
                  </a:lnTo>
                  <a:lnTo>
                    <a:pt x="638" y="348"/>
                  </a:lnTo>
                  <a:lnTo>
                    <a:pt x="634" y="348"/>
                  </a:lnTo>
                  <a:lnTo>
                    <a:pt x="634" y="350"/>
                  </a:lnTo>
                  <a:lnTo>
                    <a:pt x="630" y="348"/>
                  </a:lnTo>
                  <a:lnTo>
                    <a:pt x="626" y="348"/>
                  </a:lnTo>
                  <a:lnTo>
                    <a:pt x="626" y="344"/>
                  </a:lnTo>
                  <a:lnTo>
                    <a:pt x="630" y="344"/>
                  </a:lnTo>
                  <a:lnTo>
                    <a:pt x="630" y="340"/>
                  </a:lnTo>
                  <a:lnTo>
                    <a:pt x="630" y="336"/>
                  </a:lnTo>
                  <a:lnTo>
                    <a:pt x="630" y="340"/>
                  </a:lnTo>
                  <a:lnTo>
                    <a:pt x="630" y="336"/>
                  </a:lnTo>
                  <a:lnTo>
                    <a:pt x="630" y="332"/>
                  </a:lnTo>
                  <a:lnTo>
                    <a:pt x="634" y="332"/>
                  </a:lnTo>
                  <a:lnTo>
                    <a:pt x="634" y="328"/>
                  </a:lnTo>
                  <a:lnTo>
                    <a:pt x="638" y="328"/>
                  </a:lnTo>
                  <a:lnTo>
                    <a:pt x="638" y="332"/>
                  </a:lnTo>
                  <a:lnTo>
                    <a:pt x="642" y="332"/>
                  </a:lnTo>
                  <a:lnTo>
                    <a:pt x="646" y="332"/>
                  </a:lnTo>
                  <a:lnTo>
                    <a:pt x="642" y="328"/>
                  </a:lnTo>
                  <a:lnTo>
                    <a:pt x="638" y="328"/>
                  </a:lnTo>
                  <a:lnTo>
                    <a:pt x="638" y="324"/>
                  </a:lnTo>
                  <a:lnTo>
                    <a:pt x="642" y="324"/>
                  </a:lnTo>
                  <a:lnTo>
                    <a:pt x="642" y="322"/>
                  </a:lnTo>
                  <a:lnTo>
                    <a:pt x="646" y="322"/>
                  </a:lnTo>
                  <a:lnTo>
                    <a:pt x="650" y="318"/>
                  </a:lnTo>
                  <a:lnTo>
                    <a:pt x="652" y="318"/>
                  </a:lnTo>
                  <a:lnTo>
                    <a:pt x="656" y="318"/>
                  </a:lnTo>
                  <a:lnTo>
                    <a:pt x="652" y="318"/>
                  </a:lnTo>
                  <a:lnTo>
                    <a:pt x="650" y="318"/>
                  </a:lnTo>
                  <a:lnTo>
                    <a:pt x="652" y="314"/>
                  </a:lnTo>
                  <a:lnTo>
                    <a:pt x="656" y="314"/>
                  </a:lnTo>
                  <a:lnTo>
                    <a:pt x="660" y="318"/>
                  </a:lnTo>
                  <a:lnTo>
                    <a:pt x="656" y="318"/>
                  </a:lnTo>
                  <a:lnTo>
                    <a:pt x="656" y="322"/>
                  </a:lnTo>
                  <a:lnTo>
                    <a:pt x="656" y="318"/>
                  </a:lnTo>
                  <a:lnTo>
                    <a:pt x="660" y="318"/>
                  </a:lnTo>
                  <a:lnTo>
                    <a:pt x="660" y="322"/>
                  </a:lnTo>
                  <a:lnTo>
                    <a:pt x="664" y="322"/>
                  </a:lnTo>
                  <a:lnTo>
                    <a:pt x="668" y="322"/>
                  </a:lnTo>
                  <a:lnTo>
                    <a:pt x="668" y="324"/>
                  </a:lnTo>
                  <a:lnTo>
                    <a:pt x="672" y="324"/>
                  </a:lnTo>
                  <a:lnTo>
                    <a:pt x="676" y="328"/>
                  </a:lnTo>
                  <a:lnTo>
                    <a:pt x="678" y="332"/>
                  </a:lnTo>
                  <a:lnTo>
                    <a:pt x="678" y="336"/>
                  </a:lnTo>
                  <a:lnTo>
                    <a:pt x="682" y="336"/>
                  </a:lnTo>
                  <a:lnTo>
                    <a:pt x="682" y="340"/>
                  </a:lnTo>
                  <a:lnTo>
                    <a:pt x="678" y="344"/>
                  </a:lnTo>
                  <a:lnTo>
                    <a:pt x="682" y="344"/>
                  </a:lnTo>
                  <a:lnTo>
                    <a:pt x="682" y="348"/>
                  </a:lnTo>
                  <a:lnTo>
                    <a:pt x="686" y="348"/>
                  </a:lnTo>
                  <a:lnTo>
                    <a:pt x="690" y="350"/>
                  </a:lnTo>
                  <a:lnTo>
                    <a:pt x="690" y="354"/>
                  </a:lnTo>
                  <a:lnTo>
                    <a:pt x="694" y="354"/>
                  </a:lnTo>
                  <a:lnTo>
                    <a:pt x="694" y="358"/>
                  </a:lnTo>
                  <a:lnTo>
                    <a:pt x="694" y="354"/>
                  </a:lnTo>
                  <a:lnTo>
                    <a:pt x="698" y="354"/>
                  </a:lnTo>
                  <a:lnTo>
                    <a:pt x="698" y="358"/>
                  </a:lnTo>
                  <a:lnTo>
                    <a:pt x="702" y="362"/>
                  </a:lnTo>
                  <a:lnTo>
                    <a:pt x="698" y="362"/>
                  </a:lnTo>
                  <a:lnTo>
                    <a:pt x="694" y="362"/>
                  </a:lnTo>
                  <a:lnTo>
                    <a:pt x="690" y="358"/>
                  </a:lnTo>
                  <a:lnTo>
                    <a:pt x="690" y="362"/>
                  </a:lnTo>
                  <a:lnTo>
                    <a:pt x="686" y="362"/>
                  </a:lnTo>
                  <a:lnTo>
                    <a:pt x="690" y="362"/>
                  </a:lnTo>
                  <a:lnTo>
                    <a:pt x="694" y="362"/>
                  </a:lnTo>
                  <a:lnTo>
                    <a:pt x="694" y="366"/>
                  </a:lnTo>
                  <a:lnTo>
                    <a:pt x="690" y="366"/>
                  </a:lnTo>
                  <a:lnTo>
                    <a:pt x="686" y="370"/>
                  </a:lnTo>
                  <a:lnTo>
                    <a:pt x="682" y="374"/>
                  </a:lnTo>
                  <a:lnTo>
                    <a:pt x="686" y="374"/>
                  </a:lnTo>
                  <a:lnTo>
                    <a:pt x="682" y="374"/>
                  </a:lnTo>
                  <a:lnTo>
                    <a:pt x="678" y="374"/>
                  </a:lnTo>
                  <a:lnTo>
                    <a:pt x="682" y="374"/>
                  </a:lnTo>
                  <a:lnTo>
                    <a:pt x="686" y="374"/>
                  </a:lnTo>
                  <a:lnTo>
                    <a:pt x="690" y="374"/>
                  </a:lnTo>
                  <a:lnTo>
                    <a:pt x="694" y="378"/>
                  </a:lnTo>
                  <a:lnTo>
                    <a:pt x="690" y="378"/>
                  </a:lnTo>
                  <a:lnTo>
                    <a:pt x="690" y="374"/>
                  </a:lnTo>
                  <a:lnTo>
                    <a:pt x="690" y="378"/>
                  </a:lnTo>
                  <a:lnTo>
                    <a:pt x="694" y="378"/>
                  </a:lnTo>
                  <a:lnTo>
                    <a:pt x="698" y="378"/>
                  </a:lnTo>
                  <a:lnTo>
                    <a:pt x="702" y="374"/>
                  </a:lnTo>
                  <a:lnTo>
                    <a:pt x="706" y="374"/>
                  </a:lnTo>
                  <a:lnTo>
                    <a:pt x="702" y="378"/>
                  </a:lnTo>
                  <a:lnTo>
                    <a:pt x="706" y="378"/>
                  </a:lnTo>
                  <a:lnTo>
                    <a:pt x="708" y="378"/>
                  </a:lnTo>
                  <a:lnTo>
                    <a:pt x="712" y="378"/>
                  </a:lnTo>
                  <a:lnTo>
                    <a:pt x="716" y="378"/>
                  </a:lnTo>
                  <a:lnTo>
                    <a:pt x="716" y="380"/>
                  </a:lnTo>
                  <a:lnTo>
                    <a:pt x="712" y="380"/>
                  </a:lnTo>
                  <a:lnTo>
                    <a:pt x="708" y="380"/>
                  </a:lnTo>
                  <a:lnTo>
                    <a:pt x="708" y="384"/>
                  </a:lnTo>
                  <a:lnTo>
                    <a:pt x="706" y="384"/>
                  </a:lnTo>
                  <a:lnTo>
                    <a:pt x="702" y="384"/>
                  </a:lnTo>
                  <a:lnTo>
                    <a:pt x="702" y="380"/>
                  </a:lnTo>
                  <a:lnTo>
                    <a:pt x="702" y="384"/>
                  </a:lnTo>
                  <a:lnTo>
                    <a:pt x="706" y="384"/>
                  </a:lnTo>
                  <a:lnTo>
                    <a:pt x="708" y="384"/>
                  </a:lnTo>
                  <a:lnTo>
                    <a:pt x="708" y="388"/>
                  </a:lnTo>
                  <a:lnTo>
                    <a:pt x="712" y="388"/>
                  </a:lnTo>
                  <a:lnTo>
                    <a:pt x="712" y="392"/>
                  </a:lnTo>
                  <a:lnTo>
                    <a:pt x="716" y="392"/>
                  </a:lnTo>
                  <a:lnTo>
                    <a:pt x="716" y="396"/>
                  </a:lnTo>
                  <a:lnTo>
                    <a:pt x="712" y="396"/>
                  </a:lnTo>
                  <a:lnTo>
                    <a:pt x="716" y="400"/>
                  </a:lnTo>
                  <a:lnTo>
                    <a:pt x="716" y="404"/>
                  </a:lnTo>
                  <a:lnTo>
                    <a:pt x="712" y="404"/>
                  </a:lnTo>
                  <a:lnTo>
                    <a:pt x="712" y="408"/>
                  </a:lnTo>
                  <a:lnTo>
                    <a:pt x="716" y="408"/>
                  </a:lnTo>
                  <a:lnTo>
                    <a:pt x="716" y="410"/>
                  </a:lnTo>
                  <a:lnTo>
                    <a:pt x="720" y="410"/>
                  </a:lnTo>
                  <a:lnTo>
                    <a:pt x="720" y="408"/>
                  </a:lnTo>
                  <a:lnTo>
                    <a:pt x="724" y="408"/>
                  </a:lnTo>
                  <a:lnTo>
                    <a:pt x="724" y="404"/>
                  </a:lnTo>
                  <a:lnTo>
                    <a:pt x="724" y="400"/>
                  </a:lnTo>
                  <a:lnTo>
                    <a:pt x="728" y="396"/>
                  </a:lnTo>
                  <a:lnTo>
                    <a:pt x="724" y="392"/>
                  </a:lnTo>
                  <a:lnTo>
                    <a:pt x="728" y="392"/>
                  </a:lnTo>
                  <a:lnTo>
                    <a:pt x="728" y="388"/>
                  </a:lnTo>
                  <a:lnTo>
                    <a:pt x="732" y="388"/>
                  </a:lnTo>
                  <a:lnTo>
                    <a:pt x="732" y="384"/>
                  </a:lnTo>
                  <a:lnTo>
                    <a:pt x="734" y="384"/>
                  </a:lnTo>
                  <a:lnTo>
                    <a:pt x="738" y="388"/>
                  </a:lnTo>
                  <a:lnTo>
                    <a:pt x="742" y="388"/>
                  </a:lnTo>
                  <a:lnTo>
                    <a:pt x="742" y="392"/>
                  </a:lnTo>
                  <a:lnTo>
                    <a:pt x="746" y="392"/>
                  </a:lnTo>
                  <a:lnTo>
                    <a:pt x="748" y="396"/>
                  </a:lnTo>
                  <a:lnTo>
                    <a:pt x="748" y="400"/>
                  </a:lnTo>
                  <a:lnTo>
                    <a:pt x="748" y="404"/>
                  </a:lnTo>
                  <a:lnTo>
                    <a:pt x="752" y="404"/>
                  </a:lnTo>
                  <a:lnTo>
                    <a:pt x="752" y="408"/>
                  </a:lnTo>
                  <a:lnTo>
                    <a:pt x="752" y="410"/>
                  </a:lnTo>
                  <a:lnTo>
                    <a:pt x="748" y="410"/>
                  </a:lnTo>
                  <a:lnTo>
                    <a:pt x="746" y="408"/>
                  </a:lnTo>
                  <a:lnTo>
                    <a:pt x="746" y="410"/>
                  </a:lnTo>
                  <a:lnTo>
                    <a:pt x="746" y="414"/>
                  </a:lnTo>
                  <a:lnTo>
                    <a:pt x="746" y="418"/>
                  </a:lnTo>
                  <a:lnTo>
                    <a:pt x="746" y="422"/>
                  </a:lnTo>
                  <a:lnTo>
                    <a:pt x="746" y="426"/>
                  </a:lnTo>
                  <a:lnTo>
                    <a:pt x="748" y="426"/>
                  </a:lnTo>
                  <a:lnTo>
                    <a:pt x="752" y="426"/>
                  </a:lnTo>
                  <a:lnTo>
                    <a:pt x="752" y="430"/>
                  </a:lnTo>
                  <a:lnTo>
                    <a:pt x="756" y="430"/>
                  </a:lnTo>
                  <a:lnTo>
                    <a:pt x="756" y="434"/>
                  </a:lnTo>
                  <a:lnTo>
                    <a:pt x="756" y="436"/>
                  </a:lnTo>
                  <a:lnTo>
                    <a:pt x="760" y="436"/>
                  </a:lnTo>
                  <a:lnTo>
                    <a:pt x="764" y="436"/>
                  </a:lnTo>
                  <a:lnTo>
                    <a:pt x="764" y="434"/>
                  </a:lnTo>
                  <a:lnTo>
                    <a:pt x="764" y="430"/>
                  </a:lnTo>
                  <a:lnTo>
                    <a:pt x="768" y="430"/>
                  </a:lnTo>
                  <a:lnTo>
                    <a:pt x="768" y="434"/>
                  </a:lnTo>
                  <a:lnTo>
                    <a:pt x="772" y="434"/>
                  </a:lnTo>
                  <a:lnTo>
                    <a:pt x="772" y="430"/>
                  </a:lnTo>
                  <a:lnTo>
                    <a:pt x="772" y="426"/>
                  </a:lnTo>
                  <a:lnTo>
                    <a:pt x="772" y="422"/>
                  </a:lnTo>
                  <a:lnTo>
                    <a:pt x="776" y="418"/>
                  </a:lnTo>
                  <a:lnTo>
                    <a:pt x="778" y="414"/>
                  </a:lnTo>
                  <a:lnTo>
                    <a:pt x="778" y="410"/>
                  </a:lnTo>
                  <a:lnTo>
                    <a:pt x="778" y="408"/>
                  </a:lnTo>
                  <a:lnTo>
                    <a:pt x="782" y="408"/>
                  </a:lnTo>
                  <a:lnTo>
                    <a:pt x="782" y="404"/>
                  </a:lnTo>
                  <a:lnTo>
                    <a:pt x="782" y="400"/>
                  </a:lnTo>
                  <a:lnTo>
                    <a:pt x="782" y="396"/>
                  </a:lnTo>
                  <a:lnTo>
                    <a:pt x="782" y="400"/>
                  </a:lnTo>
                  <a:lnTo>
                    <a:pt x="786" y="400"/>
                  </a:lnTo>
                  <a:lnTo>
                    <a:pt x="786" y="396"/>
                  </a:lnTo>
                  <a:lnTo>
                    <a:pt x="782" y="396"/>
                  </a:lnTo>
                  <a:lnTo>
                    <a:pt x="786" y="396"/>
                  </a:lnTo>
                  <a:lnTo>
                    <a:pt x="786" y="400"/>
                  </a:lnTo>
                  <a:lnTo>
                    <a:pt x="790" y="400"/>
                  </a:lnTo>
                  <a:lnTo>
                    <a:pt x="790" y="396"/>
                  </a:lnTo>
                  <a:lnTo>
                    <a:pt x="794" y="396"/>
                  </a:lnTo>
                  <a:lnTo>
                    <a:pt x="794" y="400"/>
                  </a:lnTo>
                  <a:lnTo>
                    <a:pt x="794" y="396"/>
                  </a:lnTo>
                  <a:lnTo>
                    <a:pt x="790" y="396"/>
                  </a:lnTo>
                  <a:lnTo>
                    <a:pt x="790" y="392"/>
                  </a:lnTo>
                  <a:lnTo>
                    <a:pt x="794" y="392"/>
                  </a:lnTo>
                  <a:lnTo>
                    <a:pt x="790" y="392"/>
                  </a:lnTo>
                  <a:lnTo>
                    <a:pt x="794" y="392"/>
                  </a:lnTo>
                  <a:lnTo>
                    <a:pt x="798" y="392"/>
                  </a:lnTo>
                  <a:lnTo>
                    <a:pt x="794" y="388"/>
                  </a:lnTo>
                  <a:lnTo>
                    <a:pt x="790" y="388"/>
                  </a:lnTo>
                  <a:lnTo>
                    <a:pt x="786" y="388"/>
                  </a:lnTo>
                  <a:lnTo>
                    <a:pt x="790" y="388"/>
                  </a:lnTo>
                  <a:lnTo>
                    <a:pt x="786" y="384"/>
                  </a:lnTo>
                  <a:lnTo>
                    <a:pt x="786" y="380"/>
                  </a:lnTo>
                  <a:lnTo>
                    <a:pt x="782" y="380"/>
                  </a:lnTo>
                  <a:lnTo>
                    <a:pt x="782" y="374"/>
                  </a:lnTo>
                  <a:lnTo>
                    <a:pt x="786" y="370"/>
                  </a:lnTo>
                  <a:lnTo>
                    <a:pt x="786" y="374"/>
                  </a:lnTo>
                  <a:lnTo>
                    <a:pt x="786" y="370"/>
                  </a:lnTo>
                  <a:lnTo>
                    <a:pt x="782" y="370"/>
                  </a:lnTo>
                  <a:lnTo>
                    <a:pt x="786" y="370"/>
                  </a:lnTo>
                  <a:lnTo>
                    <a:pt x="790" y="370"/>
                  </a:lnTo>
                  <a:lnTo>
                    <a:pt x="790" y="374"/>
                  </a:lnTo>
                  <a:lnTo>
                    <a:pt x="794" y="370"/>
                  </a:lnTo>
                  <a:lnTo>
                    <a:pt x="798" y="370"/>
                  </a:lnTo>
                  <a:lnTo>
                    <a:pt x="802" y="370"/>
                  </a:lnTo>
                  <a:lnTo>
                    <a:pt x="806" y="370"/>
                  </a:lnTo>
                  <a:lnTo>
                    <a:pt x="806" y="374"/>
                  </a:lnTo>
                  <a:lnTo>
                    <a:pt x="808" y="374"/>
                  </a:lnTo>
                  <a:lnTo>
                    <a:pt x="812" y="374"/>
                  </a:lnTo>
                  <a:lnTo>
                    <a:pt x="816" y="374"/>
                  </a:lnTo>
                  <a:lnTo>
                    <a:pt x="820" y="374"/>
                  </a:lnTo>
                  <a:lnTo>
                    <a:pt x="824" y="374"/>
                  </a:lnTo>
                  <a:lnTo>
                    <a:pt x="828" y="374"/>
                  </a:lnTo>
                  <a:lnTo>
                    <a:pt x="832" y="374"/>
                  </a:lnTo>
                  <a:lnTo>
                    <a:pt x="832" y="378"/>
                  </a:lnTo>
                  <a:lnTo>
                    <a:pt x="828" y="378"/>
                  </a:lnTo>
                  <a:lnTo>
                    <a:pt x="828" y="374"/>
                  </a:lnTo>
                  <a:lnTo>
                    <a:pt x="824" y="378"/>
                  </a:lnTo>
                  <a:lnTo>
                    <a:pt x="828" y="378"/>
                  </a:lnTo>
                  <a:lnTo>
                    <a:pt x="824" y="378"/>
                  </a:lnTo>
                  <a:lnTo>
                    <a:pt x="820" y="378"/>
                  </a:lnTo>
                  <a:lnTo>
                    <a:pt x="816" y="378"/>
                  </a:lnTo>
                  <a:lnTo>
                    <a:pt x="820" y="378"/>
                  </a:lnTo>
                  <a:lnTo>
                    <a:pt x="824" y="378"/>
                  </a:lnTo>
                  <a:lnTo>
                    <a:pt x="832" y="380"/>
                  </a:lnTo>
                  <a:lnTo>
                    <a:pt x="832" y="384"/>
                  </a:lnTo>
                  <a:lnTo>
                    <a:pt x="834" y="384"/>
                  </a:lnTo>
                  <a:lnTo>
                    <a:pt x="838" y="384"/>
                  </a:lnTo>
                  <a:lnTo>
                    <a:pt x="842" y="384"/>
                  </a:lnTo>
                  <a:lnTo>
                    <a:pt x="842" y="388"/>
                  </a:lnTo>
                  <a:lnTo>
                    <a:pt x="838" y="392"/>
                  </a:lnTo>
                  <a:lnTo>
                    <a:pt x="834" y="392"/>
                  </a:lnTo>
                  <a:lnTo>
                    <a:pt x="834" y="396"/>
                  </a:lnTo>
                  <a:lnTo>
                    <a:pt x="834" y="392"/>
                  </a:lnTo>
                  <a:lnTo>
                    <a:pt x="838" y="392"/>
                  </a:lnTo>
                  <a:lnTo>
                    <a:pt x="838" y="396"/>
                  </a:lnTo>
                  <a:lnTo>
                    <a:pt x="842" y="396"/>
                  </a:lnTo>
                  <a:lnTo>
                    <a:pt x="846" y="396"/>
                  </a:lnTo>
                  <a:lnTo>
                    <a:pt x="846" y="400"/>
                  </a:lnTo>
                  <a:lnTo>
                    <a:pt x="842" y="400"/>
                  </a:lnTo>
                  <a:lnTo>
                    <a:pt x="838" y="404"/>
                  </a:lnTo>
                  <a:lnTo>
                    <a:pt x="834" y="404"/>
                  </a:lnTo>
                  <a:lnTo>
                    <a:pt x="834" y="408"/>
                  </a:lnTo>
                  <a:lnTo>
                    <a:pt x="834" y="404"/>
                  </a:lnTo>
                  <a:lnTo>
                    <a:pt x="832" y="404"/>
                  </a:lnTo>
                  <a:lnTo>
                    <a:pt x="828" y="404"/>
                  </a:lnTo>
                  <a:lnTo>
                    <a:pt x="824" y="404"/>
                  </a:lnTo>
                  <a:lnTo>
                    <a:pt x="828" y="404"/>
                  </a:lnTo>
                  <a:lnTo>
                    <a:pt x="828" y="408"/>
                  </a:lnTo>
                  <a:lnTo>
                    <a:pt x="828" y="410"/>
                  </a:lnTo>
                  <a:lnTo>
                    <a:pt x="832" y="410"/>
                  </a:lnTo>
                  <a:lnTo>
                    <a:pt x="832" y="414"/>
                  </a:lnTo>
                  <a:lnTo>
                    <a:pt x="832" y="410"/>
                  </a:lnTo>
                  <a:lnTo>
                    <a:pt x="834" y="410"/>
                  </a:lnTo>
                  <a:lnTo>
                    <a:pt x="834" y="414"/>
                  </a:lnTo>
                  <a:lnTo>
                    <a:pt x="832" y="414"/>
                  </a:lnTo>
                  <a:lnTo>
                    <a:pt x="832" y="418"/>
                  </a:lnTo>
                  <a:lnTo>
                    <a:pt x="834" y="418"/>
                  </a:lnTo>
                  <a:lnTo>
                    <a:pt x="834" y="422"/>
                  </a:lnTo>
                  <a:lnTo>
                    <a:pt x="838" y="422"/>
                  </a:lnTo>
                  <a:lnTo>
                    <a:pt x="838" y="426"/>
                  </a:lnTo>
                  <a:lnTo>
                    <a:pt x="842" y="426"/>
                  </a:lnTo>
                  <a:lnTo>
                    <a:pt x="846" y="430"/>
                  </a:lnTo>
                  <a:lnTo>
                    <a:pt x="842" y="430"/>
                  </a:lnTo>
                  <a:lnTo>
                    <a:pt x="842" y="434"/>
                  </a:lnTo>
                  <a:lnTo>
                    <a:pt x="842" y="436"/>
                  </a:lnTo>
                  <a:lnTo>
                    <a:pt x="842" y="440"/>
                  </a:lnTo>
                  <a:lnTo>
                    <a:pt x="838" y="440"/>
                  </a:lnTo>
                  <a:lnTo>
                    <a:pt x="834" y="440"/>
                  </a:lnTo>
                  <a:lnTo>
                    <a:pt x="834" y="444"/>
                  </a:lnTo>
                  <a:lnTo>
                    <a:pt x="832" y="448"/>
                  </a:lnTo>
                  <a:lnTo>
                    <a:pt x="828" y="448"/>
                  </a:lnTo>
                  <a:lnTo>
                    <a:pt x="828" y="452"/>
                  </a:lnTo>
                  <a:lnTo>
                    <a:pt x="824" y="452"/>
                  </a:lnTo>
                  <a:lnTo>
                    <a:pt x="820" y="452"/>
                  </a:lnTo>
                  <a:lnTo>
                    <a:pt x="820" y="456"/>
                  </a:lnTo>
                  <a:lnTo>
                    <a:pt x="816" y="456"/>
                  </a:lnTo>
                  <a:lnTo>
                    <a:pt x="812" y="456"/>
                  </a:lnTo>
                  <a:lnTo>
                    <a:pt x="808" y="452"/>
                  </a:lnTo>
                  <a:lnTo>
                    <a:pt x="806" y="452"/>
                  </a:lnTo>
                  <a:lnTo>
                    <a:pt x="806" y="448"/>
                  </a:lnTo>
                  <a:lnTo>
                    <a:pt x="808" y="444"/>
                  </a:lnTo>
                  <a:lnTo>
                    <a:pt x="806" y="444"/>
                  </a:lnTo>
                  <a:lnTo>
                    <a:pt x="806" y="448"/>
                  </a:lnTo>
                  <a:lnTo>
                    <a:pt x="802" y="448"/>
                  </a:lnTo>
                  <a:lnTo>
                    <a:pt x="802" y="444"/>
                  </a:lnTo>
                  <a:lnTo>
                    <a:pt x="802" y="440"/>
                  </a:lnTo>
                  <a:lnTo>
                    <a:pt x="798" y="440"/>
                  </a:lnTo>
                  <a:lnTo>
                    <a:pt x="794" y="440"/>
                  </a:lnTo>
                  <a:lnTo>
                    <a:pt x="798" y="440"/>
                  </a:lnTo>
                  <a:lnTo>
                    <a:pt x="794" y="440"/>
                  </a:lnTo>
                  <a:lnTo>
                    <a:pt x="790" y="440"/>
                  </a:lnTo>
                  <a:lnTo>
                    <a:pt x="790" y="444"/>
                  </a:lnTo>
                  <a:lnTo>
                    <a:pt x="794" y="444"/>
                  </a:lnTo>
                  <a:lnTo>
                    <a:pt x="794" y="440"/>
                  </a:lnTo>
                  <a:lnTo>
                    <a:pt x="798" y="440"/>
                  </a:lnTo>
                  <a:lnTo>
                    <a:pt x="798" y="444"/>
                  </a:lnTo>
                  <a:lnTo>
                    <a:pt x="794" y="444"/>
                  </a:lnTo>
                  <a:lnTo>
                    <a:pt x="798" y="444"/>
                  </a:lnTo>
                  <a:lnTo>
                    <a:pt x="802" y="448"/>
                  </a:lnTo>
                  <a:lnTo>
                    <a:pt x="806" y="448"/>
                  </a:lnTo>
                  <a:lnTo>
                    <a:pt x="806" y="452"/>
                  </a:lnTo>
                  <a:lnTo>
                    <a:pt x="806" y="456"/>
                  </a:lnTo>
                  <a:lnTo>
                    <a:pt x="808" y="456"/>
                  </a:lnTo>
                  <a:lnTo>
                    <a:pt x="808" y="460"/>
                  </a:lnTo>
                  <a:lnTo>
                    <a:pt x="808" y="464"/>
                  </a:lnTo>
                  <a:lnTo>
                    <a:pt x="806" y="460"/>
                  </a:lnTo>
                  <a:lnTo>
                    <a:pt x="802" y="460"/>
                  </a:lnTo>
                  <a:lnTo>
                    <a:pt x="802" y="456"/>
                  </a:lnTo>
                  <a:lnTo>
                    <a:pt x="798" y="456"/>
                  </a:lnTo>
                  <a:lnTo>
                    <a:pt x="798" y="460"/>
                  </a:lnTo>
                  <a:lnTo>
                    <a:pt x="802" y="460"/>
                  </a:lnTo>
                  <a:lnTo>
                    <a:pt x="802" y="464"/>
                  </a:lnTo>
                  <a:lnTo>
                    <a:pt x="798" y="464"/>
                  </a:lnTo>
                  <a:lnTo>
                    <a:pt x="798" y="460"/>
                  </a:lnTo>
                  <a:lnTo>
                    <a:pt x="794" y="460"/>
                  </a:lnTo>
                  <a:lnTo>
                    <a:pt x="790" y="460"/>
                  </a:lnTo>
                  <a:lnTo>
                    <a:pt x="786" y="460"/>
                  </a:lnTo>
                  <a:lnTo>
                    <a:pt x="786" y="456"/>
                  </a:lnTo>
                  <a:lnTo>
                    <a:pt x="786" y="452"/>
                  </a:lnTo>
                  <a:lnTo>
                    <a:pt x="782" y="452"/>
                  </a:lnTo>
                  <a:lnTo>
                    <a:pt x="778" y="452"/>
                  </a:lnTo>
                  <a:lnTo>
                    <a:pt x="776" y="452"/>
                  </a:lnTo>
                  <a:lnTo>
                    <a:pt x="768" y="452"/>
                  </a:lnTo>
                  <a:lnTo>
                    <a:pt x="768" y="456"/>
                  </a:lnTo>
                  <a:lnTo>
                    <a:pt x="768" y="460"/>
                  </a:lnTo>
                  <a:lnTo>
                    <a:pt x="772" y="460"/>
                  </a:lnTo>
                  <a:lnTo>
                    <a:pt x="776" y="460"/>
                  </a:lnTo>
                  <a:lnTo>
                    <a:pt x="778" y="460"/>
                  </a:lnTo>
                  <a:lnTo>
                    <a:pt x="778" y="464"/>
                  </a:lnTo>
                  <a:lnTo>
                    <a:pt x="776" y="466"/>
                  </a:lnTo>
                  <a:lnTo>
                    <a:pt x="772" y="466"/>
                  </a:lnTo>
                  <a:lnTo>
                    <a:pt x="772" y="470"/>
                  </a:lnTo>
                  <a:lnTo>
                    <a:pt x="772" y="474"/>
                  </a:lnTo>
                  <a:lnTo>
                    <a:pt x="768" y="474"/>
                  </a:lnTo>
                  <a:lnTo>
                    <a:pt x="764" y="474"/>
                  </a:lnTo>
                  <a:lnTo>
                    <a:pt x="764" y="478"/>
                  </a:lnTo>
                  <a:lnTo>
                    <a:pt x="764" y="478"/>
                  </a:lnTo>
                  <a:lnTo>
                    <a:pt x="764" y="478"/>
                  </a:lnTo>
                  <a:close/>
                  <a:moveTo>
                    <a:pt x="408" y="354"/>
                  </a:moveTo>
                  <a:lnTo>
                    <a:pt x="410" y="358"/>
                  </a:lnTo>
                  <a:lnTo>
                    <a:pt x="414" y="358"/>
                  </a:lnTo>
                  <a:lnTo>
                    <a:pt x="410" y="358"/>
                  </a:lnTo>
                  <a:lnTo>
                    <a:pt x="408" y="358"/>
                  </a:lnTo>
                  <a:lnTo>
                    <a:pt x="408" y="354"/>
                  </a:lnTo>
                  <a:lnTo>
                    <a:pt x="408" y="354"/>
                  </a:lnTo>
                  <a:lnTo>
                    <a:pt x="408" y="354"/>
                  </a:lnTo>
                  <a:close/>
                  <a:moveTo>
                    <a:pt x="560" y="384"/>
                  </a:moveTo>
                  <a:lnTo>
                    <a:pt x="560" y="388"/>
                  </a:lnTo>
                  <a:lnTo>
                    <a:pt x="556" y="388"/>
                  </a:lnTo>
                  <a:lnTo>
                    <a:pt x="556" y="384"/>
                  </a:lnTo>
                  <a:lnTo>
                    <a:pt x="560" y="384"/>
                  </a:lnTo>
                  <a:lnTo>
                    <a:pt x="560" y="384"/>
                  </a:lnTo>
                  <a:lnTo>
                    <a:pt x="560" y="384"/>
                  </a:lnTo>
                  <a:close/>
                  <a:moveTo>
                    <a:pt x="1056" y="410"/>
                  </a:moveTo>
                  <a:lnTo>
                    <a:pt x="1052" y="410"/>
                  </a:lnTo>
                  <a:lnTo>
                    <a:pt x="1056" y="410"/>
                  </a:lnTo>
                  <a:lnTo>
                    <a:pt x="1060" y="410"/>
                  </a:lnTo>
                  <a:lnTo>
                    <a:pt x="1056" y="410"/>
                  </a:lnTo>
                  <a:lnTo>
                    <a:pt x="1056" y="410"/>
                  </a:lnTo>
                  <a:lnTo>
                    <a:pt x="1056" y="410"/>
                  </a:lnTo>
                  <a:close/>
                  <a:moveTo>
                    <a:pt x="466" y="418"/>
                  </a:moveTo>
                  <a:lnTo>
                    <a:pt x="462" y="418"/>
                  </a:lnTo>
                  <a:lnTo>
                    <a:pt x="466" y="418"/>
                  </a:lnTo>
                  <a:lnTo>
                    <a:pt x="466" y="418"/>
                  </a:lnTo>
                  <a:lnTo>
                    <a:pt x="466" y="418"/>
                  </a:lnTo>
                  <a:close/>
                  <a:moveTo>
                    <a:pt x="1088" y="426"/>
                  </a:moveTo>
                  <a:lnTo>
                    <a:pt x="1092" y="426"/>
                  </a:lnTo>
                  <a:lnTo>
                    <a:pt x="1092" y="430"/>
                  </a:lnTo>
                  <a:lnTo>
                    <a:pt x="1088" y="430"/>
                  </a:lnTo>
                  <a:lnTo>
                    <a:pt x="1088" y="426"/>
                  </a:lnTo>
                  <a:lnTo>
                    <a:pt x="1088" y="426"/>
                  </a:lnTo>
                  <a:lnTo>
                    <a:pt x="1088" y="426"/>
                  </a:lnTo>
                  <a:close/>
                  <a:moveTo>
                    <a:pt x="996" y="542"/>
                  </a:moveTo>
                  <a:lnTo>
                    <a:pt x="1000" y="546"/>
                  </a:lnTo>
                  <a:lnTo>
                    <a:pt x="1004" y="546"/>
                  </a:lnTo>
                  <a:lnTo>
                    <a:pt x="1000" y="550"/>
                  </a:lnTo>
                  <a:lnTo>
                    <a:pt x="996" y="550"/>
                  </a:lnTo>
                  <a:lnTo>
                    <a:pt x="992" y="550"/>
                  </a:lnTo>
                  <a:lnTo>
                    <a:pt x="992" y="546"/>
                  </a:lnTo>
                  <a:lnTo>
                    <a:pt x="992" y="542"/>
                  </a:lnTo>
                  <a:lnTo>
                    <a:pt x="988" y="542"/>
                  </a:lnTo>
                  <a:lnTo>
                    <a:pt x="992" y="542"/>
                  </a:lnTo>
                  <a:lnTo>
                    <a:pt x="996" y="542"/>
                  </a:lnTo>
                  <a:lnTo>
                    <a:pt x="996" y="542"/>
                  </a:lnTo>
                  <a:lnTo>
                    <a:pt x="996" y="542"/>
                  </a:lnTo>
                  <a:close/>
                  <a:moveTo>
                    <a:pt x="1084" y="596"/>
                  </a:moveTo>
                  <a:lnTo>
                    <a:pt x="1080" y="596"/>
                  </a:lnTo>
                  <a:lnTo>
                    <a:pt x="1080" y="600"/>
                  </a:lnTo>
                  <a:lnTo>
                    <a:pt x="1084" y="600"/>
                  </a:lnTo>
                  <a:lnTo>
                    <a:pt x="1080" y="600"/>
                  </a:lnTo>
                  <a:lnTo>
                    <a:pt x="1080" y="596"/>
                  </a:lnTo>
                  <a:lnTo>
                    <a:pt x="1076" y="596"/>
                  </a:lnTo>
                  <a:lnTo>
                    <a:pt x="1076" y="594"/>
                  </a:lnTo>
                  <a:lnTo>
                    <a:pt x="1080" y="594"/>
                  </a:lnTo>
                  <a:lnTo>
                    <a:pt x="1080" y="596"/>
                  </a:lnTo>
                  <a:lnTo>
                    <a:pt x="1084" y="596"/>
                  </a:lnTo>
                  <a:lnTo>
                    <a:pt x="1084" y="596"/>
                  </a:lnTo>
                  <a:lnTo>
                    <a:pt x="1084" y="596"/>
                  </a:lnTo>
                  <a:close/>
                  <a:moveTo>
                    <a:pt x="862" y="612"/>
                  </a:moveTo>
                  <a:lnTo>
                    <a:pt x="862" y="616"/>
                  </a:lnTo>
                  <a:lnTo>
                    <a:pt x="858" y="616"/>
                  </a:lnTo>
                  <a:lnTo>
                    <a:pt x="858" y="612"/>
                  </a:lnTo>
                  <a:lnTo>
                    <a:pt x="862" y="612"/>
                  </a:lnTo>
                  <a:lnTo>
                    <a:pt x="862" y="612"/>
                  </a:lnTo>
                  <a:lnTo>
                    <a:pt x="862" y="612"/>
                  </a:lnTo>
                  <a:close/>
                  <a:moveTo>
                    <a:pt x="1130" y="682"/>
                  </a:moveTo>
                  <a:lnTo>
                    <a:pt x="1130" y="680"/>
                  </a:lnTo>
                  <a:lnTo>
                    <a:pt x="1130" y="682"/>
                  </a:lnTo>
                  <a:lnTo>
                    <a:pt x="1130" y="682"/>
                  </a:lnTo>
                  <a:lnTo>
                    <a:pt x="1130" y="682"/>
                  </a:lnTo>
                  <a:close/>
                  <a:moveTo>
                    <a:pt x="1122" y="682"/>
                  </a:moveTo>
                  <a:lnTo>
                    <a:pt x="1126" y="682"/>
                  </a:lnTo>
                  <a:lnTo>
                    <a:pt x="1130" y="686"/>
                  </a:lnTo>
                  <a:lnTo>
                    <a:pt x="1126" y="686"/>
                  </a:lnTo>
                  <a:lnTo>
                    <a:pt x="1122" y="686"/>
                  </a:lnTo>
                  <a:lnTo>
                    <a:pt x="1126" y="686"/>
                  </a:lnTo>
                  <a:lnTo>
                    <a:pt x="1126" y="682"/>
                  </a:lnTo>
                  <a:lnTo>
                    <a:pt x="1122" y="682"/>
                  </a:lnTo>
                  <a:lnTo>
                    <a:pt x="1122" y="682"/>
                  </a:lnTo>
                  <a:lnTo>
                    <a:pt x="1122" y="682"/>
                  </a:lnTo>
                  <a:close/>
                  <a:moveTo>
                    <a:pt x="160" y="758"/>
                  </a:moveTo>
                  <a:lnTo>
                    <a:pt x="160" y="754"/>
                  </a:lnTo>
                  <a:lnTo>
                    <a:pt x="156" y="754"/>
                  </a:lnTo>
                  <a:lnTo>
                    <a:pt x="156" y="750"/>
                  </a:lnTo>
                  <a:lnTo>
                    <a:pt x="156" y="746"/>
                  </a:lnTo>
                  <a:lnTo>
                    <a:pt x="152" y="746"/>
                  </a:lnTo>
                  <a:lnTo>
                    <a:pt x="156" y="746"/>
                  </a:lnTo>
                  <a:lnTo>
                    <a:pt x="152" y="746"/>
                  </a:lnTo>
                  <a:lnTo>
                    <a:pt x="152" y="742"/>
                  </a:lnTo>
                  <a:lnTo>
                    <a:pt x="156" y="742"/>
                  </a:lnTo>
                  <a:lnTo>
                    <a:pt x="156" y="746"/>
                  </a:lnTo>
                  <a:lnTo>
                    <a:pt x="160" y="750"/>
                  </a:lnTo>
                  <a:lnTo>
                    <a:pt x="164" y="750"/>
                  </a:lnTo>
                  <a:lnTo>
                    <a:pt x="164" y="754"/>
                  </a:lnTo>
                  <a:lnTo>
                    <a:pt x="164" y="758"/>
                  </a:lnTo>
                  <a:lnTo>
                    <a:pt x="160" y="758"/>
                  </a:lnTo>
                  <a:lnTo>
                    <a:pt x="160" y="758"/>
                  </a:lnTo>
                  <a:lnTo>
                    <a:pt x="160" y="758"/>
                  </a:lnTo>
                  <a:close/>
                  <a:moveTo>
                    <a:pt x="168" y="766"/>
                  </a:moveTo>
                  <a:lnTo>
                    <a:pt x="168" y="762"/>
                  </a:lnTo>
                  <a:lnTo>
                    <a:pt x="172" y="762"/>
                  </a:lnTo>
                  <a:lnTo>
                    <a:pt x="172" y="758"/>
                  </a:lnTo>
                  <a:lnTo>
                    <a:pt x="168" y="758"/>
                  </a:lnTo>
                  <a:lnTo>
                    <a:pt x="172" y="758"/>
                  </a:lnTo>
                  <a:lnTo>
                    <a:pt x="172" y="762"/>
                  </a:lnTo>
                  <a:lnTo>
                    <a:pt x="168" y="762"/>
                  </a:lnTo>
                  <a:lnTo>
                    <a:pt x="168" y="758"/>
                  </a:lnTo>
                  <a:lnTo>
                    <a:pt x="168" y="754"/>
                  </a:lnTo>
                  <a:lnTo>
                    <a:pt x="172" y="754"/>
                  </a:lnTo>
                  <a:lnTo>
                    <a:pt x="172" y="758"/>
                  </a:lnTo>
                  <a:lnTo>
                    <a:pt x="176" y="758"/>
                  </a:lnTo>
                  <a:lnTo>
                    <a:pt x="176" y="762"/>
                  </a:lnTo>
                  <a:lnTo>
                    <a:pt x="176" y="768"/>
                  </a:lnTo>
                  <a:lnTo>
                    <a:pt x="172" y="768"/>
                  </a:lnTo>
                  <a:lnTo>
                    <a:pt x="172" y="766"/>
                  </a:lnTo>
                  <a:lnTo>
                    <a:pt x="176" y="766"/>
                  </a:lnTo>
                  <a:lnTo>
                    <a:pt x="176" y="762"/>
                  </a:lnTo>
                  <a:lnTo>
                    <a:pt x="172" y="766"/>
                  </a:lnTo>
                  <a:lnTo>
                    <a:pt x="172" y="768"/>
                  </a:lnTo>
                  <a:lnTo>
                    <a:pt x="168" y="768"/>
                  </a:lnTo>
                  <a:lnTo>
                    <a:pt x="168" y="766"/>
                  </a:lnTo>
                  <a:lnTo>
                    <a:pt x="168" y="766"/>
                  </a:lnTo>
                  <a:lnTo>
                    <a:pt x="168" y="766"/>
                  </a:lnTo>
                  <a:close/>
                  <a:moveTo>
                    <a:pt x="138" y="780"/>
                  </a:moveTo>
                  <a:lnTo>
                    <a:pt x="134" y="776"/>
                  </a:lnTo>
                  <a:lnTo>
                    <a:pt x="134" y="772"/>
                  </a:lnTo>
                  <a:lnTo>
                    <a:pt x="130" y="772"/>
                  </a:lnTo>
                  <a:lnTo>
                    <a:pt x="126" y="768"/>
                  </a:lnTo>
                  <a:lnTo>
                    <a:pt x="126" y="766"/>
                  </a:lnTo>
                  <a:lnTo>
                    <a:pt x="124" y="766"/>
                  </a:lnTo>
                  <a:lnTo>
                    <a:pt x="124" y="762"/>
                  </a:lnTo>
                  <a:lnTo>
                    <a:pt x="126" y="762"/>
                  </a:lnTo>
                  <a:lnTo>
                    <a:pt x="124" y="762"/>
                  </a:lnTo>
                  <a:lnTo>
                    <a:pt x="120" y="762"/>
                  </a:lnTo>
                  <a:lnTo>
                    <a:pt x="120" y="758"/>
                  </a:lnTo>
                  <a:lnTo>
                    <a:pt x="124" y="758"/>
                  </a:lnTo>
                  <a:lnTo>
                    <a:pt x="126" y="758"/>
                  </a:lnTo>
                  <a:lnTo>
                    <a:pt x="126" y="754"/>
                  </a:lnTo>
                  <a:lnTo>
                    <a:pt x="130" y="754"/>
                  </a:lnTo>
                  <a:lnTo>
                    <a:pt x="130" y="758"/>
                  </a:lnTo>
                  <a:lnTo>
                    <a:pt x="134" y="762"/>
                  </a:lnTo>
                  <a:lnTo>
                    <a:pt x="130" y="762"/>
                  </a:lnTo>
                  <a:lnTo>
                    <a:pt x="130" y="758"/>
                  </a:lnTo>
                  <a:lnTo>
                    <a:pt x="126" y="758"/>
                  </a:lnTo>
                  <a:lnTo>
                    <a:pt x="126" y="762"/>
                  </a:lnTo>
                  <a:lnTo>
                    <a:pt x="130" y="762"/>
                  </a:lnTo>
                  <a:lnTo>
                    <a:pt x="134" y="762"/>
                  </a:lnTo>
                  <a:lnTo>
                    <a:pt x="130" y="762"/>
                  </a:lnTo>
                  <a:lnTo>
                    <a:pt x="130" y="766"/>
                  </a:lnTo>
                  <a:lnTo>
                    <a:pt x="130" y="762"/>
                  </a:lnTo>
                  <a:lnTo>
                    <a:pt x="126" y="762"/>
                  </a:lnTo>
                  <a:lnTo>
                    <a:pt x="130" y="766"/>
                  </a:lnTo>
                  <a:lnTo>
                    <a:pt x="130" y="768"/>
                  </a:lnTo>
                  <a:lnTo>
                    <a:pt x="134" y="768"/>
                  </a:lnTo>
                  <a:lnTo>
                    <a:pt x="134" y="772"/>
                  </a:lnTo>
                  <a:lnTo>
                    <a:pt x="138" y="772"/>
                  </a:lnTo>
                  <a:lnTo>
                    <a:pt x="138" y="776"/>
                  </a:lnTo>
                  <a:lnTo>
                    <a:pt x="142" y="776"/>
                  </a:lnTo>
                  <a:lnTo>
                    <a:pt x="138" y="780"/>
                  </a:lnTo>
                  <a:lnTo>
                    <a:pt x="138" y="780"/>
                  </a:lnTo>
                  <a:lnTo>
                    <a:pt x="138" y="780"/>
                  </a:lnTo>
                  <a:close/>
                  <a:moveTo>
                    <a:pt x="182" y="776"/>
                  </a:moveTo>
                  <a:lnTo>
                    <a:pt x="182" y="780"/>
                  </a:lnTo>
                  <a:lnTo>
                    <a:pt x="180" y="780"/>
                  </a:lnTo>
                  <a:lnTo>
                    <a:pt x="180" y="776"/>
                  </a:lnTo>
                  <a:lnTo>
                    <a:pt x="182" y="776"/>
                  </a:lnTo>
                  <a:lnTo>
                    <a:pt x="182" y="776"/>
                  </a:lnTo>
                  <a:lnTo>
                    <a:pt x="182" y="776"/>
                  </a:lnTo>
                  <a:close/>
                  <a:moveTo>
                    <a:pt x="182" y="780"/>
                  </a:moveTo>
                  <a:lnTo>
                    <a:pt x="182" y="784"/>
                  </a:lnTo>
                  <a:lnTo>
                    <a:pt x="182" y="788"/>
                  </a:lnTo>
                  <a:lnTo>
                    <a:pt x="180" y="784"/>
                  </a:lnTo>
                  <a:lnTo>
                    <a:pt x="182" y="780"/>
                  </a:lnTo>
                  <a:lnTo>
                    <a:pt x="182" y="780"/>
                  </a:lnTo>
                  <a:lnTo>
                    <a:pt x="182" y="780"/>
                  </a:lnTo>
                  <a:close/>
                  <a:moveTo>
                    <a:pt x="884" y="8"/>
                  </a:moveTo>
                  <a:lnTo>
                    <a:pt x="888" y="4"/>
                  </a:lnTo>
                  <a:lnTo>
                    <a:pt x="890" y="8"/>
                  </a:lnTo>
                  <a:lnTo>
                    <a:pt x="888" y="8"/>
                  </a:lnTo>
                  <a:lnTo>
                    <a:pt x="884" y="8"/>
                  </a:lnTo>
                  <a:lnTo>
                    <a:pt x="884" y="8"/>
                  </a:lnTo>
                  <a:lnTo>
                    <a:pt x="884" y="8"/>
                  </a:lnTo>
                  <a:close/>
                  <a:moveTo>
                    <a:pt x="698" y="50"/>
                  </a:moveTo>
                  <a:lnTo>
                    <a:pt x="694" y="50"/>
                  </a:lnTo>
                  <a:lnTo>
                    <a:pt x="694" y="46"/>
                  </a:lnTo>
                  <a:lnTo>
                    <a:pt x="698" y="46"/>
                  </a:lnTo>
                  <a:lnTo>
                    <a:pt x="698" y="50"/>
                  </a:lnTo>
                  <a:lnTo>
                    <a:pt x="698" y="50"/>
                  </a:lnTo>
                  <a:lnTo>
                    <a:pt x="698" y="50"/>
                  </a:lnTo>
                  <a:close/>
                  <a:moveTo>
                    <a:pt x="1052" y="50"/>
                  </a:moveTo>
                  <a:lnTo>
                    <a:pt x="1048" y="50"/>
                  </a:lnTo>
                  <a:lnTo>
                    <a:pt x="1048" y="46"/>
                  </a:lnTo>
                  <a:lnTo>
                    <a:pt x="1052" y="46"/>
                  </a:lnTo>
                  <a:lnTo>
                    <a:pt x="1056" y="46"/>
                  </a:lnTo>
                  <a:lnTo>
                    <a:pt x="1056" y="50"/>
                  </a:lnTo>
                  <a:lnTo>
                    <a:pt x="1052" y="50"/>
                  </a:lnTo>
                  <a:lnTo>
                    <a:pt x="1052" y="50"/>
                  </a:lnTo>
                  <a:lnTo>
                    <a:pt x="1052" y="50"/>
                  </a:lnTo>
                  <a:close/>
                  <a:moveTo>
                    <a:pt x="650" y="76"/>
                  </a:moveTo>
                  <a:lnTo>
                    <a:pt x="652" y="76"/>
                  </a:lnTo>
                  <a:lnTo>
                    <a:pt x="650" y="76"/>
                  </a:lnTo>
                  <a:lnTo>
                    <a:pt x="646" y="76"/>
                  </a:lnTo>
                  <a:lnTo>
                    <a:pt x="642" y="76"/>
                  </a:lnTo>
                  <a:lnTo>
                    <a:pt x="638" y="76"/>
                  </a:lnTo>
                  <a:lnTo>
                    <a:pt x="634" y="76"/>
                  </a:lnTo>
                  <a:lnTo>
                    <a:pt x="638" y="76"/>
                  </a:lnTo>
                  <a:lnTo>
                    <a:pt x="646" y="76"/>
                  </a:lnTo>
                  <a:lnTo>
                    <a:pt x="650" y="76"/>
                  </a:lnTo>
                  <a:lnTo>
                    <a:pt x="650" y="76"/>
                  </a:lnTo>
                  <a:lnTo>
                    <a:pt x="650" y="76"/>
                  </a:lnTo>
                  <a:close/>
                  <a:moveTo>
                    <a:pt x="778" y="120"/>
                  </a:moveTo>
                  <a:lnTo>
                    <a:pt x="782" y="120"/>
                  </a:lnTo>
                  <a:lnTo>
                    <a:pt x="786" y="120"/>
                  </a:lnTo>
                  <a:lnTo>
                    <a:pt x="790" y="120"/>
                  </a:lnTo>
                  <a:lnTo>
                    <a:pt x="790" y="124"/>
                  </a:lnTo>
                  <a:lnTo>
                    <a:pt x="786" y="124"/>
                  </a:lnTo>
                  <a:lnTo>
                    <a:pt x="782" y="124"/>
                  </a:lnTo>
                  <a:lnTo>
                    <a:pt x="778" y="124"/>
                  </a:lnTo>
                  <a:lnTo>
                    <a:pt x="776" y="128"/>
                  </a:lnTo>
                  <a:lnTo>
                    <a:pt x="772" y="128"/>
                  </a:lnTo>
                  <a:lnTo>
                    <a:pt x="772" y="124"/>
                  </a:lnTo>
                  <a:lnTo>
                    <a:pt x="776" y="124"/>
                  </a:lnTo>
                  <a:lnTo>
                    <a:pt x="776" y="120"/>
                  </a:lnTo>
                  <a:lnTo>
                    <a:pt x="778" y="120"/>
                  </a:lnTo>
                  <a:lnTo>
                    <a:pt x="778" y="120"/>
                  </a:lnTo>
                  <a:lnTo>
                    <a:pt x="778" y="120"/>
                  </a:lnTo>
                  <a:close/>
                  <a:moveTo>
                    <a:pt x="944" y="132"/>
                  </a:moveTo>
                  <a:lnTo>
                    <a:pt x="940" y="132"/>
                  </a:lnTo>
                  <a:lnTo>
                    <a:pt x="936" y="132"/>
                  </a:lnTo>
                  <a:lnTo>
                    <a:pt x="940" y="132"/>
                  </a:lnTo>
                  <a:lnTo>
                    <a:pt x="940" y="128"/>
                  </a:lnTo>
                  <a:lnTo>
                    <a:pt x="940" y="132"/>
                  </a:lnTo>
                  <a:lnTo>
                    <a:pt x="944" y="132"/>
                  </a:lnTo>
                  <a:lnTo>
                    <a:pt x="948" y="132"/>
                  </a:lnTo>
                  <a:lnTo>
                    <a:pt x="944" y="132"/>
                  </a:lnTo>
                  <a:lnTo>
                    <a:pt x="944" y="132"/>
                  </a:lnTo>
                  <a:lnTo>
                    <a:pt x="944" y="132"/>
                  </a:lnTo>
                  <a:close/>
                  <a:moveTo>
                    <a:pt x="748" y="138"/>
                  </a:moveTo>
                  <a:lnTo>
                    <a:pt x="746" y="142"/>
                  </a:lnTo>
                  <a:lnTo>
                    <a:pt x="746" y="146"/>
                  </a:lnTo>
                  <a:lnTo>
                    <a:pt x="746" y="142"/>
                  </a:lnTo>
                  <a:lnTo>
                    <a:pt x="742" y="142"/>
                  </a:lnTo>
                  <a:lnTo>
                    <a:pt x="746" y="142"/>
                  </a:lnTo>
                  <a:lnTo>
                    <a:pt x="746" y="138"/>
                  </a:lnTo>
                  <a:lnTo>
                    <a:pt x="748" y="138"/>
                  </a:lnTo>
                  <a:lnTo>
                    <a:pt x="748" y="138"/>
                  </a:lnTo>
                  <a:lnTo>
                    <a:pt x="748" y="138"/>
                  </a:lnTo>
                  <a:close/>
                  <a:moveTo>
                    <a:pt x="556" y="146"/>
                  </a:moveTo>
                  <a:lnTo>
                    <a:pt x="552" y="146"/>
                  </a:lnTo>
                  <a:lnTo>
                    <a:pt x="556" y="146"/>
                  </a:lnTo>
                  <a:lnTo>
                    <a:pt x="556" y="146"/>
                  </a:lnTo>
                  <a:lnTo>
                    <a:pt x="556" y="146"/>
                  </a:lnTo>
                  <a:close/>
                  <a:moveTo>
                    <a:pt x="894" y="154"/>
                  </a:moveTo>
                  <a:lnTo>
                    <a:pt x="898" y="154"/>
                  </a:lnTo>
                  <a:lnTo>
                    <a:pt x="898" y="158"/>
                  </a:lnTo>
                  <a:lnTo>
                    <a:pt x="894" y="158"/>
                  </a:lnTo>
                  <a:lnTo>
                    <a:pt x="890" y="158"/>
                  </a:lnTo>
                  <a:lnTo>
                    <a:pt x="894" y="158"/>
                  </a:lnTo>
                  <a:lnTo>
                    <a:pt x="894" y="154"/>
                  </a:lnTo>
                  <a:lnTo>
                    <a:pt x="894" y="154"/>
                  </a:lnTo>
                  <a:lnTo>
                    <a:pt x="894" y="154"/>
                  </a:lnTo>
                  <a:close/>
                  <a:moveTo>
                    <a:pt x="786" y="164"/>
                  </a:moveTo>
                  <a:lnTo>
                    <a:pt x="790" y="164"/>
                  </a:lnTo>
                  <a:lnTo>
                    <a:pt x="794" y="164"/>
                  </a:lnTo>
                  <a:lnTo>
                    <a:pt x="790" y="168"/>
                  </a:lnTo>
                  <a:lnTo>
                    <a:pt x="790" y="164"/>
                  </a:lnTo>
                  <a:lnTo>
                    <a:pt x="786" y="164"/>
                  </a:lnTo>
                  <a:lnTo>
                    <a:pt x="782" y="164"/>
                  </a:lnTo>
                  <a:lnTo>
                    <a:pt x="786" y="164"/>
                  </a:lnTo>
                  <a:lnTo>
                    <a:pt x="786" y="164"/>
                  </a:lnTo>
                  <a:lnTo>
                    <a:pt x="786" y="164"/>
                  </a:lnTo>
                  <a:close/>
                  <a:moveTo>
                    <a:pt x="806" y="194"/>
                  </a:moveTo>
                  <a:lnTo>
                    <a:pt x="808" y="194"/>
                  </a:lnTo>
                  <a:lnTo>
                    <a:pt x="806" y="194"/>
                  </a:lnTo>
                  <a:lnTo>
                    <a:pt x="806" y="194"/>
                  </a:lnTo>
                  <a:lnTo>
                    <a:pt x="806" y="194"/>
                  </a:lnTo>
                  <a:close/>
                  <a:moveTo>
                    <a:pt x="540" y="198"/>
                  </a:moveTo>
                  <a:lnTo>
                    <a:pt x="544" y="202"/>
                  </a:lnTo>
                  <a:lnTo>
                    <a:pt x="540" y="206"/>
                  </a:lnTo>
                  <a:lnTo>
                    <a:pt x="536" y="206"/>
                  </a:lnTo>
                  <a:lnTo>
                    <a:pt x="534" y="206"/>
                  </a:lnTo>
                  <a:lnTo>
                    <a:pt x="530" y="206"/>
                  </a:lnTo>
                  <a:lnTo>
                    <a:pt x="526" y="206"/>
                  </a:lnTo>
                  <a:lnTo>
                    <a:pt x="522" y="206"/>
                  </a:lnTo>
                  <a:lnTo>
                    <a:pt x="526" y="206"/>
                  </a:lnTo>
                  <a:lnTo>
                    <a:pt x="522" y="206"/>
                  </a:lnTo>
                  <a:lnTo>
                    <a:pt x="518" y="206"/>
                  </a:lnTo>
                  <a:lnTo>
                    <a:pt x="518" y="202"/>
                  </a:lnTo>
                  <a:lnTo>
                    <a:pt x="522" y="202"/>
                  </a:lnTo>
                  <a:lnTo>
                    <a:pt x="526" y="202"/>
                  </a:lnTo>
                  <a:lnTo>
                    <a:pt x="530" y="198"/>
                  </a:lnTo>
                  <a:lnTo>
                    <a:pt x="534" y="198"/>
                  </a:lnTo>
                  <a:lnTo>
                    <a:pt x="536" y="198"/>
                  </a:lnTo>
                  <a:lnTo>
                    <a:pt x="540" y="198"/>
                  </a:lnTo>
                  <a:lnTo>
                    <a:pt x="540" y="198"/>
                  </a:lnTo>
                  <a:lnTo>
                    <a:pt x="540" y="198"/>
                  </a:lnTo>
                  <a:close/>
                  <a:moveTo>
                    <a:pt x="880" y="206"/>
                  </a:moveTo>
                  <a:lnTo>
                    <a:pt x="876" y="206"/>
                  </a:lnTo>
                  <a:lnTo>
                    <a:pt x="876" y="208"/>
                  </a:lnTo>
                  <a:lnTo>
                    <a:pt x="880" y="208"/>
                  </a:lnTo>
                  <a:lnTo>
                    <a:pt x="880" y="212"/>
                  </a:lnTo>
                  <a:lnTo>
                    <a:pt x="876" y="212"/>
                  </a:lnTo>
                  <a:lnTo>
                    <a:pt x="876" y="208"/>
                  </a:lnTo>
                  <a:lnTo>
                    <a:pt x="872" y="208"/>
                  </a:lnTo>
                  <a:lnTo>
                    <a:pt x="872" y="212"/>
                  </a:lnTo>
                  <a:lnTo>
                    <a:pt x="868" y="212"/>
                  </a:lnTo>
                  <a:lnTo>
                    <a:pt x="868" y="208"/>
                  </a:lnTo>
                  <a:lnTo>
                    <a:pt x="864" y="208"/>
                  </a:lnTo>
                  <a:lnTo>
                    <a:pt x="868" y="208"/>
                  </a:lnTo>
                  <a:lnTo>
                    <a:pt x="872" y="206"/>
                  </a:lnTo>
                  <a:lnTo>
                    <a:pt x="876" y="206"/>
                  </a:lnTo>
                  <a:lnTo>
                    <a:pt x="876" y="202"/>
                  </a:lnTo>
                  <a:lnTo>
                    <a:pt x="880" y="206"/>
                  </a:lnTo>
                  <a:lnTo>
                    <a:pt x="880" y="206"/>
                  </a:lnTo>
                  <a:lnTo>
                    <a:pt x="880" y="206"/>
                  </a:lnTo>
                  <a:close/>
                  <a:moveTo>
                    <a:pt x="284" y="208"/>
                  </a:moveTo>
                  <a:lnTo>
                    <a:pt x="284" y="212"/>
                  </a:lnTo>
                  <a:lnTo>
                    <a:pt x="280" y="212"/>
                  </a:lnTo>
                  <a:lnTo>
                    <a:pt x="284" y="212"/>
                  </a:lnTo>
                  <a:lnTo>
                    <a:pt x="284" y="208"/>
                  </a:lnTo>
                  <a:lnTo>
                    <a:pt x="284" y="208"/>
                  </a:lnTo>
                  <a:lnTo>
                    <a:pt x="284" y="208"/>
                  </a:lnTo>
                  <a:close/>
                  <a:moveTo>
                    <a:pt x="262" y="208"/>
                  </a:moveTo>
                  <a:lnTo>
                    <a:pt x="266" y="208"/>
                  </a:lnTo>
                  <a:lnTo>
                    <a:pt x="262" y="208"/>
                  </a:lnTo>
                  <a:lnTo>
                    <a:pt x="258" y="208"/>
                  </a:lnTo>
                  <a:lnTo>
                    <a:pt x="262" y="208"/>
                  </a:lnTo>
                  <a:lnTo>
                    <a:pt x="262" y="208"/>
                  </a:lnTo>
                  <a:lnTo>
                    <a:pt x="262" y="208"/>
                  </a:lnTo>
                  <a:close/>
                  <a:moveTo>
                    <a:pt x="534" y="208"/>
                  </a:moveTo>
                  <a:lnTo>
                    <a:pt x="530" y="212"/>
                  </a:lnTo>
                  <a:lnTo>
                    <a:pt x="526" y="212"/>
                  </a:lnTo>
                  <a:lnTo>
                    <a:pt x="526" y="208"/>
                  </a:lnTo>
                  <a:lnTo>
                    <a:pt x="530" y="208"/>
                  </a:lnTo>
                  <a:lnTo>
                    <a:pt x="534" y="208"/>
                  </a:lnTo>
                  <a:lnTo>
                    <a:pt x="534" y="208"/>
                  </a:lnTo>
                  <a:lnTo>
                    <a:pt x="534" y="208"/>
                  </a:lnTo>
                  <a:close/>
                  <a:moveTo>
                    <a:pt x="574" y="220"/>
                  </a:moveTo>
                  <a:lnTo>
                    <a:pt x="574" y="216"/>
                  </a:lnTo>
                  <a:lnTo>
                    <a:pt x="570" y="220"/>
                  </a:lnTo>
                  <a:lnTo>
                    <a:pt x="566" y="220"/>
                  </a:lnTo>
                  <a:lnTo>
                    <a:pt x="566" y="216"/>
                  </a:lnTo>
                  <a:lnTo>
                    <a:pt x="570" y="216"/>
                  </a:lnTo>
                  <a:lnTo>
                    <a:pt x="574" y="216"/>
                  </a:lnTo>
                  <a:lnTo>
                    <a:pt x="578" y="216"/>
                  </a:lnTo>
                  <a:lnTo>
                    <a:pt x="578" y="220"/>
                  </a:lnTo>
                  <a:lnTo>
                    <a:pt x="574" y="220"/>
                  </a:lnTo>
                  <a:lnTo>
                    <a:pt x="574" y="220"/>
                  </a:lnTo>
                  <a:lnTo>
                    <a:pt x="574" y="220"/>
                  </a:lnTo>
                  <a:close/>
                  <a:moveTo>
                    <a:pt x="862" y="298"/>
                  </a:moveTo>
                  <a:lnTo>
                    <a:pt x="864" y="302"/>
                  </a:lnTo>
                  <a:lnTo>
                    <a:pt x="862" y="302"/>
                  </a:lnTo>
                  <a:lnTo>
                    <a:pt x="862" y="298"/>
                  </a:lnTo>
                  <a:lnTo>
                    <a:pt x="862" y="298"/>
                  </a:lnTo>
                  <a:lnTo>
                    <a:pt x="862" y="298"/>
                  </a:lnTo>
                  <a:close/>
                  <a:moveTo>
                    <a:pt x="868" y="302"/>
                  </a:moveTo>
                  <a:lnTo>
                    <a:pt x="872" y="302"/>
                  </a:lnTo>
                  <a:lnTo>
                    <a:pt x="872" y="306"/>
                  </a:lnTo>
                  <a:lnTo>
                    <a:pt x="868" y="306"/>
                  </a:lnTo>
                  <a:lnTo>
                    <a:pt x="868" y="302"/>
                  </a:lnTo>
                  <a:lnTo>
                    <a:pt x="868" y="302"/>
                  </a:lnTo>
                  <a:lnTo>
                    <a:pt x="868" y="302"/>
                  </a:lnTo>
                  <a:close/>
                  <a:moveTo>
                    <a:pt x="876" y="302"/>
                  </a:moveTo>
                  <a:lnTo>
                    <a:pt x="880" y="302"/>
                  </a:lnTo>
                  <a:lnTo>
                    <a:pt x="880" y="306"/>
                  </a:lnTo>
                  <a:lnTo>
                    <a:pt x="876" y="306"/>
                  </a:lnTo>
                  <a:lnTo>
                    <a:pt x="876" y="302"/>
                  </a:lnTo>
                  <a:lnTo>
                    <a:pt x="876" y="302"/>
                  </a:lnTo>
                  <a:lnTo>
                    <a:pt x="876" y="302"/>
                  </a:lnTo>
                  <a:close/>
                  <a:moveTo>
                    <a:pt x="776" y="306"/>
                  </a:moveTo>
                  <a:lnTo>
                    <a:pt x="778" y="306"/>
                  </a:lnTo>
                  <a:lnTo>
                    <a:pt x="778" y="310"/>
                  </a:lnTo>
                  <a:lnTo>
                    <a:pt x="778" y="306"/>
                  </a:lnTo>
                  <a:lnTo>
                    <a:pt x="776" y="306"/>
                  </a:lnTo>
                  <a:lnTo>
                    <a:pt x="776" y="306"/>
                  </a:lnTo>
                  <a:lnTo>
                    <a:pt x="776" y="306"/>
                  </a:lnTo>
                  <a:close/>
                  <a:moveTo>
                    <a:pt x="646" y="318"/>
                  </a:moveTo>
                  <a:lnTo>
                    <a:pt x="646" y="322"/>
                  </a:lnTo>
                  <a:lnTo>
                    <a:pt x="646" y="318"/>
                  </a:lnTo>
                  <a:lnTo>
                    <a:pt x="646" y="318"/>
                  </a:lnTo>
                  <a:lnTo>
                    <a:pt x="646" y="318"/>
                  </a:lnTo>
                  <a:close/>
                  <a:moveTo>
                    <a:pt x="626" y="332"/>
                  </a:moveTo>
                  <a:lnTo>
                    <a:pt x="630" y="332"/>
                  </a:lnTo>
                  <a:lnTo>
                    <a:pt x="630" y="336"/>
                  </a:lnTo>
                  <a:lnTo>
                    <a:pt x="626" y="336"/>
                  </a:lnTo>
                  <a:lnTo>
                    <a:pt x="626" y="332"/>
                  </a:lnTo>
                  <a:lnTo>
                    <a:pt x="626" y="332"/>
                  </a:lnTo>
                  <a:lnTo>
                    <a:pt x="626" y="332"/>
                  </a:lnTo>
                  <a:close/>
                  <a:moveTo>
                    <a:pt x="336" y="350"/>
                  </a:moveTo>
                  <a:lnTo>
                    <a:pt x="340" y="350"/>
                  </a:lnTo>
                  <a:lnTo>
                    <a:pt x="336" y="350"/>
                  </a:lnTo>
                  <a:lnTo>
                    <a:pt x="336" y="350"/>
                  </a:lnTo>
                  <a:lnTo>
                    <a:pt x="336" y="350"/>
                  </a:lnTo>
                  <a:close/>
                  <a:moveTo>
                    <a:pt x="352" y="350"/>
                  </a:moveTo>
                  <a:lnTo>
                    <a:pt x="348" y="350"/>
                  </a:lnTo>
                  <a:lnTo>
                    <a:pt x="352" y="350"/>
                  </a:lnTo>
                  <a:lnTo>
                    <a:pt x="352" y="350"/>
                  </a:lnTo>
                  <a:lnTo>
                    <a:pt x="352" y="350"/>
                  </a:lnTo>
                  <a:close/>
                  <a:moveTo>
                    <a:pt x="620" y="366"/>
                  </a:moveTo>
                  <a:lnTo>
                    <a:pt x="620" y="370"/>
                  </a:lnTo>
                  <a:lnTo>
                    <a:pt x="616" y="370"/>
                  </a:lnTo>
                  <a:lnTo>
                    <a:pt x="616" y="366"/>
                  </a:lnTo>
                  <a:lnTo>
                    <a:pt x="620" y="366"/>
                  </a:lnTo>
                  <a:lnTo>
                    <a:pt x="620" y="366"/>
                  </a:lnTo>
                  <a:lnTo>
                    <a:pt x="620" y="366"/>
                  </a:lnTo>
                  <a:close/>
                  <a:moveTo>
                    <a:pt x="702" y="374"/>
                  </a:moveTo>
                  <a:lnTo>
                    <a:pt x="698" y="370"/>
                  </a:lnTo>
                  <a:lnTo>
                    <a:pt x="702" y="370"/>
                  </a:lnTo>
                  <a:lnTo>
                    <a:pt x="702" y="374"/>
                  </a:lnTo>
                  <a:lnTo>
                    <a:pt x="702" y="374"/>
                  </a:lnTo>
                  <a:lnTo>
                    <a:pt x="702" y="374"/>
                  </a:lnTo>
                  <a:close/>
                  <a:moveTo>
                    <a:pt x="634" y="378"/>
                  </a:moveTo>
                  <a:lnTo>
                    <a:pt x="634" y="380"/>
                  </a:lnTo>
                  <a:lnTo>
                    <a:pt x="630" y="380"/>
                  </a:lnTo>
                  <a:lnTo>
                    <a:pt x="626" y="378"/>
                  </a:lnTo>
                  <a:lnTo>
                    <a:pt x="630" y="378"/>
                  </a:lnTo>
                  <a:lnTo>
                    <a:pt x="634" y="378"/>
                  </a:lnTo>
                  <a:lnTo>
                    <a:pt x="634" y="378"/>
                  </a:lnTo>
                  <a:lnTo>
                    <a:pt x="634" y="378"/>
                  </a:lnTo>
                  <a:close/>
                  <a:moveTo>
                    <a:pt x="720" y="380"/>
                  </a:moveTo>
                  <a:lnTo>
                    <a:pt x="716" y="384"/>
                  </a:lnTo>
                  <a:lnTo>
                    <a:pt x="716" y="380"/>
                  </a:lnTo>
                  <a:lnTo>
                    <a:pt x="720" y="380"/>
                  </a:lnTo>
                  <a:lnTo>
                    <a:pt x="720" y="380"/>
                  </a:lnTo>
                  <a:lnTo>
                    <a:pt x="720" y="380"/>
                  </a:lnTo>
                  <a:close/>
                  <a:moveTo>
                    <a:pt x="82" y="384"/>
                  </a:moveTo>
                  <a:lnTo>
                    <a:pt x="80" y="384"/>
                  </a:lnTo>
                  <a:lnTo>
                    <a:pt x="80" y="380"/>
                  </a:lnTo>
                  <a:lnTo>
                    <a:pt x="82" y="380"/>
                  </a:lnTo>
                  <a:lnTo>
                    <a:pt x="82" y="384"/>
                  </a:lnTo>
                  <a:lnTo>
                    <a:pt x="82" y="384"/>
                  </a:lnTo>
                  <a:lnTo>
                    <a:pt x="82" y="384"/>
                  </a:lnTo>
                  <a:close/>
                  <a:moveTo>
                    <a:pt x="712" y="384"/>
                  </a:moveTo>
                  <a:lnTo>
                    <a:pt x="712" y="380"/>
                  </a:lnTo>
                  <a:lnTo>
                    <a:pt x="716" y="384"/>
                  </a:lnTo>
                  <a:lnTo>
                    <a:pt x="712" y="384"/>
                  </a:lnTo>
                  <a:lnTo>
                    <a:pt x="712" y="384"/>
                  </a:lnTo>
                  <a:lnTo>
                    <a:pt x="712" y="384"/>
                  </a:lnTo>
                  <a:close/>
                  <a:moveTo>
                    <a:pt x="578" y="388"/>
                  </a:moveTo>
                  <a:lnTo>
                    <a:pt x="582" y="392"/>
                  </a:lnTo>
                  <a:lnTo>
                    <a:pt x="578" y="392"/>
                  </a:lnTo>
                  <a:lnTo>
                    <a:pt x="578" y="388"/>
                  </a:lnTo>
                  <a:lnTo>
                    <a:pt x="578" y="388"/>
                  </a:lnTo>
                  <a:lnTo>
                    <a:pt x="578" y="388"/>
                  </a:lnTo>
                  <a:close/>
                  <a:moveTo>
                    <a:pt x="574" y="392"/>
                  </a:moveTo>
                  <a:lnTo>
                    <a:pt x="578" y="392"/>
                  </a:lnTo>
                  <a:lnTo>
                    <a:pt x="578" y="396"/>
                  </a:lnTo>
                  <a:lnTo>
                    <a:pt x="574" y="396"/>
                  </a:lnTo>
                  <a:lnTo>
                    <a:pt x="574" y="400"/>
                  </a:lnTo>
                  <a:lnTo>
                    <a:pt x="570" y="396"/>
                  </a:lnTo>
                  <a:lnTo>
                    <a:pt x="570" y="392"/>
                  </a:lnTo>
                  <a:lnTo>
                    <a:pt x="570" y="388"/>
                  </a:lnTo>
                  <a:lnTo>
                    <a:pt x="574" y="388"/>
                  </a:lnTo>
                  <a:lnTo>
                    <a:pt x="574" y="392"/>
                  </a:lnTo>
                  <a:lnTo>
                    <a:pt x="574" y="392"/>
                  </a:lnTo>
                  <a:lnTo>
                    <a:pt x="574" y="392"/>
                  </a:lnTo>
                  <a:close/>
                  <a:moveTo>
                    <a:pt x="724" y="392"/>
                  </a:moveTo>
                  <a:lnTo>
                    <a:pt x="720" y="392"/>
                  </a:lnTo>
                  <a:lnTo>
                    <a:pt x="724" y="392"/>
                  </a:lnTo>
                  <a:lnTo>
                    <a:pt x="724" y="392"/>
                  </a:lnTo>
                  <a:lnTo>
                    <a:pt x="724" y="392"/>
                  </a:lnTo>
                  <a:close/>
                  <a:moveTo>
                    <a:pt x="724" y="400"/>
                  </a:moveTo>
                  <a:lnTo>
                    <a:pt x="720" y="400"/>
                  </a:lnTo>
                  <a:lnTo>
                    <a:pt x="720" y="396"/>
                  </a:lnTo>
                  <a:lnTo>
                    <a:pt x="724" y="396"/>
                  </a:lnTo>
                  <a:lnTo>
                    <a:pt x="724" y="400"/>
                  </a:lnTo>
                  <a:lnTo>
                    <a:pt x="724" y="400"/>
                  </a:lnTo>
                  <a:lnTo>
                    <a:pt x="724" y="400"/>
                  </a:lnTo>
                  <a:close/>
                  <a:moveTo>
                    <a:pt x="1026" y="396"/>
                  </a:moveTo>
                  <a:lnTo>
                    <a:pt x="1030" y="396"/>
                  </a:lnTo>
                  <a:lnTo>
                    <a:pt x="1032" y="396"/>
                  </a:lnTo>
                  <a:lnTo>
                    <a:pt x="1036" y="400"/>
                  </a:lnTo>
                  <a:lnTo>
                    <a:pt x="1032" y="400"/>
                  </a:lnTo>
                  <a:lnTo>
                    <a:pt x="1032" y="396"/>
                  </a:lnTo>
                  <a:lnTo>
                    <a:pt x="1030" y="396"/>
                  </a:lnTo>
                  <a:lnTo>
                    <a:pt x="1026" y="396"/>
                  </a:lnTo>
                  <a:lnTo>
                    <a:pt x="1026" y="396"/>
                  </a:lnTo>
                  <a:lnTo>
                    <a:pt x="1026" y="396"/>
                  </a:lnTo>
                  <a:close/>
                  <a:moveTo>
                    <a:pt x="428" y="404"/>
                  </a:moveTo>
                  <a:lnTo>
                    <a:pt x="424" y="404"/>
                  </a:lnTo>
                  <a:lnTo>
                    <a:pt x="422" y="404"/>
                  </a:lnTo>
                  <a:lnTo>
                    <a:pt x="424" y="404"/>
                  </a:lnTo>
                  <a:lnTo>
                    <a:pt x="428" y="404"/>
                  </a:lnTo>
                  <a:lnTo>
                    <a:pt x="428" y="404"/>
                  </a:lnTo>
                  <a:lnTo>
                    <a:pt x="428" y="404"/>
                  </a:lnTo>
                  <a:close/>
                  <a:moveTo>
                    <a:pt x="834" y="408"/>
                  </a:moveTo>
                  <a:lnTo>
                    <a:pt x="832" y="408"/>
                  </a:lnTo>
                  <a:lnTo>
                    <a:pt x="834" y="408"/>
                  </a:lnTo>
                  <a:lnTo>
                    <a:pt x="834" y="408"/>
                  </a:lnTo>
                  <a:lnTo>
                    <a:pt x="834" y="408"/>
                  </a:lnTo>
                  <a:close/>
                  <a:moveTo>
                    <a:pt x="418" y="408"/>
                  </a:moveTo>
                  <a:lnTo>
                    <a:pt x="418" y="410"/>
                  </a:lnTo>
                  <a:lnTo>
                    <a:pt x="414" y="410"/>
                  </a:lnTo>
                  <a:lnTo>
                    <a:pt x="414" y="408"/>
                  </a:lnTo>
                  <a:lnTo>
                    <a:pt x="418" y="408"/>
                  </a:lnTo>
                  <a:lnTo>
                    <a:pt x="418" y="408"/>
                  </a:lnTo>
                  <a:lnTo>
                    <a:pt x="418" y="408"/>
                  </a:lnTo>
                  <a:close/>
                  <a:moveTo>
                    <a:pt x="444" y="410"/>
                  </a:moveTo>
                  <a:lnTo>
                    <a:pt x="440" y="410"/>
                  </a:lnTo>
                  <a:lnTo>
                    <a:pt x="440" y="414"/>
                  </a:lnTo>
                  <a:lnTo>
                    <a:pt x="440" y="410"/>
                  </a:lnTo>
                  <a:lnTo>
                    <a:pt x="444" y="410"/>
                  </a:lnTo>
                  <a:lnTo>
                    <a:pt x="444" y="410"/>
                  </a:lnTo>
                  <a:lnTo>
                    <a:pt x="444" y="410"/>
                  </a:lnTo>
                  <a:close/>
                  <a:moveTo>
                    <a:pt x="518" y="410"/>
                  </a:moveTo>
                  <a:lnTo>
                    <a:pt x="518" y="414"/>
                  </a:lnTo>
                  <a:lnTo>
                    <a:pt x="514" y="414"/>
                  </a:lnTo>
                  <a:lnTo>
                    <a:pt x="514" y="410"/>
                  </a:lnTo>
                  <a:lnTo>
                    <a:pt x="518" y="410"/>
                  </a:lnTo>
                  <a:lnTo>
                    <a:pt x="518" y="410"/>
                  </a:lnTo>
                  <a:lnTo>
                    <a:pt x="518" y="410"/>
                  </a:lnTo>
                  <a:close/>
                  <a:moveTo>
                    <a:pt x="440" y="414"/>
                  </a:moveTo>
                  <a:lnTo>
                    <a:pt x="436" y="414"/>
                  </a:lnTo>
                  <a:lnTo>
                    <a:pt x="440" y="414"/>
                  </a:lnTo>
                  <a:lnTo>
                    <a:pt x="440" y="414"/>
                  </a:lnTo>
                  <a:lnTo>
                    <a:pt x="440" y="414"/>
                  </a:lnTo>
                  <a:close/>
                  <a:moveTo>
                    <a:pt x="448" y="414"/>
                  </a:moveTo>
                  <a:lnTo>
                    <a:pt x="448" y="418"/>
                  </a:lnTo>
                  <a:lnTo>
                    <a:pt x="448" y="414"/>
                  </a:lnTo>
                  <a:lnTo>
                    <a:pt x="444" y="414"/>
                  </a:lnTo>
                  <a:lnTo>
                    <a:pt x="448" y="414"/>
                  </a:lnTo>
                  <a:lnTo>
                    <a:pt x="448" y="414"/>
                  </a:lnTo>
                  <a:lnTo>
                    <a:pt x="448" y="414"/>
                  </a:lnTo>
                  <a:close/>
                  <a:moveTo>
                    <a:pt x="462" y="418"/>
                  </a:moveTo>
                  <a:lnTo>
                    <a:pt x="458" y="418"/>
                  </a:lnTo>
                  <a:lnTo>
                    <a:pt x="462" y="418"/>
                  </a:lnTo>
                  <a:lnTo>
                    <a:pt x="462" y="418"/>
                  </a:lnTo>
                  <a:lnTo>
                    <a:pt x="462" y="418"/>
                  </a:lnTo>
                  <a:close/>
                  <a:moveTo>
                    <a:pt x="620" y="422"/>
                  </a:moveTo>
                  <a:lnTo>
                    <a:pt x="620" y="426"/>
                  </a:lnTo>
                  <a:lnTo>
                    <a:pt x="616" y="426"/>
                  </a:lnTo>
                  <a:lnTo>
                    <a:pt x="616" y="422"/>
                  </a:lnTo>
                  <a:lnTo>
                    <a:pt x="620" y="422"/>
                  </a:lnTo>
                  <a:lnTo>
                    <a:pt x="620" y="422"/>
                  </a:lnTo>
                  <a:lnTo>
                    <a:pt x="620" y="422"/>
                  </a:lnTo>
                  <a:close/>
                  <a:moveTo>
                    <a:pt x="466" y="430"/>
                  </a:moveTo>
                  <a:lnTo>
                    <a:pt x="466" y="426"/>
                  </a:lnTo>
                  <a:lnTo>
                    <a:pt x="466" y="430"/>
                  </a:lnTo>
                  <a:lnTo>
                    <a:pt x="466" y="430"/>
                  </a:lnTo>
                  <a:lnTo>
                    <a:pt x="466" y="430"/>
                  </a:lnTo>
                  <a:close/>
                  <a:moveTo>
                    <a:pt x="466" y="430"/>
                  </a:moveTo>
                  <a:lnTo>
                    <a:pt x="462" y="430"/>
                  </a:lnTo>
                  <a:lnTo>
                    <a:pt x="462" y="426"/>
                  </a:lnTo>
                  <a:lnTo>
                    <a:pt x="466" y="426"/>
                  </a:lnTo>
                  <a:lnTo>
                    <a:pt x="466" y="430"/>
                  </a:lnTo>
                  <a:lnTo>
                    <a:pt x="466" y="430"/>
                  </a:lnTo>
                  <a:lnTo>
                    <a:pt x="466" y="430"/>
                  </a:lnTo>
                  <a:close/>
                  <a:moveTo>
                    <a:pt x="1096" y="434"/>
                  </a:moveTo>
                  <a:lnTo>
                    <a:pt x="1092" y="434"/>
                  </a:lnTo>
                  <a:lnTo>
                    <a:pt x="1096" y="434"/>
                  </a:lnTo>
                  <a:lnTo>
                    <a:pt x="1100" y="434"/>
                  </a:lnTo>
                  <a:lnTo>
                    <a:pt x="1096" y="434"/>
                  </a:lnTo>
                  <a:lnTo>
                    <a:pt x="1096" y="434"/>
                  </a:lnTo>
                  <a:lnTo>
                    <a:pt x="1096" y="434"/>
                  </a:lnTo>
                  <a:close/>
                  <a:moveTo>
                    <a:pt x="646" y="434"/>
                  </a:moveTo>
                  <a:lnTo>
                    <a:pt x="646" y="436"/>
                  </a:lnTo>
                  <a:lnTo>
                    <a:pt x="642" y="436"/>
                  </a:lnTo>
                  <a:lnTo>
                    <a:pt x="642" y="434"/>
                  </a:lnTo>
                  <a:lnTo>
                    <a:pt x="646" y="434"/>
                  </a:lnTo>
                  <a:lnTo>
                    <a:pt x="646" y="434"/>
                  </a:lnTo>
                  <a:lnTo>
                    <a:pt x="646" y="434"/>
                  </a:lnTo>
                  <a:close/>
                  <a:moveTo>
                    <a:pt x="474" y="436"/>
                  </a:moveTo>
                  <a:lnTo>
                    <a:pt x="474" y="440"/>
                  </a:lnTo>
                  <a:lnTo>
                    <a:pt x="474" y="436"/>
                  </a:lnTo>
                  <a:lnTo>
                    <a:pt x="474" y="436"/>
                  </a:lnTo>
                  <a:lnTo>
                    <a:pt x="474" y="436"/>
                  </a:lnTo>
                  <a:close/>
                  <a:moveTo>
                    <a:pt x="1104" y="440"/>
                  </a:moveTo>
                  <a:lnTo>
                    <a:pt x="1100" y="440"/>
                  </a:lnTo>
                  <a:lnTo>
                    <a:pt x="1104" y="440"/>
                  </a:lnTo>
                  <a:lnTo>
                    <a:pt x="1104" y="440"/>
                  </a:lnTo>
                  <a:lnTo>
                    <a:pt x="1104" y="440"/>
                  </a:lnTo>
                  <a:close/>
                  <a:moveTo>
                    <a:pt x="470" y="440"/>
                  </a:moveTo>
                  <a:lnTo>
                    <a:pt x="470" y="444"/>
                  </a:lnTo>
                  <a:lnTo>
                    <a:pt x="466" y="444"/>
                  </a:lnTo>
                  <a:lnTo>
                    <a:pt x="470" y="440"/>
                  </a:lnTo>
                  <a:lnTo>
                    <a:pt x="470" y="440"/>
                  </a:lnTo>
                  <a:lnTo>
                    <a:pt x="470" y="440"/>
                  </a:lnTo>
                  <a:close/>
                  <a:moveTo>
                    <a:pt x="1114" y="460"/>
                  </a:moveTo>
                  <a:lnTo>
                    <a:pt x="1110" y="460"/>
                  </a:lnTo>
                  <a:lnTo>
                    <a:pt x="1114" y="460"/>
                  </a:lnTo>
                  <a:lnTo>
                    <a:pt x="1114" y="460"/>
                  </a:lnTo>
                  <a:lnTo>
                    <a:pt x="1114" y="460"/>
                  </a:lnTo>
                  <a:close/>
                  <a:moveTo>
                    <a:pt x="954" y="500"/>
                  </a:moveTo>
                  <a:lnTo>
                    <a:pt x="954" y="504"/>
                  </a:lnTo>
                  <a:lnTo>
                    <a:pt x="954" y="508"/>
                  </a:lnTo>
                  <a:lnTo>
                    <a:pt x="954" y="504"/>
                  </a:lnTo>
                  <a:lnTo>
                    <a:pt x="950" y="504"/>
                  </a:lnTo>
                  <a:lnTo>
                    <a:pt x="954" y="500"/>
                  </a:lnTo>
                  <a:lnTo>
                    <a:pt x="950" y="500"/>
                  </a:lnTo>
                  <a:lnTo>
                    <a:pt x="954" y="500"/>
                  </a:lnTo>
                  <a:lnTo>
                    <a:pt x="954" y="500"/>
                  </a:lnTo>
                  <a:lnTo>
                    <a:pt x="954" y="500"/>
                  </a:lnTo>
                  <a:close/>
                  <a:moveTo>
                    <a:pt x="944" y="500"/>
                  </a:moveTo>
                  <a:lnTo>
                    <a:pt x="944" y="504"/>
                  </a:lnTo>
                  <a:lnTo>
                    <a:pt x="948" y="504"/>
                  </a:lnTo>
                  <a:lnTo>
                    <a:pt x="944" y="504"/>
                  </a:lnTo>
                  <a:lnTo>
                    <a:pt x="944" y="500"/>
                  </a:lnTo>
                  <a:lnTo>
                    <a:pt x="944" y="500"/>
                  </a:lnTo>
                  <a:lnTo>
                    <a:pt x="944" y="500"/>
                  </a:lnTo>
                  <a:close/>
                  <a:moveTo>
                    <a:pt x="1076" y="504"/>
                  </a:moveTo>
                  <a:lnTo>
                    <a:pt x="1076" y="508"/>
                  </a:lnTo>
                  <a:lnTo>
                    <a:pt x="1076" y="504"/>
                  </a:lnTo>
                  <a:lnTo>
                    <a:pt x="1074" y="504"/>
                  </a:lnTo>
                  <a:lnTo>
                    <a:pt x="1076" y="504"/>
                  </a:lnTo>
                  <a:lnTo>
                    <a:pt x="1076" y="504"/>
                  </a:lnTo>
                  <a:lnTo>
                    <a:pt x="1076" y="504"/>
                  </a:lnTo>
                  <a:close/>
                  <a:moveTo>
                    <a:pt x="950" y="504"/>
                  </a:moveTo>
                  <a:lnTo>
                    <a:pt x="950" y="508"/>
                  </a:lnTo>
                  <a:lnTo>
                    <a:pt x="950" y="504"/>
                  </a:lnTo>
                  <a:lnTo>
                    <a:pt x="950" y="504"/>
                  </a:lnTo>
                  <a:lnTo>
                    <a:pt x="950" y="504"/>
                  </a:lnTo>
                  <a:close/>
                  <a:moveTo>
                    <a:pt x="1074" y="504"/>
                  </a:moveTo>
                  <a:lnTo>
                    <a:pt x="1076" y="508"/>
                  </a:lnTo>
                  <a:lnTo>
                    <a:pt x="1074" y="508"/>
                  </a:lnTo>
                  <a:lnTo>
                    <a:pt x="1074" y="504"/>
                  </a:lnTo>
                  <a:lnTo>
                    <a:pt x="1074" y="504"/>
                  </a:lnTo>
                  <a:lnTo>
                    <a:pt x="1074" y="504"/>
                  </a:lnTo>
                  <a:close/>
                  <a:moveTo>
                    <a:pt x="1080" y="516"/>
                  </a:moveTo>
                  <a:lnTo>
                    <a:pt x="1080" y="520"/>
                  </a:lnTo>
                  <a:lnTo>
                    <a:pt x="1084" y="520"/>
                  </a:lnTo>
                  <a:lnTo>
                    <a:pt x="1084" y="522"/>
                  </a:lnTo>
                  <a:lnTo>
                    <a:pt x="1080" y="522"/>
                  </a:lnTo>
                  <a:lnTo>
                    <a:pt x="1080" y="520"/>
                  </a:lnTo>
                  <a:lnTo>
                    <a:pt x="1076" y="520"/>
                  </a:lnTo>
                  <a:lnTo>
                    <a:pt x="1076" y="516"/>
                  </a:lnTo>
                  <a:lnTo>
                    <a:pt x="1080" y="516"/>
                  </a:lnTo>
                  <a:lnTo>
                    <a:pt x="1080" y="516"/>
                  </a:lnTo>
                  <a:lnTo>
                    <a:pt x="1080" y="516"/>
                  </a:lnTo>
                  <a:close/>
                  <a:moveTo>
                    <a:pt x="1084" y="516"/>
                  </a:moveTo>
                  <a:lnTo>
                    <a:pt x="1084" y="520"/>
                  </a:lnTo>
                  <a:lnTo>
                    <a:pt x="1084" y="516"/>
                  </a:lnTo>
                  <a:lnTo>
                    <a:pt x="1084" y="516"/>
                  </a:lnTo>
                  <a:lnTo>
                    <a:pt x="1084" y="516"/>
                  </a:lnTo>
                  <a:close/>
                  <a:moveTo>
                    <a:pt x="1088" y="520"/>
                  </a:moveTo>
                  <a:lnTo>
                    <a:pt x="1088" y="522"/>
                  </a:lnTo>
                  <a:lnTo>
                    <a:pt x="1084" y="522"/>
                  </a:lnTo>
                  <a:lnTo>
                    <a:pt x="1084" y="520"/>
                  </a:lnTo>
                  <a:lnTo>
                    <a:pt x="1088" y="520"/>
                  </a:lnTo>
                  <a:lnTo>
                    <a:pt x="1088" y="520"/>
                  </a:lnTo>
                  <a:lnTo>
                    <a:pt x="1088" y="520"/>
                  </a:lnTo>
                  <a:close/>
                  <a:moveTo>
                    <a:pt x="1084" y="522"/>
                  </a:moveTo>
                  <a:lnTo>
                    <a:pt x="1088" y="522"/>
                  </a:lnTo>
                  <a:lnTo>
                    <a:pt x="1088" y="526"/>
                  </a:lnTo>
                  <a:lnTo>
                    <a:pt x="1084" y="526"/>
                  </a:lnTo>
                  <a:lnTo>
                    <a:pt x="1084" y="522"/>
                  </a:lnTo>
                  <a:lnTo>
                    <a:pt x="1084" y="522"/>
                  </a:lnTo>
                  <a:lnTo>
                    <a:pt x="1084" y="522"/>
                  </a:lnTo>
                  <a:close/>
                  <a:moveTo>
                    <a:pt x="712" y="522"/>
                  </a:moveTo>
                  <a:lnTo>
                    <a:pt x="712" y="526"/>
                  </a:lnTo>
                  <a:lnTo>
                    <a:pt x="708" y="526"/>
                  </a:lnTo>
                  <a:lnTo>
                    <a:pt x="708" y="522"/>
                  </a:lnTo>
                  <a:lnTo>
                    <a:pt x="712" y="522"/>
                  </a:lnTo>
                  <a:lnTo>
                    <a:pt x="712" y="522"/>
                  </a:lnTo>
                  <a:lnTo>
                    <a:pt x="712" y="522"/>
                  </a:lnTo>
                  <a:close/>
                  <a:moveTo>
                    <a:pt x="890" y="546"/>
                  </a:moveTo>
                  <a:lnTo>
                    <a:pt x="894" y="546"/>
                  </a:lnTo>
                  <a:lnTo>
                    <a:pt x="894" y="550"/>
                  </a:lnTo>
                  <a:lnTo>
                    <a:pt x="890" y="550"/>
                  </a:lnTo>
                  <a:lnTo>
                    <a:pt x="890" y="546"/>
                  </a:lnTo>
                  <a:lnTo>
                    <a:pt x="890" y="546"/>
                  </a:lnTo>
                  <a:lnTo>
                    <a:pt x="890" y="546"/>
                  </a:lnTo>
                  <a:close/>
                  <a:moveTo>
                    <a:pt x="690" y="552"/>
                  </a:moveTo>
                  <a:lnTo>
                    <a:pt x="686" y="552"/>
                  </a:lnTo>
                  <a:lnTo>
                    <a:pt x="690" y="552"/>
                  </a:lnTo>
                  <a:lnTo>
                    <a:pt x="690" y="552"/>
                  </a:lnTo>
                  <a:lnTo>
                    <a:pt x="690" y="552"/>
                  </a:lnTo>
                  <a:close/>
                  <a:moveTo>
                    <a:pt x="1066" y="564"/>
                  </a:moveTo>
                  <a:lnTo>
                    <a:pt x="1066" y="566"/>
                  </a:lnTo>
                  <a:lnTo>
                    <a:pt x="1062" y="566"/>
                  </a:lnTo>
                  <a:lnTo>
                    <a:pt x="1062" y="564"/>
                  </a:lnTo>
                  <a:lnTo>
                    <a:pt x="1066" y="564"/>
                  </a:lnTo>
                  <a:lnTo>
                    <a:pt x="1066" y="564"/>
                  </a:lnTo>
                  <a:lnTo>
                    <a:pt x="1066" y="564"/>
                  </a:lnTo>
                  <a:close/>
                  <a:moveTo>
                    <a:pt x="1088" y="608"/>
                  </a:moveTo>
                  <a:lnTo>
                    <a:pt x="1088" y="612"/>
                  </a:lnTo>
                  <a:lnTo>
                    <a:pt x="1084" y="612"/>
                  </a:lnTo>
                  <a:lnTo>
                    <a:pt x="1088" y="608"/>
                  </a:lnTo>
                  <a:lnTo>
                    <a:pt x="1088" y="608"/>
                  </a:lnTo>
                  <a:lnTo>
                    <a:pt x="1088" y="608"/>
                  </a:lnTo>
                  <a:close/>
                  <a:moveTo>
                    <a:pt x="1118" y="664"/>
                  </a:moveTo>
                  <a:lnTo>
                    <a:pt x="1118" y="660"/>
                  </a:lnTo>
                  <a:lnTo>
                    <a:pt x="1122" y="660"/>
                  </a:lnTo>
                  <a:lnTo>
                    <a:pt x="1118" y="664"/>
                  </a:lnTo>
                  <a:lnTo>
                    <a:pt x="1118" y="664"/>
                  </a:lnTo>
                  <a:lnTo>
                    <a:pt x="1118" y="664"/>
                  </a:lnTo>
                  <a:close/>
                  <a:moveTo>
                    <a:pt x="1122" y="660"/>
                  </a:moveTo>
                  <a:lnTo>
                    <a:pt x="1122" y="664"/>
                  </a:lnTo>
                  <a:lnTo>
                    <a:pt x="1118" y="664"/>
                  </a:lnTo>
                  <a:lnTo>
                    <a:pt x="1122" y="664"/>
                  </a:lnTo>
                  <a:lnTo>
                    <a:pt x="1122" y="660"/>
                  </a:lnTo>
                  <a:lnTo>
                    <a:pt x="1122" y="660"/>
                  </a:lnTo>
                  <a:lnTo>
                    <a:pt x="1122" y="660"/>
                  </a:lnTo>
                  <a:close/>
                  <a:moveTo>
                    <a:pt x="864" y="676"/>
                  </a:moveTo>
                  <a:lnTo>
                    <a:pt x="864" y="680"/>
                  </a:lnTo>
                  <a:lnTo>
                    <a:pt x="864" y="676"/>
                  </a:lnTo>
                  <a:lnTo>
                    <a:pt x="864" y="676"/>
                  </a:lnTo>
                  <a:lnTo>
                    <a:pt x="864" y="676"/>
                  </a:lnTo>
                  <a:close/>
                  <a:moveTo>
                    <a:pt x="1132" y="698"/>
                  </a:moveTo>
                  <a:lnTo>
                    <a:pt x="1136" y="698"/>
                  </a:lnTo>
                  <a:lnTo>
                    <a:pt x="1132" y="698"/>
                  </a:lnTo>
                  <a:lnTo>
                    <a:pt x="1132" y="698"/>
                  </a:lnTo>
                  <a:lnTo>
                    <a:pt x="1132" y="698"/>
                  </a:lnTo>
                  <a:close/>
                  <a:moveTo>
                    <a:pt x="1174" y="720"/>
                  </a:moveTo>
                  <a:lnTo>
                    <a:pt x="1174" y="724"/>
                  </a:lnTo>
                  <a:lnTo>
                    <a:pt x="1170" y="724"/>
                  </a:lnTo>
                  <a:lnTo>
                    <a:pt x="1170" y="720"/>
                  </a:lnTo>
                  <a:lnTo>
                    <a:pt x="1174" y="720"/>
                  </a:lnTo>
                  <a:lnTo>
                    <a:pt x="1174" y="720"/>
                  </a:lnTo>
                  <a:lnTo>
                    <a:pt x="1174" y="720"/>
                  </a:lnTo>
                  <a:close/>
                  <a:moveTo>
                    <a:pt x="150" y="720"/>
                  </a:moveTo>
                  <a:lnTo>
                    <a:pt x="150" y="724"/>
                  </a:lnTo>
                  <a:lnTo>
                    <a:pt x="146" y="724"/>
                  </a:lnTo>
                  <a:lnTo>
                    <a:pt x="150" y="720"/>
                  </a:lnTo>
                  <a:lnTo>
                    <a:pt x="150" y="720"/>
                  </a:lnTo>
                  <a:lnTo>
                    <a:pt x="150" y="720"/>
                  </a:lnTo>
                  <a:close/>
                  <a:moveTo>
                    <a:pt x="1204" y="750"/>
                  </a:moveTo>
                  <a:lnTo>
                    <a:pt x="1208" y="750"/>
                  </a:lnTo>
                  <a:lnTo>
                    <a:pt x="1204" y="754"/>
                  </a:lnTo>
                  <a:lnTo>
                    <a:pt x="1204" y="750"/>
                  </a:lnTo>
                  <a:lnTo>
                    <a:pt x="1204" y="750"/>
                  </a:lnTo>
                  <a:lnTo>
                    <a:pt x="1204" y="750"/>
                  </a:lnTo>
                  <a:close/>
                  <a:moveTo>
                    <a:pt x="176" y="766"/>
                  </a:moveTo>
                  <a:lnTo>
                    <a:pt x="180" y="766"/>
                  </a:lnTo>
                  <a:lnTo>
                    <a:pt x="176" y="768"/>
                  </a:lnTo>
                  <a:lnTo>
                    <a:pt x="176" y="766"/>
                  </a:lnTo>
                  <a:lnTo>
                    <a:pt x="176" y="766"/>
                  </a:lnTo>
                  <a:lnTo>
                    <a:pt x="176" y="766"/>
                  </a:lnTo>
                  <a:close/>
                  <a:moveTo>
                    <a:pt x="182" y="776"/>
                  </a:moveTo>
                  <a:lnTo>
                    <a:pt x="186" y="776"/>
                  </a:lnTo>
                  <a:lnTo>
                    <a:pt x="182" y="776"/>
                  </a:lnTo>
                  <a:lnTo>
                    <a:pt x="182" y="776"/>
                  </a:lnTo>
                  <a:lnTo>
                    <a:pt x="182" y="776"/>
                  </a:lnTo>
                  <a:close/>
                  <a:moveTo>
                    <a:pt x="180" y="780"/>
                  </a:moveTo>
                  <a:lnTo>
                    <a:pt x="180" y="776"/>
                  </a:lnTo>
                  <a:lnTo>
                    <a:pt x="180" y="780"/>
                  </a:lnTo>
                  <a:lnTo>
                    <a:pt x="180" y="780"/>
                  </a:lnTo>
                  <a:lnTo>
                    <a:pt x="180" y="780"/>
                  </a:lnTo>
                  <a:close/>
                  <a:moveTo>
                    <a:pt x="182" y="780"/>
                  </a:moveTo>
                  <a:lnTo>
                    <a:pt x="186" y="780"/>
                  </a:lnTo>
                  <a:lnTo>
                    <a:pt x="182" y="780"/>
                  </a:lnTo>
                  <a:lnTo>
                    <a:pt x="182" y="780"/>
                  </a:lnTo>
                  <a:lnTo>
                    <a:pt x="182" y="780"/>
                  </a:lnTo>
                  <a:close/>
                  <a:moveTo>
                    <a:pt x="202" y="806"/>
                  </a:moveTo>
                  <a:lnTo>
                    <a:pt x="198" y="806"/>
                  </a:lnTo>
                  <a:lnTo>
                    <a:pt x="202" y="806"/>
                  </a:lnTo>
                  <a:lnTo>
                    <a:pt x="206" y="806"/>
                  </a:lnTo>
                  <a:lnTo>
                    <a:pt x="202" y="806"/>
                  </a:lnTo>
                  <a:lnTo>
                    <a:pt x="202" y="806"/>
                  </a:lnTo>
                  <a:lnTo>
                    <a:pt x="202" y="806"/>
                  </a:lnTo>
                  <a:close/>
                  <a:moveTo>
                    <a:pt x="1212" y="806"/>
                  </a:moveTo>
                  <a:lnTo>
                    <a:pt x="1208" y="810"/>
                  </a:lnTo>
                  <a:lnTo>
                    <a:pt x="1208" y="806"/>
                  </a:lnTo>
                  <a:lnTo>
                    <a:pt x="1212" y="806"/>
                  </a:lnTo>
                  <a:lnTo>
                    <a:pt x="1212" y="806"/>
                  </a:lnTo>
                  <a:lnTo>
                    <a:pt x="1212" y="806"/>
                  </a:lnTo>
                  <a:close/>
                  <a:moveTo>
                    <a:pt x="198" y="810"/>
                  </a:moveTo>
                  <a:lnTo>
                    <a:pt x="202" y="810"/>
                  </a:lnTo>
                  <a:lnTo>
                    <a:pt x="198" y="810"/>
                  </a:lnTo>
                  <a:lnTo>
                    <a:pt x="198" y="810"/>
                  </a:lnTo>
                  <a:lnTo>
                    <a:pt x="198" y="810"/>
                  </a:lnTo>
                  <a:close/>
                  <a:moveTo>
                    <a:pt x="210" y="810"/>
                  </a:moveTo>
                  <a:lnTo>
                    <a:pt x="210" y="814"/>
                  </a:lnTo>
                  <a:lnTo>
                    <a:pt x="206" y="814"/>
                  </a:lnTo>
                  <a:lnTo>
                    <a:pt x="202" y="814"/>
                  </a:lnTo>
                  <a:lnTo>
                    <a:pt x="206" y="814"/>
                  </a:lnTo>
                  <a:lnTo>
                    <a:pt x="210" y="810"/>
                  </a:lnTo>
                  <a:lnTo>
                    <a:pt x="210" y="810"/>
                  </a:lnTo>
                  <a:lnTo>
                    <a:pt x="210" y="810"/>
                  </a:lnTo>
                  <a:close/>
                  <a:moveTo>
                    <a:pt x="220" y="814"/>
                  </a:moveTo>
                  <a:lnTo>
                    <a:pt x="220" y="818"/>
                  </a:lnTo>
                  <a:lnTo>
                    <a:pt x="220" y="814"/>
                  </a:lnTo>
                  <a:lnTo>
                    <a:pt x="220" y="814"/>
                  </a:lnTo>
                  <a:lnTo>
                    <a:pt x="220" y="814"/>
                  </a:lnTo>
                  <a:close/>
                  <a:moveTo>
                    <a:pt x="224" y="814"/>
                  </a:moveTo>
                  <a:lnTo>
                    <a:pt x="224" y="818"/>
                  </a:lnTo>
                  <a:lnTo>
                    <a:pt x="224" y="822"/>
                  </a:lnTo>
                  <a:lnTo>
                    <a:pt x="224" y="818"/>
                  </a:lnTo>
                  <a:lnTo>
                    <a:pt x="220" y="818"/>
                  </a:lnTo>
                  <a:lnTo>
                    <a:pt x="224" y="814"/>
                  </a:lnTo>
                  <a:lnTo>
                    <a:pt x="224" y="814"/>
                  </a:lnTo>
                  <a:lnTo>
                    <a:pt x="224" y="814"/>
                  </a:lnTo>
                  <a:close/>
                  <a:moveTo>
                    <a:pt x="232" y="818"/>
                  </a:moveTo>
                  <a:lnTo>
                    <a:pt x="232" y="822"/>
                  </a:lnTo>
                  <a:lnTo>
                    <a:pt x="228" y="818"/>
                  </a:lnTo>
                  <a:lnTo>
                    <a:pt x="232" y="818"/>
                  </a:lnTo>
                  <a:lnTo>
                    <a:pt x="232" y="818"/>
                  </a:lnTo>
                  <a:lnTo>
                    <a:pt x="232" y="818"/>
                  </a:lnTo>
                  <a:close/>
                  <a:moveTo>
                    <a:pt x="228" y="818"/>
                  </a:moveTo>
                  <a:lnTo>
                    <a:pt x="232" y="822"/>
                  </a:lnTo>
                  <a:lnTo>
                    <a:pt x="228" y="822"/>
                  </a:lnTo>
                  <a:lnTo>
                    <a:pt x="228" y="818"/>
                  </a:lnTo>
                  <a:lnTo>
                    <a:pt x="228" y="818"/>
                  </a:lnTo>
                  <a:lnTo>
                    <a:pt x="228" y="818"/>
                  </a:lnTo>
                  <a:close/>
                  <a:moveTo>
                    <a:pt x="228" y="818"/>
                  </a:moveTo>
                  <a:lnTo>
                    <a:pt x="228" y="822"/>
                  </a:lnTo>
                  <a:lnTo>
                    <a:pt x="228" y="824"/>
                  </a:lnTo>
                  <a:lnTo>
                    <a:pt x="228" y="822"/>
                  </a:lnTo>
                  <a:lnTo>
                    <a:pt x="224" y="822"/>
                  </a:lnTo>
                  <a:lnTo>
                    <a:pt x="228" y="822"/>
                  </a:lnTo>
                  <a:lnTo>
                    <a:pt x="228" y="818"/>
                  </a:lnTo>
                  <a:lnTo>
                    <a:pt x="228" y="818"/>
                  </a:lnTo>
                  <a:lnTo>
                    <a:pt x="228" y="818"/>
                  </a:lnTo>
                  <a:close/>
                  <a:moveTo>
                    <a:pt x="238" y="828"/>
                  </a:moveTo>
                  <a:lnTo>
                    <a:pt x="238" y="832"/>
                  </a:lnTo>
                  <a:lnTo>
                    <a:pt x="238" y="828"/>
                  </a:lnTo>
                  <a:lnTo>
                    <a:pt x="238" y="828"/>
                  </a:lnTo>
                  <a:lnTo>
                    <a:pt x="238" y="828"/>
                  </a:lnTo>
                  <a:close/>
                  <a:moveTo>
                    <a:pt x="1230" y="828"/>
                  </a:moveTo>
                  <a:lnTo>
                    <a:pt x="1230" y="832"/>
                  </a:lnTo>
                  <a:lnTo>
                    <a:pt x="1226" y="832"/>
                  </a:lnTo>
                  <a:lnTo>
                    <a:pt x="1226" y="828"/>
                  </a:lnTo>
                  <a:lnTo>
                    <a:pt x="1230" y="828"/>
                  </a:lnTo>
                  <a:lnTo>
                    <a:pt x="1230" y="828"/>
                  </a:lnTo>
                  <a:lnTo>
                    <a:pt x="1230" y="828"/>
                  </a:lnTo>
                  <a:close/>
                  <a:moveTo>
                    <a:pt x="1222" y="832"/>
                  </a:moveTo>
                  <a:lnTo>
                    <a:pt x="1218" y="836"/>
                  </a:lnTo>
                  <a:lnTo>
                    <a:pt x="1218" y="832"/>
                  </a:lnTo>
                  <a:lnTo>
                    <a:pt x="1222" y="832"/>
                  </a:lnTo>
                  <a:lnTo>
                    <a:pt x="1222" y="832"/>
                  </a:lnTo>
                  <a:lnTo>
                    <a:pt x="1222" y="832"/>
                  </a:lnTo>
                  <a:close/>
                  <a:moveTo>
                    <a:pt x="250" y="832"/>
                  </a:moveTo>
                  <a:lnTo>
                    <a:pt x="250" y="836"/>
                  </a:lnTo>
                  <a:lnTo>
                    <a:pt x="246" y="836"/>
                  </a:lnTo>
                  <a:lnTo>
                    <a:pt x="250" y="836"/>
                  </a:lnTo>
                  <a:lnTo>
                    <a:pt x="250" y="832"/>
                  </a:lnTo>
                  <a:lnTo>
                    <a:pt x="250" y="832"/>
                  </a:lnTo>
                  <a:lnTo>
                    <a:pt x="250" y="832"/>
                  </a:lnTo>
                  <a:close/>
                  <a:moveTo>
                    <a:pt x="212" y="840"/>
                  </a:moveTo>
                  <a:lnTo>
                    <a:pt x="216" y="840"/>
                  </a:lnTo>
                  <a:lnTo>
                    <a:pt x="216" y="844"/>
                  </a:lnTo>
                  <a:lnTo>
                    <a:pt x="212" y="844"/>
                  </a:lnTo>
                  <a:lnTo>
                    <a:pt x="212" y="840"/>
                  </a:lnTo>
                  <a:lnTo>
                    <a:pt x="212" y="840"/>
                  </a:lnTo>
                  <a:lnTo>
                    <a:pt x="212" y="840"/>
                  </a:lnTo>
                  <a:close/>
                  <a:moveTo>
                    <a:pt x="1238" y="862"/>
                  </a:moveTo>
                  <a:lnTo>
                    <a:pt x="1234" y="862"/>
                  </a:lnTo>
                  <a:lnTo>
                    <a:pt x="1230" y="862"/>
                  </a:lnTo>
                  <a:lnTo>
                    <a:pt x="1234" y="862"/>
                  </a:lnTo>
                  <a:lnTo>
                    <a:pt x="1238" y="862"/>
                  </a:lnTo>
                  <a:lnTo>
                    <a:pt x="1238" y="862"/>
                  </a:lnTo>
                  <a:lnTo>
                    <a:pt x="1238" y="862"/>
                  </a:lnTo>
                  <a:close/>
                  <a:moveTo>
                    <a:pt x="1204" y="874"/>
                  </a:moveTo>
                  <a:lnTo>
                    <a:pt x="1200" y="874"/>
                  </a:lnTo>
                  <a:lnTo>
                    <a:pt x="1204" y="874"/>
                  </a:lnTo>
                  <a:lnTo>
                    <a:pt x="1204" y="874"/>
                  </a:lnTo>
                  <a:lnTo>
                    <a:pt x="1204" y="874"/>
                  </a:lnTo>
                  <a:close/>
                  <a:moveTo>
                    <a:pt x="1230" y="874"/>
                  </a:moveTo>
                  <a:lnTo>
                    <a:pt x="1226" y="874"/>
                  </a:lnTo>
                  <a:lnTo>
                    <a:pt x="1226" y="878"/>
                  </a:lnTo>
                  <a:lnTo>
                    <a:pt x="1226" y="874"/>
                  </a:lnTo>
                  <a:lnTo>
                    <a:pt x="1230" y="874"/>
                  </a:lnTo>
                  <a:lnTo>
                    <a:pt x="1230" y="874"/>
                  </a:lnTo>
                  <a:lnTo>
                    <a:pt x="1230" y="874"/>
                  </a:lnTo>
                  <a:close/>
                  <a:moveTo>
                    <a:pt x="738" y="146"/>
                  </a:moveTo>
                  <a:lnTo>
                    <a:pt x="734" y="146"/>
                  </a:lnTo>
                  <a:lnTo>
                    <a:pt x="732" y="146"/>
                  </a:lnTo>
                  <a:lnTo>
                    <a:pt x="732" y="142"/>
                  </a:lnTo>
                  <a:lnTo>
                    <a:pt x="728" y="138"/>
                  </a:lnTo>
                  <a:lnTo>
                    <a:pt x="724" y="138"/>
                  </a:lnTo>
                  <a:lnTo>
                    <a:pt x="724" y="136"/>
                  </a:lnTo>
                  <a:lnTo>
                    <a:pt x="720" y="136"/>
                  </a:lnTo>
                  <a:lnTo>
                    <a:pt x="720" y="138"/>
                  </a:lnTo>
                  <a:lnTo>
                    <a:pt x="724" y="138"/>
                  </a:lnTo>
                  <a:lnTo>
                    <a:pt x="724" y="142"/>
                  </a:lnTo>
                  <a:lnTo>
                    <a:pt x="728" y="142"/>
                  </a:lnTo>
                  <a:lnTo>
                    <a:pt x="732" y="146"/>
                  </a:lnTo>
                  <a:lnTo>
                    <a:pt x="728" y="146"/>
                  </a:lnTo>
                  <a:lnTo>
                    <a:pt x="724" y="146"/>
                  </a:lnTo>
                  <a:lnTo>
                    <a:pt x="724" y="142"/>
                  </a:lnTo>
                  <a:lnTo>
                    <a:pt x="720" y="142"/>
                  </a:lnTo>
                  <a:lnTo>
                    <a:pt x="716" y="142"/>
                  </a:lnTo>
                  <a:lnTo>
                    <a:pt x="712" y="142"/>
                  </a:lnTo>
                  <a:lnTo>
                    <a:pt x="716" y="142"/>
                  </a:lnTo>
                  <a:lnTo>
                    <a:pt x="716" y="146"/>
                  </a:lnTo>
                  <a:lnTo>
                    <a:pt x="712" y="146"/>
                  </a:lnTo>
                  <a:lnTo>
                    <a:pt x="708" y="146"/>
                  </a:lnTo>
                  <a:lnTo>
                    <a:pt x="706" y="146"/>
                  </a:lnTo>
                  <a:lnTo>
                    <a:pt x="702" y="146"/>
                  </a:lnTo>
                  <a:lnTo>
                    <a:pt x="698" y="146"/>
                  </a:lnTo>
                  <a:lnTo>
                    <a:pt x="694" y="146"/>
                  </a:lnTo>
                  <a:lnTo>
                    <a:pt x="690" y="146"/>
                  </a:lnTo>
                  <a:lnTo>
                    <a:pt x="690" y="142"/>
                  </a:lnTo>
                  <a:lnTo>
                    <a:pt x="686" y="142"/>
                  </a:lnTo>
                  <a:lnTo>
                    <a:pt x="678" y="138"/>
                  </a:lnTo>
                  <a:lnTo>
                    <a:pt x="682" y="138"/>
                  </a:lnTo>
                  <a:lnTo>
                    <a:pt x="686" y="138"/>
                  </a:lnTo>
                  <a:lnTo>
                    <a:pt x="686" y="136"/>
                  </a:lnTo>
                  <a:lnTo>
                    <a:pt x="690" y="136"/>
                  </a:lnTo>
                  <a:lnTo>
                    <a:pt x="694" y="136"/>
                  </a:lnTo>
                  <a:lnTo>
                    <a:pt x="698" y="136"/>
                  </a:lnTo>
                  <a:lnTo>
                    <a:pt x="694" y="136"/>
                  </a:lnTo>
                  <a:lnTo>
                    <a:pt x="690" y="136"/>
                  </a:lnTo>
                  <a:lnTo>
                    <a:pt x="686" y="136"/>
                  </a:lnTo>
                  <a:lnTo>
                    <a:pt x="682" y="136"/>
                  </a:lnTo>
                  <a:lnTo>
                    <a:pt x="678" y="136"/>
                  </a:lnTo>
                  <a:lnTo>
                    <a:pt x="676" y="136"/>
                  </a:lnTo>
                  <a:lnTo>
                    <a:pt x="672" y="136"/>
                  </a:lnTo>
                  <a:lnTo>
                    <a:pt x="668" y="132"/>
                  </a:lnTo>
                  <a:lnTo>
                    <a:pt x="668" y="128"/>
                  </a:lnTo>
                  <a:lnTo>
                    <a:pt x="672" y="128"/>
                  </a:lnTo>
                  <a:lnTo>
                    <a:pt x="672" y="132"/>
                  </a:lnTo>
                  <a:lnTo>
                    <a:pt x="676" y="132"/>
                  </a:lnTo>
                  <a:lnTo>
                    <a:pt x="678" y="132"/>
                  </a:lnTo>
                  <a:lnTo>
                    <a:pt x="676" y="128"/>
                  </a:lnTo>
                  <a:lnTo>
                    <a:pt x="672" y="128"/>
                  </a:lnTo>
                  <a:lnTo>
                    <a:pt x="668" y="128"/>
                  </a:lnTo>
                  <a:lnTo>
                    <a:pt x="664" y="128"/>
                  </a:lnTo>
                  <a:lnTo>
                    <a:pt x="664" y="124"/>
                  </a:lnTo>
                  <a:lnTo>
                    <a:pt x="660" y="124"/>
                  </a:lnTo>
                  <a:lnTo>
                    <a:pt x="664" y="124"/>
                  </a:lnTo>
                  <a:lnTo>
                    <a:pt x="668" y="120"/>
                  </a:lnTo>
                  <a:lnTo>
                    <a:pt x="668" y="124"/>
                  </a:lnTo>
                  <a:lnTo>
                    <a:pt x="668" y="120"/>
                  </a:lnTo>
                  <a:lnTo>
                    <a:pt x="672" y="120"/>
                  </a:lnTo>
                  <a:lnTo>
                    <a:pt x="676" y="120"/>
                  </a:lnTo>
                  <a:lnTo>
                    <a:pt x="676" y="116"/>
                  </a:lnTo>
                  <a:lnTo>
                    <a:pt x="676" y="120"/>
                  </a:lnTo>
                  <a:lnTo>
                    <a:pt x="678" y="120"/>
                  </a:lnTo>
                  <a:lnTo>
                    <a:pt x="682" y="120"/>
                  </a:lnTo>
                  <a:lnTo>
                    <a:pt x="686" y="120"/>
                  </a:lnTo>
                  <a:lnTo>
                    <a:pt x="690" y="120"/>
                  </a:lnTo>
                  <a:lnTo>
                    <a:pt x="694" y="120"/>
                  </a:lnTo>
                  <a:lnTo>
                    <a:pt x="698" y="116"/>
                  </a:lnTo>
                  <a:lnTo>
                    <a:pt x="702" y="116"/>
                  </a:lnTo>
                  <a:lnTo>
                    <a:pt x="706" y="116"/>
                  </a:lnTo>
                  <a:lnTo>
                    <a:pt x="708" y="116"/>
                  </a:lnTo>
                  <a:lnTo>
                    <a:pt x="712" y="116"/>
                  </a:lnTo>
                  <a:lnTo>
                    <a:pt x="716" y="116"/>
                  </a:lnTo>
                  <a:lnTo>
                    <a:pt x="712" y="116"/>
                  </a:lnTo>
                  <a:lnTo>
                    <a:pt x="708" y="116"/>
                  </a:lnTo>
                  <a:lnTo>
                    <a:pt x="706" y="116"/>
                  </a:lnTo>
                  <a:lnTo>
                    <a:pt x="702" y="116"/>
                  </a:lnTo>
                  <a:lnTo>
                    <a:pt x="694" y="116"/>
                  </a:lnTo>
                  <a:lnTo>
                    <a:pt x="690" y="116"/>
                  </a:lnTo>
                  <a:lnTo>
                    <a:pt x="686" y="116"/>
                  </a:lnTo>
                  <a:lnTo>
                    <a:pt x="682" y="116"/>
                  </a:lnTo>
                  <a:lnTo>
                    <a:pt x="686" y="116"/>
                  </a:lnTo>
                  <a:lnTo>
                    <a:pt x="686" y="112"/>
                  </a:lnTo>
                  <a:lnTo>
                    <a:pt x="690" y="112"/>
                  </a:lnTo>
                  <a:lnTo>
                    <a:pt x="694" y="116"/>
                  </a:lnTo>
                  <a:lnTo>
                    <a:pt x="694" y="112"/>
                  </a:lnTo>
                  <a:lnTo>
                    <a:pt x="698" y="112"/>
                  </a:lnTo>
                  <a:lnTo>
                    <a:pt x="702" y="112"/>
                  </a:lnTo>
                  <a:lnTo>
                    <a:pt x="706" y="112"/>
                  </a:lnTo>
                  <a:lnTo>
                    <a:pt x="702" y="112"/>
                  </a:lnTo>
                  <a:lnTo>
                    <a:pt x="698" y="112"/>
                  </a:lnTo>
                  <a:lnTo>
                    <a:pt x="694" y="112"/>
                  </a:lnTo>
                  <a:lnTo>
                    <a:pt x="690" y="112"/>
                  </a:lnTo>
                  <a:lnTo>
                    <a:pt x="686" y="112"/>
                  </a:lnTo>
                  <a:lnTo>
                    <a:pt x="690" y="112"/>
                  </a:lnTo>
                  <a:lnTo>
                    <a:pt x="690" y="108"/>
                  </a:lnTo>
                  <a:lnTo>
                    <a:pt x="686" y="108"/>
                  </a:lnTo>
                  <a:lnTo>
                    <a:pt x="682" y="108"/>
                  </a:lnTo>
                  <a:lnTo>
                    <a:pt x="682" y="112"/>
                  </a:lnTo>
                  <a:lnTo>
                    <a:pt x="678" y="112"/>
                  </a:lnTo>
                  <a:lnTo>
                    <a:pt x="678" y="108"/>
                  </a:lnTo>
                  <a:lnTo>
                    <a:pt x="678" y="112"/>
                  </a:lnTo>
                  <a:lnTo>
                    <a:pt x="676" y="112"/>
                  </a:lnTo>
                  <a:lnTo>
                    <a:pt x="676" y="108"/>
                  </a:lnTo>
                  <a:lnTo>
                    <a:pt x="672" y="112"/>
                  </a:lnTo>
                  <a:lnTo>
                    <a:pt x="668" y="116"/>
                  </a:lnTo>
                  <a:lnTo>
                    <a:pt x="664" y="116"/>
                  </a:lnTo>
                  <a:lnTo>
                    <a:pt x="660" y="116"/>
                  </a:lnTo>
                  <a:lnTo>
                    <a:pt x="664" y="112"/>
                  </a:lnTo>
                  <a:lnTo>
                    <a:pt x="660" y="112"/>
                  </a:lnTo>
                  <a:lnTo>
                    <a:pt x="656" y="112"/>
                  </a:lnTo>
                  <a:lnTo>
                    <a:pt x="660" y="112"/>
                  </a:lnTo>
                  <a:lnTo>
                    <a:pt x="656" y="112"/>
                  </a:lnTo>
                  <a:lnTo>
                    <a:pt x="652" y="112"/>
                  </a:lnTo>
                  <a:lnTo>
                    <a:pt x="652" y="116"/>
                  </a:lnTo>
                  <a:lnTo>
                    <a:pt x="650" y="116"/>
                  </a:lnTo>
                  <a:lnTo>
                    <a:pt x="646" y="112"/>
                  </a:lnTo>
                  <a:lnTo>
                    <a:pt x="642" y="112"/>
                  </a:lnTo>
                  <a:lnTo>
                    <a:pt x="642" y="108"/>
                  </a:lnTo>
                  <a:lnTo>
                    <a:pt x="642" y="106"/>
                  </a:lnTo>
                  <a:lnTo>
                    <a:pt x="646" y="106"/>
                  </a:lnTo>
                  <a:lnTo>
                    <a:pt x="650" y="106"/>
                  </a:lnTo>
                  <a:lnTo>
                    <a:pt x="652" y="106"/>
                  </a:lnTo>
                  <a:lnTo>
                    <a:pt x="656" y="106"/>
                  </a:lnTo>
                  <a:lnTo>
                    <a:pt x="660" y="106"/>
                  </a:lnTo>
                  <a:lnTo>
                    <a:pt x="660" y="102"/>
                  </a:lnTo>
                  <a:lnTo>
                    <a:pt x="656" y="102"/>
                  </a:lnTo>
                  <a:lnTo>
                    <a:pt x="652" y="106"/>
                  </a:lnTo>
                  <a:lnTo>
                    <a:pt x="650" y="106"/>
                  </a:lnTo>
                  <a:lnTo>
                    <a:pt x="646" y="106"/>
                  </a:lnTo>
                  <a:lnTo>
                    <a:pt x="642" y="106"/>
                  </a:lnTo>
                  <a:lnTo>
                    <a:pt x="638" y="106"/>
                  </a:lnTo>
                  <a:lnTo>
                    <a:pt x="638" y="102"/>
                  </a:lnTo>
                  <a:lnTo>
                    <a:pt x="634" y="102"/>
                  </a:lnTo>
                  <a:lnTo>
                    <a:pt x="630" y="98"/>
                  </a:lnTo>
                  <a:lnTo>
                    <a:pt x="626" y="98"/>
                  </a:lnTo>
                  <a:lnTo>
                    <a:pt x="630" y="98"/>
                  </a:lnTo>
                  <a:lnTo>
                    <a:pt x="634" y="98"/>
                  </a:lnTo>
                  <a:lnTo>
                    <a:pt x="630" y="94"/>
                  </a:lnTo>
                  <a:lnTo>
                    <a:pt x="626" y="94"/>
                  </a:lnTo>
                  <a:lnTo>
                    <a:pt x="630" y="94"/>
                  </a:lnTo>
                  <a:lnTo>
                    <a:pt x="626" y="94"/>
                  </a:lnTo>
                  <a:lnTo>
                    <a:pt x="626" y="90"/>
                  </a:lnTo>
                  <a:lnTo>
                    <a:pt x="630" y="90"/>
                  </a:lnTo>
                  <a:lnTo>
                    <a:pt x="634" y="90"/>
                  </a:lnTo>
                  <a:lnTo>
                    <a:pt x="638" y="90"/>
                  </a:lnTo>
                  <a:lnTo>
                    <a:pt x="638" y="94"/>
                  </a:lnTo>
                  <a:lnTo>
                    <a:pt x="642" y="94"/>
                  </a:lnTo>
                  <a:lnTo>
                    <a:pt x="646" y="94"/>
                  </a:lnTo>
                  <a:lnTo>
                    <a:pt x="650" y="94"/>
                  </a:lnTo>
                  <a:lnTo>
                    <a:pt x="652" y="94"/>
                  </a:lnTo>
                  <a:lnTo>
                    <a:pt x="656" y="94"/>
                  </a:lnTo>
                  <a:lnTo>
                    <a:pt x="660" y="94"/>
                  </a:lnTo>
                  <a:lnTo>
                    <a:pt x="656" y="94"/>
                  </a:lnTo>
                  <a:lnTo>
                    <a:pt x="652" y="90"/>
                  </a:lnTo>
                  <a:lnTo>
                    <a:pt x="656" y="90"/>
                  </a:lnTo>
                  <a:lnTo>
                    <a:pt x="660" y="90"/>
                  </a:lnTo>
                  <a:lnTo>
                    <a:pt x="664" y="90"/>
                  </a:lnTo>
                  <a:lnTo>
                    <a:pt x="660" y="90"/>
                  </a:lnTo>
                  <a:lnTo>
                    <a:pt x="656" y="86"/>
                  </a:lnTo>
                  <a:lnTo>
                    <a:pt x="656" y="90"/>
                  </a:lnTo>
                  <a:lnTo>
                    <a:pt x="652" y="90"/>
                  </a:lnTo>
                  <a:lnTo>
                    <a:pt x="650" y="90"/>
                  </a:lnTo>
                  <a:lnTo>
                    <a:pt x="646" y="90"/>
                  </a:lnTo>
                  <a:lnTo>
                    <a:pt x="642" y="90"/>
                  </a:lnTo>
                  <a:lnTo>
                    <a:pt x="642" y="86"/>
                  </a:lnTo>
                  <a:lnTo>
                    <a:pt x="646" y="86"/>
                  </a:lnTo>
                  <a:lnTo>
                    <a:pt x="650" y="86"/>
                  </a:lnTo>
                  <a:lnTo>
                    <a:pt x="646" y="86"/>
                  </a:lnTo>
                  <a:lnTo>
                    <a:pt x="642" y="86"/>
                  </a:lnTo>
                  <a:lnTo>
                    <a:pt x="638" y="86"/>
                  </a:lnTo>
                  <a:lnTo>
                    <a:pt x="638" y="90"/>
                  </a:lnTo>
                  <a:lnTo>
                    <a:pt x="638" y="86"/>
                  </a:lnTo>
                  <a:lnTo>
                    <a:pt x="634" y="86"/>
                  </a:lnTo>
                  <a:lnTo>
                    <a:pt x="630" y="86"/>
                  </a:lnTo>
                  <a:lnTo>
                    <a:pt x="626" y="82"/>
                  </a:lnTo>
                  <a:lnTo>
                    <a:pt x="630" y="82"/>
                  </a:lnTo>
                  <a:lnTo>
                    <a:pt x="634" y="82"/>
                  </a:lnTo>
                  <a:lnTo>
                    <a:pt x="638" y="82"/>
                  </a:lnTo>
                  <a:lnTo>
                    <a:pt x="642" y="82"/>
                  </a:lnTo>
                  <a:lnTo>
                    <a:pt x="646" y="82"/>
                  </a:lnTo>
                  <a:lnTo>
                    <a:pt x="642" y="82"/>
                  </a:lnTo>
                  <a:lnTo>
                    <a:pt x="638" y="78"/>
                  </a:lnTo>
                  <a:lnTo>
                    <a:pt x="638" y="76"/>
                  </a:lnTo>
                  <a:lnTo>
                    <a:pt x="642" y="76"/>
                  </a:lnTo>
                  <a:lnTo>
                    <a:pt x="646" y="76"/>
                  </a:lnTo>
                  <a:lnTo>
                    <a:pt x="650" y="76"/>
                  </a:lnTo>
                  <a:lnTo>
                    <a:pt x="652" y="76"/>
                  </a:lnTo>
                  <a:lnTo>
                    <a:pt x="652" y="78"/>
                  </a:lnTo>
                  <a:lnTo>
                    <a:pt x="656" y="78"/>
                  </a:lnTo>
                  <a:lnTo>
                    <a:pt x="660" y="78"/>
                  </a:lnTo>
                  <a:lnTo>
                    <a:pt x="664" y="78"/>
                  </a:lnTo>
                  <a:lnTo>
                    <a:pt x="668" y="78"/>
                  </a:lnTo>
                  <a:lnTo>
                    <a:pt x="664" y="78"/>
                  </a:lnTo>
                  <a:lnTo>
                    <a:pt x="664" y="76"/>
                  </a:lnTo>
                  <a:lnTo>
                    <a:pt x="660" y="76"/>
                  </a:lnTo>
                  <a:lnTo>
                    <a:pt x="656" y="76"/>
                  </a:lnTo>
                  <a:lnTo>
                    <a:pt x="660" y="76"/>
                  </a:lnTo>
                  <a:lnTo>
                    <a:pt x="664" y="76"/>
                  </a:lnTo>
                  <a:lnTo>
                    <a:pt x="664" y="72"/>
                  </a:lnTo>
                  <a:lnTo>
                    <a:pt x="660" y="72"/>
                  </a:lnTo>
                  <a:lnTo>
                    <a:pt x="656" y="72"/>
                  </a:lnTo>
                  <a:lnTo>
                    <a:pt x="652" y="72"/>
                  </a:lnTo>
                  <a:lnTo>
                    <a:pt x="650" y="72"/>
                  </a:lnTo>
                  <a:lnTo>
                    <a:pt x="646" y="72"/>
                  </a:lnTo>
                  <a:lnTo>
                    <a:pt x="642" y="72"/>
                  </a:lnTo>
                  <a:lnTo>
                    <a:pt x="646" y="68"/>
                  </a:lnTo>
                  <a:lnTo>
                    <a:pt x="650" y="68"/>
                  </a:lnTo>
                  <a:lnTo>
                    <a:pt x="646" y="68"/>
                  </a:lnTo>
                  <a:lnTo>
                    <a:pt x="650" y="64"/>
                  </a:lnTo>
                  <a:lnTo>
                    <a:pt x="652" y="64"/>
                  </a:lnTo>
                  <a:lnTo>
                    <a:pt x="656" y="64"/>
                  </a:lnTo>
                  <a:lnTo>
                    <a:pt x="660" y="64"/>
                  </a:lnTo>
                  <a:lnTo>
                    <a:pt x="664" y="64"/>
                  </a:lnTo>
                  <a:lnTo>
                    <a:pt x="668" y="64"/>
                  </a:lnTo>
                  <a:lnTo>
                    <a:pt x="664" y="64"/>
                  </a:lnTo>
                  <a:lnTo>
                    <a:pt x="660" y="60"/>
                  </a:lnTo>
                  <a:lnTo>
                    <a:pt x="664" y="60"/>
                  </a:lnTo>
                  <a:lnTo>
                    <a:pt x="668" y="60"/>
                  </a:lnTo>
                  <a:lnTo>
                    <a:pt x="672" y="64"/>
                  </a:lnTo>
                  <a:lnTo>
                    <a:pt x="676" y="64"/>
                  </a:lnTo>
                  <a:lnTo>
                    <a:pt x="676" y="60"/>
                  </a:lnTo>
                  <a:lnTo>
                    <a:pt x="678" y="60"/>
                  </a:lnTo>
                  <a:lnTo>
                    <a:pt x="676" y="56"/>
                  </a:lnTo>
                  <a:lnTo>
                    <a:pt x="672" y="56"/>
                  </a:lnTo>
                  <a:lnTo>
                    <a:pt x="668" y="60"/>
                  </a:lnTo>
                  <a:lnTo>
                    <a:pt x="664" y="60"/>
                  </a:lnTo>
                  <a:lnTo>
                    <a:pt x="664" y="56"/>
                  </a:lnTo>
                  <a:lnTo>
                    <a:pt x="660" y="56"/>
                  </a:lnTo>
                  <a:lnTo>
                    <a:pt x="660" y="52"/>
                  </a:lnTo>
                  <a:lnTo>
                    <a:pt x="664" y="52"/>
                  </a:lnTo>
                  <a:lnTo>
                    <a:pt x="668" y="52"/>
                  </a:lnTo>
                  <a:lnTo>
                    <a:pt x="672" y="56"/>
                  </a:lnTo>
                  <a:lnTo>
                    <a:pt x="672" y="52"/>
                  </a:lnTo>
                  <a:lnTo>
                    <a:pt x="676" y="52"/>
                  </a:lnTo>
                  <a:lnTo>
                    <a:pt x="678" y="52"/>
                  </a:lnTo>
                  <a:lnTo>
                    <a:pt x="678" y="56"/>
                  </a:lnTo>
                  <a:lnTo>
                    <a:pt x="682" y="56"/>
                  </a:lnTo>
                  <a:lnTo>
                    <a:pt x="686" y="56"/>
                  </a:lnTo>
                  <a:lnTo>
                    <a:pt x="690" y="56"/>
                  </a:lnTo>
                  <a:lnTo>
                    <a:pt x="694" y="56"/>
                  </a:lnTo>
                  <a:lnTo>
                    <a:pt x="694" y="60"/>
                  </a:lnTo>
                  <a:lnTo>
                    <a:pt x="698" y="60"/>
                  </a:lnTo>
                  <a:lnTo>
                    <a:pt x="698" y="64"/>
                  </a:lnTo>
                  <a:lnTo>
                    <a:pt x="694" y="64"/>
                  </a:lnTo>
                  <a:lnTo>
                    <a:pt x="698" y="64"/>
                  </a:lnTo>
                  <a:lnTo>
                    <a:pt x="702" y="64"/>
                  </a:lnTo>
                  <a:lnTo>
                    <a:pt x="702" y="68"/>
                  </a:lnTo>
                  <a:lnTo>
                    <a:pt x="706" y="72"/>
                  </a:lnTo>
                  <a:lnTo>
                    <a:pt x="708" y="72"/>
                  </a:lnTo>
                  <a:lnTo>
                    <a:pt x="712" y="72"/>
                  </a:lnTo>
                  <a:lnTo>
                    <a:pt x="712" y="76"/>
                  </a:lnTo>
                  <a:lnTo>
                    <a:pt x="712" y="78"/>
                  </a:lnTo>
                  <a:lnTo>
                    <a:pt x="716" y="78"/>
                  </a:lnTo>
                  <a:lnTo>
                    <a:pt x="720" y="78"/>
                  </a:lnTo>
                  <a:lnTo>
                    <a:pt x="724" y="78"/>
                  </a:lnTo>
                  <a:lnTo>
                    <a:pt x="728" y="78"/>
                  </a:lnTo>
                  <a:lnTo>
                    <a:pt x="732" y="78"/>
                  </a:lnTo>
                  <a:lnTo>
                    <a:pt x="734" y="78"/>
                  </a:lnTo>
                  <a:lnTo>
                    <a:pt x="734" y="82"/>
                  </a:lnTo>
                  <a:lnTo>
                    <a:pt x="732" y="82"/>
                  </a:lnTo>
                  <a:lnTo>
                    <a:pt x="734" y="82"/>
                  </a:lnTo>
                  <a:lnTo>
                    <a:pt x="734" y="86"/>
                  </a:lnTo>
                  <a:lnTo>
                    <a:pt x="732" y="86"/>
                  </a:lnTo>
                  <a:lnTo>
                    <a:pt x="734" y="86"/>
                  </a:lnTo>
                  <a:lnTo>
                    <a:pt x="734" y="90"/>
                  </a:lnTo>
                  <a:lnTo>
                    <a:pt x="738" y="90"/>
                  </a:lnTo>
                  <a:lnTo>
                    <a:pt x="742" y="90"/>
                  </a:lnTo>
                  <a:lnTo>
                    <a:pt x="746" y="90"/>
                  </a:lnTo>
                  <a:lnTo>
                    <a:pt x="746" y="86"/>
                  </a:lnTo>
                  <a:lnTo>
                    <a:pt x="742" y="86"/>
                  </a:lnTo>
                  <a:lnTo>
                    <a:pt x="738" y="82"/>
                  </a:lnTo>
                  <a:lnTo>
                    <a:pt x="742" y="82"/>
                  </a:lnTo>
                  <a:lnTo>
                    <a:pt x="746" y="82"/>
                  </a:lnTo>
                  <a:lnTo>
                    <a:pt x="748" y="82"/>
                  </a:lnTo>
                  <a:lnTo>
                    <a:pt x="752" y="82"/>
                  </a:lnTo>
                  <a:lnTo>
                    <a:pt x="756" y="86"/>
                  </a:lnTo>
                  <a:lnTo>
                    <a:pt x="756" y="90"/>
                  </a:lnTo>
                  <a:lnTo>
                    <a:pt x="752" y="90"/>
                  </a:lnTo>
                  <a:lnTo>
                    <a:pt x="748" y="90"/>
                  </a:lnTo>
                  <a:lnTo>
                    <a:pt x="748" y="94"/>
                  </a:lnTo>
                  <a:lnTo>
                    <a:pt x="752" y="94"/>
                  </a:lnTo>
                  <a:lnTo>
                    <a:pt x="752" y="90"/>
                  </a:lnTo>
                  <a:lnTo>
                    <a:pt x="756" y="90"/>
                  </a:lnTo>
                  <a:lnTo>
                    <a:pt x="760" y="90"/>
                  </a:lnTo>
                  <a:lnTo>
                    <a:pt x="760" y="94"/>
                  </a:lnTo>
                  <a:lnTo>
                    <a:pt x="764" y="94"/>
                  </a:lnTo>
                  <a:lnTo>
                    <a:pt x="760" y="98"/>
                  </a:lnTo>
                  <a:lnTo>
                    <a:pt x="756" y="98"/>
                  </a:lnTo>
                  <a:lnTo>
                    <a:pt x="760" y="98"/>
                  </a:lnTo>
                  <a:lnTo>
                    <a:pt x="764" y="98"/>
                  </a:lnTo>
                  <a:lnTo>
                    <a:pt x="764" y="102"/>
                  </a:lnTo>
                  <a:lnTo>
                    <a:pt x="760" y="106"/>
                  </a:lnTo>
                  <a:lnTo>
                    <a:pt x="756" y="106"/>
                  </a:lnTo>
                  <a:lnTo>
                    <a:pt x="756" y="108"/>
                  </a:lnTo>
                  <a:lnTo>
                    <a:pt x="760" y="108"/>
                  </a:lnTo>
                  <a:lnTo>
                    <a:pt x="760" y="106"/>
                  </a:lnTo>
                  <a:lnTo>
                    <a:pt x="764" y="106"/>
                  </a:lnTo>
                  <a:lnTo>
                    <a:pt x="768" y="106"/>
                  </a:lnTo>
                  <a:lnTo>
                    <a:pt x="764" y="108"/>
                  </a:lnTo>
                  <a:lnTo>
                    <a:pt x="768" y="108"/>
                  </a:lnTo>
                  <a:lnTo>
                    <a:pt x="768" y="106"/>
                  </a:lnTo>
                  <a:lnTo>
                    <a:pt x="772" y="106"/>
                  </a:lnTo>
                  <a:lnTo>
                    <a:pt x="776" y="106"/>
                  </a:lnTo>
                  <a:lnTo>
                    <a:pt x="778" y="108"/>
                  </a:lnTo>
                  <a:lnTo>
                    <a:pt x="776" y="108"/>
                  </a:lnTo>
                  <a:lnTo>
                    <a:pt x="778" y="108"/>
                  </a:lnTo>
                  <a:lnTo>
                    <a:pt x="778" y="106"/>
                  </a:lnTo>
                  <a:lnTo>
                    <a:pt x="782" y="106"/>
                  </a:lnTo>
                  <a:lnTo>
                    <a:pt x="786" y="108"/>
                  </a:lnTo>
                  <a:lnTo>
                    <a:pt x="786" y="112"/>
                  </a:lnTo>
                  <a:lnTo>
                    <a:pt x="790" y="112"/>
                  </a:lnTo>
                  <a:lnTo>
                    <a:pt x="794" y="112"/>
                  </a:lnTo>
                  <a:lnTo>
                    <a:pt x="794" y="116"/>
                  </a:lnTo>
                  <a:lnTo>
                    <a:pt x="790" y="116"/>
                  </a:lnTo>
                  <a:lnTo>
                    <a:pt x="786" y="116"/>
                  </a:lnTo>
                  <a:lnTo>
                    <a:pt x="782" y="120"/>
                  </a:lnTo>
                  <a:lnTo>
                    <a:pt x="778" y="120"/>
                  </a:lnTo>
                  <a:lnTo>
                    <a:pt x="776" y="120"/>
                  </a:lnTo>
                  <a:lnTo>
                    <a:pt x="772" y="120"/>
                  </a:lnTo>
                  <a:lnTo>
                    <a:pt x="768" y="124"/>
                  </a:lnTo>
                  <a:lnTo>
                    <a:pt x="764" y="124"/>
                  </a:lnTo>
                  <a:lnTo>
                    <a:pt x="764" y="120"/>
                  </a:lnTo>
                  <a:lnTo>
                    <a:pt x="764" y="124"/>
                  </a:lnTo>
                  <a:lnTo>
                    <a:pt x="764" y="128"/>
                  </a:lnTo>
                  <a:lnTo>
                    <a:pt x="760" y="128"/>
                  </a:lnTo>
                  <a:lnTo>
                    <a:pt x="756" y="132"/>
                  </a:lnTo>
                  <a:lnTo>
                    <a:pt x="756" y="136"/>
                  </a:lnTo>
                  <a:lnTo>
                    <a:pt x="752" y="136"/>
                  </a:lnTo>
                  <a:lnTo>
                    <a:pt x="752" y="132"/>
                  </a:lnTo>
                  <a:lnTo>
                    <a:pt x="748" y="132"/>
                  </a:lnTo>
                  <a:lnTo>
                    <a:pt x="748" y="128"/>
                  </a:lnTo>
                  <a:lnTo>
                    <a:pt x="748" y="124"/>
                  </a:lnTo>
                  <a:lnTo>
                    <a:pt x="752" y="124"/>
                  </a:lnTo>
                  <a:lnTo>
                    <a:pt x="752" y="120"/>
                  </a:lnTo>
                  <a:lnTo>
                    <a:pt x="748" y="124"/>
                  </a:lnTo>
                  <a:lnTo>
                    <a:pt x="746" y="124"/>
                  </a:lnTo>
                  <a:lnTo>
                    <a:pt x="746" y="128"/>
                  </a:lnTo>
                  <a:lnTo>
                    <a:pt x="746" y="132"/>
                  </a:lnTo>
                  <a:lnTo>
                    <a:pt x="748" y="132"/>
                  </a:lnTo>
                  <a:lnTo>
                    <a:pt x="748" y="136"/>
                  </a:lnTo>
                  <a:lnTo>
                    <a:pt x="748" y="138"/>
                  </a:lnTo>
                  <a:lnTo>
                    <a:pt x="746" y="138"/>
                  </a:lnTo>
                  <a:lnTo>
                    <a:pt x="746" y="136"/>
                  </a:lnTo>
                  <a:lnTo>
                    <a:pt x="742" y="136"/>
                  </a:lnTo>
                  <a:lnTo>
                    <a:pt x="738" y="136"/>
                  </a:lnTo>
                  <a:lnTo>
                    <a:pt x="742" y="138"/>
                  </a:lnTo>
                  <a:lnTo>
                    <a:pt x="742" y="142"/>
                  </a:lnTo>
                  <a:lnTo>
                    <a:pt x="738" y="142"/>
                  </a:lnTo>
                  <a:lnTo>
                    <a:pt x="738" y="146"/>
                  </a:lnTo>
                  <a:lnTo>
                    <a:pt x="738" y="146"/>
                  </a:lnTo>
                  <a:lnTo>
                    <a:pt x="738" y="146"/>
                  </a:lnTo>
                  <a:close/>
                  <a:moveTo>
                    <a:pt x="596" y="106"/>
                  </a:moveTo>
                  <a:lnTo>
                    <a:pt x="596" y="102"/>
                  </a:lnTo>
                  <a:lnTo>
                    <a:pt x="592" y="102"/>
                  </a:lnTo>
                  <a:lnTo>
                    <a:pt x="590" y="102"/>
                  </a:lnTo>
                  <a:lnTo>
                    <a:pt x="590" y="98"/>
                  </a:lnTo>
                  <a:lnTo>
                    <a:pt x="586" y="98"/>
                  </a:lnTo>
                  <a:lnTo>
                    <a:pt x="582" y="98"/>
                  </a:lnTo>
                  <a:lnTo>
                    <a:pt x="578" y="98"/>
                  </a:lnTo>
                  <a:lnTo>
                    <a:pt x="578" y="94"/>
                  </a:lnTo>
                  <a:lnTo>
                    <a:pt x="578" y="90"/>
                  </a:lnTo>
                  <a:lnTo>
                    <a:pt x="582" y="90"/>
                  </a:lnTo>
                  <a:lnTo>
                    <a:pt x="586" y="90"/>
                  </a:lnTo>
                  <a:lnTo>
                    <a:pt x="590" y="90"/>
                  </a:lnTo>
                  <a:lnTo>
                    <a:pt x="592" y="90"/>
                  </a:lnTo>
                  <a:lnTo>
                    <a:pt x="596" y="90"/>
                  </a:lnTo>
                  <a:lnTo>
                    <a:pt x="596" y="94"/>
                  </a:lnTo>
                  <a:lnTo>
                    <a:pt x="600" y="102"/>
                  </a:lnTo>
                  <a:lnTo>
                    <a:pt x="596" y="102"/>
                  </a:lnTo>
                  <a:lnTo>
                    <a:pt x="596" y="106"/>
                  </a:lnTo>
                  <a:lnTo>
                    <a:pt x="596" y="106"/>
                  </a:lnTo>
                  <a:lnTo>
                    <a:pt x="596" y="106"/>
                  </a:lnTo>
                  <a:close/>
                  <a:moveTo>
                    <a:pt x="526" y="132"/>
                  </a:moveTo>
                  <a:lnTo>
                    <a:pt x="526" y="128"/>
                  </a:lnTo>
                  <a:lnTo>
                    <a:pt x="526" y="132"/>
                  </a:lnTo>
                  <a:lnTo>
                    <a:pt x="522" y="132"/>
                  </a:lnTo>
                  <a:lnTo>
                    <a:pt x="522" y="128"/>
                  </a:lnTo>
                  <a:lnTo>
                    <a:pt x="526" y="128"/>
                  </a:lnTo>
                  <a:lnTo>
                    <a:pt x="526" y="124"/>
                  </a:lnTo>
                  <a:lnTo>
                    <a:pt x="522" y="124"/>
                  </a:lnTo>
                  <a:lnTo>
                    <a:pt x="518" y="124"/>
                  </a:lnTo>
                  <a:lnTo>
                    <a:pt x="514" y="124"/>
                  </a:lnTo>
                  <a:lnTo>
                    <a:pt x="514" y="128"/>
                  </a:lnTo>
                  <a:lnTo>
                    <a:pt x="510" y="128"/>
                  </a:lnTo>
                  <a:lnTo>
                    <a:pt x="508" y="128"/>
                  </a:lnTo>
                  <a:lnTo>
                    <a:pt x="510" y="124"/>
                  </a:lnTo>
                  <a:lnTo>
                    <a:pt x="514" y="124"/>
                  </a:lnTo>
                  <a:lnTo>
                    <a:pt x="510" y="120"/>
                  </a:lnTo>
                  <a:lnTo>
                    <a:pt x="508" y="120"/>
                  </a:lnTo>
                  <a:lnTo>
                    <a:pt x="508" y="124"/>
                  </a:lnTo>
                  <a:lnTo>
                    <a:pt x="504" y="124"/>
                  </a:lnTo>
                  <a:lnTo>
                    <a:pt x="500" y="124"/>
                  </a:lnTo>
                  <a:lnTo>
                    <a:pt x="500" y="120"/>
                  </a:lnTo>
                  <a:lnTo>
                    <a:pt x="504" y="112"/>
                  </a:lnTo>
                  <a:lnTo>
                    <a:pt x="508" y="112"/>
                  </a:lnTo>
                  <a:lnTo>
                    <a:pt x="510" y="112"/>
                  </a:lnTo>
                  <a:lnTo>
                    <a:pt x="514" y="112"/>
                  </a:lnTo>
                  <a:lnTo>
                    <a:pt x="518" y="112"/>
                  </a:lnTo>
                  <a:lnTo>
                    <a:pt x="522" y="112"/>
                  </a:lnTo>
                  <a:lnTo>
                    <a:pt x="526" y="112"/>
                  </a:lnTo>
                  <a:lnTo>
                    <a:pt x="530" y="112"/>
                  </a:lnTo>
                  <a:lnTo>
                    <a:pt x="534" y="112"/>
                  </a:lnTo>
                  <a:lnTo>
                    <a:pt x="536" y="116"/>
                  </a:lnTo>
                  <a:lnTo>
                    <a:pt x="540" y="116"/>
                  </a:lnTo>
                  <a:lnTo>
                    <a:pt x="540" y="120"/>
                  </a:lnTo>
                  <a:lnTo>
                    <a:pt x="544" y="120"/>
                  </a:lnTo>
                  <a:lnTo>
                    <a:pt x="540" y="124"/>
                  </a:lnTo>
                  <a:lnTo>
                    <a:pt x="544" y="128"/>
                  </a:lnTo>
                  <a:lnTo>
                    <a:pt x="544" y="124"/>
                  </a:lnTo>
                  <a:lnTo>
                    <a:pt x="548" y="124"/>
                  </a:lnTo>
                  <a:lnTo>
                    <a:pt x="552" y="120"/>
                  </a:lnTo>
                  <a:lnTo>
                    <a:pt x="556" y="120"/>
                  </a:lnTo>
                  <a:lnTo>
                    <a:pt x="560" y="120"/>
                  </a:lnTo>
                  <a:lnTo>
                    <a:pt x="564" y="124"/>
                  </a:lnTo>
                  <a:lnTo>
                    <a:pt x="566" y="124"/>
                  </a:lnTo>
                  <a:lnTo>
                    <a:pt x="564" y="128"/>
                  </a:lnTo>
                  <a:lnTo>
                    <a:pt x="566" y="128"/>
                  </a:lnTo>
                  <a:lnTo>
                    <a:pt x="570" y="128"/>
                  </a:lnTo>
                  <a:lnTo>
                    <a:pt x="574" y="128"/>
                  </a:lnTo>
                  <a:lnTo>
                    <a:pt x="574" y="132"/>
                  </a:lnTo>
                  <a:lnTo>
                    <a:pt x="578" y="132"/>
                  </a:lnTo>
                  <a:lnTo>
                    <a:pt x="582" y="132"/>
                  </a:lnTo>
                  <a:lnTo>
                    <a:pt x="578" y="136"/>
                  </a:lnTo>
                  <a:lnTo>
                    <a:pt x="582" y="136"/>
                  </a:lnTo>
                  <a:lnTo>
                    <a:pt x="586" y="136"/>
                  </a:lnTo>
                  <a:lnTo>
                    <a:pt x="586" y="138"/>
                  </a:lnTo>
                  <a:lnTo>
                    <a:pt x="582" y="138"/>
                  </a:lnTo>
                  <a:lnTo>
                    <a:pt x="582" y="142"/>
                  </a:lnTo>
                  <a:lnTo>
                    <a:pt x="586" y="142"/>
                  </a:lnTo>
                  <a:lnTo>
                    <a:pt x="586" y="146"/>
                  </a:lnTo>
                  <a:lnTo>
                    <a:pt x="590" y="146"/>
                  </a:lnTo>
                  <a:lnTo>
                    <a:pt x="592" y="146"/>
                  </a:lnTo>
                  <a:lnTo>
                    <a:pt x="592" y="150"/>
                  </a:lnTo>
                  <a:lnTo>
                    <a:pt x="596" y="150"/>
                  </a:lnTo>
                  <a:lnTo>
                    <a:pt x="592" y="150"/>
                  </a:lnTo>
                  <a:lnTo>
                    <a:pt x="592" y="154"/>
                  </a:lnTo>
                  <a:lnTo>
                    <a:pt x="590" y="158"/>
                  </a:lnTo>
                  <a:lnTo>
                    <a:pt x="586" y="158"/>
                  </a:lnTo>
                  <a:lnTo>
                    <a:pt x="582" y="158"/>
                  </a:lnTo>
                  <a:lnTo>
                    <a:pt x="578" y="158"/>
                  </a:lnTo>
                  <a:lnTo>
                    <a:pt x="574" y="158"/>
                  </a:lnTo>
                  <a:lnTo>
                    <a:pt x="570" y="154"/>
                  </a:lnTo>
                  <a:lnTo>
                    <a:pt x="566" y="150"/>
                  </a:lnTo>
                  <a:lnTo>
                    <a:pt x="566" y="146"/>
                  </a:lnTo>
                  <a:lnTo>
                    <a:pt x="564" y="146"/>
                  </a:lnTo>
                  <a:lnTo>
                    <a:pt x="560" y="146"/>
                  </a:lnTo>
                  <a:lnTo>
                    <a:pt x="556" y="142"/>
                  </a:lnTo>
                  <a:lnTo>
                    <a:pt x="548" y="142"/>
                  </a:lnTo>
                  <a:lnTo>
                    <a:pt x="544" y="142"/>
                  </a:lnTo>
                  <a:lnTo>
                    <a:pt x="544" y="146"/>
                  </a:lnTo>
                  <a:lnTo>
                    <a:pt x="540" y="146"/>
                  </a:lnTo>
                  <a:lnTo>
                    <a:pt x="540" y="142"/>
                  </a:lnTo>
                  <a:lnTo>
                    <a:pt x="536" y="142"/>
                  </a:lnTo>
                  <a:lnTo>
                    <a:pt x="534" y="142"/>
                  </a:lnTo>
                  <a:lnTo>
                    <a:pt x="530" y="142"/>
                  </a:lnTo>
                  <a:lnTo>
                    <a:pt x="526" y="142"/>
                  </a:lnTo>
                  <a:lnTo>
                    <a:pt x="526" y="146"/>
                  </a:lnTo>
                  <a:lnTo>
                    <a:pt x="522" y="146"/>
                  </a:lnTo>
                  <a:lnTo>
                    <a:pt x="518" y="146"/>
                  </a:lnTo>
                  <a:lnTo>
                    <a:pt x="518" y="142"/>
                  </a:lnTo>
                  <a:lnTo>
                    <a:pt x="514" y="142"/>
                  </a:lnTo>
                  <a:lnTo>
                    <a:pt x="510" y="142"/>
                  </a:lnTo>
                  <a:lnTo>
                    <a:pt x="510" y="138"/>
                  </a:lnTo>
                  <a:lnTo>
                    <a:pt x="508" y="138"/>
                  </a:lnTo>
                  <a:lnTo>
                    <a:pt x="508" y="136"/>
                  </a:lnTo>
                  <a:lnTo>
                    <a:pt x="510" y="136"/>
                  </a:lnTo>
                  <a:lnTo>
                    <a:pt x="514" y="136"/>
                  </a:lnTo>
                  <a:lnTo>
                    <a:pt x="518" y="136"/>
                  </a:lnTo>
                  <a:lnTo>
                    <a:pt x="522" y="136"/>
                  </a:lnTo>
                  <a:lnTo>
                    <a:pt x="526" y="136"/>
                  </a:lnTo>
                  <a:lnTo>
                    <a:pt x="530" y="138"/>
                  </a:lnTo>
                  <a:lnTo>
                    <a:pt x="530" y="136"/>
                  </a:lnTo>
                  <a:lnTo>
                    <a:pt x="534" y="136"/>
                  </a:lnTo>
                  <a:lnTo>
                    <a:pt x="530" y="136"/>
                  </a:lnTo>
                  <a:lnTo>
                    <a:pt x="526" y="136"/>
                  </a:lnTo>
                  <a:lnTo>
                    <a:pt x="522" y="136"/>
                  </a:lnTo>
                  <a:lnTo>
                    <a:pt x="526" y="132"/>
                  </a:lnTo>
                  <a:lnTo>
                    <a:pt x="530" y="132"/>
                  </a:lnTo>
                  <a:lnTo>
                    <a:pt x="534" y="132"/>
                  </a:lnTo>
                  <a:lnTo>
                    <a:pt x="534" y="128"/>
                  </a:lnTo>
                  <a:lnTo>
                    <a:pt x="530" y="128"/>
                  </a:lnTo>
                  <a:lnTo>
                    <a:pt x="530" y="132"/>
                  </a:lnTo>
                  <a:lnTo>
                    <a:pt x="526" y="132"/>
                  </a:lnTo>
                  <a:lnTo>
                    <a:pt x="526" y="132"/>
                  </a:lnTo>
                  <a:lnTo>
                    <a:pt x="526" y="132"/>
                  </a:lnTo>
                  <a:close/>
                  <a:moveTo>
                    <a:pt x="622" y="158"/>
                  </a:moveTo>
                  <a:lnTo>
                    <a:pt x="620" y="154"/>
                  </a:lnTo>
                  <a:lnTo>
                    <a:pt x="622" y="154"/>
                  </a:lnTo>
                  <a:lnTo>
                    <a:pt x="620" y="154"/>
                  </a:lnTo>
                  <a:lnTo>
                    <a:pt x="616" y="154"/>
                  </a:lnTo>
                  <a:lnTo>
                    <a:pt x="616" y="150"/>
                  </a:lnTo>
                  <a:lnTo>
                    <a:pt x="612" y="150"/>
                  </a:lnTo>
                  <a:lnTo>
                    <a:pt x="616" y="150"/>
                  </a:lnTo>
                  <a:lnTo>
                    <a:pt x="620" y="150"/>
                  </a:lnTo>
                  <a:lnTo>
                    <a:pt x="622" y="150"/>
                  </a:lnTo>
                  <a:lnTo>
                    <a:pt x="622" y="146"/>
                  </a:lnTo>
                  <a:lnTo>
                    <a:pt x="620" y="146"/>
                  </a:lnTo>
                  <a:lnTo>
                    <a:pt x="616" y="146"/>
                  </a:lnTo>
                  <a:lnTo>
                    <a:pt x="612" y="146"/>
                  </a:lnTo>
                  <a:lnTo>
                    <a:pt x="612" y="142"/>
                  </a:lnTo>
                  <a:lnTo>
                    <a:pt x="608" y="142"/>
                  </a:lnTo>
                  <a:lnTo>
                    <a:pt x="608" y="138"/>
                  </a:lnTo>
                  <a:lnTo>
                    <a:pt x="604" y="138"/>
                  </a:lnTo>
                  <a:lnTo>
                    <a:pt x="604" y="136"/>
                  </a:lnTo>
                  <a:lnTo>
                    <a:pt x="608" y="136"/>
                  </a:lnTo>
                  <a:lnTo>
                    <a:pt x="604" y="136"/>
                  </a:lnTo>
                  <a:lnTo>
                    <a:pt x="604" y="132"/>
                  </a:lnTo>
                  <a:lnTo>
                    <a:pt x="604" y="128"/>
                  </a:lnTo>
                  <a:lnTo>
                    <a:pt x="608" y="128"/>
                  </a:lnTo>
                  <a:lnTo>
                    <a:pt x="612" y="128"/>
                  </a:lnTo>
                  <a:lnTo>
                    <a:pt x="616" y="128"/>
                  </a:lnTo>
                  <a:lnTo>
                    <a:pt x="616" y="132"/>
                  </a:lnTo>
                  <a:lnTo>
                    <a:pt x="620" y="132"/>
                  </a:lnTo>
                  <a:lnTo>
                    <a:pt x="622" y="132"/>
                  </a:lnTo>
                  <a:lnTo>
                    <a:pt x="626" y="132"/>
                  </a:lnTo>
                  <a:lnTo>
                    <a:pt x="630" y="132"/>
                  </a:lnTo>
                  <a:lnTo>
                    <a:pt x="630" y="136"/>
                  </a:lnTo>
                  <a:lnTo>
                    <a:pt x="634" y="136"/>
                  </a:lnTo>
                  <a:lnTo>
                    <a:pt x="638" y="138"/>
                  </a:lnTo>
                  <a:lnTo>
                    <a:pt x="642" y="138"/>
                  </a:lnTo>
                  <a:lnTo>
                    <a:pt x="642" y="136"/>
                  </a:lnTo>
                  <a:lnTo>
                    <a:pt x="642" y="138"/>
                  </a:lnTo>
                  <a:lnTo>
                    <a:pt x="646" y="138"/>
                  </a:lnTo>
                  <a:lnTo>
                    <a:pt x="650" y="138"/>
                  </a:lnTo>
                  <a:lnTo>
                    <a:pt x="652" y="138"/>
                  </a:lnTo>
                  <a:lnTo>
                    <a:pt x="652" y="142"/>
                  </a:lnTo>
                  <a:lnTo>
                    <a:pt x="650" y="142"/>
                  </a:lnTo>
                  <a:lnTo>
                    <a:pt x="646" y="146"/>
                  </a:lnTo>
                  <a:lnTo>
                    <a:pt x="650" y="146"/>
                  </a:lnTo>
                  <a:lnTo>
                    <a:pt x="652" y="146"/>
                  </a:lnTo>
                  <a:lnTo>
                    <a:pt x="652" y="150"/>
                  </a:lnTo>
                  <a:lnTo>
                    <a:pt x="650" y="150"/>
                  </a:lnTo>
                  <a:lnTo>
                    <a:pt x="650" y="154"/>
                  </a:lnTo>
                  <a:lnTo>
                    <a:pt x="646" y="154"/>
                  </a:lnTo>
                  <a:lnTo>
                    <a:pt x="642" y="154"/>
                  </a:lnTo>
                  <a:lnTo>
                    <a:pt x="638" y="154"/>
                  </a:lnTo>
                  <a:lnTo>
                    <a:pt x="634" y="154"/>
                  </a:lnTo>
                  <a:lnTo>
                    <a:pt x="630" y="158"/>
                  </a:lnTo>
                  <a:lnTo>
                    <a:pt x="630" y="154"/>
                  </a:lnTo>
                  <a:lnTo>
                    <a:pt x="626" y="154"/>
                  </a:lnTo>
                  <a:lnTo>
                    <a:pt x="626" y="158"/>
                  </a:lnTo>
                  <a:lnTo>
                    <a:pt x="630" y="154"/>
                  </a:lnTo>
                  <a:lnTo>
                    <a:pt x="630" y="158"/>
                  </a:lnTo>
                  <a:lnTo>
                    <a:pt x="626" y="158"/>
                  </a:lnTo>
                  <a:lnTo>
                    <a:pt x="622" y="158"/>
                  </a:lnTo>
                  <a:lnTo>
                    <a:pt x="622" y="158"/>
                  </a:lnTo>
                  <a:lnTo>
                    <a:pt x="622" y="158"/>
                  </a:lnTo>
                  <a:close/>
                  <a:moveTo>
                    <a:pt x="440" y="142"/>
                  </a:moveTo>
                  <a:lnTo>
                    <a:pt x="436" y="142"/>
                  </a:lnTo>
                  <a:lnTo>
                    <a:pt x="432" y="142"/>
                  </a:lnTo>
                  <a:lnTo>
                    <a:pt x="428" y="142"/>
                  </a:lnTo>
                  <a:lnTo>
                    <a:pt x="424" y="142"/>
                  </a:lnTo>
                  <a:lnTo>
                    <a:pt x="422" y="138"/>
                  </a:lnTo>
                  <a:lnTo>
                    <a:pt x="422" y="142"/>
                  </a:lnTo>
                  <a:lnTo>
                    <a:pt x="418" y="142"/>
                  </a:lnTo>
                  <a:lnTo>
                    <a:pt x="414" y="142"/>
                  </a:lnTo>
                  <a:lnTo>
                    <a:pt x="410" y="142"/>
                  </a:lnTo>
                  <a:lnTo>
                    <a:pt x="408" y="142"/>
                  </a:lnTo>
                  <a:lnTo>
                    <a:pt x="404" y="142"/>
                  </a:lnTo>
                  <a:lnTo>
                    <a:pt x="400" y="142"/>
                  </a:lnTo>
                  <a:lnTo>
                    <a:pt x="396" y="142"/>
                  </a:lnTo>
                  <a:lnTo>
                    <a:pt x="392" y="142"/>
                  </a:lnTo>
                  <a:lnTo>
                    <a:pt x="392" y="138"/>
                  </a:lnTo>
                  <a:lnTo>
                    <a:pt x="396" y="138"/>
                  </a:lnTo>
                  <a:lnTo>
                    <a:pt x="400" y="138"/>
                  </a:lnTo>
                  <a:lnTo>
                    <a:pt x="404" y="138"/>
                  </a:lnTo>
                  <a:lnTo>
                    <a:pt x="408" y="136"/>
                  </a:lnTo>
                  <a:lnTo>
                    <a:pt x="410" y="136"/>
                  </a:lnTo>
                  <a:lnTo>
                    <a:pt x="414" y="136"/>
                  </a:lnTo>
                  <a:lnTo>
                    <a:pt x="418" y="136"/>
                  </a:lnTo>
                  <a:lnTo>
                    <a:pt x="422" y="132"/>
                  </a:lnTo>
                  <a:lnTo>
                    <a:pt x="424" y="132"/>
                  </a:lnTo>
                  <a:lnTo>
                    <a:pt x="428" y="132"/>
                  </a:lnTo>
                  <a:lnTo>
                    <a:pt x="432" y="132"/>
                  </a:lnTo>
                  <a:lnTo>
                    <a:pt x="436" y="132"/>
                  </a:lnTo>
                  <a:lnTo>
                    <a:pt x="440" y="132"/>
                  </a:lnTo>
                  <a:lnTo>
                    <a:pt x="444" y="136"/>
                  </a:lnTo>
                  <a:lnTo>
                    <a:pt x="448" y="136"/>
                  </a:lnTo>
                  <a:lnTo>
                    <a:pt x="448" y="138"/>
                  </a:lnTo>
                  <a:lnTo>
                    <a:pt x="448" y="142"/>
                  </a:lnTo>
                  <a:lnTo>
                    <a:pt x="444" y="142"/>
                  </a:lnTo>
                  <a:lnTo>
                    <a:pt x="440" y="142"/>
                  </a:lnTo>
                  <a:lnTo>
                    <a:pt x="440" y="142"/>
                  </a:lnTo>
                  <a:lnTo>
                    <a:pt x="440" y="142"/>
                  </a:lnTo>
                  <a:close/>
                  <a:moveTo>
                    <a:pt x="656" y="142"/>
                  </a:moveTo>
                  <a:lnTo>
                    <a:pt x="660" y="146"/>
                  </a:lnTo>
                  <a:lnTo>
                    <a:pt x="656" y="146"/>
                  </a:lnTo>
                  <a:lnTo>
                    <a:pt x="656" y="142"/>
                  </a:lnTo>
                  <a:lnTo>
                    <a:pt x="656" y="142"/>
                  </a:lnTo>
                  <a:lnTo>
                    <a:pt x="656" y="142"/>
                  </a:lnTo>
                  <a:close/>
                  <a:moveTo>
                    <a:pt x="540" y="142"/>
                  </a:moveTo>
                  <a:lnTo>
                    <a:pt x="540" y="146"/>
                  </a:lnTo>
                  <a:lnTo>
                    <a:pt x="536" y="146"/>
                  </a:lnTo>
                  <a:lnTo>
                    <a:pt x="536" y="150"/>
                  </a:lnTo>
                  <a:lnTo>
                    <a:pt x="534" y="150"/>
                  </a:lnTo>
                  <a:lnTo>
                    <a:pt x="534" y="146"/>
                  </a:lnTo>
                  <a:lnTo>
                    <a:pt x="536" y="146"/>
                  </a:lnTo>
                  <a:lnTo>
                    <a:pt x="536" y="142"/>
                  </a:lnTo>
                  <a:lnTo>
                    <a:pt x="540" y="142"/>
                  </a:lnTo>
                  <a:lnTo>
                    <a:pt x="540" y="142"/>
                  </a:lnTo>
                  <a:lnTo>
                    <a:pt x="540" y="142"/>
                  </a:lnTo>
                  <a:close/>
                  <a:moveTo>
                    <a:pt x="440" y="150"/>
                  </a:moveTo>
                  <a:lnTo>
                    <a:pt x="444" y="150"/>
                  </a:lnTo>
                  <a:lnTo>
                    <a:pt x="444" y="154"/>
                  </a:lnTo>
                  <a:lnTo>
                    <a:pt x="440" y="154"/>
                  </a:lnTo>
                  <a:lnTo>
                    <a:pt x="436" y="154"/>
                  </a:lnTo>
                  <a:lnTo>
                    <a:pt x="432" y="154"/>
                  </a:lnTo>
                  <a:lnTo>
                    <a:pt x="428" y="154"/>
                  </a:lnTo>
                  <a:lnTo>
                    <a:pt x="424" y="154"/>
                  </a:lnTo>
                  <a:lnTo>
                    <a:pt x="424" y="158"/>
                  </a:lnTo>
                  <a:lnTo>
                    <a:pt x="428" y="158"/>
                  </a:lnTo>
                  <a:lnTo>
                    <a:pt x="432" y="158"/>
                  </a:lnTo>
                  <a:lnTo>
                    <a:pt x="436" y="158"/>
                  </a:lnTo>
                  <a:lnTo>
                    <a:pt x="436" y="160"/>
                  </a:lnTo>
                  <a:lnTo>
                    <a:pt x="436" y="164"/>
                  </a:lnTo>
                  <a:lnTo>
                    <a:pt x="432" y="164"/>
                  </a:lnTo>
                  <a:lnTo>
                    <a:pt x="432" y="168"/>
                  </a:lnTo>
                  <a:lnTo>
                    <a:pt x="424" y="168"/>
                  </a:lnTo>
                  <a:lnTo>
                    <a:pt x="422" y="168"/>
                  </a:lnTo>
                  <a:lnTo>
                    <a:pt x="418" y="168"/>
                  </a:lnTo>
                  <a:lnTo>
                    <a:pt x="414" y="168"/>
                  </a:lnTo>
                  <a:lnTo>
                    <a:pt x="410" y="172"/>
                  </a:lnTo>
                  <a:lnTo>
                    <a:pt x="408" y="172"/>
                  </a:lnTo>
                  <a:lnTo>
                    <a:pt x="404" y="168"/>
                  </a:lnTo>
                  <a:lnTo>
                    <a:pt x="400" y="168"/>
                  </a:lnTo>
                  <a:lnTo>
                    <a:pt x="396" y="164"/>
                  </a:lnTo>
                  <a:lnTo>
                    <a:pt x="392" y="164"/>
                  </a:lnTo>
                  <a:lnTo>
                    <a:pt x="396" y="160"/>
                  </a:lnTo>
                  <a:lnTo>
                    <a:pt x="392" y="158"/>
                  </a:lnTo>
                  <a:lnTo>
                    <a:pt x="392" y="154"/>
                  </a:lnTo>
                  <a:lnTo>
                    <a:pt x="396" y="154"/>
                  </a:lnTo>
                  <a:lnTo>
                    <a:pt x="400" y="154"/>
                  </a:lnTo>
                  <a:lnTo>
                    <a:pt x="404" y="154"/>
                  </a:lnTo>
                  <a:lnTo>
                    <a:pt x="404" y="150"/>
                  </a:lnTo>
                  <a:lnTo>
                    <a:pt x="408" y="150"/>
                  </a:lnTo>
                  <a:lnTo>
                    <a:pt x="410" y="150"/>
                  </a:lnTo>
                  <a:lnTo>
                    <a:pt x="414" y="150"/>
                  </a:lnTo>
                  <a:lnTo>
                    <a:pt x="418" y="150"/>
                  </a:lnTo>
                  <a:lnTo>
                    <a:pt x="422" y="150"/>
                  </a:lnTo>
                  <a:lnTo>
                    <a:pt x="424" y="150"/>
                  </a:lnTo>
                  <a:lnTo>
                    <a:pt x="428" y="150"/>
                  </a:lnTo>
                  <a:lnTo>
                    <a:pt x="432" y="150"/>
                  </a:lnTo>
                  <a:lnTo>
                    <a:pt x="436" y="150"/>
                  </a:lnTo>
                  <a:lnTo>
                    <a:pt x="440" y="150"/>
                  </a:lnTo>
                  <a:lnTo>
                    <a:pt x="440" y="150"/>
                  </a:lnTo>
                  <a:lnTo>
                    <a:pt x="440" y="150"/>
                  </a:lnTo>
                  <a:close/>
                  <a:moveTo>
                    <a:pt x="380" y="160"/>
                  </a:moveTo>
                  <a:lnTo>
                    <a:pt x="378" y="160"/>
                  </a:lnTo>
                  <a:lnTo>
                    <a:pt x="378" y="158"/>
                  </a:lnTo>
                  <a:lnTo>
                    <a:pt x="374" y="158"/>
                  </a:lnTo>
                  <a:lnTo>
                    <a:pt x="370" y="158"/>
                  </a:lnTo>
                  <a:lnTo>
                    <a:pt x="366" y="154"/>
                  </a:lnTo>
                  <a:lnTo>
                    <a:pt x="370" y="154"/>
                  </a:lnTo>
                  <a:lnTo>
                    <a:pt x="374" y="150"/>
                  </a:lnTo>
                  <a:lnTo>
                    <a:pt x="378" y="150"/>
                  </a:lnTo>
                  <a:lnTo>
                    <a:pt x="380" y="154"/>
                  </a:lnTo>
                  <a:lnTo>
                    <a:pt x="384" y="154"/>
                  </a:lnTo>
                  <a:lnTo>
                    <a:pt x="388" y="154"/>
                  </a:lnTo>
                  <a:lnTo>
                    <a:pt x="388" y="158"/>
                  </a:lnTo>
                  <a:lnTo>
                    <a:pt x="384" y="158"/>
                  </a:lnTo>
                  <a:lnTo>
                    <a:pt x="384" y="160"/>
                  </a:lnTo>
                  <a:lnTo>
                    <a:pt x="380" y="160"/>
                  </a:lnTo>
                  <a:lnTo>
                    <a:pt x="380" y="160"/>
                  </a:lnTo>
                  <a:lnTo>
                    <a:pt x="380" y="160"/>
                  </a:lnTo>
                  <a:close/>
                  <a:moveTo>
                    <a:pt x="556" y="154"/>
                  </a:moveTo>
                  <a:lnTo>
                    <a:pt x="560" y="154"/>
                  </a:lnTo>
                  <a:lnTo>
                    <a:pt x="560" y="158"/>
                  </a:lnTo>
                  <a:lnTo>
                    <a:pt x="564" y="158"/>
                  </a:lnTo>
                  <a:lnTo>
                    <a:pt x="566" y="158"/>
                  </a:lnTo>
                  <a:lnTo>
                    <a:pt x="566" y="160"/>
                  </a:lnTo>
                  <a:lnTo>
                    <a:pt x="564" y="160"/>
                  </a:lnTo>
                  <a:lnTo>
                    <a:pt x="560" y="160"/>
                  </a:lnTo>
                  <a:lnTo>
                    <a:pt x="556" y="160"/>
                  </a:lnTo>
                  <a:lnTo>
                    <a:pt x="552" y="160"/>
                  </a:lnTo>
                  <a:lnTo>
                    <a:pt x="548" y="160"/>
                  </a:lnTo>
                  <a:lnTo>
                    <a:pt x="544" y="158"/>
                  </a:lnTo>
                  <a:lnTo>
                    <a:pt x="544" y="154"/>
                  </a:lnTo>
                  <a:lnTo>
                    <a:pt x="548" y="154"/>
                  </a:lnTo>
                  <a:lnTo>
                    <a:pt x="552" y="154"/>
                  </a:lnTo>
                  <a:lnTo>
                    <a:pt x="556" y="154"/>
                  </a:lnTo>
                  <a:lnTo>
                    <a:pt x="556" y="154"/>
                  </a:lnTo>
                  <a:lnTo>
                    <a:pt x="556" y="154"/>
                  </a:lnTo>
                  <a:close/>
                  <a:moveTo>
                    <a:pt x="676" y="160"/>
                  </a:moveTo>
                  <a:lnTo>
                    <a:pt x="678" y="160"/>
                  </a:lnTo>
                  <a:lnTo>
                    <a:pt x="676" y="160"/>
                  </a:lnTo>
                  <a:lnTo>
                    <a:pt x="672" y="164"/>
                  </a:lnTo>
                  <a:lnTo>
                    <a:pt x="672" y="168"/>
                  </a:lnTo>
                  <a:lnTo>
                    <a:pt x="668" y="168"/>
                  </a:lnTo>
                  <a:lnTo>
                    <a:pt x="660" y="168"/>
                  </a:lnTo>
                  <a:lnTo>
                    <a:pt x="660" y="164"/>
                  </a:lnTo>
                  <a:lnTo>
                    <a:pt x="652" y="164"/>
                  </a:lnTo>
                  <a:lnTo>
                    <a:pt x="650" y="164"/>
                  </a:lnTo>
                  <a:lnTo>
                    <a:pt x="650" y="168"/>
                  </a:lnTo>
                  <a:lnTo>
                    <a:pt x="646" y="164"/>
                  </a:lnTo>
                  <a:lnTo>
                    <a:pt x="642" y="164"/>
                  </a:lnTo>
                  <a:lnTo>
                    <a:pt x="638" y="164"/>
                  </a:lnTo>
                  <a:lnTo>
                    <a:pt x="634" y="164"/>
                  </a:lnTo>
                  <a:lnTo>
                    <a:pt x="630" y="160"/>
                  </a:lnTo>
                  <a:lnTo>
                    <a:pt x="634" y="160"/>
                  </a:lnTo>
                  <a:lnTo>
                    <a:pt x="634" y="158"/>
                  </a:lnTo>
                  <a:lnTo>
                    <a:pt x="638" y="158"/>
                  </a:lnTo>
                  <a:lnTo>
                    <a:pt x="642" y="158"/>
                  </a:lnTo>
                  <a:lnTo>
                    <a:pt x="646" y="158"/>
                  </a:lnTo>
                  <a:lnTo>
                    <a:pt x="650" y="158"/>
                  </a:lnTo>
                  <a:lnTo>
                    <a:pt x="652" y="158"/>
                  </a:lnTo>
                  <a:lnTo>
                    <a:pt x="656" y="158"/>
                  </a:lnTo>
                  <a:lnTo>
                    <a:pt x="660" y="158"/>
                  </a:lnTo>
                  <a:lnTo>
                    <a:pt x="664" y="158"/>
                  </a:lnTo>
                  <a:lnTo>
                    <a:pt x="668" y="158"/>
                  </a:lnTo>
                  <a:lnTo>
                    <a:pt x="672" y="158"/>
                  </a:lnTo>
                  <a:lnTo>
                    <a:pt x="676" y="158"/>
                  </a:lnTo>
                  <a:lnTo>
                    <a:pt x="676" y="160"/>
                  </a:lnTo>
                  <a:lnTo>
                    <a:pt x="676" y="160"/>
                  </a:lnTo>
                  <a:lnTo>
                    <a:pt x="676" y="160"/>
                  </a:lnTo>
                  <a:close/>
                  <a:moveTo>
                    <a:pt x="500" y="158"/>
                  </a:moveTo>
                  <a:lnTo>
                    <a:pt x="504" y="160"/>
                  </a:lnTo>
                  <a:lnTo>
                    <a:pt x="508" y="160"/>
                  </a:lnTo>
                  <a:lnTo>
                    <a:pt x="508" y="164"/>
                  </a:lnTo>
                  <a:lnTo>
                    <a:pt x="510" y="164"/>
                  </a:lnTo>
                  <a:lnTo>
                    <a:pt x="510" y="168"/>
                  </a:lnTo>
                  <a:lnTo>
                    <a:pt x="508" y="168"/>
                  </a:lnTo>
                  <a:lnTo>
                    <a:pt x="510" y="168"/>
                  </a:lnTo>
                  <a:lnTo>
                    <a:pt x="514" y="168"/>
                  </a:lnTo>
                  <a:lnTo>
                    <a:pt x="514" y="172"/>
                  </a:lnTo>
                  <a:lnTo>
                    <a:pt x="518" y="172"/>
                  </a:lnTo>
                  <a:lnTo>
                    <a:pt x="518" y="176"/>
                  </a:lnTo>
                  <a:lnTo>
                    <a:pt x="514" y="176"/>
                  </a:lnTo>
                  <a:lnTo>
                    <a:pt x="510" y="176"/>
                  </a:lnTo>
                  <a:lnTo>
                    <a:pt x="508" y="176"/>
                  </a:lnTo>
                  <a:lnTo>
                    <a:pt x="504" y="172"/>
                  </a:lnTo>
                  <a:lnTo>
                    <a:pt x="500" y="172"/>
                  </a:lnTo>
                  <a:lnTo>
                    <a:pt x="500" y="168"/>
                  </a:lnTo>
                  <a:lnTo>
                    <a:pt x="500" y="164"/>
                  </a:lnTo>
                  <a:lnTo>
                    <a:pt x="496" y="160"/>
                  </a:lnTo>
                  <a:lnTo>
                    <a:pt x="492" y="160"/>
                  </a:lnTo>
                  <a:lnTo>
                    <a:pt x="492" y="158"/>
                  </a:lnTo>
                  <a:lnTo>
                    <a:pt x="496" y="158"/>
                  </a:lnTo>
                  <a:lnTo>
                    <a:pt x="500" y="158"/>
                  </a:lnTo>
                  <a:lnTo>
                    <a:pt x="500" y="158"/>
                  </a:lnTo>
                  <a:lnTo>
                    <a:pt x="500" y="158"/>
                  </a:lnTo>
                  <a:close/>
                  <a:moveTo>
                    <a:pt x="716" y="172"/>
                  </a:moveTo>
                  <a:lnTo>
                    <a:pt x="712" y="172"/>
                  </a:lnTo>
                  <a:lnTo>
                    <a:pt x="708" y="172"/>
                  </a:lnTo>
                  <a:lnTo>
                    <a:pt x="706" y="168"/>
                  </a:lnTo>
                  <a:lnTo>
                    <a:pt x="706" y="164"/>
                  </a:lnTo>
                  <a:lnTo>
                    <a:pt x="706" y="160"/>
                  </a:lnTo>
                  <a:lnTo>
                    <a:pt x="708" y="160"/>
                  </a:lnTo>
                  <a:lnTo>
                    <a:pt x="712" y="160"/>
                  </a:lnTo>
                  <a:lnTo>
                    <a:pt x="716" y="160"/>
                  </a:lnTo>
                  <a:lnTo>
                    <a:pt x="720" y="160"/>
                  </a:lnTo>
                  <a:lnTo>
                    <a:pt x="720" y="164"/>
                  </a:lnTo>
                  <a:lnTo>
                    <a:pt x="724" y="164"/>
                  </a:lnTo>
                  <a:lnTo>
                    <a:pt x="728" y="168"/>
                  </a:lnTo>
                  <a:lnTo>
                    <a:pt x="728" y="172"/>
                  </a:lnTo>
                  <a:lnTo>
                    <a:pt x="724" y="172"/>
                  </a:lnTo>
                  <a:lnTo>
                    <a:pt x="720" y="172"/>
                  </a:lnTo>
                  <a:lnTo>
                    <a:pt x="716" y="172"/>
                  </a:lnTo>
                  <a:lnTo>
                    <a:pt x="716" y="172"/>
                  </a:lnTo>
                  <a:lnTo>
                    <a:pt x="716" y="172"/>
                  </a:lnTo>
                  <a:close/>
                  <a:moveTo>
                    <a:pt x="294" y="212"/>
                  </a:moveTo>
                  <a:lnTo>
                    <a:pt x="294" y="208"/>
                  </a:lnTo>
                  <a:lnTo>
                    <a:pt x="294" y="212"/>
                  </a:lnTo>
                  <a:lnTo>
                    <a:pt x="292" y="212"/>
                  </a:lnTo>
                  <a:lnTo>
                    <a:pt x="292" y="208"/>
                  </a:lnTo>
                  <a:lnTo>
                    <a:pt x="292" y="206"/>
                  </a:lnTo>
                  <a:lnTo>
                    <a:pt x="288" y="206"/>
                  </a:lnTo>
                  <a:lnTo>
                    <a:pt x="288" y="208"/>
                  </a:lnTo>
                  <a:lnTo>
                    <a:pt x="288" y="206"/>
                  </a:lnTo>
                  <a:lnTo>
                    <a:pt x="288" y="202"/>
                  </a:lnTo>
                  <a:lnTo>
                    <a:pt x="284" y="202"/>
                  </a:lnTo>
                  <a:lnTo>
                    <a:pt x="284" y="206"/>
                  </a:lnTo>
                  <a:lnTo>
                    <a:pt x="284" y="208"/>
                  </a:lnTo>
                  <a:lnTo>
                    <a:pt x="284" y="206"/>
                  </a:lnTo>
                  <a:lnTo>
                    <a:pt x="280" y="206"/>
                  </a:lnTo>
                  <a:lnTo>
                    <a:pt x="280" y="208"/>
                  </a:lnTo>
                  <a:lnTo>
                    <a:pt x="276" y="208"/>
                  </a:lnTo>
                  <a:lnTo>
                    <a:pt x="276" y="206"/>
                  </a:lnTo>
                  <a:lnTo>
                    <a:pt x="272" y="206"/>
                  </a:lnTo>
                  <a:lnTo>
                    <a:pt x="266" y="206"/>
                  </a:lnTo>
                  <a:lnTo>
                    <a:pt x="266" y="208"/>
                  </a:lnTo>
                  <a:lnTo>
                    <a:pt x="262" y="208"/>
                  </a:lnTo>
                  <a:lnTo>
                    <a:pt x="258" y="208"/>
                  </a:lnTo>
                  <a:lnTo>
                    <a:pt x="262" y="208"/>
                  </a:lnTo>
                  <a:lnTo>
                    <a:pt x="262" y="206"/>
                  </a:lnTo>
                  <a:lnTo>
                    <a:pt x="262" y="202"/>
                  </a:lnTo>
                  <a:lnTo>
                    <a:pt x="262" y="206"/>
                  </a:lnTo>
                  <a:lnTo>
                    <a:pt x="258" y="206"/>
                  </a:lnTo>
                  <a:lnTo>
                    <a:pt x="262" y="202"/>
                  </a:lnTo>
                  <a:lnTo>
                    <a:pt x="258" y="202"/>
                  </a:lnTo>
                  <a:lnTo>
                    <a:pt x="258" y="206"/>
                  </a:lnTo>
                  <a:lnTo>
                    <a:pt x="254" y="206"/>
                  </a:lnTo>
                  <a:lnTo>
                    <a:pt x="254" y="202"/>
                  </a:lnTo>
                  <a:lnTo>
                    <a:pt x="258" y="202"/>
                  </a:lnTo>
                  <a:lnTo>
                    <a:pt x="262" y="198"/>
                  </a:lnTo>
                  <a:lnTo>
                    <a:pt x="266" y="194"/>
                  </a:lnTo>
                  <a:lnTo>
                    <a:pt x="268" y="194"/>
                  </a:lnTo>
                  <a:lnTo>
                    <a:pt x="272" y="194"/>
                  </a:lnTo>
                  <a:lnTo>
                    <a:pt x="276" y="194"/>
                  </a:lnTo>
                  <a:lnTo>
                    <a:pt x="280" y="190"/>
                  </a:lnTo>
                  <a:lnTo>
                    <a:pt x="280" y="186"/>
                  </a:lnTo>
                  <a:lnTo>
                    <a:pt x="284" y="186"/>
                  </a:lnTo>
                  <a:lnTo>
                    <a:pt x="288" y="186"/>
                  </a:lnTo>
                  <a:lnTo>
                    <a:pt x="292" y="182"/>
                  </a:lnTo>
                  <a:lnTo>
                    <a:pt x="294" y="180"/>
                  </a:lnTo>
                  <a:lnTo>
                    <a:pt x="298" y="180"/>
                  </a:lnTo>
                  <a:lnTo>
                    <a:pt x="298" y="176"/>
                  </a:lnTo>
                  <a:lnTo>
                    <a:pt x="302" y="176"/>
                  </a:lnTo>
                  <a:lnTo>
                    <a:pt x="306" y="176"/>
                  </a:lnTo>
                  <a:lnTo>
                    <a:pt x="306" y="172"/>
                  </a:lnTo>
                  <a:lnTo>
                    <a:pt x="310" y="172"/>
                  </a:lnTo>
                  <a:lnTo>
                    <a:pt x="314" y="172"/>
                  </a:lnTo>
                  <a:lnTo>
                    <a:pt x="314" y="168"/>
                  </a:lnTo>
                  <a:lnTo>
                    <a:pt x="318" y="168"/>
                  </a:lnTo>
                  <a:lnTo>
                    <a:pt x="322" y="168"/>
                  </a:lnTo>
                  <a:lnTo>
                    <a:pt x="324" y="168"/>
                  </a:lnTo>
                  <a:lnTo>
                    <a:pt x="328" y="168"/>
                  </a:lnTo>
                  <a:lnTo>
                    <a:pt x="332" y="172"/>
                  </a:lnTo>
                  <a:lnTo>
                    <a:pt x="336" y="172"/>
                  </a:lnTo>
                  <a:lnTo>
                    <a:pt x="340" y="172"/>
                  </a:lnTo>
                  <a:lnTo>
                    <a:pt x="340" y="168"/>
                  </a:lnTo>
                  <a:lnTo>
                    <a:pt x="336" y="168"/>
                  </a:lnTo>
                  <a:lnTo>
                    <a:pt x="340" y="168"/>
                  </a:lnTo>
                  <a:lnTo>
                    <a:pt x="340" y="172"/>
                  </a:lnTo>
                  <a:lnTo>
                    <a:pt x="344" y="172"/>
                  </a:lnTo>
                  <a:lnTo>
                    <a:pt x="344" y="168"/>
                  </a:lnTo>
                  <a:lnTo>
                    <a:pt x="340" y="168"/>
                  </a:lnTo>
                  <a:lnTo>
                    <a:pt x="336" y="168"/>
                  </a:lnTo>
                  <a:lnTo>
                    <a:pt x="340" y="164"/>
                  </a:lnTo>
                  <a:lnTo>
                    <a:pt x="344" y="164"/>
                  </a:lnTo>
                  <a:lnTo>
                    <a:pt x="340" y="164"/>
                  </a:lnTo>
                  <a:lnTo>
                    <a:pt x="344" y="164"/>
                  </a:lnTo>
                  <a:lnTo>
                    <a:pt x="348" y="164"/>
                  </a:lnTo>
                  <a:lnTo>
                    <a:pt x="352" y="164"/>
                  </a:lnTo>
                  <a:lnTo>
                    <a:pt x="354" y="168"/>
                  </a:lnTo>
                  <a:lnTo>
                    <a:pt x="362" y="168"/>
                  </a:lnTo>
                  <a:lnTo>
                    <a:pt x="362" y="172"/>
                  </a:lnTo>
                  <a:lnTo>
                    <a:pt x="358" y="172"/>
                  </a:lnTo>
                  <a:lnTo>
                    <a:pt x="354" y="172"/>
                  </a:lnTo>
                  <a:lnTo>
                    <a:pt x="352" y="176"/>
                  </a:lnTo>
                  <a:lnTo>
                    <a:pt x="352" y="180"/>
                  </a:lnTo>
                  <a:lnTo>
                    <a:pt x="354" y="180"/>
                  </a:lnTo>
                  <a:lnTo>
                    <a:pt x="358" y="180"/>
                  </a:lnTo>
                  <a:lnTo>
                    <a:pt x="358" y="182"/>
                  </a:lnTo>
                  <a:lnTo>
                    <a:pt x="354" y="182"/>
                  </a:lnTo>
                  <a:lnTo>
                    <a:pt x="352" y="182"/>
                  </a:lnTo>
                  <a:lnTo>
                    <a:pt x="352" y="180"/>
                  </a:lnTo>
                  <a:lnTo>
                    <a:pt x="348" y="180"/>
                  </a:lnTo>
                  <a:lnTo>
                    <a:pt x="348" y="182"/>
                  </a:lnTo>
                  <a:lnTo>
                    <a:pt x="352" y="182"/>
                  </a:lnTo>
                  <a:lnTo>
                    <a:pt x="354" y="182"/>
                  </a:lnTo>
                  <a:lnTo>
                    <a:pt x="354" y="186"/>
                  </a:lnTo>
                  <a:lnTo>
                    <a:pt x="354" y="190"/>
                  </a:lnTo>
                  <a:lnTo>
                    <a:pt x="352" y="190"/>
                  </a:lnTo>
                  <a:lnTo>
                    <a:pt x="348" y="190"/>
                  </a:lnTo>
                  <a:lnTo>
                    <a:pt x="344" y="190"/>
                  </a:lnTo>
                  <a:lnTo>
                    <a:pt x="340" y="190"/>
                  </a:lnTo>
                  <a:lnTo>
                    <a:pt x="340" y="194"/>
                  </a:lnTo>
                  <a:lnTo>
                    <a:pt x="340" y="198"/>
                  </a:lnTo>
                  <a:lnTo>
                    <a:pt x="336" y="198"/>
                  </a:lnTo>
                  <a:lnTo>
                    <a:pt x="332" y="198"/>
                  </a:lnTo>
                  <a:lnTo>
                    <a:pt x="328" y="198"/>
                  </a:lnTo>
                  <a:lnTo>
                    <a:pt x="324" y="194"/>
                  </a:lnTo>
                  <a:lnTo>
                    <a:pt x="324" y="190"/>
                  </a:lnTo>
                  <a:lnTo>
                    <a:pt x="324" y="186"/>
                  </a:lnTo>
                  <a:lnTo>
                    <a:pt x="328" y="186"/>
                  </a:lnTo>
                  <a:lnTo>
                    <a:pt x="328" y="182"/>
                  </a:lnTo>
                  <a:lnTo>
                    <a:pt x="324" y="186"/>
                  </a:lnTo>
                  <a:lnTo>
                    <a:pt x="322" y="186"/>
                  </a:lnTo>
                  <a:lnTo>
                    <a:pt x="318" y="186"/>
                  </a:lnTo>
                  <a:lnTo>
                    <a:pt x="322" y="186"/>
                  </a:lnTo>
                  <a:lnTo>
                    <a:pt x="322" y="190"/>
                  </a:lnTo>
                  <a:lnTo>
                    <a:pt x="318" y="194"/>
                  </a:lnTo>
                  <a:lnTo>
                    <a:pt x="314" y="190"/>
                  </a:lnTo>
                  <a:lnTo>
                    <a:pt x="314" y="194"/>
                  </a:lnTo>
                  <a:lnTo>
                    <a:pt x="318" y="194"/>
                  </a:lnTo>
                  <a:lnTo>
                    <a:pt x="318" y="198"/>
                  </a:lnTo>
                  <a:lnTo>
                    <a:pt x="314" y="198"/>
                  </a:lnTo>
                  <a:lnTo>
                    <a:pt x="314" y="202"/>
                  </a:lnTo>
                  <a:lnTo>
                    <a:pt x="310" y="206"/>
                  </a:lnTo>
                  <a:lnTo>
                    <a:pt x="306" y="206"/>
                  </a:lnTo>
                  <a:lnTo>
                    <a:pt x="306" y="202"/>
                  </a:lnTo>
                  <a:lnTo>
                    <a:pt x="302" y="198"/>
                  </a:lnTo>
                  <a:lnTo>
                    <a:pt x="302" y="202"/>
                  </a:lnTo>
                  <a:lnTo>
                    <a:pt x="302" y="206"/>
                  </a:lnTo>
                  <a:lnTo>
                    <a:pt x="298" y="206"/>
                  </a:lnTo>
                  <a:lnTo>
                    <a:pt x="302" y="206"/>
                  </a:lnTo>
                  <a:lnTo>
                    <a:pt x="306" y="206"/>
                  </a:lnTo>
                  <a:lnTo>
                    <a:pt x="306" y="208"/>
                  </a:lnTo>
                  <a:lnTo>
                    <a:pt x="302" y="208"/>
                  </a:lnTo>
                  <a:lnTo>
                    <a:pt x="302" y="206"/>
                  </a:lnTo>
                  <a:lnTo>
                    <a:pt x="302" y="208"/>
                  </a:lnTo>
                  <a:lnTo>
                    <a:pt x="298" y="208"/>
                  </a:lnTo>
                  <a:lnTo>
                    <a:pt x="298" y="212"/>
                  </a:lnTo>
                  <a:lnTo>
                    <a:pt x="294" y="212"/>
                  </a:lnTo>
                  <a:lnTo>
                    <a:pt x="294" y="212"/>
                  </a:lnTo>
                  <a:lnTo>
                    <a:pt x="294" y="212"/>
                  </a:lnTo>
                  <a:close/>
                  <a:moveTo>
                    <a:pt x="706" y="172"/>
                  </a:moveTo>
                  <a:lnTo>
                    <a:pt x="708" y="172"/>
                  </a:lnTo>
                  <a:lnTo>
                    <a:pt x="712" y="172"/>
                  </a:lnTo>
                  <a:lnTo>
                    <a:pt x="712" y="176"/>
                  </a:lnTo>
                  <a:lnTo>
                    <a:pt x="708" y="176"/>
                  </a:lnTo>
                  <a:lnTo>
                    <a:pt x="706" y="176"/>
                  </a:lnTo>
                  <a:lnTo>
                    <a:pt x="706" y="172"/>
                  </a:lnTo>
                  <a:lnTo>
                    <a:pt x="706" y="172"/>
                  </a:lnTo>
                  <a:lnTo>
                    <a:pt x="706" y="172"/>
                  </a:lnTo>
                  <a:close/>
                  <a:moveTo>
                    <a:pt x="646" y="172"/>
                  </a:moveTo>
                  <a:lnTo>
                    <a:pt x="650" y="172"/>
                  </a:lnTo>
                  <a:lnTo>
                    <a:pt x="650" y="176"/>
                  </a:lnTo>
                  <a:lnTo>
                    <a:pt x="646" y="176"/>
                  </a:lnTo>
                  <a:lnTo>
                    <a:pt x="642" y="172"/>
                  </a:lnTo>
                  <a:lnTo>
                    <a:pt x="646" y="172"/>
                  </a:lnTo>
                  <a:lnTo>
                    <a:pt x="646" y="172"/>
                  </a:lnTo>
                  <a:lnTo>
                    <a:pt x="646" y="172"/>
                  </a:lnTo>
                  <a:close/>
                  <a:moveTo>
                    <a:pt x="522" y="176"/>
                  </a:moveTo>
                  <a:lnTo>
                    <a:pt x="518" y="176"/>
                  </a:lnTo>
                  <a:lnTo>
                    <a:pt x="522" y="176"/>
                  </a:lnTo>
                  <a:lnTo>
                    <a:pt x="522" y="176"/>
                  </a:lnTo>
                  <a:lnTo>
                    <a:pt x="522" y="176"/>
                  </a:lnTo>
                  <a:close/>
                  <a:moveTo>
                    <a:pt x="384" y="176"/>
                  </a:moveTo>
                  <a:lnTo>
                    <a:pt x="388" y="176"/>
                  </a:lnTo>
                  <a:lnTo>
                    <a:pt x="384" y="176"/>
                  </a:lnTo>
                  <a:lnTo>
                    <a:pt x="384" y="176"/>
                  </a:lnTo>
                  <a:lnTo>
                    <a:pt x="384" y="176"/>
                  </a:lnTo>
                  <a:close/>
                  <a:moveTo>
                    <a:pt x="858" y="236"/>
                  </a:moveTo>
                  <a:lnTo>
                    <a:pt x="862" y="236"/>
                  </a:lnTo>
                  <a:lnTo>
                    <a:pt x="858" y="236"/>
                  </a:lnTo>
                  <a:lnTo>
                    <a:pt x="862" y="236"/>
                  </a:lnTo>
                  <a:lnTo>
                    <a:pt x="864" y="236"/>
                  </a:lnTo>
                  <a:lnTo>
                    <a:pt x="868" y="236"/>
                  </a:lnTo>
                  <a:lnTo>
                    <a:pt x="872" y="236"/>
                  </a:lnTo>
                  <a:lnTo>
                    <a:pt x="872" y="238"/>
                  </a:lnTo>
                  <a:lnTo>
                    <a:pt x="868" y="238"/>
                  </a:lnTo>
                  <a:lnTo>
                    <a:pt x="864" y="238"/>
                  </a:lnTo>
                  <a:lnTo>
                    <a:pt x="862" y="238"/>
                  </a:lnTo>
                  <a:lnTo>
                    <a:pt x="858" y="238"/>
                  </a:lnTo>
                  <a:lnTo>
                    <a:pt x="858" y="236"/>
                  </a:lnTo>
                  <a:lnTo>
                    <a:pt x="858" y="238"/>
                  </a:lnTo>
                  <a:lnTo>
                    <a:pt x="862" y="238"/>
                  </a:lnTo>
                  <a:lnTo>
                    <a:pt x="862" y="242"/>
                  </a:lnTo>
                  <a:lnTo>
                    <a:pt x="862" y="246"/>
                  </a:lnTo>
                  <a:lnTo>
                    <a:pt x="858" y="246"/>
                  </a:lnTo>
                  <a:lnTo>
                    <a:pt x="854" y="246"/>
                  </a:lnTo>
                  <a:lnTo>
                    <a:pt x="850" y="246"/>
                  </a:lnTo>
                  <a:lnTo>
                    <a:pt x="846" y="246"/>
                  </a:lnTo>
                  <a:lnTo>
                    <a:pt x="842" y="246"/>
                  </a:lnTo>
                  <a:lnTo>
                    <a:pt x="838" y="246"/>
                  </a:lnTo>
                  <a:lnTo>
                    <a:pt x="838" y="250"/>
                  </a:lnTo>
                  <a:lnTo>
                    <a:pt x="834" y="250"/>
                  </a:lnTo>
                  <a:lnTo>
                    <a:pt x="832" y="246"/>
                  </a:lnTo>
                  <a:lnTo>
                    <a:pt x="828" y="246"/>
                  </a:lnTo>
                  <a:lnTo>
                    <a:pt x="824" y="246"/>
                  </a:lnTo>
                  <a:lnTo>
                    <a:pt x="820" y="246"/>
                  </a:lnTo>
                  <a:lnTo>
                    <a:pt x="820" y="242"/>
                  </a:lnTo>
                  <a:lnTo>
                    <a:pt x="820" y="238"/>
                  </a:lnTo>
                  <a:lnTo>
                    <a:pt x="816" y="238"/>
                  </a:lnTo>
                  <a:lnTo>
                    <a:pt x="812" y="236"/>
                  </a:lnTo>
                  <a:lnTo>
                    <a:pt x="812" y="238"/>
                  </a:lnTo>
                  <a:lnTo>
                    <a:pt x="816" y="238"/>
                  </a:lnTo>
                  <a:lnTo>
                    <a:pt x="816" y="242"/>
                  </a:lnTo>
                  <a:lnTo>
                    <a:pt x="812" y="246"/>
                  </a:lnTo>
                  <a:lnTo>
                    <a:pt x="808" y="246"/>
                  </a:lnTo>
                  <a:lnTo>
                    <a:pt x="806" y="246"/>
                  </a:lnTo>
                  <a:lnTo>
                    <a:pt x="802" y="246"/>
                  </a:lnTo>
                  <a:lnTo>
                    <a:pt x="798" y="246"/>
                  </a:lnTo>
                  <a:lnTo>
                    <a:pt x="794" y="246"/>
                  </a:lnTo>
                  <a:lnTo>
                    <a:pt x="790" y="246"/>
                  </a:lnTo>
                  <a:lnTo>
                    <a:pt x="794" y="242"/>
                  </a:lnTo>
                  <a:lnTo>
                    <a:pt x="790" y="242"/>
                  </a:lnTo>
                  <a:lnTo>
                    <a:pt x="790" y="246"/>
                  </a:lnTo>
                  <a:lnTo>
                    <a:pt x="786" y="246"/>
                  </a:lnTo>
                  <a:lnTo>
                    <a:pt x="786" y="242"/>
                  </a:lnTo>
                  <a:lnTo>
                    <a:pt x="782" y="242"/>
                  </a:lnTo>
                  <a:lnTo>
                    <a:pt x="782" y="246"/>
                  </a:lnTo>
                  <a:lnTo>
                    <a:pt x="786" y="246"/>
                  </a:lnTo>
                  <a:lnTo>
                    <a:pt x="782" y="246"/>
                  </a:lnTo>
                  <a:lnTo>
                    <a:pt x="778" y="246"/>
                  </a:lnTo>
                  <a:lnTo>
                    <a:pt x="776" y="246"/>
                  </a:lnTo>
                  <a:lnTo>
                    <a:pt x="772" y="246"/>
                  </a:lnTo>
                  <a:lnTo>
                    <a:pt x="768" y="246"/>
                  </a:lnTo>
                  <a:lnTo>
                    <a:pt x="768" y="242"/>
                  </a:lnTo>
                  <a:lnTo>
                    <a:pt x="768" y="246"/>
                  </a:lnTo>
                  <a:lnTo>
                    <a:pt x="768" y="250"/>
                  </a:lnTo>
                  <a:lnTo>
                    <a:pt x="764" y="250"/>
                  </a:lnTo>
                  <a:lnTo>
                    <a:pt x="760" y="250"/>
                  </a:lnTo>
                  <a:lnTo>
                    <a:pt x="760" y="246"/>
                  </a:lnTo>
                  <a:lnTo>
                    <a:pt x="756" y="250"/>
                  </a:lnTo>
                  <a:lnTo>
                    <a:pt x="752" y="250"/>
                  </a:lnTo>
                  <a:lnTo>
                    <a:pt x="752" y="246"/>
                  </a:lnTo>
                  <a:lnTo>
                    <a:pt x="752" y="250"/>
                  </a:lnTo>
                  <a:lnTo>
                    <a:pt x="748" y="250"/>
                  </a:lnTo>
                  <a:lnTo>
                    <a:pt x="746" y="246"/>
                  </a:lnTo>
                  <a:lnTo>
                    <a:pt x="742" y="246"/>
                  </a:lnTo>
                  <a:lnTo>
                    <a:pt x="746" y="242"/>
                  </a:lnTo>
                  <a:lnTo>
                    <a:pt x="746" y="238"/>
                  </a:lnTo>
                  <a:lnTo>
                    <a:pt x="742" y="238"/>
                  </a:lnTo>
                  <a:lnTo>
                    <a:pt x="742" y="236"/>
                  </a:lnTo>
                  <a:lnTo>
                    <a:pt x="742" y="238"/>
                  </a:lnTo>
                  <a:lnTo>
                    <a:pt x="738" y="238"/>
                  </a:lnTo>
                  <a:lnTo>
                    <a:pt x="738" y="242"/>
                  </a:lnTo>
                  <a:lnTo>
                    <a:pt x="738" y="238"/>
                  </a:lnTo>
                  <a:lnTo>
                    <a:pt x="734" y="238"/>
                  </a:lnTo>
                  <a:lnTo>
                    <a:pt x="734" y="242"/>
                  </a:lnTo>
                  <a:lnTo>
                    <a:pt x="732" y="242"/>
                  </a:lnTo>
                  <a:lnTo>
                    <a:pt x="732" y="238"/>
                  </a:lnTo>
                  <a:lnTo>
                    <a:pt x="732" y="242"/>
                  </a:lnTo>
                  <a:lnTo>
                    <a:pt x="734" y="242"/>
                  </a:lnTo>
                  <a:lnTo>
                    <a:pt x="734" y="246"/>
                  </a:lnTo>
                  <a:lnTo>
                    <a:pt x="732" y="246"/>
                  </a:lnTo>
                  <a:lnTo>
                    <a:pt x="728" y="246"/>
                  </a:lnTo>
                  <a:lnTo>
                    <a:pt x="724" y="246"/>
                  </a:lnTo>
                  <a:lnTo>
                    <a:pt x="720" y="246"/>
                  </a:lnTo>
                  <a:lnTo>
                    <a:pt x="716" y="246"/>
                  </a:lnTo>
                  <a:lnTo>
                    <a:pt x="712" y="246"/>
                  </a:lnTo>
                  <a:lnTo>
                    <a:pt x="712" y="242"/>
                  </a:lnTo>
                  <a:lnTo>
                    <a:pt x="708" y="242"/>
                  </a:lnTo>
                  <a:lnTo>
                    <a:pt x="708" y="238"/>
                  </a:lnTo>
                  <a:lnTo>
                    <a:pt x="712" y="238"/>
                  </a:lnTo>
                  <a:lnTo>
                    <a:pt x="708" y="238"/>
                  </a:lnTo>
                  <a:lnTo>
                    <a:pt x="706" y="238"/>
                  </a:lnTo>
                  <a:lnTo>
                    <a:pt x="706" y="242"/>
                  </a:lnTo>
                  <a:lnTo>
                    <a:pt x="706" y="238"/>
                  </a:lnTo>
                  <a:lnTo>
                    <a:pt x="706" y="242"/>
                  </a:lnTo>
                  <a:lnTo>
                    <a:pt x="702" y="242"/>
                  </a:lnTo>
                  <a:lnTo>
                    <a:pt x="698" y="242"/>
                  </a:lnTo>
                  <a:lnTo>
                    <a:pt x="694" y="242"/>
                  </a:lnTo>
                  <a:lnTo>
                    <a:pt x="694" y="238"/>
                  </a:lnTo>
                  <a:lnTo>
                    <a:pt x="694" y="236"/>
                  </a:lnTo>
                  <a:lnTo>
                    <a:pt x="690" y="236"/>
                  </a:lnTo>
                  <a:lnTo>
                    <a:pt x="690" y="232"/>
                  </a:lnTo>
                  <a:lnTo>
                    <a:pt x="694" y="232"/>
                  </a:lnTo>
                  <a:lnTo>
                    <a:pt x="690" y="232"/>
                  </a:lnTo>
                  <a:lnTo>
                    <a:pt x="686" y="228"/>
                  </a:lnTo>
                  <a:lnTo>
                    <a:pt x="686" y="224"/>
                  </a:lnTo>
                  <a:lnTo>
                    <a:pt x="686" y="220"/>
                  </a:lnTo>
                  <a:lnTo>
                    <a:pt x="690" y="220"/>
                  </a:lnTo>
                  <a:lnTo>
                    <a:pt x="694" y="220"/>
                  </a:lnTo>
                  <a:lnTo>
                    <a:pt x="694" y="216"/>
                  </a:lnTo>
                  <a:lnTo>
                    <a:pt x="690" y="212"/>
                  </a:lnTo>
                  <a:lnTo>
                    <a:pt x="690" y="208"/>
                  </a:lnTo>
                  <a:lnTo>
                    <a:pt x="686" y="208"/>
                  </a:lnTo>
                  <a:lnTo>
                    <a:pt x="686" y="206"/>
                  </a:lnTo>
                  <a:lnTo>
                    <a:pt x="682" y="206"/>
                  </a:lnTo>
                  <a:lnTo>
                    <a:pt x="682" y="202"/>
                  </a:lnTo>
                  <a:lnTo>
                    <a:pt x="678" y="202"/>
                  </a:lnTo>
                  <a:lnTo>
                    <a:pt x="678" y="198"/>
                  </a:lnTo>
                  <a:lnTo>
                    <a:pt x="676" y="198"/>
                  </a:lnTo>
                  <a:lnTo>
                    <a:pt x="672" y="198"/>
                  </a:lnTo>
                  <a:lnTo>
                    <a:pt x="668" y="198"/>
                  </a:lnTo>
                  <a:lnTo>
                    <a:pt x="668" y="202"/>
                  </a:lnTo>
                  <a:lnTo>
                    <a:pt x="664" y="198"/>
                  </a:lnTo>
                  <a:lnTo>
                    <a:pt x="660" y="198"/>
                  </a:lnTo>
                  <a:lnTo>
                    <a:pt x="656" y="198"/>
                  </a:lnTo>
                  <a:lnTo>
                    <a:pt x="652" y="198"/>
                  </a:lnTo>
                  <a:lnTo>
                    <a:pt x="650" y="202"/>
                  </a:lnTo>
                  <a:lnTo>
                    <a:pt x="646" y="202"/>
                  </a:lnTo>
                  <a:lnTo>
                    <a:pt x="646" y="198"/>
                  </a:lnTo>
                  <a:lnTo>
                    <a:pt x="650" y="198"/>
                  </a:lnTo>
                  <a:lnTo>
                    <a:pt x="652" y="198"/>
                  </a:lnTo>
                  <a:lnTo>
                    <a:pt x="650" y="198"/>
                  </a:lnTo>
                  <a:lnTo>
                    <a:pt x="646" y="198"/>
                  </a:lnTo>
                  <a:lnTo>
                    <a:pt x="642" y="198"/>
                  </a:lnTo>
                  <a:lnTo>
                    <a:pt x="642" y="194"/>
                  </a:lnTo>
                  <a:lnTo>
                    <a:pt x="638" y="194"/>
                  </a:lnTo>
                  <a:lnTo>
                    <a:pt x="634" y="194"/>
                  </a:lnTo>
                  <a:lnTo>
                    <a:pt x="638" y="194"/>
                  </a:lnTo>
                  <a:lnTo>
                    <a:pt x="642" y="194"/>
                  </a:lnTo>
                  <a:lnTo>
                    <a:pt x="642" y="190"/>
                  </a:lnTo>
                  <a:lnTo>
                    <a:pt x="638" y="190"/>
                  </a:lnTo>
                  <a:lnTo>
                    <a:pt x="634" y="190"/>
                  </a:lnTo>
                  <a:lnTo>
                    <a:pt x="630" y="190"/>
                  </a:lnTo>
                  <a:lnTo>
                    <a:pt x="630" y="186"/>
                  </a:lnTo>
                  <a:lnTo>
                    <a:pt x="626" y="186"/>
                  </a:lnTo>
                  <a:lnTo>
                    <a:pt x="622" y="186"/>
                  </a:lnTo>
                  <a:lnTo>
                    <a:pt x="622" y="182"/>
                  </a:lnTo>
                  <a:lnTo>
                    <a:pt x="626" y="186"/>
                  </a:lnTo>
                  <a:lnTo>
                    <a:pt x="630" y="186"/>
                  </a:lnTo>
                  <a:lnTo>
                    <a:pt x="634" y="186"/>
                  </a:lnTo>
                  <a:lnTo>
                    <a:pt x="630" y="182"/>
                  </a:lnTo>
                  <a:lnTo>
                    <a:pt x="626" y="182"/>
                  </a:lnTo>
                  <a:lnTo>
                    <a:pt x="622" y="182"/>
                  </a:lnTo>
                  <a:lnTo>
                    <a:pt x="626" y="180"/>
                  </a:lnTo>
                  <a:lnTo>
                    <a:pt x="630" y="180"/>
                  </a:lnTo>
                  <a:lnTo>
                    <a:pt x="634" y="180"/>
                  </a:lnTo>
                  <a:lnTo>
                    <a:pt x="638" y="180"/>
                  </a:lnTo>
                  <a:lnTo>
                    <a:pt x="642" y="176"/>
                  </a:lnTo>
                  <a:lnTo>
                    <a:pt x="642" y="180"/>
                  </a:lnTo>
                  <a:lnTo>
                    <a:pt x="646" y="180"/>
                  </a:lnTo>
                  <a:lnTo>
                    <a:pt x="650" y="180"/>
                  </a:lnTo>
                  <a:lnTo>
                    <a:pt x="652" y="180"/>
                  </a:lnTo>
                  <a:lnTo>
                    <a:pt x="656" y="180"/>
                  </a:lnTo>
                  <a:lnTo>
                    <a:pt x="660" y="182"/>
                  </a:lnTo>
                  <a:lnTo>
                    <a:pt x="664" y="182"/>
                  </a:lnTo>
                  <a:lnTo>
                    <a:pt x="664" y="180"/>
                  </a:lnTo>
                  <a:lnTo>
                    <a:pt x="668" y="180"/>
                  </a:lnTo>
                  <a:lnTo>
                    <a:pt x="668" y="182"/>
                  </a:lnTo>
                  <a:lnTo>
                    <a:pt x="672" y="182"/>
                  </a:lnTo>
                  <a:lnTo>
                    <a:pt x="676" y="186"/>
                  </a:lnTo>
                  <a:lnTo>
                    <a:pt x="676" y="190"/>
                  </a:lnTo>
                  <a:lnTo>
                    <a:pt x="672" y="194"/>
                  </a:lnTo>
                  <a:lnTo>
                    <a:pt x="672" y="198"/>
                  </a:lnTo>
                  <a:lnTo>
                    <a:pt x="672" y="194"/>
                  </a:lnTo>
                  <a:lnTo>
                    <a:pt x="676" y="194"/>
                  </a:lnTo>
                  <a:lnTo>
                    <a:pt x="678" y="190"/>
                  </a:lnTo>
                  <a:lnTo>
                    <a:pt x="682" y="190"/>
                  </a:lnTo>
                  <a:lnTo>
                    <a:pt x="686" y="190"/>
                  </a:lnTo>
                  <a:lnTo>
                    <a:pt x="690" y="190"/>
                  </a:lnTo>
                  <a:lnTo>
                    <a:pt x="694" y="190"/>
                  </a:lnTo>
                  <a:lnTo>
                    <a:pt x="694" y="186"/>
                  </a:lnTo>
                  <a:lnTo>
                    <a:pt x="698" y="186"/>
                  </a:lnTo>
                  <a:lnTo>
                    <a:pt x="702" y="186"/>
                  </a:lnTo>
                  <a:lnTo>
                    <a:pt x="706" y="186"/>
                  </a:lnTo>
                  <a:lnTo>
                    <a:pt x="708" y="190"/>
                  </a:lnTo>
                  <a:lnTo>
                    <a:pt x="712" y="190"/>
                  </a:lnTo>
                  <a:lnTo>
                    <a:pt x="716" y="190"/>
                  </a:lnTo>
                  <a:lnTo>
                    <a:pt x="716" y="194"/>
                  </a:lnTo>
                  <a:lnTo>
                    <a:pt x="712" y="194"/>
                  </a:lnTo>
                  <a:lnTo>
                    <a:pt x="708" y="194"/>
                  </a:lnTo>
                  <a:lnTo>
                    <a:pt x="706" y="194"/>
                  </a:lnTo>
                  <a:lnTo>
                    <a:pt x="702" y="194"/>
                  </a:lnTo>
                  <a:lnTo>
                    <a:pt x="706" y="194"/>
                  </a:lnTo>
                  <a:lnTo>
                    <a:pt x="708" y="194"/>
                  </a:lnTo>
                  <a:lnTo>
                    <a:pt x="712" y="194"/>
                  </a:lnTo>
                  <a:lnTo>
                    <a:pt x="716" y="194"/>
                  </a:lnTo>
                  <a:lnTo>
                    <a:pt x="716" y="198"/>
                  </a:lnTo>
                  <a:lnTo>
                    <a:pt x="720" y="198"/>
                  </a:lnTo>
                  <a:lnTo>
                    <a:pt x="724" y="198"/>
                  </a:lnTo>
                  <a:lnTo>
                    <a:pt x="728" y="198"/>
                  </a:lnTo>
                  <a:lnTo>
                    <a:pt x="732" y="198"/>
                  </a:lnTo>
                  <a:lnTo>
                    <a:pt x="734" y="202"/>
                  </a:lnTo>
                  <a:lnTo>
                    <a:pt x="732" y="202"/>
                  </a:lnTo>
                  <a:lnTo>
                    <a:pt x="728" y="202"/>
                  </a:lnTo>
                  <a:lnTo>
                    <a:pt x="724" y="202"/>
                  </a:lnTo>
                  <a:lnTo>
                    <a:pt x="716" y="202"/>
                  </a:lnTo>
                  <a:lnTo>
                    <a:pt x="720" y="202"/>
                  </a:lnTo>
                  <a:lnTo>
                    <a:pt x="716" y="202"/>
                  </a:lnTo>
                  <a:lnTo>
                    <a:pt x="712" y="202"/>
                  </a:lnTo>
                  <a:lnTo>
                    <a:pt x="708" y="202"/>
                  </a:lnTo>
                  <a:lnTo>
                    <a:pt x="706" y="202"/>
                  </a:lnTo>
                  <a:lnTo>
                    <a:pt x="702" y="202"/>
                  </a:lnTo>
                  <a:lnTo>
                    <a:pt x="702" y="198"/>
                  </a:lnTo>
                  <a:lnTo>
                    <a:pt x="698" y="198"/>
                  </a:lnTo>
                  <a:lnTo>
                    <a:pt x="698" y="202"/>
                  </a:lnTo>
                  <a:lnTo>
                    <a:pt x="702" y="202"/>
                  </a:lnTo>
                  <a:lnTo>
                    <a:pt x="706" y="202"/>
                  </a:lnTo>
                  <a:lnTo>
                    <a:pt x="708" y="202"/>
                  </a:lnTo>
                  <a:lnTo>
                    <a:pt x="712" y="206"/>
                  </a:lnTo>
                  <a:lnTo>
                    <a:pt x="708" y="206"/>
                  </a:lnTo>
                  <a:lnTo>
                    <a:pt x="712" y="206"/>
                  </a:lnTo>
                  <a:lnTo>
                    <a:pt x="716" y="206"/>
                  </a:lnTo>
                  <a:lnTo>
                    <a:pt x="720" y="206"/>
                  </a:lnTo>
                  <a:lnTo>
                    <a:pt x="716" y="206"/>
                  </a:lnTo>
                  <a:lnTo>
                    <a:pt x="712" y="206"/>
                  </a:lnTo>
                  <a:lnTo>
                    <a:pt x="708" y="206"/>
                  </a:lnTo>
                  <a:lnTo>
                    <a:pt x="706" y="206"/>
                  </a:lnTo>
                  <a:lnTo>
                    <a:pt x="708" y="208"/>
                  </a:lnTo>
                  <a:lnTo>
                    <a:pt x="706" y="208"/>
                  </a:lnTo>
                  <a:lnTo>
                    <a:pt x="706" y="212"/>
                  </a:lnTo>
                  <a:lnTo>
                    <a:pt x="706" y="208"/>
                  </a:lnTo>
                  <a:lnTo>
                    <a:pt x="708" y="208"/>
                  </a:lnTo>
                  <a:lnTo>
                    <a:pt x="708" y="206"/>
                  </a:lnTo>
                  <a:lnTo>
                    <a:pt x="712" y="206"/>
                  </a:lnTo>
                  <a:lnTo>
                    <a:pt x="712" y="208"/>
                  </a:lnTo>
                  <a:lnTo>
                    <a:pt x="716" y="208"/>
                  </a:lnTo>
                  <a:lnTo>
                    <a:pt x="712" y="208"/>
                  </a:lnTo>
                  <a:lnTo>
                    <a:pt x="716" y="208"/>
                  </a:lnTo>
                  <a:lnTo>
                    <a:pt x="720" y="208"/>
                  </a:lnTo>
                  <a:lnTo>
                    <a:pt x="720" y="206"/>
                  </a:lnTo>
                  <a:lnTo>
                    <a:pt x="724" y="206"/>
                  </a:lnTo>
                  <a:lnTo>
                    <a:pt x="724" y="208"/>
                  </a:lnTo>
                  <a:lnTo>
                    <a:pt x="728" y="208"/>
                  </a:lnTo>
                  <a:lnTo>
                    <a:pt x="724" y="212"/>
                  </a:lnTo>
                  <a:lnTo>
                    <a:pt x="728" y="212"/>
                  </a:lnTo>
                  <a:lnTo>
                    <a:pt x="728" y="208"/>
                  </a:lnTo>
                  <a:lnTo>
                    <a:pt x="732" y="212"/>
                  </a:lnTo>
                  <a:lnTo>
                    <a:pt x="734" y="212"/>
                  </a:lnTo>
                  <a:lnTo>
                    <a:pt x="732" y="216"/>
                  </a:lnTo>
                  <a:lnTo>
                    <a:pt x="728" y="216"/>
                  </a:lnTo>
                  <a:lnTo>
                    <a:pt x="724" y="220"/>
                  </a:lnTo>
                  <a:lnTo>
                    <a:pt x="728" y="216"/>
                  </a:lnTo>
                  <a:lnTo>
                    <a:pt x="728" y="220"/>
                  </a:lnTo>
                  <a:lnTo>
                    <a:pt x="728" y="216"/>
                  </a:lnTo>
                  <a:lnTo>
                    <a:pt x="732" y="216"/>
                  </a:lnTo>
                  <a:lnTo>
                    <a:pt x="734" y="220"/>
                  </a:lnTo>
                  <a:lnTo>
                    <a:pt x="734" y="224"/>
                  </a:lnTo>
                  <a:lnTo>
                    <a:pt x="738" y="224"/>
                  </a:lnTo>
                  <a:lnTo>
                    <a:pt x="738" y="220"/>
                  </a:lnTo>
                  <a:lnTo>
                    <a:pt x="738" y="216"/>
                  </a:lnTo>
                  <a:lnTo>
                    <a:pt x="742" y="216"/>
                  </a:lnTo>
                  <a:lnTo>
                    <a:pt x="746" y="216"/>
                  </a:lnTo>
                  <a:lnTo>
                    <a:pt x="746" y="220"/>
                  </a:lnTo>
                  <a:lnTo>
                    <a:pt x="748" y="220"/>
                  </a:lnTo>
                  <a:lnTo>
                    <a:pt x="752" y="220"/>
                  </a:lnTo>
                  <a:lnTo>
                    <a:pt x="756" y="220"/>
                  </a:lnTo>
                  <a:lnTo>
                    <a:pt x="756" y="216"/>
                  </a:lnTo>
                  <a:lnTo>
                    <a:pt x="760" y="216"/>
                  </a:lnTo>
                  <a:lnTo>
                    <a:pt x="764" y="216"/>
                  </a:lnTo>
                  <a:lnTo>
                    <a:pt x="764" y="220"/>
                  </a:lnTo>
                  <a:lnTo>
                    <a:pt x="768" y="220"/>
                  </a:lnTo>
                  <a:lnTo>
                    <a:pt x="772" y="220"/>
                  </a:lnTo>
                  <a:lnTo>
                    <a:pt x="772" y="224"/>
                  </a:lnTo>
                  <a:lnTo>
                    <a:pt x="768" y="224"/>
                  </a:lnTo>
                  <a:lnTo>
                    <a:pt x="772" y="224"/>
                  </a:lnTo>
                  <a:lnTo>
                    <a:pt x="776" y="224"/>
                  </a:lnTo>
                  <a:lnTo>
                    <a:pt x="778" y="224"/>
                  </a:lnTo>
                  <a:lnTo>
                    <a:pt x="782" y="224"/>
                  </a:lnTo>
                  <a:lnTo>
                    <a:pt x="778" y="220"/>
                  </a:lnTo>
                  <a:lnTo>
                    <a:pt x="776" y="220"/>
                  </a:lnTo>
                  <a:lnTo>
                    <a:pt x="778" y="220"/>
                  </a:lnTo>
                  <a:lnTo>
                    <a:pt x="782" y="220"/>
                  </a:lnTo>
                  <a:lnTo>
                    <a:pt x="786" y="220"/>
                  </a:lnTo>
                  <a:lnTo>
                    <a:pt x="790" y="216"/>
                  </a:lnTo>
                  <a:lnTo>
                    <a:pt x="794" y="216"/>
                  </a:lnTo>
                  <a:lnTo>
                    <a:pt x="798" y="216"/>
                  </a:lnTo>
                  <a:lnTo>
                    <a:pt x="802" y="216"/>
                  </a:lnTo>
                  <a:lnTo>
                    <a:pt x="806" y="212"/>
                  </a:lnTo>
                  <a:lnTo>
                    <a:pt x="808" y="212"/>
                  </a:lnTo>
                  <a:lnTo>
                    <a:pt x="812" y="212"/>
                  </a:lnTo>
                  <a:lnTo>
                    <a:pt x="816" y="212"/>
                  </a:lnTo>
                  <a:lnTo>
                    <a:pt x="820" y="212"/>
                  </a:lnTo>
                  <a:lnTo>
                    <a:pt x="824" y="212"/>
                  </a:lnTo>
                  <a:lnTo>
                    <a:pt x="828" y="212"/>
                  </a:lnTo>
                  <a:lnTo>
                    <a:pt x="832" y="212"/>
                  </a:lnTo>
                  <a:lnTo>
                    <a:pt x="834" y="212"/>
                  </a:lnTo>
                  <a:lnTo>
                    <a:pt x="838" y="212"/>
                  </a:lnTo>
                  <a:lnTo>
                    <a:pt x="842" y="212"/>
                  </a:lnTo>
                  <a:lnTo>
                    <a:pt x="846" y="212"/>
                  </a:lnTo>
                  <a:lnTo>
                    <a:pt x="846" y="216"/>
                  </a:lnTo>
                  <a:lnTo>
                    <a:pt x="850" y="216"/>
                  </a:lnTo>
                  <a:lnTo>
                    <a:pt x="854" y="216"/>
                  </a:lnTo>
                  <a:lnTo>
                    <a:pt x="858" y="216"/>
                  </a:lnTo>
                  <a:lnTo>
                    <a:pt x="862" y="216"/>
                  </a:lnTo>
                  <a:lnTo>
                    <a:pt x="864" y="220"/>
                  </a:lnTo>
                  <a:lnTo>
                    <a:pt x="862" y="220"/>
                  </a:lnTo>
                  <a:lnTo>
                    <a:pt x="858" y="220"/>
                  </a:lnTo>
                  <a:lnTo>
                    <a:pt x="862" y="220"/>
                  </a:lnTo>
                  <a:lnTo>
                    <a:pt x="864" y="220"/>
                  </a:lnTo>
                  <a:lnTo>
                    <a:pt x="868" y="220"/>
                  </a:lnTo>
                  <a:lnTo>
                    <a:pt x="868" y="224"/>
                  </a:lnTo>
                  <a:lnTo>
                    <a:pt x="868" y="228"/>
                  </a:lnTo>
                  <a:lnTo>
                    <a:pt x="872" y="228"/>
                  </a:lnTo>
                  <a:lnTo>
                    <a:pt x="868" y="228"/>
                  </a:lnTo>
                  <a:lnTo>
                    <a:pt x="864" y="232"/>
                  </a:lnTo>
                  <a:lnTo>
                    <a:pt x="864" y="228"/>
                  </a:lnTo>
                  <a:lnTo>
                    <a:pt x="864" y="232"/>
                  </a:lnTo>
                  <a:lnTo>
                    <a:pt x="862" y="232"/>
                  </a:lnTo>
                  <a:lnTo>
                    <a:pt x="858" y="232"/>
                  </a:lnTo>
                  <a:lnTo>
                    <a:pt x="858" y="236"/>
                  </a:lnTo>
                  <a:lnTo>
                    <a:pt x="858" y="236"/>
                  </a:lnTo>
                  <a:lnTo>
                    <a:pt x="858" y="236"/>
                  </a:lnTo>
                  <a:close/>
                  <a:moveTo>
                    <a:pt x="620" y="180"/>
                  </a:moveTo>
                  <a:lnTo>
                    <a:pt x="622" y="180"/>
                  </a:lnTo>
                  <a:lnTo>
                    <a:pt x="620" y="180"/>
                  </a:lnTo>
                  <a:lnTo>
                    <a:pt x="616" y="180"/>
                  </a:lnTo>
                  <a:lnTo>
                    <a:pt x="620" y="180"/>
                  </a:lnTo>
                  <a:lnTo>
                    <a:pt x="620" y="180"/>
                  </a:lnTo>
                  <a:lnTo>
                    <a:pt x="620" y="180"/>
                  </a:lnTo>
                  <a:close/>
                  <a:moveTo>
                    <a:pt x="380" y="186"/>
                  </a:moveTo>
                  <a:lnTo>
                    <a:pt x="374" y="186"/>
                  </a:lnTo>
                  <a:lnTo>
                    <a:pt x="370" y="186"/>
                  </a:lnTo>
                  <a:lnTo>
                    <a:pt x="370" y="182"/>
                  </a:lnTo>
                  <a:lnTo>
                    <a:pt x="374" y="182"/>
                  </a:lnTo>
                  <a:lnTo>
                    <a:pt x="378" y="182"/>
                  </a:lnTo>
                  <a:lnTo>
                    <a:pt x="380" y="182"/>
                  </a:lnTo>
                  <a:lnTo>
                    <a:pt x="384" y="182"/>
                  </a:lnTo>
                  <a:lnTo>
                    <a:pt x="388" y="182"/>
                  </a:lnTo>
                  <a:lnTo>
                    <a:pt x="388" y="186"/>
                  </a:lnTo>
                  <a:lnTo>
                    <a:pt x="384" y="186"/>
                  </a:lnTo>
                  <a:lnTo>
                    <a:pt x="380" y="186"/>
                  </a:lnTo>
                  <a:lnTo>
                    <a:pt x="380" y="186"/>
                  </a:lnTo>
                  <a:lnTo>
                    <a:pt x="380" y="186"/>
                  </a:lnTo>
                  <a:close/>
                  <a:moveTo>
                    <a:pt x="370" y="236"/>
                  </a:moveTo>
                  <a:lnTo>
                    <a:pt x="366" y="236"/>
                  </a:lnTo>
                  <a:lnTo>
                    <a:pt x="366" y="232"/>
                  </a:lnTo>
                  <a:lnTo>
                    <a:pt x="366" y="228"/>
                  </a:lnTo>
                  <a:lnTo>
                    <a:pt x="366" y="232"/>
                  </a:lnTo>
                  <a:lnTo>
                    <a:pt x="362" y="232"/>
                  </a:lnTo>
                  <a:lnTo>
                    <a:pt x="358" y="232"/>
                  </a:lnTo>
                  <a:lnTo>
                    <a:pt x="362" y="232"/>
                  </a:lnTo>
                  <a:lnTo>
                    <a:pt x="362" y="236"/>
                  </a:lnTo>
                  <a:lnTo>
                    <a:pt x="358" y="236"/>
                  </a:lnTo>
                  <a:lnTo>
                    <a:pt x="354" y="236"/>
                  </a:lnTo>
                  <a:lnTo>
                    <a:pt x="352" y="232"/>
                  </a:lnTo>
                  <a:lnTo>
                    <a:pt x="352" y="228"/>
                  </a:lnTo>
                  <a:lnTo>
                    <a:pt x="348" y="228"/>
                  </a:lnTo>
                  <a:lnTo>
                    <a:pt x="344" y="232"/>
                  </a:lnTo>
                  <a:lnTo>
                    <a:pt x="336" y="232"/>
                  </a:lnTo>
                  <a:lnTo>
                    <a:pt x="336" y="228"/>
                  </a:lnTo>
                  <a:lnTo>
                    <a:pt x="332" y="228"/>
                  </a:lnTo>
                  <a:lnTo>
                    <a:pt x="328" y="228"/>
                  </a:lnTo>
                  <a:lnTo>
                    <a:pt x="332" y="224"/>
                  </a:lnTo>
                  <a:lnTo>
                    <a:pt x="336" y="224"/>
                  </a:lnTo>
                  <a:lnTo>
                    <a:pt x="336" y="220"/>
                  </a:lnTo>
                  <a:lnTo>
                    <a:pt x="340" y="220"/>
                  </a:lnTo>
                  <a:lnTo>
                    <a:pt x="344" y="220"/>
                  </a:lnTo>
                  <a:lnTo>
                    <a:pt x="352" y="220"/>
                  </a:lnTo>
                  <a:lnTo>
                    <a:pt x="354" y="220"/>
                  </a:lnTo>
                  <a:lnTo>
                    <a:pt x="358" y="220"/>
                  </a:lnTo>
                  <a:lnTo>
                    <a:pt x="358" y="216"/>
                  </a:lnTo>
                  <a:lnTo>
                    <a:pt x="362" y="216"/>
                  </a:lnTo>
                  <a:lnTo>
                    <a:pt x="366" y="216"/>
                  </a:lnTo>
                  <a:lnTo>
                    <a:pt x="370" y="216"/>
                  </a:lnTo>
                  <a:lnTo>
                    <a:pt x="366" y="216"/>
                  </a:lnTo>
                  <a:lnTo>
                    <a:pt x="362" y="216"/>
                  </a:lnTo>
                  <a:lnTo>
                    <a:pt x="358" y="216"/>
                  </a:lnTo>
                  <a:lnTo>
                    <a:pt x="354" y="216"/>
                  </a:lnTo>
                  <a:lnTo>
                    <a:pt x="352" y="216"/>
                  </a:lnTo>
                  <a:lnTo>
                    <a:pt x="352" y="220"/>
                  </a:lnTo>
                  <a:lnTo>
                    <a:pt x="348" y="220"/>
                  </a:lnTo>
                  <a:lnTo>
                    <a:pt x="344" y="220"/>
                  </a:lnTo>
                  <a:lnTo>
                    <a:pt x="336" y="220"/>
                  </a:lnTo>
                  <a:lnTo>
                    <a:pt x="336" y="216"/>
                  </a:lnTo>
                  <a:lnTo>
                    <a:pt x="340" y="216"/>
                  </a:lnTo>
                  <a:lnTo>
                    <a:pt x="340" y="212"/>
                  </a:lnTo>
                  <a:lnTo>
                    <a:pt x="344" y="212"/>
                  </a:lnTo>
                  <a:lnTo>
                    <a:pt x="348" y="212"/>
                  </a:lnTo>
                  <a:lnTo>
                    <a:pt x="352" y="212"/>
                  </a:lnTo>
                  <a:lnTo>
                    <a:pt x="354" y="212"/>
                  </a:lnTo>
                  <a:lnTo>
                    <a:pt x="358" y="212"/>
                  </a:lnTo>
                  <a:lnTo>
                    <a:pt x="358" y="208"/>
                  </a:lnTo>
                  <a:lnTo>
                    <a:pt x="358" y="212"/>
                  </a:lnTo>
                  <a:lnTo>
                    <a:pt x="362" y="212"/>
                  </a:lnTo>
                  <a:lnTo>
                    <a:pt x="362" y="208"/>
                  </a:lnTo>
                  <a:lnTo>
                    <a:pt x="366" y="208"/>
                  </a:lnTo>
                  <a:lnTo>
                    <a:pt x="370" y="208"/>
                  </a:lnTo>
                  <a:lnTo>
                    <a:pt x="366" y="208"/>
                  </a:lnTo>
                  <a:lnTo>
                    <a:pt x="362" y="208"/>
                  </a:lnTo>
                  <a:lnTo>
                    <a:pt x="358" y="208"/>
                  </a:lnTo>
                  <a:lnTo>
                    <a:pt x="354" y="208"/>
                  </a:lnTo>
                  <a:lnTo>
                    <a:pt x="352" y="208"/>
                  </a:lnTo>
                  <a:lnTo>
                    <a:pt x="348" y="208"/>
                  </a:lnTo>
                  <a:lnTo>
                    <a:pt x="344" y="208"/>
                  </a:lnTo>
                  <a:lnTo>
                    <a:pt x="348" y="208"/>
                  </a:lnTo>
                  <a:lnTo>
                    <a:pt x="348" y="206"/>
                  </a:lnTo>
                  <a:lnTo>
                    <a:pt x="344" y="206"/>
                  </a:lnTo>
                  <a:lnTo>
                    <a:pt x="348" y="202"/>
                  </a:lnTo>
                  <a:lnTo>
                    <a:pt x="352" y="202"/>
                  </a:lnTo>
                  <a:lnTo>
                    <a:pt x="354" y="202"/>
                  </a:lnTo>
                  <a:lnTo>
                    <a:pt x="358" y="202"/>
                  </a:lnTo>
                  <a:lnTo>
                    <a:pt x="362" y="202"/>
                  </a:lnTo>
                  <a:lnTo>
                    <a:pt x="366" y="202"/>
                  </a:lnTo>
                  <a:lnTo>
                    <a:pt x="370" y="202"/>
                  </a:lnTo>
                  <a:lnTo>
                    <a:pt x="374" y="202"/>
                  </a:lnTo>
                  <a:lnTo>
                    <a:pt x="370" y="202"/>
                  </a:lnTo>
                  <a:lnTo>
                    <a:pt x="366" y="202"/>
                  </a:lnTo>
                  <a:lnTo>
                    <a:pt x="362" y="202"/>
                  </a:lnTo>
                  <a:lnTo>
                    <a:pt x="358" y="202"/>
                  </a:lnTo>
                  <a:lnTo>
                    <a:pt x="354" y="202"/>
                  </a:lnTo>
                  <a:lnTo>
                    <a:pt x="354" y="198"/>
                  </a:lnTo>
                  <a:lnTo>
                    <a:pt x="358" y="194"/>
                  </a:lnTo>
                  <a:lnTo>
                    <a:pt x="362" y="194"/>
                  </a:lnTo>
                  <a:lnTo>
                    <a:pt x="366" y="194"/>
                  </a:lnTo>
                  <a:lnTo>
                    <a:pt x="370" y="194"/>
                  </a:lnTo>
                  <a:lnTo>
                    <a:pt x="374" y="194"/>
                  </a:lnTo>
                  <a:lnTo>
                    <a:pt x="378" y="194"/>
                  </a:lnTo>
                  <a:lnTo>
                    <a:pt x="380" y="194"/>
                  </a:lnTo>
                  <a:lnTo>
                    <a:pt x="380" y="198"/>
                  </a:lnTo>
                  <a:lnTo>
                    <a:pt x="380" y="202"/>
                  </a:lnTo>
                  <a:lnTo>
                    <a:pt x="384" y="202"/>
                  </a:lnTo>
                  <a:lnTo>
                    <a:pt x="388" y="202"/>
                  </a:lnTo>
                  <a:lnTo>
                    <a:pt x="392" y="198"/>
                  </a:lnTo>
                  <a:lnTo>
                    <a:pt x="396" y="198"/>
                  </a:lnTo>
                  <a:lnTo>
                    <a:pt x="400" y="198"/>
                  </a:lnTo>
                  <a:lnTo>
                    <a:pt x="400" y="202"/>
                  </a:lnTo>
                  <a:lnTo>
                    <a:pt x="404" y="202"/>
                  </a:lnTo>
                  <a:lnTo>
                    <a:pt x="404" y="206"/>
                  </a:lnTo>
                  <a:lnTo>
                    <a:pt x="408" y="206"/>
                  </a:lnTo>
                  <a:lnTo>
                    <a:pt x="410" y="206"/>
                  </a:lnTo>
                  <a:lnTo>
                    <a:pt x="410" y="208"/>
                  </a:lnTo>
                  <a:lnTo>
                    <a:pt x="414" y="208"/>
                  </a:lnTo>
                  <a:lnTo>
                    <a:pt x="410" y="208"/>
                  </a:lnTo>
                  <a:lnTo>
                    <a:pt x="408" y="208"/>
                  </a:lnTo>
                  <a:lnTo>
                    <a:pt x="408" y="212"/>
                  </a:lnTo>
                  <a:lnTo>
                    <a:pt x="410" y="212"/>
                  </a:lnTo>
                  <a:lnTo>
                    <a:pt x="414" y="212"/>
                  </a:lnTo>
                  <a:lnTo>
                    <a:pt x="418" y="212"/>
                  </a:lnTo>
                  <a:lnTo>
                    <a:pt x="418" y="216"/>
                  </a:lnTo>
                  <a:lnTo>
                    <a:pt x="418" y="220"/>
                  </a:lnTo>
                  <a:lnTo>
                    <a:pt x="422" y="220"/>
                  </a:lnTo>
                  <a:lnTo>
                    <a:pt x="424" y="220"/>
                  </a:lnTo>
                  <a:lnTo>
                    <a:pt x="428" y="220"/>
                  </a:lnTo>
                  <a:lnTo>
                    <a:pt x="432" y="220"/>
                  </a:lnTo>
                  <a:lnTo>
                    <a:pt x="436" y="220"/>
                  </a:lnTo>
                  <a:lnTo>
                    <a:pt x="440" y="220"/>
                  </a:lnTo>
                  <a:lnTo>
                    <a:pt x="444" y="220"/>
                  </a:lnTo>
                  <a:lnTo>
                    <a:pt x="448" y="220"/>
                  </a:lnTo>
                  <a:lnTo>
                    <a:pt x="450" y="220"/>
                  </a:lnTo>
                  <a:lnTo>
                    <a:pt x="454" y="220"/>
                  </a:lnTo>
                  <a:lnTo>
                    <a:pt x="454" y="216"/>
                  </a:lnTo>
                  <a:lnTo>
                    <a:pt x="450" y="212"/>
                  </a:lnTo>
                  <a:lnTo>
                    <a:pt x="448" y="212"/>
                  </a:lnTo>
                  <a:lnTo>
                    <a:pt x="444" y="212"/>
                  </a:lnTo>
                  <a:lnTo>
                    <a:pt x="444" y="208"/>
                  </a:lnTo>
                  <a:lnTo>
                    <a:pt x="440" y="208"/>
                  </a:lnTo>
                  <a:lnTo>
                    <a:pt x="436" y="208"/>
                  </a:lnTo>
                  <a:lnTo>
                    <a:pt x="440" y="208"/>
                  </a:lnTo>
                  <a:lnTo>
                    <a:pt x="444" y="208"/>
                  </a:lnTo>
                  <a:lnTo>
                    <a:pt x="448" y="206"/>
                  </a:lnTo>
                  <a:lnTo>
                    <a:pt x="448" y="202"/>
                  </a:lnTo>
                  <a:lnTo>
                    <a:pt x="444" y="202"/>
                  </a:lnTo>
                  <a:lnTo>
                    <a:pt x="440" y="202"/>
                  </a:lnTo>
                  <a:lnTo>
                    <a:pt x="436" y="202"/>
                  </a:lnTo>
                  <a:lnTo>
                    <a:pt x="436" y="198"/>
                  </a:lnTo>
                  <a:lnTo>
                    <a:pt x="432" y="198"/>
                  </a:lnTo>
                  <a:lnTo>
                    <a:pt x="432" y="194"/>
                  </a:lnTo>
                  <a:lnTo>
                    <a:pt x="436" y="194"/>
                  </a:lnTo>
                  <a:lnTo>
                    <a:pt x="440" y="194"/>
                  </a:lnTo>
                  <a:lnTo>
                    <a:pt x="444" y="194"/>
                  </a:lnTo>
                  <a:lnTo>
                    <a:pt x="444" y="190"/>
                  </a:lnTo>
                  <a:lnTo>
                    <a:pt x="440" y="190"/>
                  </a:lnTo>
                  <a:lnTo>
                    <a:pt x="444" y="190"/>
                  </a:lnTo>
                  <a:lnTo>
                    <a:pt x="444" y="186"/>
                  </a:lnTo>
                  <a:lnTo>
                    <a:pt x="448" y="182"/>
                  </a:lnTo>
                  <a:lnTo>
                    <a:pt x="450" y="182"/>
                  </a:lnTo>
                  <a:lnTo>
                    <a:pt x="454" y="182"/>
                  </a:lnTo>
                  <a:lnTo>
                    <a:pt x="458" y="182"/>
                  </a:lnTo>
                  <a:lnTo>
                    <a:pt x="458" y="186"/>
                  </a:lnTo>
                  <a:lnTo>
                    <a:pt x="458" y="190"/>
                  </a:lnTo>
                  <a:lnTo>
                    <a:pt x="454" y="190"/>
                  </a:lnTo>
                  <a:lnTo>
                    <a:pt x="458" y="190"/>
                  </a:lnTo>
                  <a:lnTo>
                    <a:pt x="458" y="194"/>
                  </a:lnTo>
                  <a:lnTo>
                    <a:pt x="462" y="194"/>
                  </a:lnTo>
                  <a:lnTo>
                    <a:pt x="462" y="198"/>
                  </a:lnTo>
                  <a:lnTo>
                    <a:pt x="466" y="198"/>
                  </a:lnTo>
                  <a:lnTo>
                    <a:pt x="462" y="202"/>
                  </a:lnTo>
                  <a:lnTo>
                    <a:pt x="462" y="206"/>
                  </a:lnTo>
                  <a:lnTo>
                    <a:pt x="466" y="206"/>
                  </a:lnTo>
                  <a:lnTo>
                    <a:pt x="470" y="206"/>
                  </a:lnTo>
                  <a:lnTo>
                    <a:pt x="474" y="206"/>
                  </a:lnTo>
                  <a:lnTo>
                    <a:pt x="470" y="208"/>
                  </a:lnTo>
                  <a:lnTo>
                    <a:pt x="466" y="208"/>
                  </a:lnTo>
                  <a:lnTo>
                    <a:pt x="466" y="212"/>
                  </a:lnTo>
                  <a:lnTo>
                    <a:pt x="470" y="212"/>
                  </a:lnTo>
                  <a:lnTo>
                    <a:pt x="470" y="208"/>
                  </a:lnTo>
                  <a:lnTo>
                    <a:pt x="474" y="208"/>
                  </a:lnTo>
                  <a:lnTo>
                    <a:pt x="478" y="208"/>
                  </a:lnTo>
                  <a:lnTo>
                    <a:pt x="480" y="208"/>
                  </a:lnTo>
                  <a:lnTo>
                    <a:pt x="480" y="212"/>
                  </a:lnTo>
                  <a:lnTo>
                    <a:pt x="484" y="212"/>
                  </a:lnTo>
                  <a:lnTo>
                    <a:pt x="480" y="212"/>
                  </a:lnTo>
                  <a:lnTo>
                    <a:pt x="480" y="208"/>
                  </a:lnTo>
                  <a:lnTo>
                    <a:pt x="484" y="206"/>
                  </a:lnTo>
                  <a:lnTo>
                    <a:pt x="488" y="206"/>
                  </a:lnTo>
                  <a:lnTo>
                    <a:pt x="492" y="206"/>
                  </a:lnTo>
                  <a:lnTo>
                    <a:pt x="496" y="206"/>
                  </a:lnTo>
                  <a:lnTo>
                    <a:pt x="500" y="208"/>
                  </a:lnTo>
                  <a:lnTo>
                    <a:pt x="504" y="208"/>
                  </a:lnTo>
                  <a:lnTo>
                    <a:pt x="504" y="212"/>
                  </a:lnTo>
                  <a:lnTo>
                    <a:pt x="504" y="216"/>
                  </a:lnTo>
                  <a:lnTo>
                    <a:pt x="504" y="220"/>
                  </a:lnTo>
                  <a:lnTo>
                    <a:pt x="500" y="220"/>
                  </a:lnTo>
                  <a:lnTo>
                    <a:pt x="500" y="224"/>
                  </a:lnTo>
                  <a:lnTo>
                    <a:pt x="500" y="228"/>
                  </a:lnTo>
                  <a:lnTo>
                    <a:pt x="496" y="228"/>
                  </a:lnTo>
                  <a:lnTo>
                    <a:pt x="496" y="232"/>
                  </a:lnTo>
                  <a:lnTo>
                    <a:pt x="492" y="232"/>
                  </a:lnTo>
                  <a:lnTo>
                    <a:pt x="496" y="232"/>
                  </a:lnTo>
                  <a:lnTo>
                    <a:pt x="492" y="236"/>
                  </a:lnTo>
                  <a:lnTo>
                    <a:pt x="488" y="236"/>
                  </a:lnTo>
                  <a:lnTo>
                    <a:pt x="484" y="236"/>
                  </a:lnTo>
                  <a:lnTo>
                    <a:pt x="480" y="236"/>
                  </a:lnTo>
                  <a:lnTo>
                    <a:pt x="478" y="236"/>
                  </a:lnTo>
                  <a:lnTo>
                    <a:pt x="474" y="236"/>
                  </a:lnTo>
                  <a:lnTo>
                    <a:pt x="470" y="236"/>
                  </a:lnTo>
                  <a:lnTo>
                    <a:pt x="470" y="232"/>
                  </a:lnTo>
                  <a:lnTo>
                    <a:pt x="470" y="236"/>
                  </a:lnTo>
                  <a:lnTo>
                    <a:pt x="466" y="236"/>
                  </a:lnTo>
                  <a:lnTo>
                    <a:pt x="462" y="236"/>
                  </a:lnTo>
                  <a:lnTo>
                    <a:pt x="458" y="236"/>
                  </a:lnTo>
                  <a:lnTo>
                    <a:pt x="454" y="236"/>
                  </a:lnTo>
                  <a:lnTo>
                    <a:pt x="458" y="236"/>
                  </a:lnTo>
                  <a:lnTo>
                    <a:pt x="458" y="232"/>
                  </a:lnTo>
                  <a:lnTo>
                    <a:pt x="454" y="232"/>
                  </a:lnTo>
                  <a:lnTo>
                    <a:pt x="450" y="236"/>
                  </a:lnTo>
                  <a:lnTo>
                    <a:pt x="448" y="236"/>
                  </a:lnTo>
                  <a:lnTo>
                    <a:pt x="444" y="238"/>
                  </a:lnTo>
                  <a:lnTo>
                    <a:pt x="440" y="238"/>
                  </a:lnTo>
                  <a:lnTo>
                    <a:pt x="436" y="238"/>
                  </a:lnTo>
                  <a:lnTo>
                    <a:pt x="432" y="238"/>
                  </a:lnTo>
                  <a:lnTo>
                    <a:pt x="428" y="238"/>
                  </a:lnTo>
                  <a:lnTo>
                    <a:pt x="428" y="242"/>
                  </a:lnTo>
                  <a:lnTo>
                    <a:pt x="424" y="242"/>
                  </a:lnTo>
                  <a:lnTo>
                    <a:pt x="422" y="246"/>
                  </a:lnTo>
                  <a:lnTo>
                    <a:pt x="418" y="246"/>
                  </a:lnTo>
                  <a:lnTo>
                    <a:pt x="414" y="246"/>
                  </a:lnTo>
                  <a:lnTo>
                    <a:pt x="410" y="250"/>
                  </a:lnTo>
                  <a:lnTo>
                    <a:pt x="408" y="250"/>
                  </a:lnTo>
                  <a:lnTo>
                    <a:pt x="404" y="250"/>
                  </a:lnTo>
                  <a:lnTo>
                    <a:pt x="400" y="250"/>
                  </a:lnTo>
                  <a:lnTo>
                    <a:pt x="396" y="250"/>
                  </a:lnTo>
                  <a:lnTo>
                    <a:pt x="392" y="250"/>
                  </a:lnTo>
                  <a:lnTo>
                    <a:pt x="388" y="250"/>
                  </a:lnTo>
                  <a:lnTo>
                    <a:pt x="384" y="246"/>
                  </a:lnTo>
                  <a:lnTo>
                    <a:pt x="380" y="246"/>
                  </a:lnTo>
                  <a:lnTo>
                    <a:pt x="378" y="246"/>
                  </a:lnTo>
                  <a:lnTo>
                    <a:pt x="378" y="242"/>
                  </a:lnTo>
                  <a:lnTo>
                    <a:pt x="380" y="238"/>
                  </a:lnTo>
                  <a:lnTo>
                    <a:pt x="384" y="238"/>
                  </a:lnTo>
                  <a:lnTo>
                    <a:pt x="388" y="238"/>
                  </a:lnTo>
                  <a:lnTo>
                    <a:pt x="392" y="238"/>
                  </a:lnTo>
                  <a:lnTo>
                    <a:pt x="392" y="236"/>
                  </a:lnTo>
                  <a:lnTo>
                    <a:pt x="396" y="236"/>
                  </a:lnTo>
                  <a:lnTo>
                    <a:pt x="400" y="236"/>
                  </a:lnTo>
                  <a:lnTo>
                    <a:pt x="404" y="236"/>
                  </a:lnTo>
                  <a:lnTo>
                    <a:pt x="408" y="236"/>
                  </a:lnTo>
                  <a:lnTo>
                    <a:pt x="410" y="236"/>
                  </a:lnTo>
                  <a:lnTo>
                    <a:pt x="414" y="236"/>
                  </a:lnTo>
                  <a:lnTo>
                    <a:pt x="418" y="236"/>
                  </a:lnTo>
                  <a:lnTo>
                    <a:pt x="422" y="232"/>
                  </a:lnTo>
                  <a:lnTo>
                    <a:pt x="424" y="228"/>
                  </a:lnTo>
                  <a:lnTo>
                    <a:pt x="422" y="228"/>
                  </a:lnTo>
                  <a:lnTo>
                    <a:pt x="418" y="228"/>
                  </a:lnTo>
                  <a:lnTo>
                    <a:pt x="418" y="232"/>
                  </a:lnTo>
                  <a:lnTo>
                    <a:pt x="414" y="232"/>
                  </a:lnTo>
                  <a:lnTo>
                    <a:pt x="414" y="228"/>
                  </a:lnTo>
                  <a:lnTo>
                    <a:pt x="410" y="232"/>
                  </a:lnTo>
                  <a:lnTo>
                    <a:pt x="408" y="232"/>
                  </a:lnTo>
                  <a:lnTo>
                    <a:pt x="404" y="232"/>
                  </a:lnTo>
                  <a:lnTo>
                    <a:pt x="408" y="228"/>
                  </a:lnTo>
                  <a:lnTo>
                    <a:pt x="404" y="228"/>
                  </a:lnTo>
                  <a:lnTo>
                    <a:pt x="400" y="228"/>
                  </a:lnTo>
                  <a:lnTo>
                    <a:pt x="400" y="232"/>
                  </a:lnTo>
                  <a:lnTo>
                    <a:pt x="396" y="232"/>
                  </a:lnTo>
                  <a:lnTo>
                    <a:pt x="392" y="232"/>
                  </a:lnTo>
                  <a:lnTo>
                    <a:pt x="388" y="232"/>
                  </a:lnTo>
                  <a:lnTo>
                    <a:pt x="384" y="232"/>
                  </a:lnTo>
                  <a:lnTo>
                    <a:pt x="380" y="232"/>
                  </a:lnTo>
                  <a:lnTo>
                    <a:pt x="384" y="228"/>
                  </a:lnTo>
                  <a:lnTo>
                    <a:pt x="384" y="224"/>
                  </a:lnTo>
                  <a:lnTo>
                    <a:pt x="388" y="224"/>
                  </a:lnTo>
                  <a:lnTo>
                    <a:pt x="392" y="224"/>
                  </a:lnTo>
                  <a:lnTo>
                    <a:pt x="388" y="224"/>
                  </a:lnTo>
                  <a:lnTo>
                    <a:pt x="384" y="224"/>
                  </a:lnTo>
                  <a:lnTo>
                    <a:pt x="380" y="224"/>
                  </a:lnTo>
                  <a:lnTo>
                    <a:pt x="380" y="220"/>
                  </a:lnTo>
                  <a:lnTo>
                    <a:pt x="380" y="224"/>
                  </a:lnTo>
                  <a:lnTo>
                    <a:pt x="380" y="228"/>
                  </a:lnTo>
                  <a:lnTo>
                    <a:pt x="378" y="228"/>
                  </a:lnTo>
                  <a:lnTo>
                    <a:pt x="374" y="224"/>
                  </a:lnTo>
                  <a:lnTo>
                    <a:pt x="374" y="228"/>
                  </a:lnTo>
                  <a:lnTo>
                    <a:pt x="378" y="228"/>
                  </a:lnTo>
                  <a:lnTo>
                    <a:pt x="378" y="232"/>
                  </a:lnTo>
                  <a:lnTo>
                    <a:pt x="374" y="232"/>
                  </a:lnTo>
                  <a:lnTo>
                    <a:pt x="374" y="236"/>
                  </a:lnTo>
                  <a:lnTo>
                    <a:pt x="370" y="236"/>
                  </a:lnTo>
                  <a:lnTo>
                    <a:pt x="370" y="236"/>
                  </a:lnTo>
                  <a:lnTo>
                    <a:pt x="370" y="236"/>
                  </a:lnTo>
                  <a:close/>
                  <a:moveTo>
                    <a:pt x="724" y="194"/>
                  </a:moveTo>
                  <a:lnTo>
                    <a:pt x="720" y="194"/>
                  </a:lnTo>
                  <a:lnTo>
                    <a:pt x="720" y="190"/>
                  </a:lnTo>
                  <a:lnTo>
                    <a:pt x="716" y="190"/>
                  </a:lnTo>
                  <a:lnTo>
                    <a:pt x="716" y="186"/>
                  </a:lnTo>
                  <a:lnTo>
                    <a:pt x="712" y="186"/>
                  </a:lnTo>
                  <a:lnTo>
                    <a:pt x="716" y="186"/>
                  </a:lnTo>
                  <a:lnTo>
                    <a:pt x="716" y="182"/>
                  </a:lnTo>
                  <a:lnTo>
                    <a:pt x="720" y="182"/>
                  </a:lnTo>
                  <a:lnTo>
                    <a:pt x="724" y="182"/>
                  </a:lnTo>
                  <a:lnTo>
                    <a:pt x="724" y="186"/>
                  </a:lnTo>
                  <a:lnTo>
                    <a:pt x="728" y="186"/>
                  </a:lnTo>
                  <a:lnTo>
                    <a:pt x="724" y="186"/>
                  </a:lnTo>
                  <a:lnTo>
                    <a:pt x="724" y="190"/>
                  </a:lnTo>
                  <a:lnTo>
                    <a:pt x="724" y="194"/>
                  </a:lnTo>
                  <a:lnTo>
                    <a:pt x="728" y="194"/>
                  </a:lnTo>
                  <a:lnTo>
                    <a:pt x="724" y="194"/>
                  </a:lnTo>
                  <a:lnTo>
                    <a:pt x="724" y="194"/>
                  </a:lnTo>
                  <a:lnTo>
                    <a:pt x="724" y="194"/>
                  </a:lnTo>
                  <a:close/>
                  <a:moveTo>
                    <a:pt x="574" y="186"/>
                  </a:moveTo>
                  <a:lnTo>
                    <a:pt x="570" y="190"/>
                  </a:lnTo>
                  <a:lnTo>
                    <a:pt x="566" y="190"/>
                  </a:lnTo>
                  <a:lnTo>
                    <a:pt x="564" y="190"/>
                  </a:lnTo>
                  <a:lnTo>
                    <a:pt x="560" y="190"/>
                  </a:lnTo>
                  <a:lnTo>
                    <a:pt x="556" y="190"/>
                  </a:lnTo>
                  <a:lnTo>
                    <a:pt x="560" y="190"/>
                  </a:lnTo>
                  <a:lnTo>
                    <a:pt x="564" y="190"/>
                  </a:lnTo>
                  <a:lnTo>
                    <a:pt x="564" y="186"/>
                  </a:lnTo>
                  <a:lnTo>
                    <a:pt x="566" y="186"/>
                  </a:lnTo>
                  <a:lnTo>
                    <a:pt x="570" y="186"/>
                  </a:lnTo>
                  <a:lnTo>
                    <a:pt x="574" y="186"/>
                  </a:lnTo>
                  <a:lnTo>
                    <a:pt x="578" y="186"/>
                  </a:lnTo>
                  <a:lnTo>
                    <a:pt x="574" y="186"/>
                  </a:lnTo>
                  <a:lnTo>
                    <a:pt x="574" y="186"/>
                  </a:lnTo>
                  <a:lnTo>
                    <a:pt x="574" y="186"/>
                  </a:lnTo>
                  <a:close/>
                  <a:moveTo>
                    <a:pt x="586" y="186"/>
                  </a:moveTo>
                  <a:lnTo>
                    <a:pt x="590" y="186"/>
                  </a:lnTo>
                  <a:lnTo>
                    <a:pt x="586" y="186"/>
                  </a:lnTo>
                  <a:lnTo>
                    <a:pt x="582" y="186"/>
                  </a:lnTo>
                  <a:lnTo>
                    <a:pt x="578" y="186"/>
                  </a:lnTo>
                  <a:lnTo>
                    <a:pt x="582" y="186"/>
                  </a:lnTo>
                  <a:lnTo>
                    <a:pt x="586" y="186"/>
                  </a:lnTo>
                  <a:lnTo>
                    <a:pt x="586" y="186"/>
                  </a:lnTo>
                  <a:lnTo>
                    <a:pt x="586" y="186"/>
                  </a:lnTo>
                  <a:close/>
                  <a:moveTo>
                    <a:pt x="586" y="236"/>
                  </a:moveTo>
                  <a:lnTo>
                    <a:pt x="582" y="236"/>
                  </a:lnTo>
                  <a:lnTo>
                    <a:pt x="578" y="236"/>
                  </a:lnTo>
                  <a:lnTo>
                    <a:pt x="574" y="236"/>
                  </a:lnTo>
                  <a:lnTo>
                    <a:pt x="574" y="232"/>
                  </a:lnTo>
                  <a:lnTo>
                    <a:pt x="574" y="228"/>
                  </a:lnTo>
                  <a:lnTo>
                    <a:pt x="570" y="228"/>
                  </a:lnTo>
                  <a:lnTo>
                    <a:pt x="574" y="228"/>
                  </a:lnTo>
                  <a:lnTo>
                    <a:pt x="578" y="228"/>
                  </a:lnTo>
                  <a:lnTo>
                    <a:pt x="582" y="228"/>
                  </a:lnTo>
                  <a:lnTo>
                    <a:pt x="578" y="228"/>
                  </a:lnTo>
                  <a:lnTo>
                    <a:pt x="574" y="228"/>
                  </a:lnTo>
                  <a:lnTo>
                    <a:pt x="578" y="224"/>
                  </a:lnTo>
                  <a:lnTo>
                    <a:pt x="574" y="224"/>
                  </a:lnTo>
                  <a:lnTo>
                    <a:pt x="574" y="228"/>
                  </a:lnTo>
                  <a:lnTo>
                    <a:pt x="570" y="224"/>
                  </a:lnTo>
                  <a:lnTo>
                    <a:pt x="574" y="224"/>
                  </a:lnTo>
                  <a:lnTo>
                    <a:pt x="570" y="224"/>
                  </a:lnTo>
                  <a:lnTo>
                    <a:pt x="574" y="220"/>
                  </a:lnTo>
                  <a:lnTo>
                    <a:pt x="578" y="220"/>
                  </a:lnTo>
                  <a:lnTo>
                    <a:pt x="574" y="220"/>
                  </a:lnTo>
                  <a:lnTo>
                    <a:pt x="578" y="220"/>
                  </a:lnTo>
                  <a:lnTo>
                    <a:pt x="582" y="220"/>
                  </a:lnTo>
                  <a:lnTo>
                    <a:pt x="578" y="220"/>
                  </a:lnTo>
                  <a:lnTo>
                    <a:pt x="582" y="216"/>
                  </a:lnTo>
                  <a:lnTo>
                    <a:pt x="586" y="216"/>
                  </a:lnTo>
                  <a:lnTo>
                    <a:pt x="582" y="216"/>
                  </a:lnTo>
                  <a:lnTo>
                    <a:pt x="590" y="216"/>
                  </a:lnTo>
                  <a:lnTo>
                    <a:pt x="592" y="216"/>
                  </a:lnTo>
                  <a:lnTo>
                    <a:pt x="596" y="216"/>
                  </a:lnTo>
                  <a:lnTo>
                    <a:pt x="592" y="216"/>
                  </a:lnTo>
                  <a:lnTo>
                    <a:pt x="590" y="216"/>
                  </a:lnTo>
                  <a:lnTo>
                    <a:pt x="586" y="216"/>
                  </a:lnTo>
                  <a:lnTo>
                    <a:pt x="582" y="216"/>
                  </a:lnTo>
                  <a:lnTo>
                    <a:pt x="578" y="216"/>
                  </a:lnTo>
                  <a:lnTo>
                    <a:pt x="574" y="216"/>
                  </a:lnTo>
                  <a:lnTo>
                    <a:pt x="570" y="216"/>
                  </a:lnTo>
                  <a:lnTo>
                    <a:pt x="566" y="216"/>
                  </a:lnTo>
                  <a:lnTo>
                    <a:pt x="564" y="216"/>
                  </a:lnTo>
                  <a:lnTo>
                    <a:pt x="560" y="216"/>
                  </a:lnTo>
                  <a:lnTo>
                    <a:pt x="556" y="220"/>
                  </a:lnTo>
                  <a:lnTo>
                    <a:pt x="552" y="220"/>
                  </a:lnTo>
                  <a:lnTo>
                    <a:pt x="548" y="220"/>
                  </a:lnTo>
                  <a:lnTo>
                    <a:pt x="544" y="220"/>
                  </a:lnTo>
                  <a:lnTo>
                    <a:pt x="540" y="220"/>
                  </a:lnTo>
                  <a:lnTo>
                    <a:pt x="540" y="216"/>
                  </a:lnTo>
                  <a:lnTo>
                    <a:pt x="544" y="212"/>
                  </a:lnTo>
                  <a:lnTo>
                    <a:pt x="548" y="212"/>
                  </a:lnTo>
                  <a:lnTo>
                    <a:pt x="548" y="216"/>
                  </a:lnTo>
                  <a:lnTo>
                    <a:pt x="552" y="216"/>
                  </a:lnTo>
                  <a:lnTo>
                    <a:pt x="552" y="212"/>
                  </a:lnTo>
                  <a:lnTo>
                    <a:pt x="548" y="212"/>
                  </a:lnTo>
                  <a:lnTo>
                    <a:pt x="548" y="208"/>
                  </a:lnTo>
                  <a:lnTo>
                    <a:pt x="552" y="208"/>
                  </a:lnTo>
                  <a:lnTo>
                    <a:pt x="556" y="208"/>
                  </a:lnTo>
                  <a:lnTo>
                    <a:pt x="560" y="212"/>
                  </a:lnTo>
                  <a:lnTo>
                    <a:pt x="564" y="212"/>
                  </a:lnTo>
                  <a:lnTo>
                    <a:pt x="560" y="212"/>
                  </a:lnTo>
                  <a:lnTo>
                    <a:pt x="560" y="208"/>
                  </a:lnTo>
                  <a:lnTo>
                    <a:pt x="564" y="206"/>
                  </a:lnTo>
                  <a:lnTo>
                    <a:pt x="560" y="206"/>
                  </a:lnTo>
                  <a:lnTo>
                    <a:pt x="556" y="208"/>
                  </a:lnTo>
                  <a:lnTo>
                    <a:pt x="556" y="206"/>
                  </a:lnTo>
                  <a:lnTo>
                    <a:pt x="552" y="206"/>
                  </a:lnTo>
                  <a:lnTo>
                    <a:pt x="556" y="202"/>
                  </a:lnTo>
                  <a:lnTo>
                    <a:pt x="560" y="202"/>
                  </a:lnTo>
                  <a:lnTo>
                    <a:pt x="556" y="202"/>
                  </a:lnTo>
                  <a:lnTo>
                    <a:pt x="552" y="202"/>
                  </a:lnTo>
                  <a:lnTo>
                    <a:pt x="548" y="202"/>
                  </a:lnTo>
                  <a:lnTo>
                    <a:pt x="552" y="202"/>
                  </a:lnTo>
                  <a:lnTo>
                    <a:pt x="552" y="198"/>
                  </a:lnTo>
                  <a:lnTo>
                    <a:pt x="552" y="194"/>
                  </a:lnTo>
                  <a:lnTo>
                    <a:pt x="556" y="194"/>
                  </a:lnTo>
                  <a:lnTo>
                    <a:pt x="560" y="194"/>
                  </a:lnTo>
                  <a:lnTo>
                    <a:pt x="564" y="194"/>
                  </a:lnTo>
                  <a:lnTo>
                    <a:pt x="564" y="198"/>
                  </a:lnTo>
                  <a:lnTo>
                    <a:pt x="566" y="202"/>
                  </a:lnTo>
                  <a:lnTo>
                    <a:pt x="570" y="202"/>
                  </a:lnTo>
                  <a:lnTo>
                    <a:pt x="574" y="206"/>
                  </a:lnTo>
                  <a:lnTo>
                    <a:pt x="578" y="208"/>
                  </a:lnTo>
                  <a:lnTo>
                    <a:pt x="582" y="208"/>
                  </a:lnTo>
                  <a:lnTo>
                    <a:pt x="586" y="208"/>
                  </a:lnTo>
                  <a:lnTo>
                    <a:pt x="590" y="208"/>
                  </a:lnTo>
                  <a:lnTo>
                    <a:pt x="586" y="208"/>
                  </a:lnTo>
                  <a:lnTo>
                    <a:pt x="582" y="208"/>
                  </a:lnTo>
                  <a:lnTo>
                    <a:pt x="578" y="206"/>
                  </a:lnTo>
                  <a:lnTo>
                    <a:pt x="578" y="202"/>
                  </a:lnTo>
                  <a:lnTo>
                    <a:pt x="582" y="202"/>
                  </a:lnTo>
                  <a:lnTo>
                    <a:pt x="586" y="206"/>
                  </a:lnTo>
                  <a:lnTo>
                    <a:pt x="586" y="202"/>
                  </a:lnTo>
                  <a:lnTo>
                    <a:pt x="590" y="202"/>
                  </a:lnTo>
                  <a:lnTo>
                    <a:pt x="586" y="202"/>
                  </a:lnTo>
                  <a:lnTo>
                    <a:pt x="582" y="202"/>
                  </a:lnTo>
                  <a:lnTo>
                    <a:pt x="578" y="202"/>
                  </a:lnTo>
                  <a:lnTo>
                    <a:pt x="574" y="202"/>
                  </a:lnTo>
                  <a:lnTo>
                    <a:pt x="574" y="198"/>
                  </a:lnTo>
                  <a:lnTo>
                    <a:pt x="578" y="198"/>
                  </a:lnTo>
                  <a:lnTo>
                    <a:pt x="582" y="198"/>
                  </a:lnTo>
                  <a:lnTo>
                    <a:pt x="578" y="198"/>
                  </a:lnTo>
                  <a:lnTo>
                    <a:pt x="574" y="198"/>
                  </a:lnTo>
                  <a:lnTo>
                    <a:pt x="570" y="198"/>
                  </a:lnTo>
                  <a:lnTo>
                    <a:pt x="566" y="194"/>
                  </a:lnTo>
                  <a:lnTo>
                    <a:pt x="570" y="190"/>
                  </a:lnTo>
                  <a:lnTo>
                    <a:pt x="574" y="190"/>
                  </a:lnTo>
                  <a:lnTo>
                    <a:pt x="578" y="190"/>
                  </a:lnTo>
                  <a:lnTo>
                    <a:pt x="582" y="190"/>
                  </a:lnTo>
                  <a:lnTo>
                    <a:pt x="586" y="190"/>
                  </a:lnTo>
                  <a:lnTo>
                    <a:pt x="590" y="190"/>
                  </a:lnTo>
                  <a:lnTo>
                    <a:pt x="590" y="194"/>
                  </a:lnTo>
                  <a:lnTo>
                    <a:pt x="592" y="194"/>
                  </a:lnTo>
                  <a:lnTo>
                    <a:pt x="596" y="194"/>
                  </a:lnTo>
                  <a:lnTo>
                    <a:pt x="592" y="194"/>
                  </a:lnTo>
                  <a:lnTo>
                    <a:pt x="592" y="190"/>
                  </a:lnTo>
                  <a:lnTo>
                    <a:pt x="596" y="190"/>
                  </a:lnTo>
                  <a:lnTo>
                    <a:pt x="600" y="190"/>
                  </a:lnTo>
                  <a:lnTo>
                    <a:pt x="596" y="190"/>
                  </a:lnTo>
                  <a:lnTo>
                    <a:pt x="596" y="186"/>
                  </a:lnTo>
                  <a:lnTo>
                    <a:pt x="600" y="186"/>
                  </a:lnTo>
                  <a:lnTo>
                    <a:pt x="604" y="186"/>
                  </a:lnTo>
                  <a:lnTo>
                    <a:pt x="604" y="190"/>
                  </a:lnTo>
                  <a:lnTo>
                    <a:pt x="608" y="190"/>
                  </a:lnTo>
                  <a:lnTo>
                    <a:pt x="608" y="194"/>
                  </a:lnTo>
                  <a:lnTo>
                    <a:pt x="612" y="194"/>
                  </a:lnTo>
                  <a:lnTo>
                    <a:pt x="612" y="198"/>
                  </a:lnTo>
                  <a:lnTo>
                    <a:pt x="612" y="202"/>
                  </a:lnTo>
                  <a:lnTo>
                    <a:pt x="616" y="202"/>
                  </a:lnTo>
                  <a:lnTo>
                    <a:pt x="616" y="206"/>
                  </a:lnTo>
                  <a:lnTo>
                    <a:pt x="612" y="208"/>
                  </a:lnTo>
                  <a:lnTo>
                    <a:pt x="616" y="208"/>
                  </a:lnTo>
                  <a:lnTo>
                    <a:pt x="616" y="212"/>
                  </a:lnTo>
                  <a:lnTo>
                    <a:pt x="612" y="212"/>
                  </a:lnTo>
                  <a:lnTo>
                    <a:pt x="608" y="212"/>
                  </a:lnTo>
                  <a:lnTo>
                    <a:pt x="612" y="212"/>
                  </a:lnTo>
                  <a:lnTo>
                    <a:pt x="616" y="216"/>
                  </a:lnTo>
                  <a:lnTo>
                    <a:pt x="616" y="220"/>
                  </a:lnTo>
                  <a:lnTo>
                    <a:pt x="616" y="224"/>
                  </a:lnTo>
                  <a:lnTo>
                    <a:pt x="620" y="224"/>
                  </a:lnTo>
                  <a:lnTo>
                    <a:pt x="616" y="224"/>
                  </a:lnTo>
                  <a:lnTo>
                    <a:pt x="616" y="220"/>
                  </a:lnTo>
                  <a:lnTo>
                    <a:pt x="612" y="220"/>
                  </a:lnTo>
                  <a:lnTo>
                    <a:pt x="608" y="220"/>
                  </a:lnTo>
                  <a:lnTo>
                    <a:pt x="612" y="224"/>
                  </a:lnTo>
                  <a:lnTo>
                    <a:pt x="608" y="224"/>
                  </a:lnTo>
                  <a:lnTo>
                    <a:pt x="612" y="224"/>
                  </a:lnTo>
                  <a:lnTo>
                    <a:pt x="608" y="224"/>
                  </a:lnTo>
                  <a:lnTo>
                    <a:pt x="604" y="224"/>
                  </a:lnTo>
                  <a:lnTo>
                    <a:pt x="608" y="228"/>
                  </a:lnTo>
                  <a:lnTo>
                    <a:pt x="612" y="228"/>
                  </a:lnTo>
                  <a:lnTo>
                    <a:pt x="612" y="232"/>
                  </a:lnTo>
                  <a:lnTo>
                    <a:pt x="616" y="232"/>
                  </a:lnTo>
                  <a:lnTo>
                    <a:pt x="612" y="232"/>
                  </a:lnTo>
                  <a:lnTo>
                    <a:pt x="608" y="228"/>
                  </a:lnTo>
                  <a:lnTo>
                    <a:pt x="608" y="232"/>
                  </a:lnTo>
                  <a:lnTo>
                    <a:pt x="608" y="236"/>
                  </a:lnTo>
                  <a:lnTo>
                    <a:pt x="604" y="236"/>
                  </a:lnTo>
                  <a:lnTo>
                    <a:pt x="600" y="236"/>
                  </a:lnTo>
                  <a:lnTo>
                    <a:pt x="596" y="236"/>
                  </a:lnTo>
                  <a:lnTo>
                    <a:pt x="592" y="236"/>
                  </a:lnTo>
                  <a:lnTo>
                    <a:pt x="590" y="236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6"/>
                  </a:lnTo>
                  <a:lnTo>
                    <a:pt x="590" y="236"/>
                  </a:lnTo>
                  <a:lnTo>
                    <a:pt x="586" y="236"/>
                  </a:lnTo>
                  <a:lnTo>
                    <a:pt x="586" y="236"/>
                  </a:lnTo>
                  <a:lnTo>
                    <a:pt x="586" y="236"/>
                  </a:lnTo>
                  <a:close/>
                  <a:moveTo>
                    <a:pt x="522" y="186"/>
                  </a:moveTo>
                  <a:lnTo>
                    <a:pt x="522" y="190"/>
                  </a:lnTo>
                  <a:lnTo>
                    <a:pt x="526" y="190"/>
                  </a:lnTo>
                  <a:lnTo>
                    <a:pt x="522" y="190"/>
                  </a:lnTo>
                  <a:lnTo>
                    <a:pt x="526" y="190"/>
                  </a:lnTo>
                  <a:lnTo>
                    <a:pt x="530" y="190"/>
                  </a:lnTo>
                  <a:lnTo>
                    <a:pt x="530" y="194"/>
                  </a:lnTo>
                  <a:lnTo>
                    <a:pt x="534" y="194"/>
                  </a:lnTo>
                  <a:lnTo>
                    <a:pt x="536" y="194"/>
                  </a:lnTo>
                  <a:lnTo>
                    <a:pt x="536" y="198"/>
                  </a:lnTo>
                  <a:lnTo>
                    <a:pt x="534" y="198"/>
                  </a:lnTo>
                  <a:lnTo>
                    <a:pt x="530" y="198"/>
                  </a:lnTo>
                  <a:lnTo>
                    <a:pt x="526" y="198"/>
                  </a:lnTo>
                  <a:lnTo>
                    <a:pt x="522" y="198"/>
                  </a:lnTo>
                  <a:lnTo>
                    <a:pt x="518" y="198"/>
                  </a:lnTo>
                  <a:lnTo>
                    <a:pt x="518" y="194"/>
                  </a:lnTo>
                  <a:lnTo>
                    <a:pt x="514" y="194"/>
                  </a:lnTo>
                  <a:lnTo>
                    <a:pt x="514" y="190"/>
                  </a:lnTo>
                  <a:lnTo>
                    <a:pt x="518" y="190"/>
                  </a:lnTo>
                  <a:lnTo>
                    <a:pt x="518" y="186"/>
                  </a:lnTo>
                  <a:lnTo>
                    <a:pt x="522" y="186"/>
                  </a:lnTo>
                  <a:lnTo>
                    <a:pt x="522" y="186"/>
                  </a:lnTo>
                  <a:lnTo>
                    <a:pt x="522" y="186"/>
                  </a:lnTo>
                  <a:close/>
                  <a:moveTo>
                    <a:pt x="652" y="202"/>
                  </a:moveTo>
                  <a:lnTo>
                    <a:pt x="652" y="206"/>
                  </a:lnTo>
                  <a:lnTo>
                    <a:pt x="650" y="206"/>
                  </a:lnTo>
                  <a:lnTo>
                    <a:pt x="652" y="206"/>
                  </a:lnTo>
                  <a:lnTo>
                    <a:pt x="652" y="202"/>
                  </a:lnTo>
                  <a:lnTo>
                    <a:pt x="652" y="202"/>
                  </a:lnTo>
                  <a:lnTo>
                    <a:pt x="652" y="202"/>
                  </a:lnTo>
                  <a:close/>
                  <a:moveTo>
                    <a:pt x="332" y="206"/>
                  </a:moveTo>
                  <a:lnTo>
                    <a:pt x="332" y="208"/>
                  </a:lnTo>
                  <a:lnTo>
                    <a:pt x="328" y="208"/>
                  </a:lnTo>
                  <a:lnTo>
                    <a:pt x="324" y="212"/>
                  </a:lnTo>
                  <a:lnTo>
                    <a:pt x="324" y="216"/>
                  </a:lnTo>
                  <a:lnTo>
                    <a:pt x="322" y="216"/>
                  </a:lnTo>
                  <a:lnTo>
                    <a:pt x="322" y="220"/>
                  </a:lnTo>
                  <a:lnTo>
                    <a:pt x="318" y="220"/>
                  </a:lnTo>
                  <a:lnTo>
                    <a:pt x="314" y="220"/>
                  </a:lnTo>
                  <a:lnTo>
                    <a:pt x="310" y="220"/>
                  </a:lnTo>
                  <a:lnTo>
                    <a:pt x="306" y="216"/>
                  </a:lnTo>
                  <a:lnTo>
                    <a:pt x="310" y="216"/>
                  </a:lnTo>
                  <a:lnTo>
                    <a:pt x="310" y="212"/>
                  </a:lnTo>
                  <a:lnTo>
                    <a:pt x="314" y="212"/>
                  </a:lnTo>
                  <a:lnTo>
                    <a:pt x="314" y="208"/>
                  </a:lnTo>
                  <a:lnTo>
                    <a:pt x="318" y="208"/>
                  </a:lnTo>
                  <a:lnTo>
                    <a:pt x="322" y="208"/>
                  </a:lnTo>
                  <a:lnTo>
                    <a:pt x="324" y="208"/>
                  </a:lnTo>
                  <a:lnTo>
                    <a:pt x="324" y="206"/>
                  </a:lnTo>
                  <a:lnTo>
                    <a:pt x="328" y="206"/>
                  </a:lnTo>
                  <a:lnTo>
                    <a:pt x="332" y="206"/>
                  </a:lnTo>
                  <a:lnTo>
                    <a:pt x="332" y="206"/>
                  </a:lnTo>
                  <a:lnTo>
                    <a:pt x="332" y="206"/>
                  </a:lnTo>
                  <a:close/>
                  <a:moveTo>
                    <a:pt x="548" y="206"/>
                  </a:moveTo>
                  <a:lnTo>
                    <a:pt x="544" y="206"/>
                  </a:lnTo>
                  <a:lnTo>
                    <a:pt x="540" y="208"/>
                  </a:lnTo>
                  <a:lnTo>
                    <a:pt x="536" y="208"/>
                  </a:lnTo>
                  <a:lnTo>
                    <a:pt x="534" y="208"/>
                  </a:lnTo>
                  <a:lnTo>
                    <a:pt x="530" y="208"/>
                  </a:lnTo>
                  <a:lnTo>
                    <a:pt x="526" y="208"/>
                  </a:lnTo>
                  <a:lnTo>
                    <a:pt x="522" y="208"/>
                  </a:lnTo>
                  <a:lnTo>
                    <a:pt x="526" y="208"/>
                  </a:lnTo>
                  <a:lnTo>
                    <a:pt x="530" y="208"/>
                  </a:lnTo>
                  <a:lnTo>
                    <a:pt x="530" y="206"/>
                  </a:lnTo>
                  <a:lnTo>
                    <a:pt x="534" y="206"/>
                  </a:lnTo>
                  <a:lnTo>
                    <a:pt x="536" y="206"/>
                  </a:lnTo>
                  <a:lnTo>
                    <a:pt x="540" y="206"/>
                  </a:lnTo>
                  <a:lnTo>
                    <a:pt x="544" y="206"/>
                  </a:lnTo>
                  <a:lnTo>
                    <a:pt x="548" y="206"/>
                  </a:lnTo>
                  <a:lnTo>
                    <a:pt x="548" y="206"/>
                  </a:lnTo>
                  <a:lnTo>
                    <a:pt x="548" y="206"/>
                  </a:lnTo>
                  <a:close/>
                  <a:moveTo>
                    <a:pt x="552" y="208"/>
                  </a:moveTo>
                  <a:lnTo>
                    <a:pt x="548" y="208"/>
                  </a:lnTo>
                  <a:lnTo>
                    <a:pt x="544" y="208"/>
                  </a:lnTo>
                  <a:lnTo>
                    <a:pt x="544" y="212"/>
                  </a:lnTo>
                  <a:lnTo>
                    <a:pt x="540" y="212"/>
                  </a:lnTo>
                  <a:lnTo>
                    <a:pt x="536" y="212"/>
                  </a:lnTo>
                  <a:lnTo>
                    <a:pt x="534" y="212"/>
                  </a:lnTo>
                  <a:lnTo>
                    <a:pt x="536" y="208"/>
                  </a:lnTo>
                  <a:lnTo>
                    <a:pt x="540" y="208"/>
                  </a:lnTo>
                  <a:lnTo>
                    <a:pt x="544" y="208"/>
                  </a:lnTo>
                  <a:lnTo>
                    <a:pt x="548" y="208"/>
                  </a:lnTo>
                  <a:lnTo>
                    <a:pt x="548" y="206"/>
                  </a:lnTo>
                  <a:lnTo>
                    <a:pt x="552" y="208"/>
                  </a:lnTo>
                  <a:lnTo>
                    <a:pt x="552" y="208"/>
                  </a:lnTo>
                  <a:lnTo>
                    <a:pt x="552" y="208"/>
                  </a:lnTo>
                  <a:close/>
                  <a:moveTo>
                    <a:pt x="656" y="208"/>
                  </a:moveTo>
                  <a:lnTo>
                    <a:pt x="660" y="208"/>
                  </a:lnTo>
                  <a:lnTo>
                    <a:pt x="660" y="212"/>
                  </a:lnTo>
                  <a:lnTo>
                    <a:pt x="656" y="212"/>
                  </a:lnTo>
                  <a:lnTo>
                    <a:pt x="652" y="212"/>
                  </a:lnTo>
                  <a:lnTo>
                    <a:pt x="652" y="208"/>
                  </a:lnTo>
                  <a:lnTo>
                    <a:pt x="656" y="208"/>
                  </a:lnTo>
                  <a:lnTo>
                    <a:pt x="656" y="206"/>
                  </a:lnTo>
                  <a:lnTo>
                    <a:pt x="656" y="208"/>
                  </a:lnTo>
                  <a:lnTo>
                    <a:pt x="656" y="208"/>
                  </a:lnTo>
                  <a:lnTo>
                    <a:pt x="656" y="208"/>
                  </a:lnTo>
                  <a:close/>
                  <a:moveTo>
                    <a:pt x="630" y="212"/>
                  </a:moveTo>
                  <a:lnTo>
                    <a:pt x="626" y="212"/>
                  </a:lnTo>
                  <a:lnTo>
                    <a:pt x="630" y="212"/>
                  </a:lnTo>
                  <a:lnTo>
                    <a:pt x="630" y="212"/>
                  </a:lnTo>
                  <a:lnTo>
                    <a:pt x="630" y="212"/>
                  </a:lnTo>
                  <a:close/>
                  <a:moveTo>
                    <a:pt x="638" y="216"/>
                  </a:moveTo>
                  <a:lnTo>
                    <a:pt x="638" y="220"/>
                  </a:lnTo>
                  <a:lnTo>
                    <a:pt x="634" y="220"/>
                  </a:lnTo>
                  <a:lnTo>
                    <a:pt x="630" y="220"/>
                  </a:lnTo>
                  <a:lnTo>
                    <a:pt x="626" y="224"/>
                  </a:lnTo>
                  <a:lnTo>
                    <a:pt x="622" y="224"/>
                  </a:lnTo>
                  <a:lnTo>
                    <a:pt x="622" y="220"/>
                  </a:lnTo>
                  <a:lnTo>
                    <a:pt x="626" y="220"/>
                  </a:lnTo>
                  <a:lnTo>
                    <a:pt x="630" y="216"/>
                  </a:lnTo>
                  <a:lnTo>
                    <a:pt x="634" y="216"/>
                  </a:lnTo>
                  <a:lnTo>
                    <a:pt x="638" y="216"/>
                  </a:lnTo>
                  <a:lnTo>
                    <a:pt x="638" y="216"/>
                  </a:lnTo>
                  <a:lnTo>
                    <a:pt x="638" y="216"/>
                  </a:lnTo>
                  <a:close/>
                  <a:moveTo>
                    <a:pt x="638" y="238"/>
                  </a:moveTo>
                  <a:lnTo>
                    <a:pt x="634" y="236"/>
                  </a:lnTo>
                  <a:lnTo>
                    <a:pt x="630" y="236"/>
                  </a:lnTo>
                  <a:lnTo>
                    <a:pt x="626" y="236"/>
                  </a:lnTo>
                  <a:lnTo>
                    <a:pt x="626" y="232"/>
                  </a:lnTo>
                  <a:lnTo>
                    <a:pt x="630" y="232"/>
                  </a:lnTo>
                  <a:lnTo>
                    <a:pt x="630" y="228"/>
                  </a:lnTo>
                  <a:lnTo>
                    <a:pt x="634" y="228"/>
                  </a:lnTo>
                  <a:lnTo>
                    <a:pt x="638" y="228"/>
                  </a:lnTo>
                  <a:lnTo>
                    <a:pt x="634" y="224"/>
                  </a:lnTo>
                  <a:lnTo>
                    <a:pt x="638" y="224"/>
                  </a:lnTo>
                  <a:lnTo>
                    <a:pt x="634" y="224"/>
                  </a:lnTo>
                  <a:lnTo>
                    <a:pt x="638" y="224"/>
                  </a:lnTo>
                  <a:lnTo>
                    <a:pt x="642" y="224"/>
                  </a:lnTo>
                  <a:lnTo>
                    <a:pt x="638" y="224"/>
                  </a:lnTo>
                  <a:lnTo>
                    <a:pt x="638" y="220"/>
                  </a:lnTo>
                  <a:lnTo>
                    <a:pt x="642" y="220"/>
                  </a:lnTo>
                  <a:lnTo>
                    <a:pt x="646" y="220"/>
                  </a:lnTo>
                  <a:lnTo>
                    <a:pt x="646" y="216"/>
                  </a:lnTo>
                  <a:lnTo>
                    <a:pt x="650" y="216"/>
                  </a:lnTo>
                  <a:lnTo>
                    <a:pt x="652" y="216"/>
                  </a:lnTo>
                  <a:lnTo>
                    <a:pt x="656" y="216"/>
                  </a:lnTo>
                  <a:lnTo>
                    <a:pt x="660" y="216"/>
                  </a:lnTo>
                  <a:lnTo>
                    <a:pt x="660" y="220"/>
                  </a:lnTo>
                  <a:lnTo>
                    <a:pt x="664" y="220"/>
                  </a:lnTo>
                  <a:lnTo>
                    <a:pt x="664" y="224"/>
                  </a:lnTo>
                  <a:lnTo>
                    <a:pt x="668" y="224"/>
                  </a:lnTo>
                  <a:lnTo>
                    <a:pt x="672" y="228"/>
                  </a:lnTo>
                  <a:lnTo>
                    <a:pt x="672" y="232"/>
                  </a:lnTo>
                  <a:lnTo>
                    <a:pt x="672" y="236"/>
                  </a:lnTo>
                  <a:lnTo>
                    <a:pt x="676" y="238"/>
                  </a:lnTo>
                  <a:lnTo>
                    <a:pt x="672" y="242"/>
                  </a:lnTo>
                  <a:lnTo>
                    <a:pt x="668" y="242"/>
                  </a:lnTo>
                  <a:lnTo>
                    <a:pt x="664" y="242"/>
                  </a:lnTo>
                  <a:lnTo>
                    <a:pt x="660" y="242"/>
                  </a:lnTo>
                  <a:lnTo>
                    <a:pt x="656" y="242"/>
                  </a:lnTo>
                  <a:lnTo>
                    <a:pt x="650" y="242"/>
                  </a:lnTo>
                  <a:lnTo>
                    <a:pt x="646" y="238"/>
                  </a:lnTo>
                  <a:lnTo>
                    <a:pt x="642" y="238"/>
                  </a:lnTo>
                  <a:lnTo>
                    <a:pt x="638" y="238"/>
                  </a:lnTo>
                  <a:lnTo>
                    <a:pt x="638" y="238"/>
                  </a:lnTo>
                  <a:lnTo>
                    <a:pt x="638" y="238"/>
                  </a:lnTo>
                  <a:close/>
                  <a:moveTo>
                    <a:pt x="522" y="224"/>
                  </a:moveTo>
                  <a:lnTo>
                    <a:pt x="526" y="224"/>
                  </a:lnTo>
                  <a:lnTo>
                    <a:pt x="526" y="228"/>
                  </a:lnTo>
                  <a:lnTo>
                    <a:pt x="530" y="232"/>
                  </a:lnTo>
                  <a:lnTo>
                    <a:pt x="526" y="232"/>
                  </a:lnTo>
                  <a:lnTo>
                    <a:pt x="518" y="236"/>
                  </a:lnTo>
                  <a:lnTo>
                    <a:pt x="514" y="232"/>
                  </a:lnTo>
                  <a:lnTo>
                    <a:pt x="510" y="232"/>
                  </a:lnTo>
                  <a:lnTo>
                    <a:pt x="510" y="228"/>
                  </a:lnTo>
                  <a:lnTo>
                    <a:pt x="514" y="228"/>
                  </a:lnTo>
                  <a:lnTo>
                    <a:pt x="510" y="228"/>
                  </a:lnTo>
                  <a:lnTo>
                    <a:pt x="514" y="224"/>
                  </a:lnTo>
                  <a:lnTo>
                    <a:pt x="518" y="224"/>
                  </a:lnTo>
                  <a:lnTo>
                    <a:pt x="522" y="224"/>
                  </a:lnTo>
                  <a:lnTo>
                    <a:pt x="522" y="224"/>
                  </a:lnTo>
                  <a:lnTo>
                    <a:pt x="522" y="224"/>
                  </a:lnTo>
                  <a:close/>
                  <a:moveTo>
                    <a:pt x="642" y="242"/>
                  </a:moveTo>
                  <a:lnTo>
                    <a:pt x="646" y="242"/>
                  </a:lnTo>
                  <a:lnTo>
                    <a:pt x="646" y="246"/>
                  </a:lnTo>
                  <a:lnTo>
                    <a:pt x="650" y="246"/>
                  </a:lnTo>
                  <a:lnTo>
                    <a:pt x="646" y="246"/>
                  </a:lnTo>
                  <a:lnTo>
                    <a:pt x="642" y="246"/>
                  </a:lnTo>
                  <a:lnTo>
                    <a:pt x="638" y="246"/>
                  </a:lnTo>
                  <a:lnTo>
                    <a:pt x="642" y="242"/>
                  </a:lnTo>
                  <a:lnTo>
                    <a:pt x="642" y="242"/>
                  </a:lnTo>
                  <a:lnTo>
                    <a:pt x="642" y="242"/>
                  </a:lnTo>
                  <a:close/>
                  <a:moveTo>
                    <a:pt x="620" y="242"/>
                  </a:moveTo>
                  <a:lnTo>
                    <a:pt x="620" y="246"/>
                  </a:lnTo>
                  <a:lnTo>
                    <a:pt x="616" y="246"/>
                  </a:lnTo>
                  <a:lnTo>
                    <a:pt x="616" y="250"/>
                  </a:lnTo>
                  <a:lnTo>
                    <a:pt x="612" y="250"/>
                  </a:lnTo>
                  <a:lnTo>
                    <a:pt x="612" y="246"/>
                  </a:lnTo>
                  <a:lnTo>
                    <a:pt x="616" y="246"/>
                  </a:lnTo>
                  <a:lnTo>
                    <a:pt x="616" y="242"/>
                  </a:lnTo>
                  <a:lnTo>
                    <a:pt x="620" y="242"/>
                  </a:lnTo>
                  <a:lnTo>
                    <a:pt x="620" y="242"/>
                  </a:lnTo>
                  <a:lnTo>
                    <a:pt x="620" y="242"/>
                  </a:lnTo>
                  <a:close/>
                  <a:moveTo>
                    <a:pt x="250" y="332"/>
                  </a:moveTo>
                  <a:lnTo>
                    <a:pt x="246" y="332"/>
                  </a:lnTo>
                  <a:lnTo>
                    <a:pt x="246" y="328"/>
                  </a:lnTo>
                  <a:lnTo>
                    <a:pt x="242" y="324"/>
                  </a:lnTo>
                  <a:lnTo>
                    <a:pt x="242" y="322"/>
                  </a:lnTo>
                  <a:lnTo>
                    <a:pt x="238" y="322"/>
                  </a:lnTo>
                  <a:lnTo>
                    <a:pt x="236" y="322"/>
                  </a:lnTo>
                  <a:lnTo>
                    <a:pt x="232" y="322"/>
                  </a:lnTo>
                  <a:lnTo>
                    <a:pt x="232" y="318"/>
                  </a:lnTo>
                  <a:lnTo>
                    <a:pt x="228" y="318"/>
                  </a:lnTo>
                  <a:lnTo>
                    <a:pt x="224" y="318"/>
                  </a:lnTo>
                  <a:lnTo>
                    <a:pt x="224" y="314"/>
                  </a:lnTo>
                  <a:lnTo>
                    <a:pt x="228" y="318"/>
                  </a:lnTo>
                  <a:lnTo>
                    <a:pt x="228" y="314"/>
                  </a:lnTo>
                  <a:lnTo>
                    <a:pt x="224" y="314"/>
                  </a:lnTo>
                  <a:lnTo>
                    <a:pt x="220" y="314"/>
                  </a:lnTo>
                  <a:lnTo>
                    <a:pt x="216" y="314"/>
                  </a:lnTo>
                  <a:lnTo>
                    <a:pt x="212" y="314"/>
                  </a:lnTo>
                  <a:lnTo>
                    <a:pt x="216" y="314"/>
                  </a:lnTo>
                  <a:lnTo>
                    <a:pt x="216" y="310"/>
                  </a:lnTo>
                  <a:lnTo>
                    <a:pt x="216" y="306"/>
                  </a:lnTo>
                  <a:lnTo>
                    <a:pt x="220" y="306"/>
                  </a:lnTo>
                  <a:lnTo>
                    <a:pt x="220" y="302"/>
                  </a:lnTo>
                  <a:lnTo>
                    <a:pt x="224" y="302"/>
                  </a:lnTo>
                  <a:lnTo>
                    <a:pt x="224" y="298"/>
                  </a:lnTo>
                  <a:lnTo>
                    <a:pt x="228" y="298"/>
                  </a:lnTo>
                  <a:lnTo>
                    <a:pt x="228" y="294"/>
                  </a:lnTo>
                  <a:lnTo>
                    <a:pt x="228" y="292"/>
                  </a:lnTo>
                  <a:lnTo>
                    <a:pt x="232" y="292"/>
                  </a:lnTo>
                  <a:lnTo>
                    <a:pt x="236" y="292"/>
                  </a:lnTo>
                  <a:lnTo>
                    <a:pt x="236" y="288"/>
                  </a:lnTo>
                  <a:lnTo>
                    <a:pt x="232" y="288"/>
                  </a:lnTo>
                  <a:lnTo>
                    <a:pt x="228" y="288"/>
                  </a:lnTo>
                  <a:lnTo>
                    <a:pt x="228" y="284"/>
                  </a:lnTo>
                  <a:lnTo>
                    <a:pt x="232" y="284"/>
                  </a:lnTo>
                  <a:lnTo>
                    <a:pt x="232" y="280"/>
                  </a:lnTo>
                  <a:lnTo>
                    <a:pt x="236" y="280"/>
                  </a:lnTo>
                  <a:lnTo>
                    <a:pt x="236" y="276"/>
                  </a:lnTo>
                  <a:lnTo>
                    <a:pt x="238" y="276"/>
                  </a:lnTo>
                  <a:lnTo>
                    <a:pt x="238" y="272"/>
                  </a:lnTo>
                  <a:lnTo>
                    <a:pt x="238" y="268"/>
                  </a:lnTo>
                  <a:lnTo>
                    <a:pt x="242" y="268"/>
                  </a:lnTo>
                  <a:lnTo>
                    <a:pt x="242" y="264"/>
                  </a:lnTo>
                  <a:lnTo>
                    <a:pt x="238" y="264"/>
                  </a:lnTo>
                  <a:lnTo>
                    <a:pt x="236" y="262"/>
                  </a:lnTo>
                  <a:lnTo>
                    <a:pt x="236" y="258"/>
                  </a:lnTo>
                  <a:lnTo>
                    <a:pt x="232" y="254"/>
                  </a:lnTo>
                  <a:lnTo>
                    <a:pt x="228" y="254"/>
                  </a:lnTo>
                  <a:lnTo>
                    <a:pt x="232" y="250"/>
                  </a:lnTo>
                  <a:lnTo>
                    <a:pt x="236" y="250"/>
                  </a:lnTo>
                  <a:lnTo>
                    <a:pt x="238" y="250"/>
                  </a:lnTo>
                  <a:lnTo>
                    <a:pt x="242" y="250"/>
                  </a:lnTo>
                  <a:lnTo>
                    <a:pt x="246" y="250"/>
                  </a:lnTo>
                  <a:lnTo>
                    <a:pt x="250" y="250"/>
                  </a:lnTo>
                  <a:lnTo>
                    <a:pt x="254" y="250"/>
                  </a:lnTo>
                  <a:lnTo>
                    <a:pt x="258" y="250"/>
                  </a:lnTo>
                  <a:lnTo>
                    <a:pt x="262" y="250"/>
                  </a:lnTo>
                  <a:lnTo>
                    <a:pt x="266" y="250"/>
                  </a:lnTo>
                  <a:lnTo>
                    <a:pt x="268" y="246"/>
                  </a:lnTo>
                  <a:lnTo>
                    <a:pt x="272" y="246"/>
                  </a:lnTo>
                  <a:lnTo>
                    <a:pt x="276" y="246"/>
                  </a:lnTo>
                  <a:lnTo>
                    <a:pt x="280" y="246"/>
                  </a:lnTo>
                  <a:lnTo>
                    <a:pt x="284" y="246"/>
                  </a:lnTo>
                  <a:lnTo>
                    <a:pt x="284" y="250"/>
                  </a:lnTo>
                  <a:lnTo>
                    <a:pt x="288" y="250"/>
                  </a:lnTo>
                  <a:lnTo>
                    <a:pt x="292" y="254"/>
                  </a:lnTo>
                  <a:lnTo>
                    <a:pt x="294" y="254"/>
                  </a:lnTo>
                  <a:lnTo>
                    <a:pt x="298" y="254"/>
                  </a:lnTo>
                  <a:lnTo>
                    <a:pt x="302" y="254"/>
                  </a:lnTo>
                  <a:lnTo>
                    <a:pt x="302" y="258"/>
                  </a:lnTo>
                  <a:lnTo>
                    <a:pt x="298" y="258"/>
                  </a:lnTo>
                  <a:lnTo>
                    <a:pt x="298" y="262"/>
                  </a:lnTo>
                  <a:lnTo>
                    <a:pt x="302" y="262"/>
                  </a:lnTo>
                  <a:lnTo>
                    <a:pt x="302" y="258"/>
                  </a:lnTo>
                  <a:lnTo>
                    <a:pt x="306" y="254"/>
                  </a:lnTo>
                  <a:lnTo>
                    <a:pt x="310" y="254"/>
                  </a:lnTo>
                  <a:lnTo>
                    <a:pt x="310" y="258"/>
                  </a:lnTo>
                  <a:lnTo>
                    <a:pt x="310" y="262"/>
                  </a:lnTo>
                  <a:lnTo>
                    <a:pt x="314" y="262"/>
                  </a:lnTo>
                  <a:lnTo>
                    <a:pt x="314" y="258"/>
                  </a:lnTo>
                  <a:lnTo>
                    <a:pt x="314" y="254"/>
                  </a:lnTo>
                  <a:lnTo>
                    <a:pt x="318" y="254"/>
                  </a:lnTo>
                  <a:lnTo>
                    <a:pt x="324" y="254"/>
                  </a:lnTo>
                  <a:lnTo>
                    <a:pt x="328" y="254"/>
                  </a:lnTo>
                  <a:lnTo>
                    <a:pt x="332" y="254"/>
                  </a:lnTo>
                  <a:lnTo>
                    <a:pt x="336" y="254"/>
                  </a:lnTo>
                  <a:lnTo>
                    <a:pt x="336" y="258"/>
                  </a:lnTo>
                  <a:lnTo>
                    <a:pt x="344" y="258"/>
                  </a:lnTo>
                  <a:lnTo>
                    <a:pt x="344" y="262"/>
                  </a:lnTo>
                  <a:lnTo>
                    <a:pt x="348" y="262"/>
                  </a:lnTo>
                  <a:lnTo>
                    <a:pt x="348" y="264"/>
                  </a:lnTo>
                  <a:lnTo>
                    <a:pt x="352" y="264"/>
                  </a:lnTo>
                  <a:lnTo>
                    <a:pt x="354" y="264"/>
                  </a:lnTo>
                  <a:lnTo>
                    <a:pt x="354" y="268"/>
                  </a:lnTo>
                  <a:lnTo>
                    <a:pt x="358" y="268"/>
                  </a:lnTo>
                  <a:lnTo>
                    <a:pt x="362" y="272"/>
                  </a:lnTo>
                  <a:lnTo>
                    <a:pt x="362" y="276"/>
                  </a:lnTo>
                  <a:lnTo>
                    <a:pt x="358" y="276"/>
                  </a:lnTo>
                  <a:lnTo>
                    <a:pt x="354" y="280"/>
                  </a:lnTo>
                  <a:lnTo>
                    <a:pt x="352" y="280"/>
                  </a:lnTo>
                  <a:lnTo>
                    <a:pt x="348" y="280"/>
                  </a:lnTo>
                  <a:lnTo>
                    <a:pt x="344" y="284"/>
                  </a:lnTo>
                  <a:lnTo>
                    <a:pt x="340" y="284"/>
                  </a:lnTo>
                  <a:lnTo>
                    <a:pt x="336" y="284"/>
                  </a:lnTo>
                  <a:lnTo>
                    <a:pt x="336" y="288"/>
                  </a:lnTo>
                  <a:lnTo>
                    <a:pt x="332" y="288"/>
                  </a:lnTo>
                  <a:lnTo>
                    <a:pt x="328" y="288"/>
                  </a:lnTo>
                  <a:lnTo>
                    <a:pt x="328" y="292"/>
                  </a:lnTo>
                  <a:lnTo>
                    <a:pt x="324" y="292"/>
                  </a:lnTo>
                  <a:lnTo>
                    <a:pt x="322" y="292"/>
                  </a:lnTo>
                  <a:lnTo>
                    <a:pt x="318" y="294"/>
                  </a:lnTo>
                  <a:lnTo>
                    <a:pt x="314" y="294"/>
                  </a:lnTo>
                  <a:lnTo>
                    <a:pt x="310" y="298"/>
                  </a:lnTo>
                  <a:lnTo>
                    <a:pt x="306" y="302"/>
                  </a:lnTo>
                  <a:lnTo>
                    <a:pt x="306" y="306"/>
                  </a:lnTo>
                  <a:lnTo>
                    <a:pt x="302" y="306"/>
                  </a:lnTo>
                  <a:lnTo>
                    <a:pt x="302" y="310"/>
                  </a:lnTo>
                  <a:lnTo>
                    <a:pt x="298" y="310"/>
                  </a:lnTo>
                  <a:lnTo>
                    <a:pt x="294" y="306"/>
                  </a:lnTo>
                  <a:lnTo>
                    <a:pt x="294" y="310"/>
                  </a:lnTo>
                  <a:lnTo>
                    <a:pt x="294" y="314"/>
                  </a:lnTo>
                  <a:lnTo>
                    <a:pt x="292" y="314"/>
                  </a:lnTo>
                  <a:lnTo>
                    <a:pt x="292" y="318"/>
                  </a:lnTo>
                  <a:lnTo>
                    <a:pt x="292" y="322"/>
                  </a:lnTo>
                  <a:lnTo>
                    <a:pt x="292" y="324"/>
                  </a:lnTo>
                  <a:lnTo>
                    <a:pt x="288" y="328"/>
                  </a:lnTo>
                  <a:lnTo>
                    <a:pt x="284" y="328"/>
                  </a:lnTo>
                  <a:lnTo>
                    <a:pt x="280" y="328"/>
                  </a:lnTo>
                  <a:lnTo>
                    <a:pt x="276" y="328"/>
                  </a:lnTo>
                  <a:lnTo>
                    <a:pt x="272" y="328"/>
                  </a:lnTo>
                  <a:lnTo>
                    <a:pt x="268" y="328"/>
                  </a:lnTo>
                  <a:lnTo>
                    <a:pt x="268" y="332"/>
                  </a:lnTo>
                  <a:lnTo>
                    <a:pt x="266" y="332"/>
                  </a:lnTo>
                  <a:lnTo>
                    <a:pt x="266" y="336"/>
                  </a:lnTo>
                  <a:lnTo>
                    <a:pt x="262" y="336"/>
                  </a:lnTo>
                  <a:lnTo>
                    <a:pt x="258" y="336"/>
                  </a:lnTo>
                  <a:lnTo>
                    <a:pt x="258" y="340"/>
                  </a:lnTo>
                  <a:lnTo>
                    <a:pt x="254" y="340"/>
                  </a:lnTo>
                  <a:lnTo>
                    <a:pt x="254" y="336"/>
                  </a:lnTo>
                  <a:lnTo>
                    <a:pt x="250" y="336"/>
                  </a:lnTo>
                  <a:lnTo>
                    <a:pt x="250" y="332"/>
                  </a:lnTo>
                  <a:lnTo>
                    <a:pt x="250" y="332"/>
                  </a:lnTo>
                  <a:lnTo>
                    <a:pt x="250" y="332"/>
                  </a:lnTo>
                  <a:close/>
                  <a:moveTo>
                    <a:pt x="706" y="280"/>
                  </a:moveTo>
                  <a:lnTo>
                    <a:pt x="702" y="284"/>
                  </a:lnTo>
                  <a:lnTo>
                    <a:pt x="702" y="288"/>
                  </a:lnTo>
                  <a:lnTo>
                    <a:pt x="698" y="288"/>
                  </a:lnTo>
                  <a:lnTo>
                    <a:pt x="698" y="292"/>
                  </a:lnTo>
                  <a:lnTo>
                    <a:pt x="694" y="292"/>
                  </a:lnTo>
                  <a:lnTo>
                    <a:pt x="694" y="294"/>
                  </a:lnTo>
                  <a:lnTo>
                    <a:pt x="690" y="294"/>
                  </a:lnTo>
                  <a:lnTo>
                    <a:pt x="686" y="294"/>
                  </a:lnTo>
                  <a:lnTo>
                    <a:pt x="682" y="294"/>
                  </a:lnTo>
                  <a:lnTo>
                    <a:pt x="678" y="294"/>
                  </a:lnTo>
                  <a:lnTo>
                    <a:pt x="676" y="294"/>
                  </a:lnTo>
                  <a:lnTo>
                    <a:pt x="676" y="292"/>
                  </a:lnTo>
                  <a:lnTo>
                    <a:pt x="676" y="294"/>
                  </a:lnTo>
                  <a:lnTo>
                    <a:pt x="672" y="294"/>
                  </a:lnTo>
                  <a:lnTo>
                    <a:pt x="668" y="294"/>
                  </a:lnTo>
                  <a:lnTo>
                    <a:pt x="664" y="294"/>
                  </a:lnTo>
                  <a:lnTo>
                    <a:pt x="660" y="294"/>
                  </a:lnTo>
                  <a:lnTo>
                    <a:pt x="664" y="294"/>
                  </a:lnTo>
                  <a:lnTo>
                    <a:pt x="668" y="294"/>
                  </a:lnTo>
                  <a:lnTo>
                    <a:pt x="668" y="298"/>
                  </a:lnTo>
                  <a:lnTo>
                    <a:pt x="672" y="298"/>
                  </a:lnTo>
                  <a:lnTo>
                    <a:pt x="672" y="302"/>
                  </a:lnTo>
                  <a:lnTo>
                    <a:pt x="672" y="306"/>
                  </a:lnTo>
                  <a:lnTo>
                    <a:pt x="668" y="306"/>
                  </a:lnTo>
                  <a:lnTo>
                    <a:pt x="664" y="310"/>
                  </a:lnTo>
                  <a:lnTo>
                    <a:pt x="664" y="314"/>
                  </a:lnTo>
                  <a:lnTo>
                    <a:pt x="660" y="314"/>
                  </a:lnTo>
                  <a:lnTo>
                    <a:pt x="652" y="314"/>
                  </a:lnTo>
                  <a:lnTo>
                    <a:pt x="650" y="314"/>
                  </a:lnTo>
                  <a:lnTo>
                    <a:pt x="650" y="310"/>
                  </a:lnTo>
                  <a:lnTo>
                    <a:pt x="652" y="310"/>
                  </a:lnTo>
                  <a:lnTo>
                    <a:pt x="650" y="310"/>
                  </a:lnTo>
                  <a:lnTo>
                    <a:pt x="650" y="306"/>
                  </a:lnTo>
                  <a:lnTo>
                    <a:pt x="650" y="302"/>
                  </a:lnTo>
                  <a:lnTo>
                    <a:pt x="650" y="298"/>
                  </a:lnTo>
                  <a:lnTo>
                    <a:pt x="646" y="298"/>
                  </a:lnTo>
                  <a:lnTo>
                    <a:pt x="646" y="294"/>
                  </a:lnTo>
                  <a:lnTo>
                    <a:pt x="642" y="294"/>
                  </a:lnTo>
                  <a:lnTo>
                    <a:pt x="642" y="292"/>
                  </a:lnTo>
                  <a:lnTo>
                    <a:pt x="642" y="288"/>
                  </a:lnTo>
                  <a:lnTo>
                    <a:pt x="642" y="284"/>
                  </a:lnTo>
                  <a:lnTo>
                    <a:pt x="642" y="280"/>
                  </a:lnTo>
                  <a:lnTo>
                    <a:pt x="642" y="276"/>
                  </a:lnTo>
                  <a:lnTo>
                    <a:pt x="642" y="272"/>
                  </a:lnTo>
                  <a:lnTo>
                    <a:pt x="642" y="268"/>
                  </a:lnTo>
                  <a:lnTo>
                    <a:pt x="646" y="268"/>
                  </a:lnTo>
                  <a:lnTo>
                    <a:pt x="650" y="268"/>
                  </a:lnTo>
                  <a:lnTo>
                    <a:pt x="652" y="268"/>
                  </a:lnTo>
                  <a:lnTo>
                    <a:pt x="656" y="268"/>
                  </a:lnTo>
                  <a:lnTo>
                    <a:pt x="652" y="268"/>
                  </a:lnTo>
                  <a:lnTo>
                    <a:pt x="650" y="268"/>
                  </a:lnTo>
                  <a:lnTo>
                    <a:pt x="650" y="264"/>
                  </a:lnTo>
                  <a:lnTo>
                    <a:pt x="652" y="264"/>
                  </a:lnTo>
                  <a:lnTo>
                    <a:pt x="650" y="264"/>
                  </a:lnTo>
                  <a:lnTo>
                    <a:pt x="646" y="264"/>
                  </a:lnTo>
                  <a:lnTo>
                    <a:pt x="646" y="262"/>
                  </a:lnTo>
                  <a:lnTo>
                    <a:pt x="650" y="262"/>
                  </a:lnTo>
                  <a:lnTo>
                    <a:pt x="652" y="262"/>
                  </a:lnTo>
                  <a:lnTo>
                    <a:pt x="652" y="258"/>
                  </a:lnTo>
                  <a:lnTo>
                    <a:pt x="656" y="258"/>
                  </a:lnTo>
                  <a:lnTo>
                    <a:pt x="660" y="258"/>
                  </a:lnTo>
                  <a:lnTo>
                    <a:pt x="664" y="258"/>
                  </a:lnTo>
                  <a:lnTo>
                    <a:pt x="668" y="258"/>
                  </a:lnTo>
                  <a:lnTo>
                    <a:pt x="672" y="258"/>
                  </a:lnTo>
                  <a:lnTo>
                    <a:pt x="676" y="258"/>
                  </a:lnTo>
                  <a:lnTo>
                    <a:pt x="678" y="258"/>
                  </a:lnTo>
                  <a:lnTo>
                    <a:pt x="682" y="258"/>
                  </a:lnTo>
                  <a:lnTo>
                    <a:pt x="686" y="262"/>
                  </a:lnTo>
                  <a:lnTo>
                    <a:pt x="690" y="262"/>
                  </a:lnTo>
                  <a:lnTo>
                    <a:pt x="694" y="262"/>
                  </a:lnTo>
                  <a:lnTo>
                    <a:pt x="702" y="262"/>
                  </a:lnTo>
                  <a:lnTo>
                    <a:pt x="706" y="262"/>
                  </a:lnTo>
                  <a:lnTo>
                    <a:pt x="712" y="262"/>
                  </a:lnTo>
                  <a:lnTo>
                    <a:pt x="716" y="264"/>
                  </a:lnTo>
                  <a:lnTo>
                    <a:pt x="716" y="262"/>
                  </a:lnTo>
                  <a:lnTo>
                    <a:pt x="720" y="264"/>
                  </a:lnTo>
                  <a:lnTo>
                    <a:pt x="716" y="264"/>
                  </a:lnTo>
                  <a:lnTo>
                    <a:pt x="716" y="268"/>
                  </a:lnTo>
                  <a:lnTo>
                    <a:pt x="712" y="268"/>
                  </a:lnTo>
                  <a:lnTo>
                    <a:pt x="712" y="272"/>
                  </a:lnTo>
                  <a:lnTo>
                    <a:pt x="708" y="272"/>
                  </a:lnTo>
                  <a:lnTo>
                    <a:pt x="708" y="276"/>
                  </a:lnTo>
                  <a:lnTo>
                    <a:pt x="706" y="276"/>
                  </a:lnTo>
                  <a:lnTo>
                    <a:pt x="706" y="280"/>
                  </a:lnTo>
                  <a:lnTo>
                    <a:pt x="706" y="280"/>
                  </a:lnTo>
                  <a:lnTo>
                    <a:pt x="706" y="280"/>
                  </a:lnTo>
                  <a:close/>
                  <a:moveTo>
                    <a:pt x="720" y="262"/>
                  </a:moveTo>
                  <a:lnTo>
                    <a:pt x="716" y="262"/>
                  </a:lnTo>
                  <a:lnTo>
                    <a:pt x="720" y="262"/>
                  </a:lnTo>
                  <a:lnTo>
                    <a:pt x="720" y="258"/>
                  </a:lnTo>
                  <a:lnTo>
                    <a:pt x="724" y="258"/>
                  </a:lnTo>
                  <a:lnTo>
                    <a:pt x="724" y="262"/>
                  </a:lnTo>
                  <a:lnTo>
                    <a:pt x="720" y="262"/>
                  </a:lnTo>
                  <a:lnTo>
                    <a:pt x="720" y="262"/>
                  </a:lnTo>
                  <a:lnTo>
                    <a:pt x="720" y="262"/>
                  </a:lnTo>
                  <a:close/>
                  <a:moveTo>
                    <a:pt x="620" y="276"/>
                  </a:moveTo>
                  <a:lnTo>
                    <a:pt x="620" y="280"/>
                  </a:lnTo>
                  <a:lnTo>
                    <a:pt x="616" y="280"/>
                  </a:lnTo>
                  <a:lnTo>
                    <a:pt x="612" y="280"/>
                  </a:lnTo>
                  <a:lnTo>
                    <a:pt x="608" y="284"/>
                  </a:lnTo>
                  <a:lnTo>
                    <a:pt x="604" y="284"/>
                  </a:lnTo>
                  <a:lnTo>
                    <a:pt x="604" y="288"/>
                  </a:lnTo>
                  <a:lnTo>
                    <a:pt x="600" y="288"/>
                  </a:lnTo>
                  <a:lnTo>
                    <a:pt x="600" y="292"/>
                  </a:lnTo>
                  <a:lnTo>
                    <a:pt x="604" y="292"/>
                  </a:lnTo>
                  <a:lnTo>
                    <a:pt x="604" y="288"/>
                  </a:lnTo>
                  <a:lnTo>
                    <a:pt x="608" y="288"/>
                  </a:lnTo>
                  <a:lnTo>
                    <a:pt x="612" y="288"/>
                  </a:lnTo>
                  <a:lnTo>
                    <a:pt x="616" y="288"/>
                  </a:lnTo>
                  <a:lnTo>
                    <a:pt x="620" y="288"/>
                  </a:lnTo>
                  <a:lnTo>
                    <a:pt x="620" y="292"/>
                  </a:lnTo>
                  <a:lnTo>
                    <a:pt x="622" y="294"/>
                  </a:lnTo>
                  <a:lnTo>
                    <a:pt x="620" y="294"/>
                  </a:lnTo>
                  <a:lnTo>
                    <a:pt x="620" y="298"/>
                  </a:lnTo>
                  <a:lnTo>
                    <a:pt x="622" y="298"/>
                  </a:lnTo>
                  <a:lnTo>
                    <a:pt x="622" y="294"/>
                  </a:lnTo>
                  <a:lnTo>
                    <a:pt x="626" y="294"/>
                  </a:lnTo>
                  <a:lnTo>
                    <a:pt x="630" y="294"/>
                  </a:lnTo>
                  <a:lnTo>
                    <a:pt x="630" y="298"/>
                  </a:lnTo>
                  <a:lnTo>
                    <a:pt x="630" y="302"/>
                  </a:lnTo>
                  <a:lnTo>
                    <a:pt x="634" y="302"/>
                  </a:lnTo>
                  <a:lnTo>
                    <a:pt x="630" y="306"/>
                  </a:lnTo>
                  <a:lnTo>
                    <a:pt x="626" y="306"/>
                  </a:lnTo>
                  <a:lnTo>
                    <a:pt x="622" y="306"/>
                  </a:lnTo>
                  <a:lnTo>
                    <a:pt x="626" y="306"/>
                  </a:lnTo>
                  <a:lnTo>
                    <a:pt x="630" y="306"/>
                  </a:lnTo>
                  <a:lnTo>
                    <a:pt x="630" y="310"/>
                  </a:lnTo>
                  <a:lnTo>
                    <a:pt x="630" y="314"/>
                  </a:lnTo>
                  <a:lnTo>
                    <a:pt x="626" y="314"/>
                  </a:lnTo>
                  <a:lnTo>
                    <a:pt x="622" y="314"/>
                  </a:lnTo>
                  <a:lnTo>
                    <a:pt x="626" y="314"/>
                  </a:lnTo>
                  <a:lnTo>
                    <a:pt x="630" y="314"/>
                  </a:lnTo>
                  <a:lnTo>
                    <a:pt x="626" y="314"/>
                  </a:lnTo>
                  <a:lnTo>
                    <a:pt x="626" y="318"/>
                  </a:lnTo>
                  <a:lnTo>
                    <a:pt x="630" y="318"/>
                  </a:lnTo>
                  <a:lnTo>
                    <a:pt x="626" y="318"/>
                  </a:lnTo>
                  <a:lnTo>
                    <a:pt x="626" y="322"/>
                  </a:lnTo>
                  <a:lnTo>
                    <a:pt x="626" y="318"/>
                  </a:lnTo>
                  <a:lnTo>
                    <a:pt x="622" y="322"/>
                  </a:lnTo>
                  <a:lnTo>
                    <a:pt x="620" y="322"/>
                  </a:lnTo>
                  <a:lnTo>
                    <a:pt x="616" y="324"/>
                  </a:lnTo>
                  <a:lnTo>
                    <a:pt x="612" y="324"/>
                  </a:lnTo>
                  <a:lnTo>
                    <a:pt x="608" y="322"/>
                  </a:lnTo>
                  <a:lnTo>
                    <a:pt x="608" y="324"/>
                  </a:lnTo>
                  <a:lnTo>
                    <a:pt x="604" y="324"/>
                  </a:lnTo>
                  <a:lnTo>
                    <a:pt x="604" y="322"/>
                  </a:lnTo>
                  <a:lnTo>
                    <a:pt x="604" y="318"/>
                  </a:lnTo>
                  <a:lnTo>
                    <a:pt x="600" y="322"/>
                  </a:lnTo>
                  <a:lnTo>
                    <a:pt x="604" y="324"/>
                  </a:lnTo>
                  <a:lnTo>
                    <a:pt x="608" y="324"/>
                  </a:lnTo>
                  <a:lnTo>
                    <a:pt x="608" y="328"/>
                  </a:lnTo>
                  <a:lnTo>
                    <a:pt x="604" y="328"/>
                  </a:lnTo>
                  <a:lnTo>
                    <a:pt x="600" y="332"/>
                  </a:lnTo>
                  <a:lnTo>
                    <a:pt x="596" y="332"/>
                  </a:lnTo>
                  <a:lnTo>
                    <a:pt x="592" y="328"/>
                  </a:lnTo>
                  <a:lnTo>
                    <a:pt x="592" y="332"/>
                  </a:lnTo>
                  <a:lnTo>
                    <a:pt x="590" y="332"/>
                  </a:lnTo>
                  <a:lnTo>
                    <a:pt x="590" y="328"/>
                  </a:lnTo>
                  <a:lnTo>
                    <a:pt x="590" y="324"/>
                  </a:lnTo>
                  <a:lnTo>
                    <a:pt x="586" y="324"/>
                  </a:lnTo>
                  <a:lnTo>
                    <a:pt x="586" y="322"/>
                  </a:lnTo>
                  <a:lnTo>
                    <a:pt x="582" y="318"/>
                  </a:lnTo>
                  <a:lnTo>
                    <a:pt x="578" y="318"/>
                  </a:lnTo>
                  <a:lnTo>
                    <a:pt x="574" y="314"/>
                  </a:lnTo>
                  <a:lnTo>
                    <a:pt x="570" y="310"/>
                  </a:lnTo>
                  <a:lnTo>
                    <a:pt x="566" y="310"/>
                  </a:lnTo>
                  <a:lnTo>
                    <a:pt x="566" y="306"/>
                  </a:lnTo>
                  <a:lnTo>
                    <a:pt x="564" y="306"/>
                  </a:lnTo>
                  <a:lnTo>
                    <a:pt x="560" y="306"/>
                  </a:lnTo>
                  <a:lnTo>
                    <a:pt x="556" y="306"/>
                  </a:lnTo>
                  <a:lnTo>
                    <a:pt x="552" y="306"/>
                  </a:lnTo>
                  <a:lnTo>
                    <a:pt x="552" y="302"/>
                  </a:lnTo>
                  <a:lnTo>
                    <a:pt x="552" y="298"/>
                  </a:lnTo>
                  <a:lnTo>
                    <a:pt x="548" y="298"/>
                  </a:lnTo>
                  <a:lnTo>
                    <a:pt x="544" y="298"/>
                  </a:lnTo>
                  <a:lnTo>
                    <a:pt x="544" y="294"/>
                  </a:lnTo>
                  <a:lnTo>
                    <a:pt x="540" y="294"/>
                  </a:lnTo>
                  <a:lnTo>
                    <a:pt x="540" y="292"/>
                  </a:lnTo>
                  <a:lnTo>
                    <a:pt x="544" y="292"/>
                  </a:lnTo>
                  <a:lnTo>
                    <a:pt x="544" y="288"/>
                  </a:lnTo>
                  <a:lnTo>
                    <a:pt x="548" y="288"/>
                  </a:lnTo>
                  <a:lnTo>
                    <a:pt x="548" y="284"/>
                  </a:lnTo>
                  <a:lnTo>
                    <a:pt x="552" y="284"/>
                  </a:lnTo>
                  <a:lnTo>
                    <a:pt x="552" y="288"/>
                  </a:lnTo>
                  <a:lnTo>
                    <a:pt x="556" y="288"/>
                  </a:lnTo>
                  <a:lnTo>
                    <a:pt x="556" y="292"/>
                  </a:lnTo>
                  <a:lnTo>
                    <a:pt x="560" y="292"/>
                  </a:lnTo>
                  <a:lnTo>
                    <a:pt x="560" y="294"/>
                  </a:lnTo>
                  <a:lnTo>
                    <a:pt x="564" y="294"/>
                  </a:lnTo>
                  <a:lnTo>
                    <a:pt x="566" y="294"/>
                  </a:lnTo>
                  <a:lnTo>
                    <a:pt x="570" y="294"/>
                  </a:lnTo>
                  <a:lnTo>
                    <a:pt x="574" y="294"/>
                  </a:lnTo>
                  <a:lnTo>
                    <a:pt x="574" y="292"/>
                  </a:lnTo>
                  <a:lnTo>
                    <a:pt x="574" y="288"/>
                  </a:lnTo>
                  <a:lnTo>
                    <a:pt x="574" y="292"/>
                  </a:lnTo>
                  <a:lnTo>
                    <a:pt x="578" y="292"/>
                  </a:lnTo>
                  <a:lnTo>
                    <a:pt x="578" y="288"/>
                  </a:lnTo>
                  <a:lnTo>
                    <a:pt x="578" y="284"/>
                  </a:lnTo>
                  <a:lnTo>
                    <a:pt x="574" y="284"/>
                  </a:lnTo>
                  <a:lnTo>
                    <a:pt x="570" y="284"/>
                  </a:lnTo>
                  <a:lnTo>
                    <a:pt x="574" y="280"/>
                  </a:lnTo>
                  <a:lnTo>
                    <a:pt x="578" y="284"/>
                  </a:lnTo>
                  <a:lnTo>
                    <a:pt x="582" y="284"/>
                  </a:lnTo>
                  <a:lnTo>
                    <a:pt x="578" y="280"/>
                  </a:lnTo>
                  <a:lnTo>
                    <a:pt x="574" y="280"/>
                  </a:lnTo>
                  <a:lnTo>
                    <a:pt x="574" y="276"/>
                  </a:lnTo>
                  <a:lnTo>
                    <a:pt x="574" y="280"/>
                  </a:lnTo>
                  <a:lnTo>
                    <a:pt x="570" y="280"/>
                  </a:lnTo>
                  <a:lnTo>
                    <a:pt x="566" y="280"/>
                  </a:lnTo>
                  <a:lnTo>
                    <a:pt x="564" y="276"/>
                  </a:lnTo>
                  <a:lnTo>
                    <a:pt x="560" y="276"/>
                  </a:lnTo>
                  <a:lnTo>
                    <a:pt x="556" y="276"/>
                  </a:lnTo>
                  <a:lnTo>
                    <a:pt x="560" y="272"/>
                  </a:lnTo>
                  <a:lnTo>
                    <a:pt x="564" y="272"/>
                  </a:lnTo>
                  <a:lnTo>
                    <a:pt x="566" y="272"/>
                  </a:lnTo>
                  <a:lnTo>
                    <a:pt x="570" y="272"/>
                  </a:lnTo>
                  <a:lnTo>
                    <a:pt x="570" y="276"/>
                  </a:lnTo>
                  <a:lnTo>
                    <a:pt x="574" y="276"/>
                  </a:lnTo>
                  <a:lnTo>
                    <a:pt x="570" y="276"/>
                  </a:lnTo>
                  <a:lnTo>
                    <a:pt x="570" y="272"/>
                  </a:lnTo>
                  <a:lnTo>
                    <a:pt x="566" y="272"/>
                  </a:lnTo>
                  <a:lnTo>
                    <a:pt x="566" y="268"/>
                  </a:lnTo>
                  <a:lnTo>
                    <a:pt x="564" y="268"/>
                  </a:lnTo>
                  <a:lnTo>
                    <a:pt x="566" y="264"/>
                  </a:lnTo>
                  <a:lnTo>
                    <a:pt x="570" y="264"/>
                  </a:lnTo>
                  <a:lnTo>
                    <a:pt x="574" y="264"/>
                  </a:lnTo>
                  <a:lnTo>
                    <a:pt x="578" y="268"/>
                  </a:lnTo>
                  <a:lnTo>
                    <a:pt x="582" y="264"/>
                  </a:lnTo>
                  <a:lnTo>
                    <a:pt x="578" y="264"/>
                  </a:lnTo>
                  <a:lnTo>
                    <a:pt x="574" y="264"/>
                  </a:lnTo>
                  <a:lnTo>
                    <a:pt x="578" y="264"/>
                  </a:lnTo>
                  <a:lnTo>
                    <a:pt x="578" y="262"/>
                  </a:lnTo>
                  <a:lnTo>
                    <a:pt x="582" y="262"/>
                  </a:lnTo>
                  <a:lnTo>
                    <a:pt x="582" y="264"/>
                  </a:lnTo>
                  <a:lnTo>
                    <a:pt x="586" y="264"/>
                  </a:lnTo>
                  <a:lnTo>
                    <a:pt x="590" y="268"/>
                  </a:lnTo>
                  <a:lnTo>
                    <a:pt x="592" y="268"/>
                  </a:lnTo>
                  <a:lnTo>
                    <a:pt x="596" y="268"/>
                  </a:lnTo>
                  <a:lnTo>
                    <a:pt x="600" y="268"/>
                  </a:lnTo>
                  <a:lnTo>
                    <a:pt x="600" y="264"/>
                  </a:lnTo>
                  <a:lnTo>
                    <a:pt x="604" y="264"/>
                  </a:lnTo>
                  <a:lnTo>
                    <a:pt x="608" y="264"/>
                  </a:lnTo>
                  <a:lnTo>
                    <a:pt x="612" y="264"/>
                  </a:lnTo>
                  <a:lnTo>
                    <a:pt x="616" y="264"/>
                  </a:lnTo>
                  <a:lnTo>
                    <a:pt x="620" y="264"/>
                  </a:lnTo>
                  <a:lnTo>
                    <a:pt x="622" y="268"/>
                  </a:lnTo>
                  <a:lnTo>
                    <a:pt x="622" y="272"/>
                  </a:lnTo>
                  <a:lnTo>
                    <a:pt x="620" y="272"/>
                  </a:lnTo>
                  <a:lnTo>
                    <a:pt x="616" y="272"/>
                  </a:lnTo>
                  <a:lnTo>
                    <a:pt x="612" y="276"/>
                  </a:lnTo>
                  <a:lnTo>
                    <a:pt x="616" y="276"/>
                  </a:lnTo>
                  <a:lnTo>
                    <a:pt x="620" y="276"/>
                  </a:lnTo>
                  <a:lnTo>
                    <a:pt x="620" y="276"/>
                  </a:lnTo>
                  <a:lnTo>
                    <a:pt x="620" y="276"/>
                  </a:lnTo>
                  <a:close/>
                  <a:moveTo>
                    <a:pt x="1004" y="542"/>
                  </a:moveTo>
                  <a:lnTo>
                    <a:pt x="1000" y="542"/>
                  </a:lnTo>
                  <a:lnTo>
                    <a:pt x="996" y="542"/>
                  </a:lnTo>
                  <a:lnTo>
                    <a:pt x="992" y="538"/>
                  </a:lnTo>
                  <a:lnTo>
                    <a:pt x="988" y="538"/>
                  </a:lnTo>
                  <a:lnTo>
                    <a:pt x="992" y="538"/>
                  </a:lnTo>
                  <a:lnTo>
                    <a:pt x="992" y="534"/>
                  </a:lnTo>
                  <a:lnTo>
                    <a:pt x="988" y="534"/>
                  </a:lnTo>
                  <a:lnTo>
                    <a:pt x="988" y="538"/>
                  </a:lnTo>
                  <a:lnTo>
                    <a:pt x="984" y="534"/>
                  </a:lnTo>
                  <a:lnTo>
                    <a:pt x="980" y="534"/>
                  </a:lnTo>
                  <a:lnTo>
                    <a:pt x="980" y="530"/>
                  </a:lnTo>
                  <a:lnTo>
                    <a:pt x="980" y="526"/>
                  </a:lnTo>
                  <a:lnTo>
                    <a:pt x="976" y="526"/>
                  </a:lnTo>
                  <a:lnTo>
                    <a:pt x="974" y="526"/>
                  </a:lnTo>
                  <a:lnTo>
                    <a:pt x="976" y="526"/>
                  </a:lnTo>
                  <a:lnTo>
                    <a:pt x="980" y="526"/>
                  </a:lnTo>
                  <a:lnTo>
                    <a:pt x="984" y="526"/>
                  </a:lnTo>
                  <a:lnTo>
                    <a:pt x="984" y="522"/>
                  </a:lnTo>
                  <a:lnTo>
                    <a:pt x="988" y="522"/>
                  </a:lnTo>
                  <a:lnTo>
                    <a:pt x="984" y="522"/>
                  </a:lnTo>
                  <a:lnTo>
                    <a:pt x="980" y="522"/>
                  </a:lnTo>
                  <a:lnTo>
                    <a:pt x="980" y="520"/>
                  </a:lnTo>
                  <a:lnTo>
                    <a:pt x="976" y="520"/>
                  </a:lnTo>
                  <a:lnTo>
                    <a:pt x="976" y="522"/>
                  </a:lnTo>
                  <a:lnTo>
                    <a:pt x="974" y="520"/>
                  </a:lnTo>
                  <a:lnTo>
                    <a:pt x="974" y="522"/>
                  </a:lnTo>
                  <a:lnTo>
                    <a:pt x="970" y="520"/>
                  </a:lnTo>
                  <a:lnTo>
                    <a:pt x="974" y="520"/>
                  </a:lnTo>
                  <a:lnTo>
                    <a:pt x="974" y="516"/>
                  </a:lnTo>
                  <a:lnTo>
                    <a:pt x="970" y="516"/>
                  </a:lnTo>
                  <a:lnTo>
                    <a:pt x="970" y="520"/>
                  </a:lnTo>
                  <a:lnTo>
                    <a:pt x="970" y="516"/>
                  </a:lnTo>
                  <a:lnTo>
                    <a:pt x="966" y="516"/>
                  </a:lnTo>
                  <a:lnTo>
                    <a:pt x="970" y="512"/>
                  </a:lnTo>
                  <a:lnTo>
                    <a:pt x="966" y="512"/>
                  </a:lnTo>
                  <a:lnTo>
                    <a:pt x="966" y="516"/>
                  </a:lnTo>
                  <a:lnTo>
                    <a:pt x="966" y="512"/>
                  </a:lnTo>
                  <a:lnTo>
                    <a:pt x="962" y="512"/>
                  </a:lnTo>
                  <a:lnTo>
                    <a:pt x="962" y="508"/>
                  </a:lnTo>
                  <a:lnTo>
                    <a:pt x="958" y="508"/>
                  </a:lnTo>
                  <a:lnTo>
                    <a:pt x="954" y="504"/>
                  </a:lnTo>
                  <a:lnTo>
                    <a:pt x="958" y="500"/>
                  </a:lnTo>
                  <a:lnTo>
                    <a:pt x="958" y="496"/>
                  </a:lnTo>
                  <a:lnTo>
                    <a:pt x="958" y="500"/>
                  </a:lnTo>
                  <a:lnTo>
                    <a:pt x="954" y="500"/>
                  </a:lnTo>
                  <a:lnTo>
                    <a:pt x="954" y="496"/>
                  </a:lnTo>
                  <a:lnTo>
                    <a:pt x="950" y="496"/>
                  </a:lnTo>
                  <a:lnTo>
                    <a:pt x="950" y="500"/>
                  </a:lnTo>
                  <a:lnTo>
                    <a:pt x="948" y="500"/>
                  </a:lnTo>
                  <a:lnTo>
                    <a:pt x="950" y="500"/>
                  </a:lnTo>
                  <a:lnTo>
                    <a:pt x="948" y="504"/>
                  </a:lnTo>
                  <a:lnTo>
                    <a:pt x="948" y="500"/>
                  </a:lnTo>
                  <a:lnTo>
                    <a:pt x="948" y="496"/>
                  </a:lnTo>
                  <a:lnTo>
                    <a:pt x="944" y="496"/>
                  </a:lnTo>
                  <a:lnTo>
                    <a:pt x="944" y="500"/>
                  </a:lnTo>
                  <a:lnTo>
                    <a:pt x="940" y="500"/>
                  </a:lnTo>
                  <a:lnTo>
                    <a:pt x="940" y="496"/>
                  </a:lnTo>
                  <a:lnTo>
                    <a:pt x="940" y="494"/>
                  </a:lnTo>
                  <a:lnTo>
                    <a:pt x="936" y="494"/>
                  </a:lnTo>
                  <a:lnTo>
                    <a:pt x="936" y="496"/>
                  </a:lnTo>
                  <a:lnTo>
                    <a:pt x="936" y="494"/>
                  </a:lnTo>
                  <a:lnTo>
                    <a:pt x="932" y="494"/>
                  </a:lnTo>
                  <a:lnTo>
                    <a:pt x="936" y="496"/>
                  </a:lnTo>
                  <a:lnTo>
                    <a:pt x="940" y="496"/>
                  </a:lnTo>
                  <a:lnTo>
                    <a:pt x="940" y="500"/>
                  </a:lnTo>
                  <a:lnTo>
                    <a:pt x="940" y="504"/>
                  </a:lnTo>
                  <a:lnTo>
                    <a:pt x="936" y="504"/>
                  </a:lnTo>
                  <a:lnTo>
                    <a:pt x="932" y="504"/>
                  </a:lnTo>
                  <a:lnTo>
                    <a:pt x="932" y="500"/>
                  </a:lnTo>
                  <a:lnTo>
                    <a:pt x="932" y="504"/>
                  </a:lnTo>
                  <a:lnTo>
                    <a:pt x="928" y="504"/>
                  </a:lnTo>
                  <a:lnTo>
                    <a:pt x="928" y="500"/>
                  </a:lnTo>
                  <a:lnTo>
                    <a:pt x="924" y="500"/>
                  </a:lnTo>
                  <a:lnTo>
                    <a:pt x="920" y="500"/>
                  </a:lnTo>
                  <a:lnTo>
                    <a:pt x="924" y="500"/>
                  </a:lnTo>
                  <a:lnTo>
                    <a:pt x="924" y="504"/>
                  </a:lnTo>
                  <a:lnTo>
                    <a:pt x="920" y="504"/>
                  </a:lnTo>
                  <a:lnTo>
                    <a:pt x="920" y="500"/>
                  </a:lnTo>
                  <a:lnTo>
                    <a:pt x="924" y="504"/>
                  </a:lnTo>
                  <a:lnTo>
                    <a:pt x="920" y="504"/>
                  </a:lnTo>
                  <a:lnTo>
                    <a:pt x="918" y="504"/>
                  </a:lnTo>
                  <a:lnTo>
                    <a:pt x="918" y="508"/>
                  </a:lnTo>
                  <a:lnTo>
                    <a:pt x="914" y="508"/>
                  </a:lnTo>
                  <a:lnTo>
                    <a:pt x="910" y="508"/>
                  </a:lnTo>
                  <a:lnTo>
                    <a:pt x="906" y="508"/>
                  </a:lnTo>
                  <a:lnTo>
                    <a:pt x="902" y="508"/>
                  </a:lnTo>
                  <a:lnTo>
                    <a:pt x="898" y="508"/>
                  </a:lnTo>
                  <a:lnTo>
                    <a:pt x="898" y="504"/>
                  </a:lnTo>
                  <a:lnTo>
                    <a:pt x="894" y="504"/>
                  </a:lnTo>
                  <a:lnTo>
                    <a:pt x="890" y="504"/>
                  </a:lnTo>
                  <a:lnTo>
                    <a:pt x="888" y="500"/>
                  </a:lnTo>
                  <a:lnTo>
                    <a:pt x="888" y="496"/>
                  </a:lnTo>
                  <a:lnTo>
                    <a:pt x="890" y="494"/>
                  </a:lnTo>
                  <a:lnTo>
                    <a:pt x="888" y="490"/>
                  </a:lnTo>
                  <a:lnTo>
                    <a:pt x="890" y="490"/>
                  </a:lnTo>
                  <a:lnTo>
                    <a:pt x="894" y="486"/>
                  </a:lnTo>
                  <a:lnTo>
                    <a:pt x="898" y="486"/>
                  </a:lnTo>
                  <a:lnTo>
                    <a:pt x="902" y="486"/>
                  </a:lnTo>
                  <a:lnTo>
                    <a:pt x="898" y="482"/>
                  </a:lnTo>
                  <a:lnTo>
                    <a:pt x="902" y="482"/>
                  </a:lnTo>
                  <a:lnTo>
                    <a:pt x="898" y="478"/>
                  </a:lnTo>
                  <a:lnTo>
                    <a:pt x="902" y="478"/>
                  </a:lnTo>
                  <a:lnTo>
                    <a:pt x="906" y="478"/>
                  </a:lnTo>
                  <a:lnTo>
                    <a:pt x="910" y="482"/>
                  </a:lnTo>
                  <a:lnTo>
                    <a:pt x="914" y="482"/>
                  </a:lnTo>
                  <a:lnTo>
                    <a:pt x="918" y="482"/>
                  </a:lnTo>
                  <a:lnTo>
                    <a:pt x="920" y="482"/>
                  </a:lnTo>
                  <a:lnTo>
                    <a:pt x="920" y="486"/>
                  </a:lnTo>
                  <a:lnTo>
                    <a:pt x="924" y="486"/>
                  </a:lnTo>
                  <a:lnTo>
                    <a:pt x="928" y="490"/>
                  </a:lnTo>
                  <a:lnTo>
                    <a:pt x="924" y="490"/>
                  </a:lnTo>
                  <a:lnTo>
                    <a:pt x="924" y="494"/>
                  </a:lnTo>
                  <a:lnTo>
                    <a:pt x="928" y="494"/>
                  </a:lnTo>
                  <a:lnTo>
                    <a:pt x="928" y="496"/>
                  </a:lnTo>
                  <a:lnTo>
                    <a:pt x="928" y="494"/>
                  </a:lnTo>
                  <a:lnTo>
                    <a:pt x="924" y="494"/>
                  </a:lnTo>
                  <a:lnTo>
                    <a:pt x="928" y="494"/>
                  </a:lnTo>
                  <a:lnTo>
                    <a:pt x="928" y="490"/>
                  </a:lnTo>
                  <a:lnTo>
                    <a:pt x="932" y="490"/>
                  </a:lnTo>
                  <a:lnTo>
                    <a:pt x="932" y="486"/>
                  </a:lnTo>
                  <a:lnTo>
                    <a:pt x="928" y="486"/>
                  </a:lnTo>
                  <a:lnTo>
                    <a:pt x="928" y="490"/>
                  </a:lnTo>
                  <a:lnTo>
                    <a:pt x="928" y="486"/>
                  </a:lnTo>
                  <a:lnTo>
                    <a:pt x="924" y="486"/>
                  </a:lnTo>
                  <a:lnTo>
                    <a:pt x="920" y="486"/>
                  </a:lnTo>
                  <a:lnTo>
                    <a:pt x="920" y="482"/>
                  </a:lnTo>
                  <a:lnTo>
                    <a:pt x="924" y="482"/>
                  </a:lnTo>
                  <a:lnTo>
                    <a:pt x="928" y="482"/>
                  </a:lnTo>
                  <a:lnTo>
                    <a:pt x="932" y="482"/>
                  </a:lnTo>
                  <a:lnTo>
                    <a:pt x="936" y="482"/>
                  </a:lnTo>
                  <a:lnTo>
                    <a:pt x="940" y="482"/>
                  </a:lnTo>
                  <a:lnTo>
                    <a:pt x="944" y="478"/>
                  </a:lnTo>
                  <a:lnTo>
                    <a:pt x="948" y="478"/>
                  </a:lnTo>
                  <a:lnTo>
                    <a:pt x="950" y="478"/>
                  </a:lnTo>
                  <a:lnTo>
                    <a:pt x="954" y="478"/>
                  </a:lnTo>
                  <a:lnTo>
                    <a:pt x="954" y="474"/>
                  </a:lnTo>
                  <a:lnTo>
                    <a:pt x="950" y="474"/>
                  </a:lnTo>
                  <a:lnTo>
                    <a:pt x="950" y="470"/>
                  </a:lnTo>
                  <a:lnTo>
                    <a:pt x="948" y="470"/>
                  </a:lnTo>
                  <a:lnTo>
                    <a:pt x="948" y="466"/>
                  </a:lnTo>
                  <a:lnTo>
                    <a:pt x="944" y="466"/>
                  </a:lnTo>
                  <a:lnTo>
                    <a:pt x="944" y="464"/>
                  </a:lnTo>
                  <a:lnTo>
                    <a:pt x="940" y="464"/>
                  </a:lnTo>
                  <a:lnTo>
                    <a:pt x="944" y="460"/>
                  </a:lnTo>
                  <a:lnTo>
                    <a:pt x="948" y="460"/>
                  </a:lnTo>
                  <a:lnTo>
                    <a:pt x="950" y="456"/>
                  </a:lnTo>
                  <a:lnTo>
                    <a:pt x="954" y="452"/>
                  </a:lnTo>
                  <a:lnTo>
                    <a:pt x="958" y="448"/>
                  </a:lnTo>
                  <a:lnTo>
                    <a:pt x="962" y="448"/>
                  </a:lnTo>
                  <a:lnTo>
                    <a:pt x="962" y="444"/>
                  </a:lnTo>
                  <a:lnTo>
                    <a:pt x="966" y="440"/>
                  </a:lnTo>
                  <a:lnTo>
                    <a:pt x="970" y="440"/>
                  </a:lnTo>
                  <a:lnTo>
                    <a:pt x="970" y="436"/>
                  </a:lnTo>
                  <a:lnTo>
                    <a:pt x="974" y="436"/>
                  </a:lnTo>
                  <a:lnTo>
                    <a:pt x="974" y="434"/>
                  </a:lnTo>
                  <a:lnTo>
                    <a:pt x="970" y="434"/>
                  </a:lnTo>
                  <a:lnTo>
                    <a:pt x="970" y="430"/>
                  </a:lnTo>
                  <a:lnTo>
                    <a:pt x="970" y="426"/>
                  </a:lnTo>
                  <a:lnTo>
                    <a:pt x="966" y="426"/>
                  </a:lnTo>
                  <a:lnTo>
                    <a:pt x="966" y="422"/>
                  </a:lnTo>
                  <a:lnTo>
                    <a:pt x="970" y="422"/>
                  </a:lnTo>
                  <a:lnTo>
                    <a:pt x="966" y="422"/>
                  </a:lnTo>
                  <a:lnTo>
                    <a:pt x="966" y="418"/>
                  </a:lnTo>
                  <a:lnTo>
                    <a:pt x="962" y="418"/>
                  </a:lnTo>
                  <a:lnTo>
                    <a:pt x="962" y="414"/>
                  </a:lnTo>
                  <a:lnTo>
                    <a:pt x="962" y="410"/>
                  </a:lnTo>
                  <a:lnTo>
                    <a:pt x="958" y="410"/>
                  </a:lnTo>
                  <a:lnTo>
                    <a:pt x="954" y="410"/>
                  </a:lnTo>
                  <a:lnTo>
                    <a:pt x="954" y="408"/>
                  </a:lnTo>
                  <a:lnTo>
                    <a:pt x="958" y="408"/>
                  </a:lnTo>
                  <a:lnTo>
                    <a:pt x="954" y="408"/>
                  </a:lnTo>
                  <a:lnTo>
                    <a:pt x="954" y="410"/>
                  </a:lnTo>
                  <a:lnTo>
                    <a:pt x="950" y="408"/>
                  </a:lnTo>
                  <a:lnTo>
                    <a:pt x="950" y="404"/>
                  </a:lnTo>
                  <a:lnTo>
                    <a:pt x="950" y="400"/>
                  </a:lnTo>
                  <a:lnTo>
                    <a:pt x="948" y="400"/>
                  </a:lnTo>
                  <a:lnTo>
                    <a:pt x="950" y="404"/>
                  </a:lnTo>
                  <a:lnTo>
                    <a:pt x="948" y="404"/>
                  </a:lnTo>
                  <a:lnTo>
                    <a:pt x="944" y="404"/>
                  </a:lnTo>
                  <a:lnTo>
                    <a:pt x="940" y="400"/>
                  </a:lnTo>
                  <a:lnTo>
                    <a:pt x="936" y="400"/>
                  </a:lnTo>
                  <a:lnTo>
                    <a:pt x="936" y="396"/>
                  </a:lnTo>
                  <a:lnTo>
                    <a:pt x="940" y="396"/>
                  </a:lnTo>
                  <a:lnTo>
                    <a:pt x="936" y="396"/>
                  </a:lnTo>
                  <a:lnTo>
                    <a:pt x="940" y="396"/>
                  </a:lnTo>
                  <a:lnTo>
                    <a:pt x="936" y="396"/>
                  </a:lnTo>
                  <a:lnTo>
                    <a:pt x="936" y="392"/>
                  </a:lnTo>
                  <a:lnTo>
                    <a:pt x="932" y="392"/>
                  </a:lnTo>
                  <a:lnTo>
                    <a:pt x="936" y="392"/>
                  </a:lnTo>
                  <a:lnTo>
                    <a:pt x="940" y="392"/>
                  </a:lnTo>
                  <a:lnTo>
                    <a:pt x="940" y="388"/>
                  </a:lnTo>
                  <a:lnTo>
                    <a:pt x="936" y="388"/>
                  </a:lnTo>
                  <a:lnTo>
                    <a:pt x="932" y="392"/>
                  </a:lnTo>
                  <a:lnTo>
                    <a:pt x="928" y="392"/>
                  </a:lnTo>
                  <a:lnTo>
                    <a:pt x="924" y="392"/>
                  </a:lnTo>
                  <a:lnTo>
                    <a:pt x="924" y="396"/>
                  </a:lnTo>
                  <a:lnTo>
                    <a:pt x="920" y="396"/>
                  </a:lnTo>
                  <a:lnTo>
                    <a:pt x="918" y="396"/>
                  </a:lnTo>
                  <a:lnTo>
                    <a:pt x="918" y="400"/>
                  </a:lnTo>
                  <a:lnTo>
                    <a:pt x="914" y="400"/>
                  </a:lnTo>
                  <a:lnTo>
                    <a:pt x="910" y="400"/>
                  </a:lnTo>
                  <a:lnTo>
                    <a:pt x="910" y="396"/>
                  </a:lnTo>
                  <a:lnTo>
                    <a:pt x="914" y="396"/>
                  </a:lnTo>
                  <a:lnTo>
                    <a:pt x="910" y="396"/>
                  </a:lnTo>
                  <a:lnTo>
                    <a:pt x="910" y="392"/>
                  </a:lnTo>
                  <a:lnTo>
                    <a:pt x="914" y="388"/>
                  </a:lnTo>
                  <a:lnTo>
                    <a:pt x="918" y="388"/>
                  </a:lnTo>
                  <a:lnTo>
                    <a:pt x="918" y="392"/>
                  </a:lnTo>
                  <a:lnTo>
                    <a:pt x="920" y="392"/>
                  </a:lnTo>
                  <a:lnTo>
                    <a:pt x="920" y="388"/>
                  </a:lnTo>
                  <a:lnTo>
                    <a:pt x="924" y="388"/>
                  </a:lnTo>
                  <a:lnTo>
                    <a:pt x="924" y="384"/>
                  </a:lnTo>
                  <a:lnTo>
                    <a:pt x="920" y="384"/>
                  </a:lnTo>
                  <a:lnTo>
                    <a:pt x="920" y="380"/>
                  </a:lnTo>
                  <a:lnTo>
                    <a:pt x="918" y="380"/>
                  </a:lnTo>
                  <a:lnTo>
                    <a:pt x="914" y="380"/>
                  </a:lnTo>
                  <a:lnTo>
                    <a:pt x="910" y="378"/>
                  </a:lnTo>
                  <a:lnTo>
                    <a:pt x="914" y="374"/>
                  </a:lnTo>
                  <a:lnTo>
                    <a:pt x="918" y="374"/>
                  </a:lnTo>
                  <a:lnTo>
                    <a:pt x="914" y="374"/>
                  </a:lnTo>
                  <a:lnTo>
                    <a:pt x="910" y="374"/>
                  </a:lnTo>
                  <a:lnTo>
                    <a:pt x="914" y="374"/>
                  </a:lnTo>
                  <a:lnTo>
                    <a:pt x="910" y="378"/>
                  </a:lnTo>
                  <a:lnTo>
                    <a:pt x="906" y="378"/>
                  </a:lnTo>
                  <a:lnTo>
                    <a:pt x="902" y="374"/>
                  </a:lnTo>
                  <a:lnTo>
                    <a:pt x="906" y="374"/>
                  </a:lnTo>
                  <a:lnTo>
                    <a:pt x="910" y="374"/>
                  </a:lnTo>
                  <a:lnTo>
                    <a:pt x="906" y="370"/>
                  </a:lnTo>
                  <a:lnTo>
                    <a:pt x="902" y="370"/>
                  </a:lnTo>
                  <a:lnTo>
                    <a:pt x="906" y="366"/>
                  </a:lnTo>
                  <a:lnTo>
                    <a:pt x="902" y="366"/>
                  </a:lnTo>
                  <a:lnTo>
                    <a:pt x="902" y="370"/>
                  </a:lnTo>
                  <a:lnTo>
                    <a:pt x="898" y="370"/>
                  </a:lnTo>
                  <a:lnTo>
                    <a:pt x="898" y="374"/>
                  </a:lnTo>
                  <a:lnTo>
                    <a:pt x="894" y="374"/>
                  </a:lnTo>
                  <a:lnTo>
                    <a:pt x="894" y="370"/>
                  </a:lnTo>
                  <a:lnTo>
                    <a:pt x="894" y="366"/>
                  </a:lnTo>
                  <a:lnTo>
                    <a:pt x="894" y="362"/>
                  </a:lnTo>
                  <a:lnTo>
                    <a:pt x="894" y="358"/>
                  </a:lnTo>
                  <a:lnTo>
                    <a:pt x="890" y="358"/>
                  </a:lnTo>
                  <a:lnTo>
                    <a:pt x="888" y="358"/>
                  </a:lnTo>
                  <a:lnTo>
                    <a:pt x="888" y="362"/>
                  </a:lnTo>
                  <a:lnTo>
                    <a:pt x="884" y="358"/>
                  </a:lnTo>
                  <a:lnTo>
                    <a:pt x="884" y="354"/>
                  </a:lnTo>
                  <a:lnTo>
                    <a:pt x="884" y="358"/>
                  </a:lnTo>
                  <a:lnTo>
                    <a:pt x="880" y="354"/>
                  </a:lnTo>
                  <a:lnTo>
                    <a:pt x="876" y="354"/>
                  </a:lnTo>
                  <a:lnTo>
                    <a:pt x="876" y="350"/>
                  </a:lnTo>
                  <a:lnTo>
                    <a:pt x="880" y="350"/>
                  </a:lnTo>
                  <a:lnTo>
                    <a:pt x="876" y="350"/>
                  </a:lnTo>
                  <a:lnTo>
                    <a:pt x="876" y="348"/>
                  </a:lnTo>
                  <a:lnTo>
                    <a:pt x="876" y="350"/>
                  </a:lnTo>
                  <a:lnTo>
                    <a:pt x="876" y="354"/>
                  </a:lnTo>
                  <a:lnTo>
                    <a:pt x="872" y="354"/>
                  </a:lnTo>
                  <a:lnTo>
                    <a:pt x="868" y="354"/>
                  </a:lnTo>
                  <a:lnTo>
                    <a:pt x="872" y="354"/>
                  </a:lnTo>
                  <a:lnTo>
                    <a:pt x="872" y="358"/>
                  </a:lnTo>
                  <a:lnTo>
                    <a:pt x="876" y="358"/>
                  </a:lnTo>
                  <a:lnTo>
                    <a:pt x="880" y="358"/>
                  </a:lnTo>
                  <a:lnTo>
                    <a:pt x="880" y="362"/>
                  </a:lnTo>
                  <a:lnTo>
                    <a:pt x="880" y="366"/>
                  </a:lnTo>
                  <a:lnTo>
                    <a:pt x="880" y="370"/>
                  </a:lnTo>
                  <a:lnTo>
                    <a:pt x="876" y="370"/>
                  </a:lnTo>
                  <a:lnTo>
                    <a:pt x="872" y="370"/>
                  </a:lnTo>
                  <a:lnTo>
                    <a:pt x="868" y="370"/>
                  </a:lnTo>
                  <a:lnTo>
                    <a:pt x="864" y="370"/>
                  </a:lnTo>
                  <a:lnTo>
                    <a:pt x="864" y="366"/>
                  </a:lnTo>
                  <a:lnTo>
                    <a:pt x="862" y="366"/>
                  </a:lnTo>
                  <a:lnTo>
                    <a:pt x="858" y="366"/>
                  </a:lnTo>
                  <a:lnTo>
                    <a:pt x="854" y="366"/>
                  </a:lnTo>
                  <a:lnTo>
                    <a:pt x="850" y="366"/>
                  </a:lnTo>
                  <a:lnTo>
                    <a:pt x="850" y="362"/>
                  </a:lnTo>
                  <a:lnTo>
                    <a:pt x="846" y="362"/>
                  </a:lnTo>
                  <a:lnTo>
                    <a:pt x="842" y="362"/>
                  </a:lnTo>
                  <a:lnTo>
                    <a:pt x="838" y="362"/>
                  </a:lnTo>
                  <a:lnTo>
                    <a:pt x="838" y="366"/>
                  </a:lnTo>
                  <a:lnTo>
                    <a:pt x="842" y="366"/>
                  </a:lnTo>
                  <a:lnTo>
                    <a:pt x="846" y="366"/>
                  </a:lnTo>
                  <a:lnTo>
                    <a:pt x="846" y="370"/>
                  </a:lnTo>
                  <a:lnTo>
                    <a:pt x="850" y="370"/>
                  </a:lnTo>
                  <a:lnTo>
                    <a:pt x="854" y="374"/>
                  </a:lnTo>
                  <a:lnTo>
                    <a:pt x="850" y="374"/>
                  </a:lnTo>
                  <a:lnTo>
                    <a:pt x="846" y="374"/>
                  </a:lnTo>
                  <a:lnTo>
                    <a:pt x="846" y="370"/>
                  </a:lnTo>
                  <a:lnTo>
                    <a:pt x="842" y="370"/>
                  </a:lnTo>
                  <a:lnTo>
                    <a:pt x="842" y="366"/>
                  </a:lnTo>
                  <a:lnTo>
                    <a:pt x="838" y="366"/>
                  </a:lnTo>
                  <a:lnTo>
                    <a:pt x="834" y="366"/>
                  </a:lnTo>
                  <a:lnTo>
                    <a:pt x="834" y="362"/>
                  </a:lnTo>
                  <a:lnTo>
                    <a:pt x="832" y="362"/>
                  </a:lnTo>
                  <a:lnTo>
                    <a:pt x="828" y="362"/>
                  </a:lnTo>
                  <a:lnTo>
                    <a:pt x="824" y="358"/>
                  </a:lnTo>
                  <a:lnTo>
                    <a:pt x="820" y="358"/>
                  </a:lnTo>
                  <a:lnTo>
                    <a:pt x="824" y="358"/>
                  </a:lnTo>
                  <a:lnTo>
                    <a:pt x="824" y="362"/>
                  </a:lnTo>
                  <a:lnTo>
                    <a:pt x="828" y="362"/>
                  </a:lnTo>
                  <a:lnTo>
                    <a:pt x="832" y="362"/>
                  </a:lnTo>
                  <a:lnTo>
                    <a:pt x="834" y="366"/>
                  </a:lnTo>
                  <a:lnTo>
                    <a:pt x="838" y="366"/>
                  </a:lnTo>
                  <a:lnTo>
                    <a:pt x="838" y="370"/>
                  </a:lnTo>
                  <a:lnTo>
                    <a:pt x="834" y="370"/>
                  </a:lnTo>
                  <a:lnTo>
                    <a:pt x="832" y="370"/>
                  </a:lnTo>
                  <a:lnTo>
                    <a:pt x="828" y="370"/>
                  </a:lnTo>
                  <a:lnTo>
                    <a:pt x="824" y="370"/>
                  </a:lnTo>
                  <a:lnTo>
                    <a:pt x="820" y="366"/>
                  </a:lnTo>
                  <a:lnTo>
                    <a:pt x="816" y="366"/>
                  </a:lnTo>
                  <a:lnTo>
                    <a:pt x="812" y="366"/>
                  </a:lnTo>
                  <a:lnTo>
                    <a:pt x="808" y="366"/>
                  </a:lnTo>
                  <a:lnTo>
                    <a:pt x="806" y="366"/>
                  </a:lnTo>
                  <a:lnTo>
                    <a:pt x="802" y="366"/>
                  </a:lnTo>
                  <a:lnTo>
                    <a:pt x="798" y="366"/>
                  </a:lnTo>
                  <a:lnTo>
                    <a:pt x="794" y="366"/>
                  </a:lnTo>
                  <a:lnTo>
                    <a:pt x="790" y="362"/>
                  </a:lnTo>
                  <a:lnTo>
                    <a:pt x="786" y="362"/>
                  </a:lnTo>
                  <a:lnTo>
                    <a:pt x="782" y="362"/>
                  </a:lnTo>
                  <a:lnTo>
                    <a:pt x="778" y="362"/>
                  </a:lnTo>
                  <a:lnTo>
                    <a:pt x="778" y="366"/>
                  </a:lnTo>
                  <a:lnTo>
                    <a:pt x="782" y="362"/>
                  </a:lnTo>
                  <a:lnTo>
                    <a:pt x="786" y="366"/>
                  </a:lnTo>
                  <a:lnTo>
                    <a:pt x="790" y="366"/>
                  </a:lnTo>
                  <a:lnTo>
                    <a:pt x="786" y="366"/>
                  </a:lnTo>
                  <a:lnTo>
                    <a:pt x="782" y="366"/>
                  </a:lnTo>
                  <a:lnTo>
                    <a:pt x="778" y="366"/>
                  </a:lnTo>
                  <a:lnTo>
                    <a:pt x="776" y="366"/>
                  </a:lnTo>
                  <a:lnTo>
                    <a:pt x="776" y="362"/>
                  </a:lnTo>
                  <a:lnTo>
                    <a:pt x="772" y="362"/>
                  </a:lnTo>
                  <a:lnTo>
                    <a:pt x="772" y="358"/>
                  </a:lnTo>
                  <a:lnTo>
                    <a:pt x="768" y="354"/>
                  </a:lnTo>
                  <a:lnTo>
                    <a:pt x="772" y="354"/>
                  </a:lnTo>
                  <a:lnTo>
                    <a:pt x="776" y="354"/>
                  </a:lnTo>
                  <a:lnTo>
                    <a:pt x="772" y="354"/>
                  </a:lnTo>
                  <a:lnTo>
                    <a:pt x="772" y="350"/>
                  </a:lnTo>
                  <a:lnTo>
                    <a:pt x="772" y="354"/>
                  </a:lnTo>
                  <a:lnTo>
                    <a:pt x="768" y="354"/>
                  </a:lnTo>
                  <a:lnTo>
                    <a:pt x="768" y="358"/>
                  </a:lnTo>
                  <a:lnTo>
                    <a:pt x="764" y="358"/>
                  </a:lnTo>
                  <a:lnTo>
                    <a:pt x="764" y="354"/>
                  </a:lnTo>
                  <a:lnTo>
                    <a:pt x="760" y="354"/>
                  </a:lnTo>
                  <a:lnTo>
                    <a:pt x="764" y="354"/>
                  </a:lnTo>
                  <a:lnTo>
                    <a:pt x="764" y="358"/>
                  </a:lnTo>
                  <a:lnTo>
                    <a:pt x="760" y="358"/>
                  </a:lnTo>
                  <a:lnTo>
                    <a:pt x="756" y="358"/>
                  </a:lnTo>
                  <a:lnTo>
                    <a:pt x="752" y="358"/>
                  </a:lnTo>
                  <a:lnTo>
                    <a:pt x="756" y="358"/>
                  </a:lnTo>
                  <a:lnTo>
                    <a:pt x="752" y="358"/>
                  </a:lnTo>
                  <a:lnTo>
                    <a:pt x="748" y="358"/>
                  </a:lnTo>
                  <a:lnTo>
                    <a:pt x="746" y="358"/>
                  </a:lnTo>
                  <a:lnTo>
                    <a:pt x="748" y="358"/>
                  </a:lnTo>
                  <a:lnTo>
                    <a:pt x="748" y="354"/>
                  </a:lnTo>
                  <a:lnTo>
                    <a:pt x="746" y="354"/>
                  </a:lnTo>
                  <a:lnTo>
                    <a:pt x="742" y="354"/>
                  </a:lnTo>
                  <a:lnTo>
                    <a:pt x="738" y="354"/>
                  </a:lnTo>
                  <a:lnTo>
                    <a:pt x="738" y="350"/>
                  </a:lnTo>
                  <a:lnTo>
                    <a:pt x="734" y="350"/>
                  </a:lnTo>
                  <a:lnTo>
                    <a:pt x="734" y="348"/>
                  </a:lnTo>
                  <a:lnTo>
                    <a:pt x="732" y="348"/>
                  </a:lnTo>
                  <a:lnTo>
                    <a:pt x="732" y="344"/>
                  </a:lnTo>
                  <a:lnTo>
                    <a:pt x="734" y="340"/>
                  </a:lnTo>
                  <a:lnTo>
                    <a:pt x="732" y="340"/>
                  </a:lnTo>
                  <a:lnTo>
                    <a:pt x="728" y="340"/>
                  </a:lnTo>
                  <a:lnTo>
                    <a:pt x="728" y="336"/>
                  </a:lnTo>
                  <a:lnTo>
                    <a:pt x="732" y="340"/>
                  </a:lnTo>
                  <a:lnTo>
                    <a:pt x="734" y="340"/>
                  </a:lnTo>
                  <a:lnTo>
                    <a:pt x="738" y="340"/>
                  </a:lnTo>
                  <a:lnTo>
                    <a:pt x="742" y="340"/>
                  </a:lnTo>
                  <a:lnTo>
                    <a:pt x="746" y="340"/>
                  </a:lnTo>
                  <a:lnTo>
                    <a:pt x="748" y="344"/>
                  </a:lnTo>
                  <a:lnTo>
                    <a:pt x="752" y="340"/>
                  </a:lnTo>
                  <a:lnTo>
                    <a:pt x="756" y="340"/>
                  </a:lnTo>
                  <a:lnTo>
                    <a:pt x="760" y="340"/>
                  </a:lnTo>
                  <a:lnTo>
                    <a:pt x="764" y="340"/>
                  </a:lnTo>
                  <a:lnTo>
                    <a:pt x="760" y="340"/>
                  </a:lnTo>
                  <a:lnTo>
                    <a:pt x="756" y="340"/>
                  </a:lnTo>
                  <a:lnTo>
                    <a:pt x="756" y="336"/>
                  </a:lnTo>
                  <a:lnTo>
                    <a:pt x="752" y="336"/>
                  </a:lnTo>
                  <a:lnTo>
                    <a:pt x="752" y="332"/>
                  </a:lnTo>
                  <a:lnTo>
                    <a:pt x="748" y="332"/>
                  </a:lnTo>
                  <a:lnTo>
                    <a:pt x="748" y="336"/>
                  </a:lnTo>
                  <a:lnTo>
                    <a:pt x="746" y="332"/>
                  </a:lnTo>
                  <a:lnTo>
                    <a:pt x="742" y="332"/>
                  </a:lnTo>
                  <a:lnTo>
                    <a:pt x="738" y="332"/>
                  </a:lnTo>
                  <a:lnTo>
                    <a:pt x="734" y="332"/>
                  </a:lnTo>
                  <a:lnTo>
                    <a:pt x="732" y="332"/>
                  </a:lnTo>
                  <a:lnTo>
                    <a:pt x="728" y="332"/>
                  </a:lnTo>
                  <a:lnTo>
                    <a:pt x="724" y="332"/>
                  </a:lnTo>
                  <a:lnTo>
                    <a:pt x="724" y="328"/>
                  </a:lnTo>
                  <a:lnTo>
                    <a:pt x="720" y="324"/>
                  </a:lnTo>
                  <a:lnTo>
                    <a:pt x="724" y="324"/>
                  </a:lnTo>
                  <a:lnTo>
                    <a:pt x="724" y="322"/>
                  </a:lnTo>
                  <a:lnTo>
                    <a:pt x="724" y="318"/>
                  </a:lnTo>
                  <a:lnTo>
                    <a:pt x="720" y="318"/>
                  </a:lnTo>
                  <a:lnTo>
                    <a:pt x="720" y="314"/>
                  </a:lnTo>
                  <a:lnTo>
                    <a:pt x="724" y="314"/>
                  </a:lnTo>
                  <a:lnTo>
                    <a:pt x="724" y="310"/>
                  </a:lnTo>
                  <a:lnTo>
                    <a:pt x="728" y="310"/>
                  </a:lnTo>
                  <a:lnTo>
                    <a:pt x="724" y="310"/>
                  </a:lnTo>
                  <a:lnTo>
                    <a:pt x="724" y="306"/>
                  </a:lnTo>
                  <a:lnTo>
                    <a:pt x="724" y="302"/>
                  </a:lnTo>
                  <a:lnTo>
                    <a:pt x="724" y="298"/>
                  </a:lnTo>
                  <a:lnTo>
                    <a:pt x="728" y="298"/>
                  </a:lnTo>
                  <a:lnTo>
                    <a:pt x="728" y="294"/>
                  </a:lnTo>
                  <a:lnTo>
                    <a:pt x="732" y="294"/>
                  </a:lnTo>
                  <a:lnTo>
                    <a:pt x="732" y="288"/>
                  </a:lnTo>
                  <a:lnTo>
                    <a:pt x="732" y="284"/>
                  </a:lnTo>
                  <a:lnTo>
                    <a:pt x="734" y="280"/>
                  </a:lnTo>
                  <a:lnTo>
                    <a:pt x="738" y="280"/>
                  </a:lnTo>
                  <a:lnTo>
                    <a:pt x="738" y="276"/>
                  </a:lnTo>
                  <a:lnTo>
                    <a:pt x="742" y="276"/>
                  </a:lnTo>
                  <a:lnTo>
                    <a:pt x="742" y="272"/>
                  </a:lnTo>
                  <a:lnTo>
                    <a:pt x="746" y="272"/>
                  </a:lnTo>
                  <a:lnTo>
                    <a:pt x="748" y="272"/>
                  </a:lnTo>
                  <a:lnTo>
                    <a:pt x="748" y="268"/>
                  </a:lnTo>
                  <a:lnTo>
                    <a:pt x="752" y="268"/>
                  </a:lnTo>
                  <a:lnTo>
                    <a:pt x="756" y="268"/>
                  </a:lnTo>
                  <a:lnTo>
                    <a:pt x="760" y="264"/>
                  </a:lnTo>
                  <a:lnTo>
                    <a:pt x="764" y="264"/>
                  </a:lnTo>
                  <a:lnTo>
                    <a:pt x="768" y="264"/>
                  </a:lnTo>
                  <a:lnTo>
                    <a:pt x="772" y="264"/>
                  </a:lnTo>
                  <a:lnTo>
                    <a:pt x="776" y="264"/>
                  </a:lnTo>
                  <a:lnTo>
                    <a:pt x="782" y="264"/>
                  </a:lnTo>
                  <a:lnTo>
                    <a:pt x="786" y="264"/>
                  </a:lnTo>
                  <a:lnTo>
                    <a:pt x="790" y="264"/>
                  </a:lnTo>
                  <a:lnTo>
                    <a:pt x="794" y="268"/>
                  </a:lnTo>
                  <a:lnTo>
                    <a:pt x="790" y="268"/>
                  </a:lnTo>
                  <a:lnTo>
                    <a:pt x="786" y="272"/>
                  </a:lnTo>
                  <a:lnTo>
                    <a:pt x="782" y="276"/>
                  </a:lnTo>
                  <a:lnTo>
                    <a:pt x="778" y="276"/>
                  </a:lnTo>
                  <a:lnTo>
                    <a:pt x="778" y="280"/>
                  </a:lnTo>
                  <a:lnTo>
                    <a:pt x="776" y="280"/>
                  </a:lnTo>
                  <a:lnTo>
                    <a:pt x="776" y="284"/>
                  </a:lnTo>
                  <a:lnTo>
                    <a:pt x="776" y="288"/>
                  </a:lnTo>
                  <a:lnTo>
                    <a:pt x="772" y="288"/>
                  </a:lnTo>
                  <a:lnTo>
                    <a:pt x="768" y="292"/>
                  </a:lnTo>
                  <a:lnTo>
                    <a:pt x="768" y="294"/>
                  </a:lnTo>
                  <a:lnTo>
                    <a:pt x="768" y="298"/>
                  </a:lnTo>
                  <a:lnTo>
                    <a:pt x="772" y="298"/>
                  </a:lnTo>
                  <a:lnTo>
                    <a:pt x="772" y="302"/>
                  </a:lnTo>
                  <a:lnTo>
                    <a:pt x="776" y="302"/>
                  </a:lnTo>
                  <a:lnTo>
                    <a:pt x="772" y="306"/>
                  </a:lnTo>
                  <a:lnTo>
                    <a:pt x="772" y="310"/>
                  </a:lnTo>
                  <a:lnTo>
                    <a:pt x="772" y="314"/>
                  </a:lnTo>
                  <a:lnTo>
                    <a:pt x="776" y="318"/>
                  </a:lnTo>
                  <a:lnTo>
                    <a:pt x="776" y="322"/>
                  </a:lnTo>
                  <a:lnTo>
                    <a:pt x="778" y="322"/>
                  </a:lnTo>
                  <a:lnTo>
                    <a:pt x="786" y="328"/>
                  </a:lnTo>
                  <a:lnTo>
                    <a:pt x="790" y="328"/>
                  </a:lnTo>
                  <a:lnTo>
                    <a:pt x="794" y="328"/>
                  </a:lnTo>
                  <a:lnTo>
                    <a:pt x="794" y="332"/>
                  </a:lnTo>
                  <a:lnTo>
                    <a:pt x="790" y="332"/>
                  </a:lnTo>
                  <a:lnTo>
                    <a:pt x="786" y="336"/>
                  </a:lnTo>
                  <a:lnTo>
                    <a:pt x="782" y="336"/>
                  </a:lnTo>
                  <a:lnTo>
                    <a:pt x="778" y="336"/>
                  </a:lnTo>
                  <a:lnTo>
                    <a:pt x="776" y="336"/>
                  </a:lnTo>
                  <a:lnTo>
                    <a:pt x="776" y="340"/>
                  </a:lnTo>
                  <a:lnTo>
                    <a:pt x="772" y="340"/>
                  </a:lnTo>
                  <a:lnTo>
                    <a:pt x="768" y="340"/>
                  </a:lnTo>
                  <a:lnTo>
                    <a:pt x="772" y="340"/>
                  </a:lnTo>
                  <a:lnTo>
                    <a:pt x="776" y="340"/>
                  </a:lnTo>
                  <a:lnTo>
                    <a:pt x="778" y="340"/>
                  </a:lnTo>
                  <a:lnTo>
                    <a:pt x="778" y="336"/>
                  </a:lnTo>
                  <a:lnTo>
                    <a:pt x="782" y="336"/>
                  </a:lnTo>
                  <a:lnTo>
                    <a:pt x="786" y="336"/>
                  </a:lnTo>
                  <a:lnTo>
                    <a:pt x="790" y="336"/>
                  </a:lnTo>
                  <a:lnTo>
                    <a:pt x="794" y="336"/>
                  </a:lnTo>
                  <a:lnTo>
                    <a:pt x="794" y="340"/>
                  </a:lnTo>
                  <a:lnTo>
                    <a:pt x="794" y="336"/>
                  </a:lnTo>
                  <a:lnTo>
                    <a:pt x="790" y="336"/>
                  </a:lnTo>
                  <a:lnTo>
                    <a:pt x="790" y="340"/>
                  </a:lnTo>
                  <a:lnTo>
                    <a:pt x="794" y="340"/>
                  </a:lnTo>
                  <a:lnTo>
                    <a:pt x="794" y="344"/>
                  </a:lnTo>
                  <a:lnTo>
                    <a:pt x="794" y="340"/>
                  </a:lnTo>
                  <a:lnTo>
                    <a:pt x="794" y="336"/>
                  </a:lnTo>
                  <a:lnTo>
                    <a:pt x="794" y="332"/>
                  </a:lnTo>
                  <a:lnTo>
                    <a:pt x="794" y="328"/>
                  </a:lnTo>
                  <a:lnTo>
                    <a:pt x="798" y="328"/>
                  </a:lnTo>
                  <a:lnTo>
                    <a:pt x="798" y="324"/>
                  </a:lnTo>
                  <a:lnTo>
                    <a:pt x="798" y="322"/>
                  </a:lnTo>
                  <a:lnTo>
                    <a:pt x="794" y="322"/>
                  </a:lnTo>
                  <a:lnTo>
                    <a:pt x="794" y="324"/>
                  </a:lnTo>
                  <a:lnTo>
                    <a:pt x="790" y="324"/>
                  </a:lnTo>
                  <a:lnTo>
                    <a:pt x="790" y="322"/>
                  </a:lnTo>
                  <a:lnTo>
                    <a:pt x="786" y="322"/>
                  </a:lnTo>
                  <a:lnTo>
                    <a:pt x="782" y="322"/>
                  </a:lnTo>
                  <a:lnTo>
                    <a:pt x="786" y="322"/>
                  </a:lnTo>
                  <a:lnTo>
                    <a:pt x="786" y="318"/>
                  </a:lnTo>
                  <a:lnTo>
                    <a:pt x="782" y="318"/>
                  </a:lnTo>
                  <a:lnTo>
                    <a:pt x="778" y="314"/>
                  </a:lnTo>
                  <a:lnTo>
                    <a:pt x="776" y="314"/>
                  </a:lnTo>
                  <a:lnTo>
                    <a:pt x="778" y="314"/>
                  </a:lnTo>
                  <a:lnTo>
                    <a:pt x="782" y="314"/>
                  </a:lnTo>
                  <a:lnTo>
                    <a:pt x="786" y="314"/>
                  </a:lnTo>
                  <a:lnTo>
                    <a:pt x="786" y="310"/>
                  </a:lnTo>
                  <a:lnTo>
                    <a:pt x="786" y="306"/>
                  </a:lnTo>
                  <a:lnTo>
                    <a:pt x="790" y="306"/>
                  </a:lnTo>
                  <a:lnTo>
                    <a:pt x="794" y="306"/>
                  </a:lnTo>
                  <a:lnTo>
                    <a:pt x="794" y="310"/>
                  </a:lnTo>
                  <a:lnTo>
                    <a:pt x="798" y="310"/>
                  </a:lnTo>
                  <a:lnTo>
                    <a:pt x="802" y="314"/>
                  </a:lnTo>
                  <a:lnTo>
                    <a:pt x="802" y="318"/>
                  </a:lnTo>
                  <a:lnTo>
                    <a:pt x="806" y="318"/>
                  </a:lnTo>
                  <a:lnTo>
                    <a:pt x="806" y="314"/>
                  </a:lnTo>
                  <a:lnTo>
                    <a:pt x="802" y="314"/>
                  </a:lnTo>
                  <a:lnTo>
                    <a:pt x="802" y="310"/>
                  </a:lnTo>
                  <a:lnTo>
                    <a:pt x="798" y="310"/>
                  </a:lnTo>
                  <a:lnTo>
                    <a:pt x="794" y="310"/>
                  </a:lnTo>
                  <a:lnTo>
                    <a:pt x="794" y="306"/>
                  </a:lnTo>
                  <a:lnTo>
                    <a:pt x="798" y="306"/>
                  </a:lnTo>
                  <a:lnTo>
                    <a:pt x="802" y="302"/>
                  </a:lnTo>
                  <a:lnTo>
                    <a:pt x="798" y="302"/>
                  </a:lnTo>
                  <a:lnTo>
                    <a:pt x="798" y="306"/>
                  </a:lnTo>
                  <a:lnTo>
                    <a:pt x="794" y="306"/>
                  </a:lnTo>
                  <a:lnTo>
                    <a:pt x="794" y="302"/>
                  </a:lnTo>
                  <a:lnTo>
                    <a:pt x="790" y="302"/>
                  </a:lnTo>
                  <a:lnTo>
                    <a:pt x="790" y="306"/>
                  </a:lnTo>
                  <a:lnTo>
                    <a:pt x="786" y="302"/>
                  </a:lnTo>
                  <a:lnTo>
                    <a:pt x="782" y="302"/>
                  </a:lnTo>
                  <a:lnTo>
                    <a:pt x="782" y="298"/>
                  </a:lnTo>
                  <a:lnTo>
                    <a:pt x="786" y="298"/>
                  </a:lnTo>
                  <a:lnTo>
                    <a:pt x="782" y="298"/>
                  </a:lnTo>
                  <a:lnTo>
                    <a:pt x="782" y="294"/>
                  </a:lnTo>
                  <a:lnTo>
                    <a:pt x="782" y="292"/>
                  </a:lnTo>
                  <a:lnTo>
                    <a:pt x="782" y="288"/>
                  </a:lnTo>
                  <a:lnTo>
                    <a:pt x="786" y="288"/>
                  </a:lnTo>
                  <a:lnTo>
                    <a:pt x="790" y="292"/>
                  </a:lnTo>
                  <a:lnTo>
                    <a:pt x="794" y="292"/>
                  </a:lnTo>
                  <a:lnTo>
                    <a:pt x="798" y="292"/>
                  </a:lnTo>
                  <a:lnTo>
                    <a:pt x="802" y="292"/>
                  </a:lnTo>
                  <a:lnTo>
                    <a:pt x="802" y="294"/>
                  </a:lnTo>
                  <a:lnTo>
                    <a:pt x="806" y="294"/>
                  </a:lnTo>
                  <a:lnTo>
                    <a:pt x="802" y="294"/>
                  </a:lnTo>
                  <a:lnTo>
                    <a:pt x="802" y="292"/>
                  </a:lnTo>
                  <a:lnTo>
                    <a:pt x="798" y="292"/>
                  </a:lnTo>
                  <a:lnTo>
                    <a:pt x="794" y="292"/>
                  </a:lnTo>
                  <a:lnTo>
                    <a:pt x="794" y="288"/>
                  </a:lnTo>
                  <a:lnTo>
                    <a:pt x="790" y="288"/>
                  </a:lnTo>
                  <a:lnTo>
                    <a:pt x="782" y="288"/>
                  </a:lnTo>
                  <a:lnTo>
                    <a:pt x="786" y="284"/>
                  </a:lnTo>
                  <a:lnTo>
                    <a:pt x="786" y="288"/>
                  </a:lnTo>
                  <a:lnTo>
                    <a:pt x="790" y="288"/>
                  </a:lnTo>
                  <a:lnTo>
                    <a:pt x="790" y="284"/>
                  </a:lnTo>
                  <a:lnTo>
                    <a:pt x="794" y="284"/>
                  </a:lnTo>
                  <a:lnTo>
                    <a:pt x="794" y="288"/>
                  </a:lnTo>
                  <a:lnTo>
                    <a:pt x="798" y="288"/>
                  </a:lnTo>
                  <a:lnTo>
                    <a:pt x="802" y="288"/>
                  </a:lnTo>
                  <a:lnTo>
                    <a:pt x="806" y="288"/>
                  </a:lnTo>
                  <a:lnTo>
                    <a:pt x="808" y="288"/>
                  </a:lnTo>
                  <a:lnTo>
                    <a:pt x="812" y="288"/>
                  </a:lnTo>
                  <a:lnTo>
                    <a:pt x="808" y="288"/>
                  </a:lnTo>
                  <a:lnTo>
                    <a:pt x="806" y="288"/>
                  </a:lnTo>
                  <a:lnTo>
                    <a:pt x="802" y="288"/>
                  </a:lnTo>
                  <a:lnTo>
                    <a:pt x="802" y="284"/>
                  </a:lnTo>
                  <a:lnTo>
                    <a:pt x="798" y="284"/>
                  </a:lnTo>
                  <a:lnTo>
                    <a:pt x="794" y="284"/>
                  </a:lnTo>
                  <a:lnTo>
                    <a:pt x="790" y="284"/>
                  </a:lnTo>
                  <a:lnTo>
                    <a:pt x="790" y="280"/>
                  </a:lnTo>
                  <a:lnTo>
                    <a:pt x="794" y="280"/>
                  </a:lnTo>
                  <a:lnTo>
                    <a:pt x="794" y="276"/>
                  </a:lnTo>
                  <a:lnTo>
                    <a:pt x="798" y="280"/>
                  </a:lnTo>
                  <a:lnTo>
                    <a:pt x="802" y="280"/>
                  </a:lnTo>
                  <a:lnTo>
                    <a:pt x="798" y="280"/>
                  </a:lnTo>
                  <a:lnTo>
                    <a:pt x="798" y="276"/>
                  </a:lnTo>
                  <a:lnTo>
                    <a:pt x="802" y="276"/>
                  </a:lnTo>
                  <a:lnTo>
                    <a:pt x="806" y="276"/>
                  </a:lnTo>
                  <a:lnTo>
                    <a:pt x="808" y="276"/>
                  </a:lnTo>
                  <a:lnTo>
                    <a:pt x="808" y="280"/>
                  </a:lnTo>
                  <a:lnTo>
                    <a:pt x="812" y="280"/>
                  </a:lnTo>
                  <a:lnTo>
                    <a:pt x="812" y="276"/>
                  </a:lnTo>
                  <a:lnTo>
                    <a:pt x="808" y="276"/>
                  </a:lnTo>
                  <a:lnTo>
                    <a:pt x="806" y="276"/>
                  </a:lnTo>
                  <a:lnTo>
                    <a:pt x="806" y="272"/>
                  </a:lnTo>
                  <a:lnTo>
                    <a:pt x="808" y="272"/>
                  </a:lnTo>
                  <a:lnTo>
                    <a:pt x="812" y="272"/>
                  </a:lnTo>
                  <a:lnTo>
                    <a:pt x="816" y="268"/>
                  </a:lnTo>
                  <a:lnTo>
                    <a:pt x="820" y="268"/>
                  </a:lnTo>
                  <a:lnTo>
                    <a:pt x="824" y="268"/>
                  </a:lnTo>
                  <a:lnTo>
                    <a:pt x="828" y="268"/>
                  </a:lnTo>
                  <a:lnTo>
                    <a:pt x="832" y="268"/>
                  </a:lnTo>
                  <a:lnTo>
                    <a:pt x="834" y="268"/>
                  </a:lnTo>
                  <a:lnTo>
                    <a:pt x="838" y="268"/>
                  </a:lnTo>
                  <a:lnTo>
                    <a:pt x="842" y="268"/>
                  </a:lnTo>
                  <a:lnTo>
                    <a:pt x="846" y="272"/>
                  </a:lnTo>
                  <a:lnTo>
                    <a:pt x="846" y="276"/>
                  </a:lnTo>
                  <a:lnTo>
                    <a:pt x="846" y="280"/>
                  </a:lnTo>
                  <a:lnTo>
                    <a:pt x="850" y="284"/>
                  </a:lnTo>
                  <a:lnTo>
                    <a:pt x="854" y="284"/>
                  </a:lnTo>
                  <a:lnTo>
                    <a:pt x="854" y="288"/>
                  </a:lnTo>
                  <a:lnTo>
                    <a:pt x="854" y="292"/>
                  </a:lnTo>
                  <a:lnTo>
                    <a:pt x="858" y="292"/>
                  </a:lnTo>
                  <a:lnTo>
                    <a:pt x="858" y="294"/>
                  </a:lnTo>
                  <a:lnTo>
                    <a:pt x="854" y="298"/>
                  </a:lnTo>
                  <a:lnTo>
                    <a:pt x="850" y="302"/>
                  </a:lnTo>
                  <a:lnTo>
                    <a:pt x="846" y="306"/>
                  </a:lnTo>
                  <a:lnTo>
                    <a:pt x="842" y="306"/>
                  </a:lnTo>
                  <a:lnTo>
                    <a:pt x="846" y="306"/>
                  </a:lnTo>
                  <a:lnTo>
                    <a:pt x="850" y="302"/>
                  </a:lnTo>
                  <a:lnTo>
                    <a:pt x="854" y="302"/>
                  </a:lnTo>
                  <a:lnTo>
                    <a:pt x="858" y="302"/>
                  </a:lnTo>
                  <a:lnTo>
                    <a:pt x="854" y="302"/>
                  </a:lnTo>
                  <a:lnTo>
                    <a:pt x="854" y="306"/>
                  </a:lnTo>
                  <a:lnTo>
                    <a:pt x="850" y="306"/>
                  </a:lnTo>
                  <a:lnTo>
                    <a:pt x="850" y="310"/>
                  </a:lnTo>
                  <a:lnTo>
                    <a:pt x="854" y="310"/>
                  </a:lnTo>
                  <a:lnTo>
                    <a:pt x="854" y="314"/>
                  </a:lnTo>
                  <a:lnTo>
                    <a:pt x="854" y="310"/>
                  </a:lnTo>
                  <a:lnTo>
                    <a:pt x="850" y="314"/>
                  </a:lnTo>
                  <a:lnTo>
                    <a:pt x="846" y="314"/>
                  </a:lnTo>
                  <a:lnTo>
                    <a:pt x="850" y="314"/>
                  </a:lnTo>
                  <a:lnTo>
                    <a:pt x="850" y="318"/>
                  </a:lnTo>
                  <a:lnTo>
                    <a:pt x="854" y="318"/>
                  </a:lnTo>
                  <a:lnTo>
                    <a:pt x="854" y="314"/>
                  </a:lnTo>
                  <a:lnTo>
                    <a:pt x="858" y="314"/>
                  </a:lnTo>
                  <a:lnTo>
                    <a:pt x="858" y="310"/>
                  </a:lnTo>
                  <a:lnTo>
                    <a:pt x="862" y="310"/>
                  </a:lnTo>
                  <a:lnTo>
                    <a:pt x="858" y="310"/>
                  </a:lnTo>
                  <a:lnTo>
                    <a:pt x="858" y="306"/>
                  </a:lnTo>
                  <a:lnTo>
                    <a:pt x="862" y="306"/>
                  </a:lnTo>
                  <a:lnTo>
                    <a:pt x="862" y="310"/>
                  </a:lnTo>
                  <a:lnTo>
                    <a:pt x="864" y="310"/>
                  </a:lnTo>
                  <a:lnTo>
                    <a:pt x="868" y="310"/>
                  </a:lnTo>
                  <a:lnTo>
                    <a:pt x="864" y="310"/>
                  </a:lnTo>
                  <a:lnTo>
                    <a:pt x="862" y="306"/>
                  </a:lnTo>
                  <a:lnTo>
                    <a:pt x="862" y="302"/>
                  </a:lnTo>
                  <a:lnTo>
                    <a:pt x="864" y="302"/>
                  </a:lnTo>
                  <a:lnTo>
                    <a:pt x="868" y="302"/>
                  </a:lnTo>
                  <a:lnTo>
                    <a:pt x="864" y="302"/>
                  </a:lnTo>
                  <a:lnTo>
                    <a:pt x="868" y="302"/>
                  </a:lnTo>
                  <a:lnTo>
                    <a:pt x="868" y="306"/>
                  </a:lnTo>
                  <a:lnTo>
                    <a:pt x="864" y="306"/>
                  </a:lnTo>
                  <a:lnTo>
                    <a:pt x="864" y="310"/>
                  </a:lnTo>
                  <a:lnTo>
                    <a:pt x="868" y="310"/>
                  </a:lnTo>
                  <a:lnTo>
                    <a:pt x="868" y="306"/>
                  </a:lnTo>
                  <a:lnTo>
                    <a:pt x="872" y="302"/>
                  </a:lnTo>
                  <a:lnTo>
                    <a:pt x="876" y="306"/>
                  </a:lnTo>
                  <a:lnTo>
                    <a:pt x="876" y="310"/>
                  </a:lnTo>
                  <a:lnTo>
                    <a:pt x="876" y="314"/>
                  </a:lnTo>
                  <a:lnTo>
                    <a:pt x="872" y="314"/>
                  </a:lnTo>
                  <a:lnTo>
                    <a:pt x="876" y="314"/>
                  </a:lnTo>
                  <a:lnTo>
                    <a:pt x="880" y="318"/>
                  </a:lnTo>
                  <a:lnTo>
                    <a:pt x="884" y="318"/>
                  </a:lnTo>
                  <a:lnTo>
                    <a:pt x="880" y="314"/>
                  </a:lnTo>
                  <a:lnTo>
                    <a:pt x="880" y="310"/>
                  </a:lnTo>
                  <a:lnTo>
                    <a:pt x="884" y="310"/>
                  </a:lnTo>
                  <a:lnTo>
                    <a:pt x="884" y="314"/>
                  </a:lnTo>
                  <a:lnTo>
                    <a:pt x="888" y="314"/>
                  </a:lnTo>
                  <a:lnTo>
                    <a:pt x="888" y="318"/>
                  </a:lnTo>
                  <a:lnTo>
                    <a:pt x="890" y="318"/>
                  </a:lnTo>
                  <a:lnTo>
                    <a:pt x="890" y="322"/>
                  </a:lnTo>
                  <a:lnTo>
                    <a:pt x="890" y="318"/>
                  </a:lnTo>
                  <a:lnTo>
                    <a:pt x="888" y="318"/>
                  </a:lnTo>
                  <a:lnTo>
                    <a:pt x="888" y="314"/>
                  </a:lnTo>
                  <a:lnTo>
                    <a:pt x="890" y="318"/>
                  </a:lnTo>
                  <a:lnTo>
                    <a:pt x="894" y="322"/>
                  </a:lnTo>
                  <a:lnTo>
                    <a:pt x="894" y="318"/>
                  </a:lnTo>
                  <a:lnTo>
                    <a:pt x="890" y="318"/>
                  </a:lnTo>
                  <a:lnTo>
                    <a:pt x="890" y="314"/>
                  </a:lnTo>
                  <a:lnTo>
                    <a:pt x="888" y="314"/>
                  </a:lnTo>
                  <a:lnTo>
                    <a:pt x="888" y="310"/>
                  </a:lnTo>
                  <a:lnTo>
                    <a:pt x="884" y="310"/>
                  </a:lnTo>
                  <a:lnTo>
                    <a:pt x="880" y="310"/>
                  </a:lnTo>
                  <a:lnTo>
                    <a:pt x="880" y="306"/>
                  </a:lnTo>
                  <a:lnTo>
                    <a:pt x="884" y="306"/>
                  </a:lnTo>
                  <a:lnTo>
                    <a:pt x="884" y="310"/>
                  </a:lnTo>
                  <a:lnTo>
                    <a:pt x="888" y="310"/>
                  </a:lnTo>
                  <a:lnTo>
                    <a:pt x="884" y="310"/>
                  </a:lnTo>
                  <a:lnTo>
                    <a:pt x="884" y="306"/>
                  </a:lnTo>
                  <a:lnTo>
                    <a:pt x="888" y="306"/>
                  </a:lnTo>
                  <a:lnTo>
                    <a:pt x="890" y="306"/>
                  </a:lnTo>
                  <a:lnTo>
                    <a:pt x="894" y="306"/>
                  </a:lnTo>
                  <a:lnTo>
                    <a:pt x="894" y="310"/>
                  </a:lnTo>
                  <a:lnTo>
                    <a:pt x="898" y="310"/>
                  </a:lnTo>
                  <a:lnTo>
                    <a:pt x="902" y="310"/>
                  </a:lnTo>
                  <a:lnTo>
                    <a:pt x="906" y="310"/>
                  </a:lnTo>
                  <a:lnTo>
                    <a:pt x="902" y="310"/>
                  </a:lnTo>
                  <a:lnTo>
                    <a:pt x="898" y="310"/>
                  </a:lnTo>
                  <a:lnTo>
                    <a:pt x="894" y="310"/>
                  </a:lnTo>
                  <a:lnTo>
                    <a:pt x="894" y="306"/>
                  </a:lnTo>
                  <a:lnTo>
                    <a:pt x="890" y="306"/>
                  </a:lnTo>
                  <a:lnTo>
                    <a:pt x="888" y="306"/>
                  </a:lnTo>
                  <a:lnTo>
                    <a:pt x="884" y="302"/>
                  </a:lnTo>
                  <a:lnTo>
                    <a:pt x="884" y="298"/>
                  </a:lnTo>
                  <a:lnTo>
                    <a:pt x="888" y="298"/>
                  </a:lnTo>
                  <a:lnTo>
                    <a:pt x="890" y="294"/>
                  </a:lnTo>
                  <a:lnTo>
                    <a:pt x="894" y="294"/>
                  </a:lnTo>
                  <a:lnTo>
                    <a:pt x="898" y="294"/>
                  </a:lnTo>
                  <a:lnTo>
                    <a:pt x="902" y="294"/>
                  </a:lnTo>
                  <a:lnTo>
                    <a:pt x="906" y="294"/>
                  </a:lnTo>
                  <a:lnTo>
                    <a:pt x="910" y="294"/>
                  </a:lnTo>
                  <a:lnTo>
                    <a:pt x="910" y="298"/>
                  </a:lnTo>
                  <a:lnTo>
                    <a:pt x="914" y="298"/>
                  </a:lnTo>
                  <a:lnTo>
                    <a:pt x="918" y="298"/>
                  </a:lnTo>
                  <a:lnTo>
                    <a:pt x="918" y="302"/>
                  </a:lnTo>
                  <a:lnTo>
                    <a:pt x="918" y="298"/>
                  </a:lnTo>
                  <a:lnTo>
                    <a:pt x="920" y="298"/>
                  </a:lnTo>
                  <a:lnTo>
                    <a:pt x="924" y="298"/>
                  </a:lnTo>
                  <a:lnTo>
                    <a:pt x="928" y="298"/>
                  </a:lnTo>
                  <a:lnTo>
                    <a:pt x="928" y="302"/>
                  </a:lnTo>
                  <a:lnTo>
                    <a:pt x="932" y="302"/>
                  </a:lnTo>
                  <a:lnTo>
                    <a:pt x="932" y="306"/>
                  </a:lnTo>
                  <a:lnTo>
                    <a:pt x="936" y="306"/>
                  </a:lnTo>
                  <a:lnTo>
                    <a:pt x="932" y="310"/>
                  </a:lnTo>
                  <a:lnTo>
                    <a:pt x="928" y="310"/>
                  </a:lnTo>
                  <a:lnTo>
                    <a:pt x="924" y="310"/>
                  </a:lnTo>
                  <a:lnTo>
                    <a:pt x="920" y="310"/>
                  </a:lnTo>
                  <a:lnTo>
                    <a:pt x="920" y="314"/>
                  </a:lnTo>
                  <a:lnTo>
                    <a:pt x="918" y="314"/>
                  </a:lnTo>
                  <a:lnTo>
                    <a:pt x="914" y="318"/>
                  </a:lnTo>
                  <a:lnTo>
                    <a:pt x="918" y="314"/>
                  </a:lnTo>
                  <a:lnTo>
                    <a:pt x="920" y="314"/>
                  </a:lnTo>
                  <a:lnTo>
                    <a:pt x="920" y="310"/>
                  </a:lnTo>
                  <a:lnTo>
                    <a:pt x="924" y="310"/>
                  </a:lnTo>
                  <a:lnTo>
                    <a:pt x="928" y="310"/>
                  </a:lnTo>
                  <a:lnTo>
                    <a:pt x="932" y="314"/>
                  </a:lnTo>
                  <a:lnTo>
                    <a:pt x="928" y="314"/>
                  </a:lnTo>
                  <a:lnTo>
                    <a:pt x="924" y="314"/>
                  </a:lnTo>
                  <a:lnTo>
                    <a:pt x="924" y="318"/>
                  </a:lnTo>
                  <a:lnTo>
                    <a:pt x="920" y="322"/>
                  </a:lnTo>
                  <a:lnTo>
                    <a:pt x="918" y="322"/>
                  </a:lnTo>
                  <a:lnTo>
                    <a:pt x="920" y="322"/>
                  </a:lnTo>
                  <a:lnTo>
                    <a:pt x="924" y="318"/>
                  </a:lnTo>
                  <a:lnTo>
                    <a:pt x="924" y="314"/>
                  </a:lnTo>
                  <a:lnTo>
                    <a:pt x="928" y="314"/>
                  </a:lnTo>
                  <a:lnTo>
                    <a:pt x="932" y="314"/>
                  </a:lnTo>
                  <a:lnTo>
                    <a:pt x="932" y="310"/>
                  </a:lnTo>
                  <a:lnTo>
                    <a:pt x="936" y="310"/>
                  </a:lnTo>
                  <a:lnTo>
                    <a:pt x="940" y="310"/>
                  </a:lnTo>
                  <a:lnTo>
                    <a:pt x="944" y="314"/>
                  </a:lnTo>
                  <a:lnTo>
                    <a:pt x="948" y="314"/>
                  </a:lnTo>
                  <a:lnTo>
                    <a:pt x="948" y="318"/>
                  </a:lnTo>
                  <a:lnTo>
                    <a:pt x="944" y="318"/>
                  </a:lnTo>
                  <a:lnTo>
                    <a:pt x="944" y="322"/>
                  </a:lnTo>
                  <a:lnTo>
                    <a:pt x="940" y="318"/>
                  </a:lnTo>
                  <a:lnTo>
                    <a:pt x="940" y="322"/>
                  </a:lnTo>
                  <a:lnTo>
                    <a:pt x="936" y="322"/>
                  </a:lnTo>
                  <a:lnTo>
                    <a:pt x="932" y="322"/>
                  </a:lnTo>
                  <a:lnTo>
                    <a:pt x="928" y="322"/>
                  </a:lnTo>
                  <a:lnTo>
                    <a:pt x="932" y="322"/>
                  </a:lnTo>
                  <a:lnTo>
                    <a:pt x="936" y="322"/>
                  </a:lnTo>
                  <a:lnTo>
                    <a:pt x="932" y="324"/>
                  </a:lnTo>
                  <a:lnTo>
                    <a:pt x="928" y="324"/>
                  </a:lnTo>
                  <a:lnTo>
                    <a:pt x="932" y="324"/>
                  </a:lnTo>
                  <a:lnTo>
                    <a:pt x="936" y="324"/>
                  </a:lnTo>
                  <a:lnTo>
                    <a:pt x="936" y="322"/>
                  </a:lnTo>
                  <a:lnTo>
                    <a:pt x="940" y="322"/>
                  </a:lnTo>
                  <a:lnTo>
                    <a:pt x="940" y="324"/>
                  </a:lnTo>
                  <a:lnTo>
                    <a:pt x="936" y="324"/>
                  </a:lnTo>
                  <a:lnTo>
                    <a:pt x="932" y="324"/>
                  </a:lnTo>
                  <a:lnTo>
                    <a:pt x="932" y="328"/>
                  </a:lnTo>
                  <a:lnTo>
                    <a:pt x="932" y="324"/>
                  </a:lnTo>
                  <a:lnTo>
                    <a:pt x="936" y="324"/>
                  </a:lnTo>
                  <a:lnTo>
                    <a:pt x="936" y="328"/>
                  </a:lnTo>
                  <a:lnTo>
                    <a:pt x="940" y="328"/>
                  </a:lnTo>
                  <a:lnTo>
                    <a:pt x="936" y="332"/>
                  </a:lnTo>
                  <a:lnTo>
                    <a:pt x="932" y="336"/>
                  </a:lnTo>
                  <a:lnTo>
                    <a:pt x="936" y="332"/>
                  </a:lnTo>
                  <a:lnTo>
                    <a:pt x="940" y="332"/>
                  </a:lnTo>
                  <a:lnTo>
                    <a:pt x="940" y="328"/>
                  </a:lnTo>
                  <a:lnTo>
                    <a:pt x="936" y="328"/>
                  </a:lnTo>
                  <a:lnTo>
                    <a:pt x="936" y="324"/>
                  </a:lnTo>
                  <a:lnTo>
                    <a:pt x="940" y="324"/>
                  </a:lnTo>
                  <a:lnTo>
                    <a:pt x="944" y="322"/>
                  </a:lnTo>
                  <a:lnTo>
                    <a:pt x="948" y="322"/>
                  </a:lnTo>
                  <a:lnTo>
                    <a:pt x="948" y="324"/>
                  </a:lnTo>
                  <a:lnTo>
                    <a:pt x="944" y="324"/>
                  </a:lnTo>
                  <a:lnTo>
                    <a:pt x="948" y="324"/>
                  </a:lnTo>
                  <a:lnTo>
                    <a:pt x="948" y="322"/>
                  </a:lnTo>
                  <a:lnTo>
                    <a:pt x="950" y="322"/>
                  </a:lnTo>
                  <a:lnTo>
                    <a:pt x="954" y="322"/>
                  </a:lnTo>
                  <a:lnTo>
                    <a:pt x="950" y="322"/>
                  </a:lnTo>
                  <a:lnTo>
                    <a:pt x="950" y="324"/>
                  </a:lnTo>
                  <a:lnTo>
                    <a:pt x="948" y="324"/>
                  </a:lnTo>
                  <a:lnTo>
                    <a:pt x="948" y="328"/>
                  </a:lnTo>
                  <a:lnTo>
                    <a:pt x="944" y="328"/>
                  </a:lnTo>
                  <a:lnTo>
                    <a:pt x="948" y="328"/>
                  </a:lnTo>
                  <a:lnTo>
                    <a:pt x="948" y="332"/>
                  </a:lnTo>
                  <a:lnTo>
                    <a:pt x="944" y="332"/>
                  </a:lnTo>
                  <a:lnTo>
                    <a:pt x="944" y="336"/>
                  </a:lnTo>
                  <a:lnTo>
                    <a:pt x="948" y="336"/>
                  </a:lnTo>
                  <a:lnTo>
                    <a:pt x="948" y="332"/>
                  </a:lnTo>
                  <a:lnTo>
                    <a:pt x="948" y="328"/>
                  </a:lnTo>
                  <a:lnTo>
                    <a:pt x="950" y="324"/>
                  </a:lnTo>
                  <a:lnTo>
                    <a:pt x="954" y="324"/>
                  </a:lnTo>
                  <a:lnTo>
                    <a:pt x="954" y="328"/>
                  </a:lnTo>
                  <a:lnTo>
                    <a:pt x="954" y="332"/>
                  </a:lnTo>
                  <a:lnTo>
                    <a:pt x="954" y="328"/>
                  </a:lnTo>
                  <a:lnTo>
                    <a:pt x="958" y="328"/>
                  </a:lnTo>
                  <a:lnTo>
                    <a:pt x="954" y="332"/>
                  </a:lnTo>
                  <a:lnTo>
                    <a:pt x="950" y="332"/>
                  </a:lnTo>
                  <a:lnTo>
                    <a:pt x="950" y="336"/>
                  </a:lnTo>
                  <a:lnTo>
                    <a:pt x="950" y="340"/>
                  </a:lnTo>
                  <a:lnTo>
                    <a:pt x="950" y="336"/>
                  </a:lnTo>
                  <a:lnTo>
                    <a:pt x="954" y="332"/>
                  </a:lnTo>
                  <a:lnTo>
                    <a:pt x="958" y="332"/>
                  </a:lnTo>
                  <a:lnTo>
                    <a:pt x="962" y="332"/>
                  </a:lnTo>
                  <a:lnTo>
                    <a:pt x="958" y="332"/>
                  </a:lnTo>
                  <a:lnTo>
                    <a:pt x="958" y="336"/>
                  </a:lnTo>
                  <a:lnTo>
                    <a:pt x="958" y="340"/>
                  </a:lnTo>
                  <a:lnTo>
                    <a:pt x="954" y="340"/>
                  </a:lnTo>
                  <a:lnTo>
                    <a:pt x="958" y="340"/>
                  </a:lnTo>
                  <a:lnTo>
                    <a:pt x="958" y="336"/>
                  </a:lnTo>
                  <a:lnTo>
                    <a:pt x="962" y="332"/>
                  </a:lnTo>
                  <a:lnTo>
                    <a:pt x="962" y="336"/>
                  </a:lnTo>
                  <a:lnTo>
                    <a:pt x="962" y="332"/>
                  </a:lnTo>
                  <a:lnTo>
                    <a:pt x="962" y="328"/>
                  </a:lnTo>
                  <a:lnTo>
                    <a:pt x="966" y="328"/>
                  </a:lnTo>
                  <a:lnTo>
                    <a:pt x="966" y="324"/>
                  </a:lnTo>
                  <a:lnTo>
                    <a:pt x="970" y="324"/>
                  </a:lnTo>
                  <a:lnTo>
                    <a:pt x="970" y="322"/>
                  </a:lnTo>
                  <a:lnTo>
                    <a:pt x="970" y="324"/>
                  </a:lnTo>
                  <a:lnTo>
                    <a:pt x="974" y="324"/>
                  </a:lnTo>
                  <a:lnTo>
                    <a:pt x="976" y="324"/>
                  </a:lnTo>
                  <a:lnTo>
                    <a:pt x="980" y="324"/>
                  </a:lnTo>
                  <a:lnTo>
                    <a:pt x="980" y="328"/>
                  </a:lnTo>
                  <a:lnTo>
                    <a:pt x="984" y="328"/>
                  </a:lnTo>
                  <a:lnTo>
                    <a:pt x="988" y="332"/>
                  </a:lnTo>
                  <a:lnTo>
                    <a:pt x="988" y="336"/>
                  </a:lnTo>
                  <a:lnTo>
                    <a:pt x="984" y="336"/>
                  </a:lnTo>
                  <a:lnTo>
                    <a:pt x="984" y="340"/>
                  </a:lnTo>
                  <a:lnTo>
                    <a:pt x="980" y="340"/>
                  </a:lnTo>
                  <a:lnTo>
                    <a:pt x="980" y="336"/>
                  </a:lnTo>
                  <a:lnTo>
                    <a:pt x="976" y="336"/>
                  </a:lnTo>
                  <a:lnTo>
                    <a:pt x="974" y="340"/>
                  </a:lnTo>
                  <a:lnTo>
                    <a:pt x="974" y="344"/>
                  </a:lnTo>
                  <a:lnTo>
                    <a:pt x="970" y="344"/>
                  </a:lnTo>
                  <a:lnTo>
                    <a:pt x="966" y="344"/>
                  </a:lnTo>
                  <a:lnTo>
                    <a:pt x="970" y="344"/>
                  </a:lnTo>
                  <a:lnTo>
                    <a:pt x="974" y="344"/>
                  </a:lnTo>
                  <a:lnTo>
                    <a:pt x="970" y="348"/>
                  </a:lnTo>
                  <a:lnTo>
                    <a:pt x="970" y="350"/>
                  </a:lnTo>
                  <a:lnTo>
                    <a:pt x="966" y="350"/>
                  </a:lnTo>
                  <a:lnTo>
                    <a:pt x="970" y="350"/>
                  </a:lnTo>
                  <a:lnTo>
                    <a:pt x="970" y="348"/>
                  </a:lnTo>
                  <a:lnTo>
                    <a:pt x="974" y="348"/>
                  </a:lnTo>
                  <a:lnTo>
                    <a:pt x="976" y="348"/>
                  </a:lnTo>
                  <a:lnTo>
                    <a:pt x="976" y="344"/>
                  </a:lnTo>
                  <a:lnTo>
                    <a:pt x="980" y="344"/>
                  </a:lnTo>
                  <a:lnTo>
                    <a:pt x="984" y="344"/>
                  </a:lnTo>
                  <a:lnTo>
                    <a:pt x="988" y="340"/>
                  </a:lnTo>
                  <a:lnTo>
                    <a:pt x="992" y="336"/>
                  </a:lnTo>
                  <a:lnTo>
                    <a:pt x="996" y="336"/>
                  </a:lnTo>
                  <a:lnTo>
                    <a:pt x="996" y="340"/>
                  </a:lnTo>
                  <a:lnTo>
                    <a:pt x="996" y="344"/>
                  </a:lnTo>
                  <a:lnTo>
                    <a:pt x="996" y="348"/>
                  </a:lnTo>
                  <a:lnTo>
                    <a:pt x="992" y="348"/>
                  </a:lnTo>
                  <a:lnTo>
                    <a:pt x="988" y="348"/>
                  </a:lnTo>
                  <a:lnTo>
                    <a:pt x="988" y="350"/>
                  </a:lnTo>
                  <a:lnTo>
                    <a:pt x="984" y="350"/>
                  </a:lnTo>
                  <a:lnTo>
                    <a:pt x="980" y="350"/>
                  </a:lnTo>
                  <a:lnTo>
                    <a:pt x="980" y="354"/>
                  </a:lnTo>
                  <a:lnTo>
                    <a:pt x="980" y="358"/>
                  </a:lnTo>
                  <a:lnTo>
                    <a:pt x="976" y="358"/>
                  </a:lnTo>
                  <a:lnTo>
                    <a:pt x="980" y="358"/>
                  </a:lnTo>
                  <a:lnTo>
                    <a:pt x="980" y="354"/>
                  </a:lnTo>
                  <a:lnTo>
                    <a:pt x="984" y="350"/>
                  </a:lnTo>
                  <a:lnTo>
                    <a:pt x="988" y="350"/>
                  </a:lnTo>
                  <a:lnTo>
                    <a:pt x="988" y="354"/>
                  </a:lnTo>
                  <a:lnTo>
                    <a:pt x="984" y="358"/>
                  </a:lnTo>
                  <a:lnTo>
                    <a:pt x="984" y="362"/>
                  </a:lnTo>
                  <a:lnTo>
                    <a:pt x="984" y="366"/>
                  </a:lnTo>
                  <a:lnTo>
                    <a:pt x="984" y="362"/>
                  </a:lnTo>
                  <a:lnTo>
                    <a:pt x="988" y="358"/>
                  </a:lnTo>
                  <a:lnTo>
                    <a:pt x="988" y="354"/>
                  </a:lnTo>
                  <a:lnTo>
                    <a:pt x="988" y="350"/>
                  </a:lnTo>
                  <a:lnTo>
                    <a:pt x="992" y="350"/>
                  </a:lnTo>
                  <a:lnTo>
                    <a:pt x="992" y="348"/>
                  </a:lnTo>
                  <a:lnTo>
                    <a:pt x="996" y="348"/>
                  </a:lnTo>
                  <a:lnTo>
                    <a:pt x="1000" y="348"/>
                  </a:lnTo>
                  <a:lnTo>
                    <a:pt x="1000" y="344"/>
                  </a:lnTo>
                  <a:lnTo>
                    <a:pt x="1004" y="344"/>
                  </a:lnTo>
                  <a:lnTo>
                    <a:pt x="1006" y="344"/>
                  </a:lnTo>
                  <a:lnTo>
                    <a:pt x="1006" y="348"/>
                  </a:lnTo>
                  <a:lnTo>
                    <a:pt x="1004" y="348"/>
                  </a:lnTo>
                  <a:lnTo>
                    <a:pt x="1004" y="350"/>
                  </a:lnTo>
                  <a:lnTo>
                    <a:pt x="1000" y="350"/>
                  </a:lnTo>
                  <a:lnTo>
                    <a:pt x="1000" y="354"/>
                  </a:lnTo>
                  <a:lnTo>
                    <a:pt x="1000" y="350"/>
                  </a:lnTo>
                  <a:lnTo>
                    <a:pt x="1004" y="350"/>
                  </a:lnTo>
                  <a:lnTo>
                    <a:pt x="1004" y="348"/>
                  </a:lnTo>
                  <a:lnTo>
                    <a:pt x="1006" y="348"/>
                  </a:lnTo>
                  <a:lnTo>
                    <a:pt x="1010" y="348"/>
                  </a:lnTo>
                  <a:lnTo>
                    <a:pt x="1014" y="348"/>
                  </a:lnTo>
                  <a:lnTo>
                    <a:pt x="1018" y="348"/>
                  </a:lnTo>
                  <a:lnTo>
                    <a:pt x="1022" y="350"/>
                  </a:lnTo>
                  <a:lnTo>
                    <a:pt x="1026" y="350"/>
                  </a:lnTo>
                  <a:lnTo>
                    <a:pt x="1030" y="350"/>
                  </a:lnTo>
                  <a:lnTo>
                    <a:pt x="1030" y="354"/>
                  </a:lnTo>
                  <a:lnTo>
                    <a:pt x="1026" y="354"/>
                  </a:lnTo>
                  <a:lnTo>
                    <a:pt x="1022" y="354"/>
                  </a:lnTo>
                  <a:lnTo>
                    <a:pt x="1022" y="358"/>
                  </a:lnTo>
                  <a:lnTo>
                    <a:pt x="1018" y="358"/>
                  </a:lnTo>
                  <a:lnTo>
                    <a:pt x="1014" y="358"/>
                  </a:lnTo>
                  <a:lnTo>
                    <a:pt x="1010" y="358"/>
                  </a:lnTo>
                  <a:lnTo>
                    <a:pt x="1010" y="362"/>
                  </a:lnTo>
                  <a:lnTo>
                    <a:pt x="1006" y="362"/>
                  </a:lnTo>
                  <a:lnTo>
                    <a:pt x="1004" y="362"/>
                  </a:lnTo>
                  <a:lnTo>
                    <a:pt x="1004" y="366"/>
                  </a:lnTo>
                  <a:lnTo>
                    <a:pt x="1006" y="366"/>
                  </a:lnTo>
                  <a:lnTo>
                    <a:pt x="1004" y="366"/>
                  </a:lnTo>
                  <a:lnTo>
                    <a:pt x="1000" y="370"/>
                  </a:lnTo>
                  <a:lnTo>
                    <a:pt x="1004" y="370"/>
                  </a:lnTo>
                  <a:lnTo>
                    <a:pt x="1004" y="366"/>
                  </a:lnTo>
                  <a:lnTo>
                    <a:pt x="1006" y="366"/>
                  </a:lnTo>
                  <a:lnTo>
                    <a:pt x="1006" y="362"/>
                  </a:lnTo>
                  <a:lnTo>
                    <a:pt x="1010" y="362"/>
                  </a:lnTo>
                  <a:lnTo>
                    <a:pt x="1014" y="362"/>
                  </a:lnTo>
                  <a:lnTo>
                    <a:pt x="1018" y="362"/>
                  </a:lnTo>
                  <a:lnTo>
                    <a:pt x="1022" y="362"/>
                  </a:lnTo>
                  <a:lnTo>
                    <a:pt x="1026" y="362"/>
                  </a:lnTo>
                  <a:lnTo>
                    <a:pt x="1022" y="366"/>
                  </a:lnTo>
                  <a:lnTo>
                    <a:pt x="1018" y="366"/>
                  </a:lnTo>
                  <a:lnTo>
                    <a:pt x="1014" y="370"/>
                  </a:lnTo>
                  <a:lnTo>
                    <a:pt x="1010" y="370"/>
                  </a:lnTo>
                  <a:lnTo>
                    <a:pt x="1006" y="370"/>
                  </a:lnTo>
                  <a:lnTo>
                    <a:pt x="1004" y="374"/>
                  </a:lnTo>
                  <a:lnTo>
                    <a:pt x="1004" y="378"/>
                  </a:lnTo>
                  <a:lnTo>
                    <a:pt x="1006" y="374"/>
                  </a:lnTo>
                  <a:lnTo>
                    <a:pt x="1006" y="370"/>
                  </a:lnTo>
                  <a:lnTo>
                    <a:pt x="1010" y="370"/>
                  </a:lnTo>
                  <a:lnTo>
                    <a:pt x="1014" y="370"/>
                  </a:lnTo>
                  <a:lnTo>
                    <a:pt x="1018" y="370"/>
                  </a:lnTo>
                  <a:lnTo>
                    <a:pt x="1018" y="366"/>
                  </a:lnTo>
                  <a:lnTo>
                    <a:pt x="1022" y="366"/>
                  </a:lnTo>
                  <a:lnTo>
                    <a:pt x="1026" y="366"/>
                  </a:lnTo>
                  <a:lnTo>
                    <a:pt x="1030" y="366"/>
                  </a:lnTo>
                  <a:lnTo>
                    <a:pt x="1030" y="362"/>
                  </a:lnTo>
                  <a:lnTo>
                    <a:pt x="1030" y="358"/>
                  </a:lnTo>
                  <a:lnTo>
                    <a:pt x="1032" y="358"/>
                  </a:lnTo>
                  <a:lnTo>
                    <a:pt x="1036" y="358"/>
                  </a:lnTo>
                  <a:lnTo>
                    <a:pt x="1036" y="362"/>
                  </a:lnTo>
                  <a:lnTo>
                    <a:pt x="1040" y="362"/>
                  </a:lnTo>
                  <a:lnTo>
                    <a:pt x="1040" y="366"/>
                  </a:lnTo>
                  <a:lnTo>
                    <a:pt x="1044" y="366"/>
                  </a:lnTo>
                  <a:lnTo>
                    <a:pt x="1044" y="370"/>
                  </a:lnTo>
                  <a:lnTo>
                    <a:pt x="1044" y="374"/>
                  </a:lnTo>
                  <a:lnTo>
                    <a:pt x="1040" y="374"/>
                  </a:lnTo>
                  <a:lnTo>
                    <a:pt x="1036" y="374"/>
                  </a:lnTo>
                  <a:lnTo>
                    <a:pt x="1036" y="370"/>
                  </a:lnTo>
                  <a:lnTo>
                    <a:pt x="1032" y="370"/>
                  </a:lnTo>
                  <a:lnTo>
                    <a:pt x="1032" y="374"/>
                  </a:lnTo>
                  <a:lnTo>
                    <a:pt x="1030" y="374"/>
                  </a:lnTo>
                  <a:lnTo>
                    <a:pt x="1026" y="374"/>
                  </a:lnTo>
                  <a:lnTo>
                    <a:pt x="1022" y="378"/>
                  </a:lnTo>
                  <a:lnTo>
                    <a:pt x="1018" y="378"/>
                  </a:lnTo>
                  <a:lnTo>
                    <a:pt x="1014" y="378"/>
                  </a:lnTo>
                  <a:lnTo>
                    <a:pt x="1010" y="378"/>
                  </a:lnTo>
                  <a:lnTo>
                    <a:pt x="1006" y="378"/>
                  </a:lnTo>
                  <a:lnTo>
                    <a:pt x="1004" y="378"/>
                  </a:lnTo>
                  <a:lnTo>
                    <a:pt x="1006" y="378"/>
                  </a:lnTo>
                  <a:lnTo>
                    <a:pt x="1010" y="378"/>
                  </a:lnTo>
                  <a:lnTo>
                    <a:pt x="1014" y="378"/>
                  </a:lnTo>
                  <a:lnTo>
                    <a:pt x="1018" y="378"/>
                  </a:lnTo>
                  <a:lnTo>
                    <a:pt x="1022" y="378"/>
                  </a:lnTo>
                  <a:lnTo>
                    <a:pt x="1026" y="378"/>
                  </a:lnTo>
                  <a:lnTo>
                    <a:pt x="1030" y="378"/>
                  </a:lnTo>
                  <a:lnTo>
                    <a:pt x="1032" y="380"/>
                  </a:lnTo>
                  <a:lnTo>
                    <a:pt x="1036" y="380"/>
                  </a:lnTo>
                  <a:lnTo>
                    <a:pt x="1036" y="378"/>
                  </a:lnTo>
                  <a:lnTo>
                    <a:pt x="1040" y="380"/>
                  </a:lnTo>
                  <a:lnTo>
                    <a:pt x="1044" y="380"/>
                  </a:lnTo>
                  <a:lnTo>
                    <a:pt x="1048" y="380"/>
                  </a:lnTo>
                  <a:lnTo>
                    <a:pt x="1052" y="380"/>
                  </a:lnTo>
                  <a:lnTo>
                    <a:pt x="1052" y="384"/>
                  </a:lnTo>
                  <a:lnTo>
                    <a:pt x="1052" y="388"/>
                  </a:lnTo>
                  <a:lnTo>
                    <a:pt x="1048" y="388"/>
                  </a:lnTo>
                  <a:lnTo>
                    <a:pt x="1044" y="384"/>
                  </a:lnTo>
                  <a:lnTo>
                    <a:pt x="1040" y="384"/>
                  </a:lnTo>
                  <a:lnTo>
                    <a:pt x="1040" y="388"/>
                  </a:lnTo>
                  <a:lnTo>
                    <a:pt x="1036" y="388"/>
                  </a:lnTo>
                  <a:lnTo>
                    <a:pt x="1032" y="384"/>
                  </a:lnTo>
                  <a:lnTo>
                    <a:pt x="1030" y="384"/>
                  </a:lnTo>
                  <a:lnTo>
                    <a:pt x="1026" y="384"/>
                  </a:lnTo>
                  <a:lnTo>
                    <a:pt x="1022" y="384"/>
                  </a:lnTo>
                  <a:lnTo>
                    <a:pt x="1022" y="380"/>
                  </a:lnTo>
                  <a:lnTo>
                    <a:pt x="1018" y="380"/>
                  </a:lnTo>
                  <a:lnTo>
                    <a:pt x="1014" y="384"/>
                  </a:lnTo>
                  <a:lnTo>
                    <a:pt x="1018" y="384"/>
                  </a:lnTo>
                  <a:lnTo>
                    <a:pt x="1018" y="380"/>
                  </a:lnTo>
                  <a:lnTo>
                    <a:pt x="1022" y="384"/>
                  </a:lnTo>
                  <a:lnTo>
                    <a:pt x="1026" y="384"/>
                  </a:lnTo>
                  <a:lnTo>
                    <a:pt x="1030" y="384"/>
                  </a:lnTo>
                  <a:lnTo>
                    <a:pt x="1032" y="384"/>
                  </a:lnTo>
                  <a:lnTo>
                    <a:pt x="1030" y="384"/>
                  </a:lnTo>
                  <a:lnTo>
                    <a:pt x="1026" y="384"/>
                  </a:lnTo>
                  <a:lnTo>
                    <a:pt x="1022" y="384"/>
                  </a:lnTo>
                  <a:lnTo>
                    <a:pt x="1018" y="384"/>
                  </a:lnTo>
                  <a:lnTo>
                    <a:pt x="1022" y="384"/>
                  </a:lnTo>
                  <a:lnTo>
                    <a:pt x="1026" y="384"/>
                  </a:lnTo>
                  <a:lnTo>
                    <a:pt x="1022" y="388"/>
                  </a:lnTo>
                  <a:lnTo>
                    <a:pt x="1018" y="388"/>
                  </a:lnTo>
                  <a:lnTo>
                    <a:pt x="1018" y="392"/>
                  </a:lnTo>
                  <a:lnTo>
                    <a:pt x="1022" y="388"/>
                  </a:lnTo>
                  <a:lnTo>
                    <a:pt x="1026" y="388"/>
                  </a:lnTo>
                  <a:lnTo>
                    <a:pt x="1030" y="388"/>
                  </a:lnTo>
                  <a:lnTo>
                    <a:pt x="1032" y="388"/>
                  </a:lnTo>
                  <a:lnTo>
                    <a:pt x="1036" y="392"/>
                  </a:lnTo>
                  <a:lnTo>
                    <a:pt x="1032" y="392"/>
                  </a:lnTo>
                  <a:lnTo>
                    <a:pt x="1030" y="392"/>
                  </a:lnTo>
                  <a:lnTo>
                    <a:pt x="1026" y="392"/>
                  </a:lnTo>
                  <a:lnTo>
                    <a:pt x="1030" y="392"/>
                  </a:lnTo>
                  <a:lnTo>
                    <a:pt x="1032" y="392"/>
                  </a:lnTo>
                  <a:lnTo>
                    <a:pt x="1032" y="396"/>
                  </a:lnTo>
                  <a:lnTo>
                    <a:pt x="1030" y="396"/>
                  </a:lnTo>
                  <a:lnTo>
                    <a:pt x="1030" y="392"/>
                  </a:lnTo>
                  <a:lnTo>
                    <a:pt x="1026" y="392"/>
                  </a:lnTo>
                  <a:lnTo>
                    <a:pt x="1026" y="396"/>
                  </a:lnTo>
                  <a:lnTo>
                    <a:pt x="1030" y="396"/>
                  </a:lnTo>
                  <a:lnTo>
                    <a:pt x="1032" y="396"/>
                  </a:lnTo>
                  <a:lnTo>
                    <a:pt x="1036" y="396"/>
                  </a:lnTo>
                  <a:lnTo>
                    <a:pt x="1032" y="396"/>
                  </a:lnTo>
                  <a:lnTo>
                    <a:pt x="1030" y="396"/>
                  </a:lnTo>
                  <a:lnTo>
                    <a:pt x="1026" y="396"/>
                  </a:lnTo>
                  <a:lnTo>
                    <a:pt x="1022" y="396"/>
                  </a:lnTo>
                  <a:lnTo>
                    <a:pt x="1018" y="396"/>
                  </a:lnTo>
                  <a:lnTo>
                    <a:pt x="1014" y="396"/>
                  </a:lnTo>
                  <a:lnTo>
                    <a:pt x="1018" y="396"/>
                  </a:lnTo>
                  <a:lnTo>
                    <a:pt x="1014" y="396"/>
                  </a:lnTo>
                  <a:lnTo>
                    <a:pt x="1018" y="396"/>
                  </a:lnTo>
                  <a:lnTo>
                    <a:pt x="1030" y="400"/>
                  </a:lnTo>
                  <a:lnTo>
                    <a:pt x="1032" y="400"/>
                  </a:lnTo>
                  <a:lnTo>
                    <a:pt x="1030" y="400"/>
                  </a:lnTo>
                  <a:lnTo>
                    <a:pt x="1026" y="400"/>
                  </a:lnTo>
                  <a:lnTo>
                    <a:pt x="1022" y="400"/>
                  </a:lnTo>
                  <a:lnTo>
                    <a:pt x="1026" y="400"/>
                  </a:lnTo>
                  <a:lnTo>
                    <a:pt x="1026" y="404"/>
                  </a:lnTo>
                  <a:lnTo>
                    <a:pt x="1022" y="404"/>
                  </a:lnTo>
                  <a:lnTo>
                    <a:pt x="1026" y="404"/>
                  </a:lnTo>
                  <a:lnTo>
                    <a:pt x="1026" y="400"/>
                  </a:lnTo>
                  <a:lnTo>
                    <a:pt x="1030" y="400"/>
                  </a:lnTo>
                  <a:lnTo>
                    <a:pt x="1030" y="404"/>
                  </a:lnTo>
                  <a:lnTo>
                    <a:pt x="1032" y="404"/>
                  </a:lnTo>
                  <a:lnTo>
                    <a:pt x="1036" y="404"/>
                  </a:lnTo>
                  <a:lnTo>
                    <a:pt x="1040" y="404"/>
                  </a:lnTo>
                  <a:lnTo>
                    <a:pt x="1036" y="404"/>
                  </a:lnTo>
                  <a:lnTo>
                    <a:pt x="1036" y="408"/>
                  </a:lnTo>
                  <a:lnTo>
                    <a:pt x="1040" y="408"/>
                  </a:lnTo>
                  <a:lnTo>
                    <a:pt x="1040" y="404"/>
                  </a:lnTo>
                  <a:lnTo>
                    <a:pt x="1044" y="404"/>
                  </a:lnTo>
                  <a:lnTo>
                    <a:pt x="1044" y="408"/>
                  </a:lnTo>
                  <a:lnTo>
                    <a:pt x="1040" y="408"/>
                  </a:lnTo>
                  <a:lnTo>
                    <a:pt x="1044" y="408"/>
                  </a:lnTo>
                  <a:lnTo>
                    <a:pt x="1044" y="404"/>
                  </a:lnTo>
                  <a:lnTo>
                    <a:pt x="1048" y="404"/>
                  </a:lnTo>
                  <a:lnTo>
                    <a:pt x="1052" y="404"/>
                  </a:lnTo>
                  <a:lnTo>
                    <a:pt x="1052" y="408"/>
                  </a:lnTo>
                  <a:lnTo>
                    <a:pt x="1048" y="408"/>
                  </a:lnTo>
                  <a:lnTo>
                    <a:pt x="1044" y="408"/>
                  </a:lnTo>
                  <a:lnTo>
                    <a:pt x="1040" y="408"/>
                  </a:lnTo>
                  <a:lnTo>
                    <a:pt x="1036" y="408"/>
                  </a:lnTo>
                  <a:lnTo>
                    <a:pt x="1032" y="408"/>
                  </a:lnTo>
                  <a:lnTo>
                    <a:pt x="1032" y="410"/>
                  </a:lnTo>
                  <a:lnTo>
                    <a:pt x="1036" y="410"/>
                  </a:lnTo>
                  <a:lnTo>
                    <a:pt x="1036" y="408"/>
                  </a:lnTo>
                  <a:lnTo>
                    <a:pt x="1040" y="408"/>
                  </a:lnTo>
                  <a:lnTo>
                    <a:pt x="1040" y="410"/>
                  </a:lnTo>
                  <a:lnTo>
                    <a:pt x="1036" y="410"/>
                  </a:lnTo>
                  <a:lnTo>
                    <a:pt x="1040" y="410"/>
                  </a:lnTo>
                  <a:lnTo>
                    <a:pt x="1040" y="408"/>
                  </a:lnTo>
                  <a:lnTo>
                    <a:pt x="1044" y="408"/>
                  </a:lnTo>
                  <a:lnTo>
                    <a:pt x="1048" y="408"/>
                  </a:lnTo>
                  <a:lnTo>
                    <a:pt x="1044" y="408"/>
                  </a:lnTo>
                  <a:lnTo>
                    <a:pt x="1044" y="410"/>
                  </a:lnTo>
                  <a:lnTo>
                    <a:pt x="1040" y="410"/>
                  </a:lnTo>
                  <a:lnTo>
                    <a:pt x="1044" y="410"/>
                  </a:lnTo>
                  <a:lnTo>
                    <a:pt x="1040" y="410"/>
                  </a:lnTo>
                  <a:lnTo>
                    <a:pt x="1036" y="410"/>
                  </a:lnTo>
                  <a:lnTo>
                    <a:pt x="1040" y="410"/>
                  </a:lnTo>
                  <a:lnTo>
                    <a:pt x="1040" y="414"/>
                  </a:lnTo>
                  <a:lnTo>
                    <a:pt x="1044" y="410"/>
                  </a:lnTo>
                  <a:lnTo>
                    <a:pt x="1048" y="408"/>
                  </a:lnTo>
                  <a:lnTo>
                    <a:pt x="1048" y="410"/>
                  </a:lnTo>
                  <a:lnTo>
                    <a:pt x="1052" y="410"/>
                  </a:lnTo>
                  <a:lnTo>
                    <a:pt x="1048" y="414"/>
                  </a:lnTo>
                  <a:lnTo>
                    <a:pt x="1052" y="414"/>
                  </a:lnTo>
                  <a:lnTo>
                    <a:pt x="1052" y="410"/>
                  </a:lnTo>
                  <a:lnTo>
                    <a:pt x="1052" y="414"/>
                  </a:lnTo>
                  <a:lnTo>
                    <a:pt x="1052" y="418"/>
                  </a:lnTo>
                  <a:lnTo>
                    <a:pt x="1052" y="414"/>
                  </a:lnTo>
                  <a:lnTo>
                    <a:pt x="1052" y="410"/>
                  </a:lnTo>
                  <a:lnTo>
                    <a:pt x="1056" y="410"/>
                  </a:lnTo>
                  <a:lnTo>
                    <a:pt x="1056" y="414"/>
                  </a:lnTo>
                  <a:lnTo>
                    <a:pt x="1060" y="414"/>
                  </a:lnTo>
                  <a:lnTo>
                    <a:pt x="1056" y="414"/>
                  </a:lnTo>
                  <a:lnTo>
                    <a:pt x="1056" y="418"/>
                  </a:lnTo>
                  <a:lnTo>
                    <a:pt x="1052" y="418"/>
                  </a:lnTo>
                  <a:lnTo>
                    <a:pt x="1056" y="422"/>
                  </a:lnTo>
                  <a:lnTo>
                    <a:pt x="1056" y="418"/>
                  </a:lnTo>
                  <a:lnTo>
                    <a:pt x="1060" y="418"/>
                  </a:lnTo>
                  <a:lnTo>
                    <a:pt x="1062" y="414"/>
                  </a:lnTo>
                  <a:lnTo>
                    <a:pt x="1062" y="410"/>
                  </a:lnTo>
                  <a:lnTo>
                    <a:pt x="1062" y="414"/>
                  </a:lnTo>
                  <a:lnTo>
                    <a:pt x="1062" y="418"/>
                  </a:lnTo>
                  <a:lnTo>
                    <a:pt x="1060" y="418"/>
                  </a:lnTo>
                  <a:lnTo>
                    <a:pt x="1062" y="418"/>
                  </a:lnTo>
                  <a:lnTo>
                    <a:pt x="1062" y="422"/>
                  </a:lnTo>
                  <a:lnTo>
                    <a:pt x="1060" y="422"/>
                  </a:lnTo>
                  <a:lnTo>
                    <a:pt x="1060" y="426"/>
                  </a:lnTo>
                  <a:lnTo>
                    <a:pt x="1062" y="426"/>
                  </a:lnTo>
                  <a:lnTo>
                    <a:pt x="1062" y="422"/>
                  </a:lnTo>
                  <a:lnTo>
                    <a:pt x="1062" y="418"/>
                  </a:lnTo>
                  <a:lnTo>
                    <a:pt x="1066" y="414"/>
                  </a:lnTo>
                  <a:lnTo>
                    <a:pt x="1070" y="414"/>
                  </a:lnTo>
                  <a:lnTo>
                    <a:pt x="1070" y="418"/>
                  </a:lnTo>
                  <a:lnTo>
                    <a:pt x="1066" y="418"/>
                  </a:lnTo>
                  <a:lnTo>
                    <a:pt x="1066" y="422"/>
                  </a:lnTo>
                  <a:lnTo>
                    <a:pt x="1070" y="422"/>
                  </a:lnTo>
                  <a:lnTo>
                    <a:pt x="1070" y="426"/>
                  </a:lnTo>
                  <a:lnTo>
                    <a:pt x="1070" y="422"/>
                  </a:lnTo>
                  <a:lnTo>
                    <a:pt x="1066" y="422"/>
                  </a:lnTo>
                  <a:lnTo>
                    <a:pt x="1070" y="418"/>
                  </a:lnTo>
                  <a:lnTo>
                    <a:pt x="1074" y="418"/>
                  </a:lnTo>
                  <a:lnTo>
                    <a:pt x="1074" y="414"/>
                  </a:lnTo>
                  <a:lnTo>
                    <a:pt x="1076" y="418"/>
                  </a:lnTo>
                  <a:lnTo>
                    <a:pt x="1074" y="418"/>
                  </a:lnTo>
                  <a:lnTo>
                    <a:pt x="1074" y="422"/>
                  </a:lnTo>
                  <a:lnTo>
                    <a:pt x="1074" y="426"/>
                  </a:lnTo>
                  <a:lnTo>
                    <a:pt x="1074" y="422"/>
                  </a:lnTo>
                  <a:lnTo>
                    <a:pt x="1076" y="422"/>
                  </a:lnTo>
                  <a:lnTo>
                    <a:pt x="1076" y="426"/>
                  </a:lnTo>
                  <a:lnTo>
                    <a:pt x="1076" y="422"/>
                  </a:lnTo>
                  <a:lnTo>
                    <a:pt x="1080" y="422"/>
                  </a:lnTo>
                  <a:lnTo>
                    <a:pt x="1084" y="422"/>
                  </a:lnTo>
                  <a:lnTo>
                    <a:pt x="1080" y="422"/>
                  </a:lnTo>
                  <a:lnTo>
                    <a:pt x="1080" y="426"/>
                  </a:lnTo>
                  <a:lnTo>
                    <a:pt x="1080" y="422"/>
                  </a:lnTo>
                  <a:lnTo>
                    <a:pt x="1084" y="422"/>
                  </a:lnTo>
                  <a:lnTo>
                    <a:pt x="1088" y="426"/>
                  </a:lnTo>
                  <a:lnTo>
                    <a:pt x="1088" y="430"/>
                  </a:lnTo>
                  <a:lnTo>
                    <a:pt x="1084" y="430"/>
                  </a:lnTo>
                  <a:lnTo>
                    <a:pt x="1080" y="430"/>
                  </a:lnTo>
                  <a:lnTo>
                    <a:pt x="1084" y="430"/>
                  </a:lnTo>
                  <a:lnTo>
                    <a:pt x="1088" y="430"/>
                  </a:lnTo>
                  <a:lnTo>
                    <a:pt x="1088" y="434"/>
                  </a:lnTo>
                  <a:lnTo>
                    <a:pt x="1084" y="434"/>
                  </a:lnTo>
                  <a:lnTo>
                    <a:pt x="1080" y="434"/>
                  </a:lnTo>
                  <a:lnTo>
                    <a:pt x="1076" y="434"/>
                  </a:lnTo>
                  <a:lnTo>
                    <a:pt x="1080" y="434"/>
                  </a:lnTo>
                  <a:lnTo>
                    <a:pt x="1084" y="434"/>
                  </a:lnTo>
                  <a:lnTo>
                    <a:pt x="1080" y="434"/>
                  </a:lnTo>
                  <a:lnTo>
                    <a:pt x="1076" y="436"/>
                  </a:lnTo>
                  <a:lnTo>
                    <a:pt x="1080" y="436"/>
                  </a:lnTo>
                  <a:lnTo>
                    <a:pt x="1084" y="436"/>
                  </a:lnTo>
                  <a:lnTo>
                    <a:pt x="1084" y="434"/>
                  </a:lnTo>
                  <a:lnTo>
                    <a:pt x="1088" y="434"/>
                  </a:lnTo>
                  <a:lnTo>
                    <a:pt x="1088" y="436"/>
                  </a:lnTo>
                  <a:lnTo>
                    <a:pt x="1084" y="436"/>
                  </a:lnTo>
                  <a:lnTo>
                    <a:pt x="1080" y="436"/>
                  </a:lnTo>
                  <a:lnTo>
                    <a:pt x="1076" y="440"/>
                  </a:lnTo>
                  <a:lnTo>
                    <a:pt x="1080" y="440"/>
                  </a:lnTo>
                  <a:lnTo>
                    <a:pt x="1080" y="436"/>
                  </a:lnTo>
                  <a:lnTo>
                    <a:pt x="1084" y="436"/>
                  </a:lnTo>
                  <a:lnTo>
                    <a:pt x="1088" y="436"/>
                  </a:lnTo>
                  <a:lnTo>
                    <a:pt x="1092" y="436"/>
                  </a:lnTo>
                  <a:lnTo>
                    <a:pt x="1092" y="434"/>
                  </a:lnTo>
                  <a:lnTo>
                    <a:pt x="1096" y="436"/>
                  </a:lnTo>
                  <a:lnTo>
                    <a:pt x="1096" y="440"/>
                  </a:lnTo>
                  <a:lnTo>
                    <a:pt x="1092" y="440"/>
                  </a:lnTo>
                  <a:lnTo>
                    <a:pt x="1096" y="440"/>
                  </a:lnTo>
                  <a:lnTo>
                    <a:pt x="1096" y="436"/>
                  </a:lnTo>
                  <a:lnTo>
                    <a:pt x="1100" y="434"/>
                  </a:lnTo>
                  <a:lnTo>
                    <a:pt x="1104" y="434"/>
                  </a:lnTo>
                  <a:lnTo>
                    <a:pt x="1104" y="436"/>
                  </a:lnTo>
                  <a:lnTo>
                    <a:pt x="1100" y="436"/>
                  </a:lnTo>
                  <a:lnTo>
                    <a:pt x="1100" y="440"/>
                  </a:lnTo>
                  <a:lnTo>
                    <a:pt x="1096" y="444"/>
                  </a:lnTo>
                  <a:lnTo>
                    <a:pt x="1092" y="444"/>
                  </a:lnTo>
                  <a:lnTo>
                    <a:pt x="1096" y="444"/>
                  </a:lnTo>
                  <a:lnTo>
                    <a:pt x="1096" y="448"/>
                  </a:lnTo>
                  <a:lnTo>
                    <a:pt x="1100" y="444"/>
                  </a:lnTo>
                  <a:lnTo>
                    <a:pt x="1104" y="440"/>
                  </a:lnTo>
                  <a:lnTo>
                    <a:pt x="1106" y="440"/>
                  </a:lnTo>
                  <a:lnTo>
                    <a:pt x="1106" y="444"/>
                  </a:lnTo>
                  <a:lnTo>
                    <a:pt x="1106" y="448"/>
                  </a:lnTo>
                  <a:lnTo>
                    <a:pt x="1104" y="448"/>
                  </a:lnTo>
                  <a:lnTo>
                    <a:pt x="1106" y="448"/>
                  </a:lnTo>
                  <a:lnTo>
                    <a:pt x="1106" y="444"/>
                  </a:lnTo>
                  <a:lnTo>
                    <a:pt x="1106" y="440"/>
                  </a:lnTo>
                  <a:lnTo>
                    <a:pt x="1110" y="440"/>
                  </a:lnTo>
                  <a:lnTo>
                    <a:pt x="1110" y="444"/>
                  </a:lnTo>
                  <a:lnTo>
                    <a:pt x="1114" y="448"/>
                  </a:lnTo>
                  <a:lnTo>
                    <a:pt x="1110" y="444"/>
                  </a:lnTo>
                  <a:lnTo>
                    <a:pt x="1110" y="440"/>
                  </a:lnTo>
                  <a:lnTo>
                    <a:pt x="1114" y="440"/>
                  </a:lnTo>
                  <a:lnTo>
                    <a:pt x="1118" y="440"/>
                  </a:lnTo>
                  <a:lnTo>
                    <a:pt x="1114" y="444"/>
                  </a:lnTo>
                  <a:lnTo>
                    <a:pt x="1118" y="444"/>
                  </a:lnTo>
                  <a:lnTo>
                    <a:pt x="1118" y="440"/>
                  </a:lnTo>
                  <a:lnTo>
                    <a:pt x="1122" y="440"/>
                  </a:lnTo>
                  <a:lnTo>
                    <a:pt x="1122" y="444"/>
                  </a:lnTo>
                  <a:lnTo>
                    <a:pt x="1126" y="448"/>
                  </a:lnTo>
                  <a:lnTo>
                    <a:pt x="1130" y="452"/>
                  </a:lnTo>
                  <a:lnTo>
                    <a:pt x="1126" y="452"/>
                  </a:lnTo>
                  <a:lnTo>
                    <a:pt x="1122" y="452"/>
                  </a:lnTo>
                  <a:lnTo>
                    <a:pt x="1122" y="448"/>
                  </a:lnTo>
                  <a:lnTo>
                    <a:pt x="1118" y="448"/>
                  </a:lnTo>
                  <a:lnTo>
                    <a:pt x="1114" y="452"/>
                  </a:lnTo>
                  <a:lnTo>
                    <a:pt x="1118" y="452"/>
                  </a:lnTo>
                  <a:lnTo>
                    <a:pt x="1118" y="448"/>
                  </a:lnTo>
                  <a:lnTo>
                    <a:pt x="1118" y="452"/>
                  </a:lnTo>
                  <a:lnTo>
                    <a:pt x="1122" y="452"/>
                  </a:lnTo>
                  <a:lnTo>
                    <a:pt x="1122" y="456"/>
                  </a:lnTo>
                  <a:lnTo>
                    <a:pt x="1118" y="456"/>
                  </a:lnTo>
                  <a:lnTo>
                    <a:pt x="1122" y="456"/>
                  </a:lnTo>
                  <a:lnTo>
                    <a:pt x="1126" y="456"/>
                  </a:lnTo>
                  <a:lnTo>
                    <a:pt x="1122" y="456"/>
                  </a:lnTo>
                  <a:lnTo>
                    <a:pt x="1118" y="460"/>
                  </a:lnTo>
                  <a:lnTo>
                    <a:pt x="1114" y="460"/>
                  </a:lnTo>
                  <a:lnTo>
                    <a:pt x="1114" y="456"/>
                  </a:lnTo>
                  <a:lnTo>
                    <a:pt x="1110" y="456"/>
                  </a:lnTo>
                  <a:lnTo>
                    <a:pt x="1106" y="456"/>
                  </a:lnTo>
                  <a:lnTo>
                    <a:pt x="1110" y="456"/>
                  </a:lnTo>
                  <a:lnTo>
                    <a:pt x="1110" y="460"/>
                  </a:lnTo>
                  <a:lnTo>
                    <a:pt x="1114" y="460"/>
                  </a:lnTo>
                  <a:lnTo>
                    <a:pt x="1110" y="460"/>
                  </a:lnTo>
                  <a:lnTo>
                    <a:pt x="1106" y="460"/>
                  </a:lnTo>
                  <a:lnTo>
                    <a:pt x="1104" y="456"/>
                  </a:lnTo>
                  <a:lnTo>
                    <a:pt x="1106" y="460"/>
                  </a:lnTo>
                  <a:lnTo>
                    <a:pt x="1110" y="460"/>
                  </a:lnTo>
                  <a:lnTo>
                    <a:pt x="1114" y="464"/>
                  </a:lnTo>
                  <a:lnTo>
                    <a:pt x="1118" y="464"/>
                  </a:lnTo>
                  <a:lnTo>
                    <a:pt x="1114" y="466"/>
                  </a:lnTo>
                  <a:lnTo>
                    <a:pt x="1110" y="466"/>
                  </a:lnTo>
                  <a:lnTo>
                    <a:pt x="1110" y="464"/>
                  </a:lnTo>
                  <a:lnTo>
                    <a:pt x="1106" y="464"/>
                  </a:lnTo>
                  <a:lnTo>
                    <a:pt x="1104" y="464"/>
                  </a:lnTo>
                  <a:lnTo>
                    <a:pt x="1106" y="464"/>
                  </a:lnTo>
                  <a:lnTo>
                    <a:pt x="1106" y="466"/>
                  </a:lnTo>
                  <a:lnTo>
                    <a:pt x="1110" y="466"/>
                  </a:lnTo>
                  <a:lnTo>
                    <a:pt x="1114" y="470"/>
                  </a:lnTo>
                  <a:lnTo>
                    <a:pt x="1110" y="470"/>
                  </a:lnTo>
                  <a:lnTo>
                    <a:pt x="1106" y="470"/>
                  </a:lnTo>
                  <a:lnTo>
                    <a:pt x="1106" y="466"/>
                  </a:lnTo>
                  <a:lnTo>
                    <a:pt x="1104" y="466"/>
                  </a:lnTo>
                  <a:lnTo>
                    <a:pt x="1106" y="470"/>
                  </a:lnTo>
                  <a:lnTo>
                    <a:pt x="1110" y="470"/>
                  </a:lnTo>
                  <a:lnTo>
                    <a:pt x="1106" y="470"/>
                  </a:lnTo>
                  <a:lnTo>
                    <a:pt x="1106" y="474"/>
                  </a:lnTo>
                  <a:lnTo>
                    <a:pt x="1104" y="474"/>
                  </a:lnTo>
                  <a:lnTo>
                    <a:pt x="1104" y="470"/>
                  </a:lnTo>
                  <a:lnTo>
                    <a:pt x="1104" y="474"/>
                  </a:lnTo>
                  <a:lnTo>
                    <a:pt x="1100" y="474"/>
                  </a:lnTo>
                  <a:lnTo>
                    <a:pt x="1096" y="470"/>
                  </a:lnTo>
                  <a:lnTo>
                    <a:pt x="1100" y="474"/>
                  </a:lnTo>
                  <a:lnTo>
                    <a:pt x="1096" y="474"/>
                  </a:lnTo>
                  <a:lnTo>
                    <a:pt x="1092" y="474"/>
                  </a:lnTo>
                  <a:lnTo>
                    <a:pt x="1096" y="474"/>
                  </a:lnTo>
                  <a:lnTo>
                    <a:pt x="1100" y="474"/>
                  </a:lnTo>
                  <a:lnTo>
                    <a:pt x="1100" y="478"/>
                  </a:lnTo>
                  <a:lnTo>
                    <a:pt x="1096" y="478"/>
                  </a:lnTo>
                  <a:lnTo>
                    <a:pt x="1096" y="474"/>
                  </a:lnTo>
                  <a:lnTo>
                    <a:pt x="1096" y="478"/>
                  </a:lnTo>
                  <a:lnTo>
                    <a:pt x="1100" y="478"/>
                  </a:lnTo>
                  <a:lnTo>
                    <a:pt x="1096" y="478"/>
                  </a:lnTo>
                  <a:lnTo>
                    <a:pt x="1092" y="478"/>
                  </a:lnTo>
                  <a:lnTo>
                    <a:pt x="1096" y="478"/>
                  </a:lnTo>
                  <a:lnTo>
                    <a:pt x="1100" y="482"/>
                  </a:lnTo>
                  <a:lnTo>
                    <a:pt x="1096" y="486"/>
                  </a:lnTo>
                  <a:lnTo>
                    <a:pt x="1096" y="490"/>
                  </a:lnTo>
                  <a:lnTo>
                    <a:pt x="1096" y="494"/>
                  </a:lnTo>
                  <a:lnTo>
                    <a:pt x="1092" y="494"/>
                  </a:lnTo>
                  <a:lnTo>
                    <a:pt x="1092" y="490"/>
                  </a:lnTo>
                  <a:lnTo>
                    <a:pt x="1088" y="486"/>
                  </a:lnTo>
                  <a:lnTo>
                    <a:pt x="1088" y="490"/>
                  </a:lnTo>
                  <a:lnTo>
                    <a:pt x="1084" y="486"/>
                  </a:lnTo>
                  <a:lnTo>
                    <a:pt x="1088" y="486"/>
                  </a:lnTo>
                  <a:lnTo>
                    <a:pt x="1084" y="486"/>
                  </a:lnTo>
                  <a:lnTo>
                    <a:pt x="1084" y="482"/>
                  </a:lnTo>
                  <a:lnTo>
                    <a:pt x="1084" y="478"/>
                  </a:lnTo>
                  <a:lnTo>
                    <a:pt x="1080" y="482"/>
                  </a:lnTo>
                  <a:lnTo>
                    <a:pt x="1080" y="486"/>
                  </a:lnTo>
                  <a:lnTo>
                    <a:pt x="1076" y="486"/>
                  </a:lnTo>
                  <a:lnTo>
                    <a:pt x="1076" y="482"/>
                  </a:lnTo>
                  <a:lnTo>
                    <a:pt x="1076" y="486"/>
                  </a:lnTo>
                  <a:lnTo>
                    <a:pt x="1076" y="482"/>
                  </a:lnTo>
                  <a:lnTo>
                    <a:pt x="1080" y="482"/>
                  </a:lnTo>
                  <a:lnTo>
                    <a:pt x="1076" y="482"/>
                  </a:lnTo>
                  <a:lnTo>
                    <a:pt x="1080" y="478"/>
                  </a:lnTo>
                  <a:lnTo>
                    <a:pt x="1084" y="478"/>
                  </a:lnTo>
                  <a:lnTo>
                    <a:pt x="1080" y="478"/>
                  </a:lnTo>
                  <a:lnTo>
                    <a:pt x="1076" y="478"/>
                  </a:lnTo>
                  <a:lnTo>
                    <a:pt x="1074" y="478"/>
                  </a:lnTo>
                  <a:lnTo>
                    <a:pt x="1074" y="482"/>
                  </a:lnTo>
                  <a:lnTo>
                    <a:pt x="1074" y="478"/>
                  </a:lnTo>
                  <a:lnTo>
                    <a:pt x="1076" y="478"/>
                  </a:lnTo>
                  <a:lnTo>
                    <a:pt x="1076" y="474"/>
                  </a:lnTo>
                  <a:lnTo>
                    <a:pt x="1074" y="478"/>
                  </a:lnTo>
                  <a:lnTo>
                    <a:pt x="1070" y="478"/>
                  </a:lnTo>
                  <a:lnTo>
                    <a:pt x="1070" y="474"/>
                  </a:lnTo>
                  <a:lnTo>
                    <a:pt x="1074" y="474"/>
                  </a:lnTo>
                  <a:lnTo>
                    <a:pt x="1076" y="474"/>
                  </a:lnTo>
                  <a:lnTo>
                    <a:pt x="1076" y="470"/>
                  </a:lnTo>
                  <a:lnTo>
                    <a:pt x="1074" y="470"/>
                  </a:lnTo>
                  <a:lnTo>
                    <a:pt x="1074" y="474"/>
                  </a:lnTo>
                  <a:lnTo>
                    <a:pt x="1070" y="474"/>
                  </a:lnTo>
                  <a:lnTo>
                    <a:pt x="1070" y="470"/>
                  </a:lnTo>
                  <a:lnTo>
                    <a:pt x="1066" y="470"/>
                  </a:lnTo>
                  <a:lnTo>
                    <a:pt x="1070" y="470"/>
                  </a:lnTo>
                  <a:lnTo>
                    <a:pt x="1070" y="466"/>
                  </a:lnTo>
                  <a:lnTo>
                    <a:pt x="1074" y="466"/>
                  </a:lnTo>
                  <a:lnTo>
                    <a:pt x="1076" y="466"/>
                  </a:lnTo>
                  <a:lnTo>
                    <a:pt x="1076" y="464"/>
                  </a:lnTo>
                  <a:lnTo>
                    <a:pt x="1076" y="460"/>
                  </a:lnTo>
                  <a:lnTo>
                    <a:pt x="1080" y="460"/>
                  </a:lnTo>
                  <a:lnTo>
                    <a:pt x="1084" y="460"/>
                  </a:lnTo>
                  <a:lnTo>
                    <a:pt x="1084" y="456"/>
                  </a:lnTo>
                  <a:lnTo>
                    <a:pt x="1080" y="456"/>
                  </a:lnTo>
                  <a:lnTo>
                    <a:pt x="1076" y="460"/>
                  </a:lnTo>
                  <a:lnTo>
                    <a:pt x="1076" y="464"/>
                  </a:lnTo>
                  <a:lnTo>
                    <a:pt x="1074" y="464"/>
                  </a:lnTo>
                  <a:lnTo>
                    <a:pt x="1070" y="466"/>
                  </a:lnTo>
                  <a:lnTo>
                    <a:pt x="1062" y="466"/>
                  </a:lnTo>
                  <a:lnTo>
                    <a:pt x="1062" y="464"/>
                  </a:lnTo>
                  <a:lnTo>
                    <a:pt x="1066" y="464"/>
                  </a:lnTo>
                  <a:lnTo>
                    <a:pt x="1066" y="460"/>
                  </a:lnTo>
                  <a:lnTo>
                    <a:pt x="1070" y="456"/>
                  </a:lnTo>
                  <a:lnTo>
                    <a:pt x="1066" y="460"/>
                  </a:lnTo>
                  <a:lnTo>
                    <a:pt x="1062" y="464"/>
                  </a:lnTo>
                  <a:lnTo>
                    <a:pt x="1060" y="464"/>
                  </a:lnTo>
                  <a:lnTo>
                    <a:pt x="1060" y="460"/>
                  </a:lnTo>
                  <a:lnTo>
                    <a:pt x="1056" y="460"/>
                  </a:lnTo>
                  <a:lnTo>
                    <a:pt x="1052" y="456"/>
                  </a:lnTo>
                  <a:lnTo>
                    <a:pt x="1056" y="456"/>
                  </a:lnTo>
                  <a:lnTo>
                    <a:pt x="1052" y="456"/>
                  </a:lnTo>
                  <a:lnTo>
                    <a:pt x="1048" y="456"/>
                  </a:lnTo>
                  <a:lnTo>
                    <a:pt x="1048" y="452"/>
                  </a:lnTo>
                  <a:lnTo>
                    <a:pt x="1048" y="448"/>
                  </a:lnTo>
                  <a:lnTo>
                    <a:pt x="1048" y="452"/>
                  </a:lnTo>
                  <a:lnTo>
                    <a:pt x="1044" y="452"/>
                  </a:lnTo>
                  <a:lnTo>
                    <a:pt x="1040" y="452"/>
                  </a:lnTo>
                  <a:lnTo>
                    <a:pt x="1036" y="452"/>
                  </a:lnTo>
                  <a:lnTo>
                    <a:pt x="1040" y="452"/>
                  </a:lnTo>
                  <a:lnTo>
                    <a:pt x="1044" y="452"/>
                  </a:lnTo>
                  <a:lnTo>
                    <a:pt x="1044" y="456"/>
                  </a:lnTo>
                  <a:lnTo>
                    <a:pt x="1040" y="456"/>
                  </a:lnTo>
                  <a:lnTo>
                    <a:pt x="1044" y="456"/>
                  </a:lnTo>
                  <a:lnTo>
                    <a:pt x="1044" y="460"/>
                  </a:lnTo>
                  <a:lnTo>
                    <a:pt x="1040" y="460"/>
                  </a:lnTo>
                  <a:lnTo>
                    <a:pt x="1040" y="456"/>
                  </a:lnTo>
                  <a:lnTo>
                    <a:pt x="1036" y="456"/>
                  </a:lnTo>
                  <a:lnTo>
                    <a:pt x="1036" y="452"/>
                  </a:lnTo>
                  <a:lnTo>
                    <a:pt x="1032" y="452"/>
                  </a:lnTo>
                  <a:lnTo>
                    <a:pt x="1032" y="456"/>
                  </a:lnTo>
                  <a:lnTo>
                    <a:pt x="1036" y="456"/>
                  </a:lnTo>
                  <a:lnTo>
                    <a:pt x="1036" y="460"/>
                  </a:lnTo>
                  <a:lnTo>
                    <a:pt x="1040" y="460"/>
                  </a:lnTo>
                  <a:lnTo>
                    <a:pt x="1040" y="464"/>
                  </a:lnTo>
                  <a:lnTo>
                    <a:pt x="1044" y="464"/>
                  </a:lnTo>
                  <a:lnTo>
                    <a:pt x="1044" y="466"/>
                  </a:lnTo>
                  <a:lnTo>
                    <a:pt x="1040" y="466"/>
                  </a:lnTo>
                  <a:lnTo>
                    <a:pt x="1036" y="466"/>
                  </a:lnTo>
                  <a:lnTo>
                    <a:pt x="1032" y="466"/>
                  </a:lnTo>
                  <a:lnTo>
                    <a:pt x="1032" y="464"/>
                  </a:lnTo>
                  <a:lnTo>
                    <a:pt x="1030" y="464"/>
                  </a:lnTo>
                  <a:lnTo>
                    <a:pt x="1030" y="460"/>
                  </a:lnTo>
                  <a:lnTo>
                    <a:pt x="1026" y="460"/>
                  </a:lnTo>
                  <a:lnTo>
                    <a:pt x="1022" y="460"/>
                  </a:lnTo>
                  <a:lnTo>
                    <a:pt x="1026" y="460"/>
                  </a:lnTo>
                  <a:lnTo>
                    <a:pt x="1026" y="464"/>
                  </a:lnTo>
                  <a:lnTo>
                    <a:pt x="1030" y="464"/>
                  </a:lnTo>
                  <a:lnTo>
                    <a:pt x="1032" y="464"/>
                  </a:lnTo>
                  <a:lnTo>
                    <a:pt x="1032" y="466"/>
                  </a:lnTo>
                  <a:lnTo>
                    <a:pt x="1030" y="466"/>
                  </a:lnTo>
                  <a:lnTo>
                    <a:pt x="1030" y="464"/>
                  </a:lnTo>
                  <a:lnTo>
                    <a:pt x="1030" y="466"/>
                  </a:lnTo>
                  <a:lnTo>
                    <a:pt x="1030" y="470"/>
                  </a:lnTo>
                  <a:lnTo>
                    <a:pt x="1032" y="470"/>
                  </a:lnTo>
                  <a:lnTo>
                    <a:pt x="1036" y="470"/>
                  </a:lnTo>
                  <a:lnTo>
                    <a:pt x="1032" y="474"/>
                  </a:lnTo>
                  <a:lnTo>
                    <a:pt x="1032" y="478"/>
                  </a:lnTo>
                  <a:lnTo>
                    <a:pt x="1032" y="474"/>
                  </a:lnTo>
                  <a:lnTo>
                    <a:pt x="1036" y="474"/>
                  </a:lnTo>
                  <a:lnTo>
                    <a:pt x="1040" y="474"/>
                  </a:lnTo>
                  <a:lnTo>
                    <a:pt x="1044" y="474"/>
                  </a:lnTo>
                  <a:lnTo>
                    <a:pt x="1040" y="478"/>
                  </a:lnTo>
                  <a:lnTo>
                    <a:pt x="1044" y="478"/>
                  </a:lnTo>
                  <a:lnTo>
                    <a:pt x="1048" y="478"/>
                  </a:lnTo>
                  <a:lnTo>
                    <a:pt x="1044" y="482"/>
                  </a:lnTo>
                  <a:lnTo>
                    <a:pt x="1040" y="482"/>
                  </a:lnTo>
                  <a:lnTo>
                    <a:pt x="1044" y="482"/>
                  </a:lnTo>
                  <a:lnTo>
                    <a:pt x="1048" y="486"/>
                  </a:lnTo>
                  <a:lnTo>
                    <a:pt x="1044" y="486"/>
                  </a:lnTo>
                  <a:lnTo>
                    <a:pt x="1044" y="490"/>
                  </a:lnTo>
                  <a:lnTo>
                    <a:pt x="1048" y="486"/>
                  </a:lnTo>
                  <a:lnTo>
                    <a:pt x="1052" y="486"/>
                  </a:lnTo>
                  <a:lnTo>
                    <a:pt x="1048" y="490"/>
                  </a:lnTo>
                  <a:lnTo>
                    <a:pt x="1052" y="490"/>
                  </a:lnTo>
                  <a:lnTo>
                    <a:pt x="1052" y="494"/>
                  </a:lnTo>
                  <a:lnTo>
                    <a:pt x="1052" y="496"/>
                  </a:lnTo>
                  <a:lnTo>
                    <a:pt x="1052" y="494"/>
                  </a:lnTo>
                  <a:lnTo>
                    <a:pt x="1052" y="490"/>
                  </a:lnTo>
                  <a:lnTo>
                    <a:pt x="1056" y="490"/>
                  </a:lnTo>
                  <a:lnTo>
                    <a:pt x="1056" y="494"/>
                  </a:lnTo>
                  <a:lnTo>
                    <a:pt x="1060" y="494"/>
                  </a:lnTo>
                  <a:lnTo>
                    <a:pt x="1060" y="496"/>
                  </a:lnTo>
                  <a:lnTo>
                    <a:pt x="1060" y="494"/>
                  </a:lnTo>
                  <a:lnTo>
                    <a:pt x="1062" y="494"/>
                  </a:lnTo>
                  <a:lnTo>
                    <a:pt x="1060" y="496"/>
                  </a:lnTo>
                  <a:lnTo>
                    <a:pt x="1062" y="496"/>
                  </a:lnTo>
                  <a:lnTo>
                    <a:pt x="1062" y="494"/>
                  </a:lnTo>
                  <a:lnTo>
                    <a:pt x="1066" y="494"/>
                  </a:lnTo>
                  <a:lnTo>
                    <a:pt x="1066" y="496"/>
                  </a:lnTo>
                  <a:lnTo>
                    <a:pt x="1066" y="500"/>
                  </a:lnTo>
                  <a:lnTo>
                    <a:pt x="1070" y="500"/>
                  </a:lnTo>
                  <a:lnTo>
                    <a:pt x="1074" y="500"/>
                  </a:lnTo>
                  <a:lnTo>
                    <a:pt x="1074" y="504"/>
                  </a:lnTo>
                  <a:lnTo>
                    <a:pt x="1074" y="508"/>
                  </a:lnTo>
                  <a:lnTo>
                    <a:pt x="1070" y="508"/>
                  </a:lnTo>
                  <a:lnTo>
                    <a:pt x="1070" y="504"/>
                  </a:lnTo>
                  <a:lnTo>
                    <a:pt x="1066" y="504"/>
                  </a:lnTo>
                  <a:lnTo>
                    <a:pt x="1066" y="508"/>
                  </a:lnTo>
                  <a:lnTo>
                    <a:pt x="1070" y="508"/>
                  </a:lnTo>
                  <a:lnTo>
                    <a:pt x="1074" y="512"/>
                  </a:lnTo>
                  <a:lnTo>
                    <a:pt x="1076" y="512"/>
                  </a:lnTo>
                  <a:lnTo>
                    <a:pt x="1080" y="512"/>
                  </a:lnTo>
                  <a:lnTo>
                    <a:pt x="1080" y="516"/>
                  </a:lnTo>
                  <a:lnTo>
                    <a:pt x="1076" y="516"/>
                  </a:lnTo>
                  <a:lnTo>
                    <a:pt x="1074" y="516"/>
                  </a:lnTo>
                  <a:lnTo>
                    <a:pt x="1074" y="520"/>
                  </a:lnTo>
                  <a:lnTo>
                    <a:pt x="1076" y="520"/>
                  </a:lnTo>
                  <a:lnTo>
                    <a:pt x="1080" y="520"/>
                  </a:lnTo>
                  <a:lnTo>
                    <a:pt x="1080" y="522"/>
                  </a:lnTo>
                  <a:lnTo>
                    <a:pt x="1080" y="526"/>
                  </a:lnTo>
                  <a:lnTo>
                    <a:pt x="1080" y="530"/>
                  </a:lnTo>
                  <a:lnTo>
                    <a:pt x="1076" y="530"/>
                  </a:lnTo>
                  <a:lnTo>
                    <a:pt x="1076" y="526"/>
                  </a:lnTo>
                  <a:lnTo>
                    <a:pt x="1076" y="522"/>
                  </a:lnTo>
                  <a:lnTo>
                    <a:pt x="1074" y="522"/>
                  </a:lnTo>
                  <a:lnTo>
                    <a:pt x="1074" y="520"/>
                  </a:lnTo>
                  <a:lnTo>
                    <a:pt x="1070" y="520"/>
                  </a:lnTo>
                  <a:lnTo>
                    <a:pt x="1074" y="520"/>
                  </a:lnTo>
                  <a:lnTo>
                    <a:pt x="1074" y="522"/>
                  </a:lnTo>
                  <a:lnTo>
                    <a:pt x="1074" y="526"/>
                  </a:lnTo>
                  <a:lnTo>
                    <a:pt x="1076" y="530"/>
                  </a:lnTo>
                  <a:lnTo>
                    <a:pt x="1074" y="530"/>
                  </a:lnTo>
                  <a:lnTo>
                    <a:pt x="1074" y="534"/>
                  </a:lnTo>
                  <a:lnTo>
                    <a:pt x="1076" y="534"/>
                  </a:lnTo>
                  <a:lnTo>
                    <a:pt x="1076" y="538"/>
                  </a:lnTo>
                  <a:lnTo>
                    <a:pt x="1080" y="538"/>
                  </a:lnTo>
                  <a:lnTo>
                    <a:pt x="1076" y="542"/>
                  </a:lnTo>
                  <a:lnTo>
                    <a:pt x="1074" y="538"/>
                  </a:lnTo>
                  <a:lnTo>
                    <a:pt x="1070" y="538"/>
                  </a:lnTo>
                  <a:lnTo>
                    <a:pt x="1074" y="542"/>
                  </a:lnTo>
                  <a:lnTo>
                    <a:pt x="1074" y="546"/>
                  </a:lnTo>
                  <a:lnTo>
                    <a:pt x="1076" y="546"/>
                  </a:lnTo>
                  <a:lnTo>
                    <a:pt x="1074" y="546"/>
                  </a:lnTo>
                  <a:lnTo>
                    <a:pt x="1074" y="550"/>
                  </a:lnTo>
                  <a:lnTo>
                    <a:pt x="1070" y="546"/>
                  </a:lnTo>
                  <a:lnTo>
                    <a:pt x="1070" y="542"/>
                  </a:lnTo>
                  <a:lnTo>
                    <a:pt x="1066" y="542"/>
                  </a:lnTo>
                  <a:lnTo>
                    <a:pt x="1066" y="538"/>
                  </a:lnTo>
                  <a:lnTo>
                    <a:pt x="1062" y="538"/>
                  </a:lnTo>
                  <a:lnTo>
                    <a:pt x="1060" y="538"/>
                  </a:lnTo>
                  <a:lnTo>
                    <a:pt x="1060" y="534"/>
                  </a:lnTo>
                  <a:lnTo>
                    <a:pt x="1056" y="534"/>
                  </a:lnTo>
                  <a:lnTo>
                    <a:pt x="1060" y="538"/>
                  </a:lnTo>
                  <a:lnTo>
                    <a:pt x="1056" y="538"/>
                  </a:lnTo>
                  <a:lnTo>
                    <a:pt x="1056" y="534"/>
                  </a:lnTo>
                  <a:lnTo>
                    <a:pt x="1052" y="534"/>
                  </a:lnTo>
                  <a:lnTo>
                    <a:pt x="1052" y="530"/>
                  </a:lnTo>
                  <a:lnTo>
                    <a:pt x="1052" y="526"/>
                  </a:lnTo>
                  <a:lnTo>
                    <a:pt x="1052" y="530"/>
                  </a:lnTo>
                  <a:lnTo>
                    <a:pt x="1052" y="534"/>
                  </a:lnTo>
                  <a:lnTo>
                    <a:pt x="1052" y="538"/>
                  </a:lnTo>
                  <a:lnTo>
                    <a:pt x="1052" y="534"/>
                  </a:lnTo>
                  <a:lnTo>
                    <a:pt x="1052" y="530"/>
                  </a:lnTo>
                  <a:lnTo>
                    <a:pt x="1048" y="530"/>
                  </a:lnTo>
                  <a:lnTo>
                    <a:pt x="1048" y="534"/>
                  </a:lnTo>
                  <a:lnTo>
                    <a:pt x="1048" y="530"/>
                  </a:lnTo>
                  <a:lnTo>
                    <a:pt x="1048" y="526"/>
                  </a:lnTo>
                  <a:lnTo>
                    <a:pt x="1048" y="530"/>
                  </a:lnTo>
                  <a:lnTo>
                    <a:pt x="1044" y="530"/>
                  </a:lnTo>
                  <a:lnTo>
                    <a:pt x="1040" y="526"/>
                  </a:lnTo>
                  <a:lnTo>
                    <a:pt x="1036" y="522"/>
                  </a:lnTo>
                  <a:lnTo>
                    <a:pt x="1036" y="520"/>
                  </a:lnTo>
                  <a:lnTo>
                    <a:pt x="1032" y="520"/>
                  </a:lnTo>
                  <a:lnTo>
                    <a:pt x="1036" y="522"/>
                  </a:lnTo>
                  <a:lnTo>
                    <a:pt x="1036" y="526"/>
                  </a:lnTo>
                  <a:lnTo>
                    <a:pt x="1036" y="530"/>
                  </a:lnTo>
                  <a:lnTo>
                    <a:pt x="1036" y="526"/>
                  </a:lnTo>
                  <a:lnTo>
                    <a:pt x="1032" y="526"/>
                  </a:lnTo>
                  <a:lnTo>
                    <a:pt x="1032" y="522"/>
                  </a:lnTo>
                  <a:lnTo>
                    <a:pt x="1030" y="522"/>
                  </a:lnTo>
                  <a:lnTo>
                    <a:pt x="1026" y="522"/>
                  </a:lnTo>
                  <a:lnTo>
                    <a:pt x="1026" y="520"/>
                  </a:lnTo>
                  <a:lnTo>
                    <a:pt x="1022" y="520"/>
                  </a:lnTo>
                  <a:lnTo>
                    <a:pt x="1018" y="520"/>
                  </a:lnTo>
                  <a:lnTo>
                    <a:pt x="1022" y="522"/>
                  </a:lnTo>
                  <a:lnTo>
                    <a:pt x="1026" y="526"/>
                  </a:lnTo>
                  <a:lnTo>
                    <a:pt x="1030" y="530"/>
                  </a:lnTo>
                  <a:lnTo>
                    <a:pt x="1030" y="534"/>
                  </a:lnTo>
                  <a:lnTo>
                    <a:pt x="1032" y="534"/>
                  </a:lnTo>
                  <a:lnTo>
                    <a:pt x="1036" y="534"/>
                  </a:lnTo>
                  <a:lnTo>
                    <a:pt x="1036" y="538"/>
                  </a:lnTo>
                  <a:lnTo>
                    <a:pt x="1040" y="538"/>
                  </a:lnTo>
                  <a:lnTo>
                    <a:pt x="1036" y="538"/>
                  </a:lnTo>
                  <a:lnTo>
                    <a:pt x="1040" y="538"/>
                  </a:lnTo>
                  <a:lnTo>
                    <a:pt x="1044" y="542"/>
                  </a:lnTo>
                  <a:lnTo>
                    <a:pt x="1048" y="542"/>
                  </a:lnTo>
                  <a:lnTo>
                    <a:pt x="1048" y="546"/>
                  </a:lnTo>
                  <a:lnTo>
                    <a:pt x="1052" y="546"/>
                  </a:lnTo>
                  <a:lnTo>
                    <a:pt x="1056" y="550"/>
                  </a:lnTo>
                  <a:lnTo>
                    <a:pt x="1056" y="552"/>
                  </a:lnTo>
                  <a:lnTo>
                    <a:pt x="1060" y="552"/>
                  </a:lnTo>
                  <a:lnTo>
                    <a:pt x="1060" y="556"/>
                  </a:lnTo>
                  <a:lnTo>
                    <a:pt x="1062" y="556"/>
                  </a:lnTo>
                  <a:lnTo>
                    <a:pt x="1060" y="556"/>
                  </a:lnTo>
                  <a:lnTo>
                    <a:pt x="1060" y="560"/>
                  </a:lnTo>
                  <a:lnTo>
                    <a:pt x="1062" y="560"/>
                  </a:lnTo>
                  <a:lnTo>
                    <a:pt x="1062" y="564"/>
                  </a:lnTo>
                  <a:lnTo>
                    <a:pt x="1060" y="564"/>
                  </a:lnTo>
                  <a:lnTo>
                    <a:pt x="1056" y="564"/>
                  </a:lnTo>
                  <a:lnTo>
                    <a:pt x="1052" y="564"/>
                  </a:lnTo>
                  <a:lnTo>
                    <a:pt x="1052" y="560"/>
                  </a:lnTo>
                  <a:lnTo>
                    <a:pt x="1048" y="560"/>
                  </a:lnTo>
                  <a:lnTo>
                    <a:pt x="1044" y="560"/>
                  </a:lnTo>
                  <a:lnTo>
                    <a:pt x="1040" y="556"/>
                  </a:lnTo>
                  <a:lnTo>
                    <a:pt x="1036" y="556"/>
                  </a:lnTo>
                  <a:lnTo>
                    <a:pt x="1032" y="556"/>
                  </a:lnTo>
                  <a:lnTo>
                    <a:pt x="1030" y="556"/>
                  </a:lnTo>
                  <a:lnTo>
                    <a:pt x="1026" y="556"/>
                  </a:lnTo>
                  <a:lnTo>
                    <a:pt x="1026" y="552"/>
                  </a:lnTo>
                  <a:lnTo>
                    <a:pt x="1022" y="552"/>
                  </a:lnTo>
                  <a:lnTo>
                    <a:pt x="1018" y="552"/>
                  </a:lnTo>
                  <a:lnTo>
                    <a:pt x="1018" y="550"/>
                  </a:lnTo>
                  <a:lnTo>
                    <a:pt x="1014" y="550"/>
                  </a:lnTo>
                  <a:lnTo>
                    <a:pt x="1014" y="546"/>
                  </a:lnTo>
                  <a:lnTo>
                    <a:pt x="1014" y="550"/>
                  </a:lnTo>
                  <a:lnTo>
                    <a:pt x="1010" y="546"/>
                  </a:lnTo>
                  <a:lnTo>
                    <a:pt x="1010" y="542"/>
                  </a:lnTo>
                  <a:lnTo>
                    <a:pt x="1006" y="542"/>
                  </a:lnTo>
                  <a:lnTo>
                    <a:pt x="1004" y="542"/>
                  </a:lnTo>
                  <a:lnTo>
                    <a:pt x="1004" y="542"/>
                  </a:lnTo>
                  <a:lnTo>
                    <a:pt x="1004" y="542"/>
                  </a:lnTo>
                  <a:close/>
                  <a:moveTo>
                    <a:pt x="902" y="292"/>
                  </a:moveTo>
                  <a:lnTo>
                    <a:pt x="898" y="292"/>
                  </a:lnTo>
                  <a:lnTo>
                    <a:pt x="894" y="292"/>
                  </a:lnTo>
                  <a:lnTo>
                    <a:pt x="890" y="292"/>
                  </a:lnTo>
                  <a:lnTo>
                    <a:pt x="888" y="292"/>
                  </a:lnTo>
                  <a:lnTo>
                    <a:pt x="884" y="292"/>
                  </a:lnTo>
                  <a:lnTo>
                    <a:pt x="880" y="292"/>
                  </a:lnTo>
                  <a:lnTo>
                    <a:pt x="876" y="294"/>
                  </a:lnTo>
                  <a:lnTo>
                    <a:pt x="872" y="294"/>
                  </a:lnTo>
                  <a:lnTo>
                    <a:pt x="868" y="294"/>
                  </a:lnTo>
                  <a:lnTo>
                    <a:pt x="864" y="292"/>
                  </a:lnTo>
                  <a:lnTo>
                    <a:pt x="862" y="292"/>
                  </a:lnTo>
                  <a:lnTo>
                    <a:pt x="862" y="288"/>
                  </a:lnTo>
                  <a:lnTo>
                    <a:pt x="862" y="284"/>
                  </a:lnTo>
                  <a:lnTo>
                    <a:pt x="862" y="280"/>
                  </a:lnTo>
                  <a:lnTo>
                    <a:pt x="858" y="280"/>
                  </a:lnTo>
                  <a:lnTo>
                    <a:pt x="854" y="280"/>
                  </a:lnTo>
                  <a:lnTo>
                    <a:pt x="850" y="280"/>
                  </a:lnTo>
                  <a:lnTo>
                    <a:pt x="850" y="276"/>
                  </a:lnTo>
                  <a:lnTo>
                    <a:pt x="850" y="268"/>
                  </a:lnTo>
                  <a:lnTo>
                    <a:pt x="854" y="268"/>
                  </a:lnTo>
                  <a:lnTo>
                    <a:pt x="858" y="268"/>
                  </a:lnTo>
                  <a:lnTo>
                    <a:pt x="862" y="268"/>
                  </a:lnTo>
                  <a:lnTo>
                    <a:pt x="864" y="268"/>
                  </a:lnTo>
                  <a:lnTo>
                    <a:pt x="868" y="268"/>
                  </a:lnTo>
                  <a:lnTo>
                    <a:pt x="868" y="272"/>
                  </a:lnTo>
                  <a:lnTo>
                    <a:pt x="872" y="272"/>
                  </a:lnTo>
                  <a:lnTo>
                    <a:pt x="876" y="272"/>
                  </a:lnTo>
                  <a:lnTo>
                    <a:pt x="876" y="268"/>
                  </a:lnTo>
                  <a:lnTo>
                    <a:pt x="880" y="268"/>
                  </a:lnTo>
                  <a:lnTo>
                    <a:pt x="884" y="268"/>
                  </a:lnTo>
                  <a:lnTo>
                    <a:pt x="888" y="268"/>
                  </a:lnTo>
                  <a:lnTo>
                    <a:pt x="890" y="268"/>
                  </a:lnTo>
                  <a:lnTo>
                    <a:pt x="890" y="272"/>
                  </a:lnTo>
                  <a:lnTo>
                    <a:pt x="894" y="272"/>
                  </a:lnTo>
                  <a:lnTo>
                    <a:pt x="898" y="272"/>
                  </a:lnTo>
                  <a:lnTo>
                    <a:pt x="902" y="272"/>
                  </a:lnTo>
                  <a:lnTo>
                    <a:pt x="902" y="276"/>
                  </a:lnTo>
                  <a:lnTo>
                    <a:pt x="906" y="276"/>
                  </a:lnTo>
                  <a:lnTo>
                    <a:pt x="906" y="280"/>
                  </a:lnTo>
                  <a:lnTo>
                    <a:pt x="910" y="280"/>
                  </a:lnTo>
                  <a:lnTo>
                    <a:pt x="910" y="284"/>
                  </a:lnTo>
                  <a:lnTo>
                    <a:pt x="914" y="284"/>
                  </a:lnTo>
                  <a:lnTo>
                    <a:pt x="914" y="288"/>
                  </a:lnTo>
                  <a:lnTo>
                    <a:pt x="918" y="288"/>
                  </a:lnTo>
                  <a:lnTo>
                    <a:pt x="918" y="292"/>
                  </a:lnTo>
                  <a:lnTo>
                    <a:pt x="914" y="292"/>
                  </a:lnTo>
                  <a:lnTo>
                    <a:pt x="910" y="292"/>
                  </a:lnTo>
                  <a:lnTo>
                    <a:pt x="906" y="292"/>
                  </a:lnTo>
                  <a:lnTo>
                    <a:pt x="902" y="292"/>
                  </a:lnTo>
                  <a:lnTo>
                    <a:pt x="902" y="292"/>
                  </a:lnTo>
                  <a:lnTo>
                    <a:pt x="902" y="292"/>
                  </a:lnTo>
                  <a:close/>
                  <a:moveTo>
                    <a:pt x="508" y="292"/>
                  </a:moveTo>
                  <a:lnTo>
                    <a:pt x="504" y="288"/>
                  </a:lnTo>
                  <a:lnTo>
                    <a:pt x="504" y="292"/>
                  </a:lnTo>
                  <a:lnTo>
                    <a:pt x="508" y="292"/>
                  </a:lnTo>
                  <a:lnTo>
                    <a:pt x="504" y="292"/>
                  </a:lnTo>
                  <a:lnTo>
                    <a:pt x="500" y="288"/>
                  </a:lnTo>
                  <a:lnTo>
                    <a:pt x="496" y="284"/>
                  </a:lnTo>
                  <a:lnTo>
                    <a:pt x="492" y="284"/>
                  </a:lnTo>
                  <a:lnTo>
                    <a:pt x="492" y="280"/>
                  </a:lnTo>
                  <a:lnTo>
                    <a:pt x="488" y="276"/>
                  </a:lnTo>
                  <a:lnTo>
                    <a:pt x="484" y="276"/>
                  </a:lnTo>
                  <a:lnTo>
                    <a:pt x="480" y="276"/>
                  </a:lnTo>
                  <a:lnTo>
                    <a:pt x="480" y="272"/>
                  </a:lnTo>
                  <a:lnTo>
                    <a:pt x="484" y="268"/>
                  </a:lnTo>
                  <a:lnTo>
                    <a:pt x="488" y="268"/>
                  </a:lnTo>
                  <a:lnTo>
                    <a:pt x="492" y="268"/>
                  </a:lnTo>
                  <a:lnTo>
                    <a:pt x="496" y="268"/>
                  </a:lnTo>
                  <a:lnTo>
                    <a:pt x="500" y="268"/>
                  </a:lnTo>
                  <a:lnTo>
                    <a:pt x="504" y="268"/>
                  </a:lnTo>
                  <a:lnTo>
                    <a:pt x="508" y="268"/>
                  </a:lnTo>
                  <a:lnTo>
                    <a:pt x="510" y="268"/>
                  </a:lnTo>
                  <a:lnTo>
                    <a:pt x="514" y="272"/>
                  </a:lnTo>
                  <a:lnTo>
                    <a:pt x="514" y="276"/>
                  </a:lnTo>
                  <a:lnTo>
                    <a:pt x="514" y="280"/>
                  </a:lnTo>
                  <a:lnTo>
                    <a:pt x="510" y="284"/>
                  </a:lnTo>
                  <a:lnTo>
                    <a:pt x="510" y="288"/>
                  </a:lnTo>
                  <a:lnTo>
                    <a:pt x="508" y="288"/>
                  </a:lnTo>
                  <a:lnTo>
                    <a:pt x="508" y="292"/>
                  </a:lnTo>
                  <a:lnTo>
                    <a:pt x="508" y="292"/>
                  </a:lnTo>
                  <a:lnTo>
                    <a:pt x="508" y="292"/>
                  </a:lnTo>
                  <a:close/>
                  <a:moveTo>
                    <a:pt x="236" y="272"/>
                  </a:moveTo>
                  <a:lnTo>
                    <a:pt x="238" y="272"/>
                  </a:lnTo>
                  <a:lnTo>
                    <a:pt x="236" y="272"/>
                  </a:lnTo>
                  <a:lnTo>
                    <a:pt x="236" y="272"/>
                  </a:lnTo>
                  <a:lnTo>
                    <a:pt x="236" y="272"/>
                  </a:lnTo>
                  <a:close/>
                  <a:moveTo>
                    <a:pt x="474" y="272"/>
                  </a:moveTo>
                  <a:lnTo>
                    <a:pt x="470" y="272"/>
                  </a:lnTo>
                  <a:lnTo>
                    <a:pt x="466" y="272"/>
                  </a:lnTo>
                  <a:lnTo>
                    <a:pt x="470" y="272"/>
                  </a:lnTo>
                  <a:lnTo>
                    <a:pt x="474" y="272"/>
                  </a:lnTo>
                  <a:lnTo>
                    <a:pt x="474" y="272"/>
                  </a:lnTo>
                  <a:lnTo>
                    <a:pt x="474" y="272"/>
                  </a:lnTo>
                  <a:close/>
                  <a:moveTo>
                    <a:pt x="354" y="350"/>
                  </a:moveTo>
                  <a:lnTo>
                    <a:pt x="352" y="350"/>
                  </a:lnTo>
                  <a:lnTo>
                    <a:pt x="348" y="350"/>
                  </a:lnTo>
                  <a:lnTo>
                    <a:pt x="344" y="350"/>
                  </a:lnTo>
                  <a:lnTo>
                    <a:pt x="340" y="350"/>
                  </a:lnTo>
                  <a:lnTo>
                    <a:pt x="336" y="350"/>
                  </a:lnTo>
                  <a:lnTo>
                    <a:pt x="332" y="350"/>
                  </a:lnTo>
                  <a:lnTo>
                    <a:pt x="328" y="350"/>
                  </a:lnTo>
                  <a:lnTo>
                    <a:pt x="328" y="348"/>
                  </a:lnTo>
                  <a:lnTo>
                    <a:pt x="324" y="348"/>
                  </a:lnTo>
                  <a:lnTo>
                    <a:pt x="324" y="344"/>
                  </a:lnTo>
                  <a:lnTo>
                    <a:pt x="322" y="344"/>
                  </a:lnTo>
                  <a:lnTo>
                    <a:pt x="322" y="340"/>
                  </a:lnTo>
                  <a:lnTo>
                    <a:pt x="324" y="336"/>
                  </a:lnTo>
                  <a:lnTo>
                    <a:pt x="328" y="336"/>
                  </a:lnTo>
                  <a:lnTo>
                    <a:pt x="332" y="336"/>
                  </a:lnTo>
                  <a:lnTo>
                    <a:pt x="336" y="336"/>
                  </a:lnTo>
                  <a:lnTo>
                    <a:pt x="340" y="332"/>
                  </a:lnTo>
                  <a:lnTo>
                    <a:pt x="344" y="332"/>
                  </a:lnTo>
                  <a:lnTo>
                    <a:pt x="348" y="332"/>
                  </a:lnTo>
                  <a:lnTo>
                    <a:pt x="352" y="332"/>
                  </a:lnTo>
                  <a:lnTo>
                    <a:pt x="354" y="332"/>
                  </a:lnTo>
                  <a:lnTo>
                    <a:pt x="358" y="332"/>
                  </a:lnTo>
                  <a:lnTo>
                    <a:pt x="358" y="328"/>
                  </a:lnTo>
                  <a:lnTo>
                    <a:pt x="354" y="328"/>
                  </a:lnTo>
                  <a:lnTo>
                    <a:pt x="358" y="328"/>
                  </a:lnTo>
                  <a:lnTo>
                    <a:pt x="362" y="328"/>
                  </a:lnTo>
                  <a:lnTo>
                    <a:pt x="366" y="328"/>
                  </a:lnTo>
                  <a:lnTo>
                    <a:pt x="366" y="324"/>
                  </a:lnTo>
                  <a:lnTo>
                    <a:pt x="366" y="328"/>
                  </a:lnTo>
                  <a:lnTo>
                    <a:pt x="362" y="328"/>
                  </a:lnTo>
                  <a:lnTo>
                    <a:pt x="362" y="324"/>
                  </a:lnTo>
                  <a:lnTo>
                    <a:pt x="358" y="324"/>
                  </a:lnTo>
                  <a:lnTo>
                    <a:pt x="354" y="324"/>
                  </a:lnTo>
                  <a:lnTo>
                    <a:pt x="352" y="328"/>
                  </a:lnTo>
                  <a:lnTo>
                    <a:pt x="348" y="328"/>
                  </a:lnTo>
                  <a:lnTo>
                    <a:pt x="344" y="328"/>
                  </a:lnTo>
                  <a:lnTo>
                    <a:pt x="340" y="328"/>
                  </a:lnTo>
                  <a:lnTo>
                    <a:pt x="336" y="328"/>
                  </a:lnTo>
                  <a:lnTo>
                    <a:pt x="332" y="328"/>
                  </a:lnTo>
                  <a:lnTo>
                    <a:pt x="336" y="328"/>
                  </a:lnTo>
                  <a:lnTo>
                    <a:pt x="332" y="328"/>
                  </a:lnTo>
                  <a:lnTo>
                    <a:pt x="332" y="332"/>
                  </a:lnTo>
                  <a:lnTo>
                    <a:pt x="328" y="328"/>
                  </a:lnTo>
                  <a:lnTo>
                    <a:pt x="328" y="332"/>
                  </a:lnTo>
                  <a:lnTo>
                    <a:pt x="328" y="328"/>
                  </a:lnTo>
                  <a:lnTo>
                    <a:pt x="324" y="328"/>
                  </a:lnTo>
                  <a:lnTo>
                    <a:pt x="322" y="328"/>
                  </a:lnTo>
                  <a:lnTo>
                    <a:pt x="324" y="324"/>
                  </a:lnTo>
                  <a:lnTo>
                    <a:pt x="328" y="324"/>
                  </a:lnTo>
                  <a:lnTo>
                    <a:pt x="332" y="324"/>
                  </a:lnTo>
                  <a:lnTo>
                    <a:pt x="328" y="324"/>
                  </a:lnTo>
                  <a:lnTo>
                    <a:pt x="328" y="322"/>
                  </a:lnTo>
                  <a:lnTo>
                    <a:pt x="324" y="322"/>
                  </a:lnTo>
                  <a:lnTo>
                    <a:pt x="324" y="324"/>
                  </a:lnTo>
                  <a:lnTo>
                    <a:pt x="322" y="324"/>
                  </a:lnTo>
                  <a:lnTo>
                    <a:pt x="318" y="324"/>
                  </a:lnTo>
                  <a:lnTo>
                    <a:pt x="318" y="322"/>
                  </a:lnTo>
                  <a:lnTo>
                    <a:pt x="314" y="322"/>
                  </a:lnTo>
                  <a:lnTo>
                    <a:pt x="314" y="324"/>
                  </a:lnTo>
                  <a:lnTo>
                    <a:pt x="310" y="324"/>
                  </a:lnTo>
                  <a:lnTo>
                    <a:pt x="310" y="322"/>
                  </a:lnTo>
                  <a:lnTo>
                    <a:pt x="310" y="318"/>
                  </a:lnTo>
                  <a:lnTo>
                    <a:pt x="314" y="314"/>
                  </a:lnTo>
                  <a:lnTo>
                    <a:pt x="318" y="314"/>
                  </a:lnTo>
                  <a:lnTo>
                    <a:pt x="314" y="310"/>
                  </a:lnTo>
                  <a:lnTo>
                    <a:pt x="318" y="310"/>
                  </a:lnTo>
                  <a:lnTo>
                    <a:pt x="322" y="310"/>
                  </a:lnTo>
                  <a:lnTo>
                    <a:pt x="324" y="310"/>
                  </a:lnTo>
                  <a:lnTo>
                    <a:pt x="324" y="306"/>
                  </a:lnTo>
                  <a:lnTo>
                    <a:pt x="322" y="306"/>
                  </a:lnTo>
                  <a:lnTo>
                    <a:pt x="318" y="306"/>
                  </a:lnTo>
                  <a:lnTo>
                    <a:pt x="318" y="302"/>
                  </a:lnTo>
                  <a:lnTo>
                    <a:pt x="322" y="298"/>
                  </a:lnTo>
                  <a:lnTo>
                    <a:pt x="324" y="298"/>
                  </a:lnTo>
                  <a:lnTo>
                    <a:pt x="328" y="294"/>
                  </a:lnTo>
                  <a:lnTo>
                    <a:pt x="332" y="294"/>
                  </a:lnTo>
                  <a:lnTo>
                    <a:pt x="332" y="292"/>
                  </a:lnTo>
                  <a:lnTo>
                    <a:pt x="336" y="292"/>
                  </a:lnTo>
                  <a:lnTo>
                    <a:pt x="340" y="292"/>
                  </a:lnTo>
                  <a:lnTo>
                    <a:pt x="340" y="288"/>
                  </a:lnTo>
                  <a:lnTo>
                    <a:pt x="344" y="288"/>
                  </a:lnTo>
                  <a:lnTo>
                    <a:pt x="348" y="288"/>
                  </a:lnTo>
                  <a:lnTo>
                    <a:pt x="352" y="284"/>
                  </a:lnTo>
                  <a:lnTo>
                    <a:pt x="354" y="284"/>
                  </a:lnTo>
                  <a:lnTo>
                    <a:pt x="358" y="284"/>
                  </a:lnTo>
                  <a:lnTo>
                    <a:pt x="362" y="280"/>
                  </a:lnTo>
                  <a:lnTo>
                    <a:pt x="366" y="280"/>
                  </a:lnTo>
                  <a:lnTo>
                    <a:pt x="370" y="280"/>
                  </a:lnTo>
                  <a:lnTo>
                    <a:pt x="374" y="276"/>
                  </a:lnTo>
                  <a:lnTo>
                    <a:pt x="378" y="280"/>
                  </a:lnTo>
                  <a:lnTo>
                    <a:pt x="380" y="280"/>
                  </a:lnTo>
                  <a:lnTo>
                    <a:pt x="380" y="284"/>
                  </a:lnTo>
                  <a:lnTo>
                    <a:pt x="384" y="284"/>
                  </a:lnTo>
                  <a:lnTo>
                    <a:pt x="380" y="288"/>
                  </a:lnTo>
                  <a:lnTo>
                    <a:pt x="380" y="292"/>
                  </a:lnTo>
                  <a:lnTo>
                    <a:pt x="380" y="294"/>
                  </a:lnTo>
                  <a:lnTo>
                    <a:pt x="378" y="294"/>
                  </a:lnTo>
                  <a:lnTo>
                    <a:pt x="378" y="298"/>
                  </a:lnTo>
                  <a:lnTo>
                    <a:pt x="374" y="298"/>
                  </a:lnTo>
                  <a:lnTo>
                    <a:pt x="378" y="298"/>
                  </a:lnTo>
                  <a:lnTo>
                    <a:pt x="380" y="298"/>
                  </a:lnTo>
                  <a:lnTo>
                    <a:pt x="384" y="294"/>
                  </a:lnTo>
                  <a:lnTo>
                    <a:pt x="384" y="298"/>
                  </a:lnTo>
                  <a:lnTo>
                    <a:pt x="388" y="294"/>
                  </a:lnTo>
                  <a:lnTo>
                    <a:pt x="388" y="298"/>
                  </a:lnTo>
                  <a:lnTo>
                    <a:pt x="384" y="298"/>
                  </a:lnTo>
                  <a:lnTo>
                    <a:pt x="388" y="298"/>
                  </a:lnTo>
                  <a:lnTo>
                    <a:pt x="388" y="294"/>
                  </a:lnTo>
                  <a:lnTo>
                    <a:pt x="392" y="294"/>
                  </a:lnTo>
                  <a:lnTo>
                    <a:pt x="388" y="294"/>
                  </a:lnTo>
                  <a:lnTo>
                    <a:pt x="392" y="292"/>
                  </a:lnTo>
                  <a:lnTo>
                    <a:pt x="392" y="288"/>
                  </a:lnTo>
                  <a:lnTo>
                    <a:pt x="396" y="288"/>
                  </a:lnTo>
                  <a:lnTo>
                    <a:pt x="400" y="288"/>
                  </a:lnTo>
                  <a:lnTo>
                    <a:pt x="404" y="288"/>
                  </a:lnTo>
                  <a:lnTo>
                    <a:pt x="404" y="292"/>
                  </a:lnTo>
                  <a:lnTo>
                    <a:pt x="408" y="292"/>
                  </a:lnTo>
                  <a:lnTo>
                    <a:pt x="410" y="292"/>
                  </a:lnTo>
                  <a:lnTo>
                    <a:pt x="414" y="292"/>
                  </a:lnTo>
                  <a:lnTo>
                    <a:pt x="418" y="292"/>
                  </a:lnTo>
                  <a:lnTo>
                    <a:pt x="418" y="294"/>
                  </a:lnTo>
                  <a:lnTo>
                    <a:pt x="422" y="294"/>
                  </a:lnTo>
                  <a:lnTo>
                    <a:pt x="422" y="298"/>
                  </a:lnTo>
                  <a:lnTo>
                    <a:pt x="418" y="302"/>
                  </a:lnTo>
                  <a:lnTo>
                    <a:pt x="414" y="302"/>
                  </a:lnTo>
                  <a:lnTo>
                    <a:pt x="414" y="306"/>
                  </a:lnTo>
                  <a:lnTo>
                    <a:pt x="410" y="306"/>
                  </a:lnTo>
                  <a:lnTo>
                    <a:pt x="414" y="306"/>
                  </a:lnTo>
                  <a:lnTo>
                    <a:pt x="418" y="306"/>
                  </a:lnTo>
                  <a:lnTo>
                    <a:pt x="414" y="306"/>
                  </a:lnTo>
                  <a:lnTo>
                    <a:pt x="418" y="302"/>
                  </a:lnTo>
                  <a:lnTo>
                    <a:pt x="422" y="302"/>
                  </a:lnTo>
                  <a:lnTo>
                    <a:pt x="422" y="306"/>
                  </a:lnTo>
                  <a:lnTo>
                    <a:pt x="422" y="302"/>
                  </a:lnTo>
                  <a:lnTo>
                    <a:pt x="424" y="302"/>
                  </a:lnTo>
                  <a:lnTo>
                    <a:pt x="428" y="302"/>
                  </a:lnTo>
                  <a:lnTo>
                    <a:pt x="424" y="302"/>
                  </a:lnTo>
                  <a:lnTo>
                    <a:pt x="428" y="298"/>
                  </a:lnTo>
                  <a:lnTo>
                    <a:pt x="432" y="298"/>
                  </a:lnTo>
                  <a:lnTo>
                    <a:pt x="428" y="302"/>
                  </a:lnTo>
                  <a:lnTo>
                    <a:pt x="432" y="302"/>
                  </a:lnTo>
                  <a:lnTo>
                    <a:pt x="432" y="298"/>
                  </a:lnTo>
                  <a:lnTo>
                    <a:pt x="436" y="302"/>
                  </a:lnTo>
                  <a:lnTo>
                    <a:pt x="440" y="302"/>
                  </a:lnTo>
                  <a:lnTo>
                    <a:pt x="436" y="302"/>
                  </a:lnTo>
                  <a:lnTo>
                    <a:pt x="436" y="298"/>
                  </a:lnTo>
                  <a:lnTo>
                    <a:pt x="440" y="298"/>
                  </a:lnTo>
                  <a:lnTo>
                    <a:pt x="440" y="302"/>
                  </a:lnTo>
                  <a:lnTo>
                    <a:pt x="440" y="298"/>
                  </a:lnTo>
                  <a:lnTo>
                    <a:pt x="436" y="298"/>
                  </a:lnTo>
                  <a:lnTo>
                    <a:pt x="432" y="294"/>
                  </a:lnTo>
                  <a:lnTo>
                    <a:pt x="436" y="294"/>
                  </a:lnTo>
                  <a:lnTo>
                    <a:pt x="440" y="294"/>
                  </a:lnTo>
                  <a:lnTo>
                    <a:pt x="436" y="294"/>
                  </a:lnTo>
                  <a:lnTo>
                    <a:pt x="436" y="292"/>
                  </a:lnTo>
                  <a:lnTo>
                    <a:pt x="432" y="292"/>
                  </a:lnTo>
                  <a:lnTo>
                    <a:pt x="428" y="292"/>
                  </a:lnTo>
                  <a:lnTo>
                    <a:pt x="428" y="288"/>
                  </a:lnTo>
                  <a:lnTo>
                    <a:pt x="432" y="288"/>
                  </a:lnTo>
                  <a:lnTo>
                    <a:pt x="436" y="288"/>
                  </a:lnTo>
                  <a:lnTo>
                    <a:pt x="440" y="288"/>
                  </a:lnTo>
                  <a:lnTo>
                    <a:pt x="444" y="292"/>
                  </a:lnTo>
                  <a:lnTo>
                    <a:pt x="448" y="294"/>
                  </a:lnTo>
                  <a:lnTo>
                    <a:pt x="450" y="294"/>
                  </a:lnTo>
                  <a:lnTo>
                    <a:pt x="450" y="298"/>
                  </a:lnTo>
                  <a:lnTo>
                    <a:pt x="454" y="298"/>
                  </a:lnTo>
                  <a:lnTo>
                    <a:pt x="458" y="298"/>
                  </a:lnTo>
                  <a:lnTo>
                    <a:pt x="458" y="302"/>
                  </a:lnTo>
                  <a:lnTo>
                    <a:pt x="458" y="306"/>
                  </a:lnTo>
                  <a:lnTo>
                    <a:pt x="458" y="310"/>
                  </a:lnTo>
                  <a:lnTo>
                    <a:pt x="462" y="310"/>
                  </a:lnTo>
                  <a:lnTo>
                    <a:pt x="462" y="314"/>
                  </a:lnTo>
                  <a:lnTo>
                    <a:pt x="462" y="318"/>
                  </a:lnTo>
                  <a:lnTo>
                    <a:pt x="462" y="322"/>
                  </a:lnTo>
                  <a:lnTo>
                    <a:pt x="466" y="322"/>
                  </a:lnTo>
                  <a:lnTo>
                    <a:pt x="466" y="324"/>
                  </a:lnTo>
                  <a:lnTo>
                    <a:pt x="470" y="324"/>
                  </a:lnTo>
                  <a:lnTo>
                    <a:pt x="470" y="322"/>
                  </a:lnTo>
                  <a:lnTo>
                    <a:pt x="474" y="322"/>
                  </a:lnTo>
                  <a:lnTo>
                    <a:pt x="474" y="318"/>
                  </a:lnTo>
                  <a:lnTo>
                    <a:pt x="478" y="318"/>
                  </a:lnTo>
                  <a:lnTo>
                    <a:pt x="474" y="314"/>
                  </a:lnTo>
                  <a:lnTo>
                    <a:pt x="470" y="314"/>
                  </a:lnTo>
                  <a:lnTo>
                    <a:pt x="474" y="314"/>
                  </a:lnTo>
                  <a:lnTo>
                    <a:pt x="474" y="310"/>
                  </a:lnTo>
                  <a:lnTo>
                    <a:pt x="470" y="310"/>
                  </a:lnTo>
                  <a:lnTo>
                    <a:pt x="470" y="306"/>
                  </a:lnTo>
                  <a:lnTo>
                    <a:pt x="470" y="302"/>
                  </a:lnTo>
                  <a:lnTo>
                    <a:pt x="470" y="298"/>
                  </a:lnTo>
                  <a:lnTo>
                    <a:pt x="466" y="298"/>
                  </a:lnTo>
                  <a:lnTo>
                    <a:pt x="466" y="294"/>
                  </a:lnTo>
                  <a:lnTo>
                    <a:pt x="466" y="292"/>
                  </a:lnTo>
                  <a:lnTo>
                    <a:pt x="466" y="288"/>
                  </a:lnTo>
                  <a:lnTo>
                    <a:pt x="462" y="284"/>
                  </a:lnTo>
                  <a:lnTo>
                    <a:pt x="466" y="284"/>
                  </a:lnTo>
                  <a:lnTo>
                    <a:pt x="470" y="284"/>
                  </a:lnTo>
                  <a:lnTo>
                    <a:pt x="466" y="284"/>
                  </a:lnTo>
                  <a:lnTo>
                    <a:pt x="466" y="280"/>
                  </a:lnTo>
                  <a:lnTo>
                    <a:pt x="470" y="280"/>
                  </a:lnTo>
                  <a:lnTo>
                    <a:pt x="474" y="280"/>
                  </a:lnTo>
                  <a:lnTo>
                    <a:pt x="478" y="280"/>
                  </a:lnTo>
                  <a:lnTo>
                    <a:pt x="478" y="284"/>
                  </a:lnTo>
                  <a:lnTo>
                    <a:pt x="480" y="284"/>
                  </a:lnTo>
                  <a:lnTo>
                    <a:pt x="480" y="280"/>
                  </a:lnTo>
                  <a:lnTo>
                    <a:pt x="484" y="280"/>
                  </a:lnTo>
                  <a:lnTo>
                    <a:pt x="484" y="284"/>
                  </a:lnTo>
                  <a:lnTo>
                    <a:pt x="488" y="284"/>
                  </a:lnTo>
                  <a:lnTo>
                    <a:pt x="492" y="284"/>
                  </a:lnTo>
                  <a:lnTo>
                    <a:pt x="496" y="288"/>
                  </a:lnTo>
                  <a:lnTo>
                    <a:pt x="500" y="288"/>
                  </a:lnTo>
                  <a:lnTo>
                    <a:pt x="500" y="292"/>
                  </a:lnTo>
                  <a:lnTo>
                    <a:pt x="504" y="292"/>
                  </a:lnTo>
                  <a:lnTo>
                    <a:pt x="504" y="294"/>
                  </a:lnTo>
                  <a:lnTo>
                    <a:pt x="504" y="298"/>
                  </a:lnTo>
                  <a:lnTo>
                    <a:pt x="508" y="298"/>
                  </a:lnTo>
                  <a:lnTo>
                    <a:pt x="508" y="302"/>
                  </a:lnTo>
                  <a:lnTo>
                    <a:pt x="504" y="302"/>
                  </a:lnTo>
                  <a:lnTo>
                    <a:pt x="508" y="302"/>
                  </a:lnTo>
                  <a:lnTo>
                    <a:pt x="508" y="306"/>
                  </a:lnTo>
                  <a:lnTo>
                    <a:pt x="508" y="310"/>
                  </a:lnTo>
                  <a:lnTo>
                    <a:pt x="510" y="310"/>
                  </a:lnTo>
                  <a:lnTo>
                    <a:pt x="508" y="310"/>
                  </a:lnTo>
                  <a:lnTo>
                    <a:pt x="508" y="314"/>
                  </a:lnTo>
                  <a:lnTo>
                    <a:pt x="510" y="314"/>
                  </a:lnTo>
                  <a:lnTo>
                    <a:pt x="510" y="318"/>
                  </a:lnTo>
                  <a:lnTo>
                    <a:pt x="514" y="318"/>
                  </a:lnTo>
                  <a:lnTo>
                    <a:pt x="514" y="322"/>
                  </a:lnTo>
                  <a:lnTo>
                    <a:pt x="518" y="324"/>
                  </a:lnTo>
                  <a:lnTo>
                    <a:pt x="518" y="328"/>
                  </a:lnTo>
                  <a:lnTo>
                    <a:pt x="518" y="332"/>
                  </a:lnTo>
                  <a:lnTo>
                    <a:pt x="514" y="332"/>
                  </a:lnTo>
                  <a:lnTo>
                    <a:pt x="518" y="332"/>
                  </a:lnTo>
                  <a:lnTo>
                    <a:pt x="518" y="336"/>
                  </a:lnTo>
                  <a:lnTo>
                    <a:pt x="514" y="336"/>
                  </a:lnTo>
                  <a:lnTo>
                    <a:pt x="514" y="340"/>
                  </a:lnTo>
                  <a:lnTo>
                    <a:pt x="518" y="340"/>
                  </a:lnTo>
                  <a:lnTo>
                    <a:pt x="522" y="344"/>
                  </a:lnTo>
                  <a:lnTo>
                    <a:pt x="522" y="348"/>
                  </a:lnTo>
                  <a:lnTo>
                    <a:pt x="526" y="348"/>
                  </a:lnTo>
                  <a:lnTo>
                    <a:pt x="530" y="350"/>
                  </a:lnTo>
                  <a:lnTo>
                    <a:pt x="534" y="350"/>
                  </a:lnTo>
                  <a:lnTo>
                    <a:pt x="536" y="350"/>
                  </a:lnTo>
                  <a:lnTo>
                    <a:pt x="536" y="354"/>
                  </a:lnTo>
                  <a:lnTo>
                    <a:pt x="536" y="350"/>
                  </a:lnTo>
                  <a:lnTo>
                    <a:pt x="536" y="348"/>
                  </a:lnTo>
                  <a:lnTo>
                    <a:pt x="540" y="350"/>
                  </a:lnTo>
                  <a:lnTo>
                    <a:pt x="540" y="354"/>
                  </a:lnTo>
                  <a:lnTo>
                    <a:pt x="544" y="354"/>
                  </a:lnTo>
                  <a:lnTo>
                    <a:pt x="548" y="354"/>
                  </a:lnTo>
                  <a:lnTo>
                    <a:pt x="548" y="358"/>
                  </a:lnTo>
                  <a:lnTo>
                    <a:pt x="552" y="358"/>
                  </a:lnTo>
                  <a:lnTo>
                    <a:pt x="556" y="358"/>
                  </a:lnTo>
                  <a:lnTo>
                    <a:pt x="556" y="362"/>
                  </a:lnTo>
                  <a:lnTo>
                    <a:pt x="560" y="362"/>
                  </a:lnTo>
                  <a:lnTo>
                    <a:pt x="564" y="362"/>
                  </a:lnTo>
                  <a:lnTo>
                    <a:pt x="566" y="362"/>
                  </a:lnTo>
                  <a:lnTo>
                    <a:pt x="566" y="366"/>
                  </a:lnTo>
                  <a:lnTo>
                    <a:pt x="566" y="370"/>
                  </a:lnTo>
                  <a:lnTo>
                    <a:pt x="566" y="374"/>
                  </a:lnTo>
                  <a:lnTo>
                    <a:pt x="564" y="374"/>
                  </a:lnTo>
                  <a:lnTo>
                    <a:pt x="560" y="374"/>
                  </a:lnTo>
                  <a:lnTo>
                    <a:pt x="560" y="370"/>
                  </a:lnTo>
                  <a:lnTo>
                    <a:pt x="560" y="374"/>
                  </a:lnTo>
                  <a:lnTo>
                    <a:pt x="556" y="374"/>
                  </a:lnTo>
                  <a:lnTo>
                    <a:pt x="552" y="374"/>
                  </a:lnTo>
                  <a:lnTo>
                    <a:pt x="552" y="370"/>
                  </a:lnTo>
                  <a:lnTo>
                    <a:pt x="548" y="370"/>
                  </a:lnTo>
                  <a:lnTo>
                    <a:pt x="544" y="374"/>
                  </a:lnTo>
                  <a:lnTo>
                    <a:pt x="540" y="374"/>
                  </a:lnTo>
                  <a:lnTo>
                    <a:pt x="544" y="374"/>
                  </a:lnTo>
                  <a:lnTo>
                    <a:pt x="544" y="378"/>
                  </a:lnTo>
                  <a:lnTo>
                    <a:pt x="540" y="378"/>
                  </a:lnTo>
                  <a:lnTo>
                    <a:pt x="536" y="378"/>
                  </a:lnTo>
                  <a:lnTo>
                    <a:pt x="534" y="374"/>
                  </a:lnTo>
                  <a:lnTo>
                    <a:pt x="530" y="374"/>
                  </a:lnTo>
                  <a:lnTo>
                    <a:pt x="530" y="378"/>
                  </a:lnTo>
                  <a:lnTo>
                    <a:pt x="534" y="378"/>
                  </a:lnTo>
                  <a:lnTo>
                    <a:pt x="536" y="378"/>
                  </a:lnTo>
                  <a:lnTo>
                    <a:pt x="536" y="380"/>
                  </a:lnTo>
                  <a:lnTo>
                    <a:pt x="536" y="384"/>
                  </a:lnTo>
                  <a:lnTo>
                    <a:pt x="534" y="384"/>
                  </a:lnTo>
                  <a:lnTo>
                    <a:pt x="534" y="388"/>
                  </a:lnTo>
                  <a:lnTo>
                    <a:pt x="536" y="388"/>
                  </a:lnTo>
                  <a:lnTo>
                    <a:pt x="536" y="384"/>
                  </a:lnTo>
                  <a:lnTo>
                    <a:pt x="540" y="380"/>
                  </a:lnTo>
                  <a:lnTo>
                    <a:pt x="544" y="380"/>
                  </a:lnTo>
                  <a:lnTo>
                    <a:pt x="544" y="378"/>
                  </a:lnTo>
                  <a:lnTo>
                    <a:pt x="548" y="378"/>
                  </a:lnTo>
                  <a:lnTo>
                    <a:pt x="552" y="378"/>
                  </a:lnTo>
                  <a:lnTo>
                    <a:pt x="552" y="380"/>
                  </a:lnTo>
                  <a:lnTo>
                    <a:pt x="552" y="384"/>
                  </a:lnTo>
                  <a:lnTo>
                    <a:pt x="548" y="384"/>
                  </a:lnTo>
                  <a:lnTo>
                    <a:pt x="548" y="388"/>
                  </a:lnTo>
                  <a:lnTo>
                    <a:pt x="552" y="388"/>
                  </a:lnTo>
                  <a:lnTo>
                    <a:pt x="552" y="384"/>
                  </a:lnTo>
                  <a:lnTo>
                    <a:pt x="556" y="384"/>
                  </a:lnTo>
                  <a:lnTo>
                    <a:pt x="556" y="388"/>
                  </a:lnTo>
                  <a:lnTo>
                    <a:pt x="556" y="392"/>
                  </a:lnTo>
                  <a:lnTo>
                    <a:pt x="552" y="392"/>
                  </a:lnTo>
                  <a:lnTo>
                    <a:pt x="548" y="392"/>
                  </a:lnTo>
                  <a:lnTo>
                    <a:pt x="544" y="392"/>
                  </a:lnTo>
                  <a:lnTo>
                    <a:pt x="544" y="396"/>
                  </a:lnTo>
                  <a:lnTo>
                    <a:pt x="540" y="396"/>
                  </a:lnTo>
                  <a:lnTo>
                    <a:pt x="536" y="396"/>
                  </a:lnTo>
                  <a:lnTo>
                    <a:pt x="534" y="396"/>
                  </a:lnTo>
                  <a:lnTo>
                    <a:pt x="530" y="396"/>
                  </a:lnTo>
                  <a:lnTo>
                    <a:pt x="526" y="396"/>
                  </a:lnTo>
                  <a:lnTo>
                    <a:pt x="522" y="396"/>
                  </a:lnTo>
                  <a:lnTo>
                    <a:pt x="518" y="392"/>
                  </a:lnTo>
                  <a:lnTo>
                    <a:pt x="514" y="396"/>
                  </a:lnTo>
                  <a:lnTo>
                    <a:pt x="510" y="396"/>
                  </a:lnTo>
                  <a:lnTo>
                    <a:pt x="508" y="392"/>
                  </a:lnTo>
                  <a:lnTo>
                    <a:pt x="510" y="388"/>
                  </a:lnTo>
                  <a:lnTo>
                    <a:pt x="508" y="388"/>
                  </a:lnTo>
                  <a:lnTo>
                    <a:pt x="504" y="388"/>
                  </a:lnTo>
                  <a:lnTo>
                    <a:pt x="500" y="388"/>
                  </a:lnTo>
                  <a:lnTo>
                    <a:pt x="496" y="388"/>
                  </a:lnTo>
                  <a:lnTo>
                    <a:pt x="492" y="388"/>
                  </a:lnTo>
                  <a:lnTo>
                    <a:pt x="488" y="384"/>
                  </a:lnTo>
                  <a:lnTo>
                    <a:pt x="492" y="384"/>
                  </a:lnTo>
                  <a:lnTo>
                    <a:pt x="492" y="380"/>
                  </a:lnTo>
                  <a:lnTo>
                    <a:pt x="488" y="380"/>
                  </a:lnTo>
                  <a:lnTo>
                    <a:pt x="488" y="378"/>
                  </a:lnTo>
                  <a:lnTo>
                    <a:pt x="484" y="378"/>
                  </a:lnTo>
                  <a:lnTo>
                    <a:pt x="484" y="380"/>
                  </a:lnTo>
                  <a:lnTo>
                    <a:pt x="480" y="380"/>
                  </a:lnTo>
                  <a:lnTo>
                    <a:pt x="480" y="384"/>
                  </a:lnTo>
                  <a:lnTo>
                    <a:pt x="480" y="388"/>
                  </a:lnTo>
                  <a:lnTo>
                    <a:pt x="478" y="388"/>
                  </a:lnTo>
                  <a:lnTo>
                    <a:pt x="478" y="392"/>
                  </a:lnTo>
                  <a:lnTo>
                    <a:pt x="474" y="392"/>
                  </a:lnTo>
                  <a:lnTo>
                    <a:pt x="470" y="392"/>
                  </a:lnTo>
                  <a:lnTo>
                    <a:pt x="466" y="392"/>
                  </a:lnTo>
                  <a:lnTo>
                    <a:pt x="462" y="392"/>
                  </a:lnTo>
                  <a:lnTo>
                    <a:pt x="458" y="392"/>
                  </a:lnTo>
                  <a:lnTo>
                    <a:pt x="458" y="396"/>
                  </a:lnTo>
                  <a:lnTo>
                    <a:pt x="454" y="396"/>
                  </a:lnTo>
                  <a:lnTo>
                    <a:pt x="450" y="400"/>
                  </a:lnTo>
                  <a:lnTo>
                    <a:pt x="448" y="400"/>
                  </a:lnTo>
                  <a:lnTo>
                    <a:pt x="444" y="400"/>
                  </a:lnTo>
                  <a:lnTo>
                    <a:pt x="440" y="400"/>
                  </a:lnTo>
                  <a:lnTo>
                    <a:pt x="436" y="400"/>
                  </a:lnTo>
                  <a:lnTo>
                    <a:pt x="432" y="400"/>
                  </a:lnTo>
                  <a:lnTo>
                    <a:pt x="432" y="404"/>
                  </a:lnTo>
                  <a:lnTo>
                    <a:pt x="432" y="400"/>
                  </a:lnTo>
                  <a:lnTo>
                    <a:pt x="428" y="400"/>
                  </a:lnTo>
                  <a:lnTo>
                    <a:pt x="428" y="404"/>
                  </a:lnTo>
                  <a:lnTo>
                    <a:pt x="424" y="404"/>
                  </a:lnTo>
                  <a:lnTo>
                    <a:pt x="424" y="400"/>
                  </a:lnTo>
                  <a:lnTo>
                    <a:pt x="424" y="404"/>
                  </a:lnTo>
                  <a:lnTo>
                    <a:pt x="422" y="404"/>
                  </a:lnTo>
                  <a:lnTo>
                    <a:pt x="418" y="404"/>
                  </a:lnTo>
                  <a:lnTo>
                    <a:pt x="422" y="404"/>
                  </a:lnTo>
                  <a:lnTo>
                    <a:pt x="418" y="404"/>
                  </a:lnTo>
                  <a:lnTo>
                    <a:pt x="414" y="404"/>
                  </a:lnTo>
                  <a:lnTo>
                    <a:pt x="410" y="404"/>
                  </a:lnTo>
                  <a:lnTo>
                    <a:pt x="408" y="404"/>
                  </a:lnTo>
                  <a:lnTo>
                    <a:pt x="404" y="404"/>
                  </a:lnTo>
                  <a:lnTo>
                    <a:pt x="400" y="404"/>
                  </a:lnTo>
                  <a:lnTo>
                    <a:pt x="396" y="404"/>
                  </a:lnTo>
                  <a:lnTo>
                    <a:pt x="392" y="404"/>
                  </a:lnTo>
                  <a:lnTo>
                    <a:pt x="396" y="404"/>
                  </a:lnTo>
                  <a:lnTo>
                    <a:pt x="392" y="404"/>
                  </a:lnTo>
                  <a:lnTo>
                    <a:pt x="392" y="400"/>
                  </a:lnTo>
                  <a:lnTo>
                    <a:pt x="388" y="400"/>
                  </a:lnTo>
                  <a:lnTo>
                    <a:pt x="388" y="396"/>
                  </a:lnTo>
                  <a:lnTo>
                    <a:pt x="388" y="392"/>
                  </a:lnTo>
                  <a:lnTo>
                    <a:pt x="388" y="388"/>
                  </a:lnTo>
                  <a:lnTo>
                    <a:pt x="388" y="384"/>
                  </a:lnTo>
                  <a:lnTo>
                    <a:pt x="388" y="388"/>
                  </a:lnTo>
                  <a:lnTo>
                    <a:pt x="388" y="384"/>
                  </a:lnTo>
                  <a:lnTo>
                    <a:pt x="384" y="384"/>
                  </a:lnTo>
                  <a:lnTo>
                    <a:pt x="378" y="384"/>
                  </a:lnTo>
                  <a:lnTo>
                    <a:pt x="374" y="384"/>
                  </a:lnTo>
                  <a:lnTo>
                    <a:pt x="370" y="384"/>
                  </a:lnTo>
                  <a:lnTo>
                    <a:pt x="366" y="384"/>
                  </a:lnTo>
                  <a:lnTo>
                    <a:pt x="362" y="384"/>
                  </a:lnTo>
                  <a:lnTo>
                    <a:pt x="358" y="384"/>
                  </a:lnTo>
                  <a:lnTo>
                    <a:pt x="354" y="384"/>
                  </a:lnTo>
                  <a:lnTo>
                    <a:pt x="352" y="380"/>
                  </a:lnTo>
                  <a:lnTo>
                    <a:pt x="348" y="380"/>
                  </a:lnTo>
                  <a:lnTo>
                    <a:pt x="344" y="380"/>
                  </a:lnTo>
                  <a:lnTo>
                    <a:pt x="348" y="378"/>
                  </a:lnTo>
                  <a:lnTo>
                    <a:pt x="344" y="378"/>
                  </a:lnTo>
                  <a:lnTo>
                    <a:pt x="340" y="378"/>
                  </a:lnTo>
                  <a:lnTo>
                    <a:pt x="344" y="378"/>
                  </a:lnTo>
                  <a:lnTo>
                    <a:pt x="344" y="374"/>
                  </a:lnTo>
                  <a:lnTo>
                    <a:pt x="340" y="374"/>
                  </a:lnTo>
                  <a:lnTo>
                    <a:pt x="336" y="374"/>
                  </a:lnTo>
                  <a:lnTo>
                    <a:pt x="336" y="370"/>
                  </a:lnTo>
                  <a:lnTo>
                    <a:pt x="336" y="366"/>
                  </a:lnTo>
                  <a:lnTo>
                    <a:pt x="332" y="366"/>
                  </a:lnTo>
                  <a:lnTo>
                    <a:pt x="336" y="366"/>
                  </a:lnTo>
                  <a:lnTo>
                    <a:pt x="336" y="362"/>
                  </a:lnTo>
                  <a:lnTo>
                    <a:pt x="340" y="362"/>
                  </a:lnTo>
                  <a:lnTo>
                    <a:pt x="348" y="362"/>
                  </a:lnTo>
                  <a:lnTo>
                    <a:pt x="352" y="362"/>
                  </a:lnTo>
                  <a:lnTo>
                    <a:pt x="354" y="358"/>
                  </a:lnTo>
                  <a:lnTo>
                    <a:pt x="358" y="358"/>
                  </a:lnTo>
                  <a:lnTo>
                    <a:pt x="362" y="358"/>
                  </a:lnTo>
                  <a:lnTo>
                    <a:pt x="366" y="358"/>
                  </a:lnTo>
                  <a:lnTo>
                    <a:pt x="370" y="358"/>
                  </a:lnTo>
                  <a:lnTo>
                    <a:pt x="374" y="358"/>
                  </a:lnTo>
                  <a:lnTo>
                    <a:pt x="378" y="358"/>
                  </a:lnTo>
                  <a:lnTo>
                    <a:pt x="380" y="358"/>
                  </a:lnTo>
                  <a:lnTo>
                    <a:pt x="384" y="358"/>
                  </a:lnTo>
                  <a:lnTo>
                    <a:pt x="388" y="358"/>
                  </a:lnTo>
                  <a:lnTo>
                    <a:pt x="392" y="358"/>
                  </a:lnTo>
                  <a:lnTo>
                    <a:pt x="396" y="358"/>
                  </a:lnTo>
                  <a:lnTo>
                    <a:pt x="400" y="362"/>
                  </a:lnTo>
                  <a:lnTo>
                    <a:pt x="404" y="362"/>
                  </a:lnTo>
                  <a:lnTo>
                    <a:pt x="404" y="358"/>
                  </a:lnTo>
                  <a:lnTo>
                    <a:pt x="408" y="358"/>
                  </a:lnTo>
                  <a:lnTo>
                    <a:pt x="410" y="358"/>
                  </a:lnTo>
                  <a:lnTo>
                    <a:pt x="414" y="358"/>
                  </a:lnTo>
                  <a:lnTo>
                    <a:pt x="418" y="358"/>
                  </a:lnTo>
                  <a:lnTo>
                    <a:pt x="414" y="354"/>
                  </a:lnTo>
                  <a:lnTo>
                    <a:pt x="414" y="358"/>
                  </a:lnTo>
                  <a:lnTo>
                    <a:pt x="410" y="354"/>
                  </a:lnTo>
                  <a:lnTo>
                    <a:pt x="408" y="354"/>
                  </a:lnTo>
                  <a:lnTo>
                    <a:pt x="404" y="350"/>
                  </a:lnTo>
                  <a:lnTo>
                    <a:pt x="400" y="350"/>
                  </a:lnTo>
                  <a:lnTo>
                    <a:pt x="396" y="350"/>
                  </a:lnTo>
                  <a:lnTo>
                    <a:pt x="392" y="350"/>
                  </a:lnTo>
                  <a:lnTo>
                    <a:pt x="388" y="348"/>
                  </a:lnTo>
                  <a:lnTo>
                    <a:pt x="388" y="350"/>
                  </a:lnTo>
                  <a:lnTo>
                    <a:pt x="388" y="348"/>
                  </a:lnTo>
                  <a:lnTo>
                    <a:pt x="384" y="348"/>
                  </a:lnTo>
                  <a:lnTo>
                    <a:pt x="380" y="348"/>
                  </a:lnTo>
                  <a:lnTo>
                    <a:pt x="378" y="348"/>
                  </a:lnTo>
                  <a:lnTo>
                    <a:pt x="378" y="350"/>
                  </a:lnTo>
                  <a:lnTo>
                    <a:pt x="374" y="350"/>
                  </a:lnTo>
                  <a:lnTo>
                    <a:pt x="370" y="350"/>
                  </a:lnTo>
                  <a:lnTo>
                    <a:pt x="366" y="350"/>
                  </a:lnTo>
                  <a:lnTo>
                    <a:pt x="362" y="350"/>
                  </a:lnTo>
                  <a:lnTo>
                    <a:pt x="354" y="350"/>
                  </a:lnTo>
                  <a:lnTo>
                    <a:pt x="354" y="350"/>
                  </a:lnTo>
                  <a:lnTo>
                    <a:pt x="354" y="350"/>
                  </a:lnTo>
                  <a:close/>
                  <a:moveTo>
                    <a:pt x="626" y="284"/>
                  </a:moveTo>
                  <a:lnTo>
                    <a:pt x="630" y="288"/>
                  </a:lnTo>
                  <a:lnTo>
                    <a:pt x="626" y="288"/>
                  </a:lnTo>
                  <a:lnTo>
                    <a:pt x="626" y="292"/>
                  </a:lnTo>
                  <a:lnTo>
                    <a:pt x="622" y="292"/>
                  </a:lnTo>
                  <a:lnTo>
                    <a:pt x="622" y="288"/>
                  </a:lnTo>
                  <a:lnTo>
                    <a:pt x="620" y="288"/>
                  </a:lnTo>
                  <a:lnTo>
                    <a:pt x="620" y="284"/>
                  </a:lnTo>
                  <a:lnTo>
                    <a:pt x="622" y="284"/>
                  </a:lnTo>
                  <a:lnTo>
                    <a:pt x="626" y="284"/>
                  </a:lnTo>
                  <a:lnTo>
                    <a:pt x="626" y="284"/>
                  </a:lnTo>
                  <a:lnTo>
                    <a:pt x="626" y="284"/>
                  </a:lnTo>
                  <a:close/>
                  <a:moveTo>
                    <a:pt x="626" y="292"/>
                  </a:moveTo>
                  <a:lnTo>
                    <a:pt x="626" y="294"/>
                  </a:lnTo>
                  <a:lnTo>
                    <a:pt x="622" y="294"/>
                  </a:lnTo>
                  <a:lnTo>
                    <a:pt x="622" y="292"/>
                  </a:lnTo>
                  <a:lnTo>
                    <a:pt x="626" y="292"/>
                  </a:lnTo>
                  <a:lnTo>
                    <a:pt x="626" y="292"/>
                  </a:lnTo>
                  <a:lnTo>
                    <a:pt x="626" y="292"/>
                  </a:lnTo>
                  <a:close/>
                  <a:moveTo>
                    <a:pt x="936" y="310"/>
                  </a:moveTo>
                  <a:lnTo>
                    <a:pt x="940" y="310"/>
                  </a:lnTo>
                  <a:lnTo>
                    <a:pt x="936" y="310"/>
                  </a:lnTo>
                  <a:lnTo>
                    <a:pt x="936" y="310"/>
                  </a:lnTo>
                  <a:lnTo>
                    <a:pt x="936" y="310"/>
                  </a:lnTo>
                  <a:close/>
                  <a:moveTo>
                    <a:pt x="958" y="322"/>
                  </a:moveTo>
                  <a:lnTo>
                    <a:pt x="958" y="324"/>
                  </a:lnTo>
                  <a:lnTo>
                    <a:pt x="954" y="324"/>
                  </a:lnTo>
                  <a:lnTo>
                    <a:pt x="958" y="324"/>
                  </a:lnTo>
                  <a:lnTo>
                    <a:pt x="958" y="322"/>
                  </a:lnTo>
                  <a:lnTo>
                    <a:pt x="958" y="322"/>
                  </a:lnTo>
                  <a:lnTo>
                    <a:pt x="958" y="322"/>
                  </a:lnTo>
                  <a:close/>
                  <a:moveTo>
                    <a:pt x="962" y="324"/>
                  </a:moveTo>
                  <a:lnTo>
                    <a:pt x="966" y="324"/>
                  </a:lnTo>
                  <a:lnTo>
                    <a:pt x="966" y="322"/>
                  </a:lnTo>
                  <a:lnTo>
                    <a:pt x="966" y="324"/>
                  </a:lnTo>
                  <a:lnTo>
                    <a:pt x="962" y="324"/>
                  </a:lnTo>
                  <a:lnTo>
                    <a:pt x="962" y="324"/>
                  </a:lnTo>
                  <a:lnTo>
                    <a:pt x="962" y="324"/>
                  </a:lnTo>
                  <a:close/>
                  <a:moveTo>
                    <a:pt x="962" y="332"/>
                  </a:moveTo>
                  <a:lnTo>
                    <a:pt x="958" y="332"/>
                  </a:lnTo>
                  <a:lnTo>
                    <a:pt x="958" y="328"/>
                  </a:lnTo>
                  <a:lnTo>
                    <a:pt x="958" y="324"/>
                  </a:lnTo>
                  <a:lnTo>
                    <a:pt x="962" y="324"/>
                  </a:lnTo>
                  <a:lnTo>
                    <a:pt x="962" y="328"/>
                  </a:lnTo>
                  <a:lnTo>
                    <a:pt x="958" y="328"/>
                  </a:lnTo>
                  <a:lnTo>
                    <a:pt x="962" y="328"/>
                  </a:lnTo>
                  <a:lnTo>
                    <a:pt x="962" y="324"/>
                  </a:lnTo>
                  <a:lnTo>
                    <a:pt x="962" y="328"/>
                  </a:lnTo>
                  <a:lnTo>
                    <a:pt x="966" y="328"/>
                  </a:lnTo>
                  <a:lnTo>
                    <a:pt x="962" y="328"/>
                  </a:lnTo>
                  <a:lnTo>
                    <a:pt x="962" y="332"/>
                  </a:lnTo>
                  <a:lnTo>
                    <a:pt x="962" y="332"/>
                  </a:lnTo>
                  <a:lnTo>
                    <a:pt x="962" y="332"/>
                  </a:lnTo>
                  <a:close/>
                  <a:moveTo>
                    <a:pt x="988" y="336"/>
                  </a:moveTo>
                  <a:lnTo>
                    <a:pt x="988" y="340"/>
                  </a:lnTo>
                  <a:lnTo>
                    <a:pt x="988" y="336"/>
                  </a:lnTo>
                  <a:lnTo>
                    <a:pt x="988" y="336"/>
                  </a:lnTo>
                  <a:lnTo>
                    <a:pt x="988" y="336"/>
                  </a:lnTo>
                  <a:close/>
                  <a:moveTo>
                    <a:pt x="980" y="340"/>
                  </a:moveTo>
                  <a:lnTo>
                    <a:pt x="984" y="340"/>
                  </a:lnTo>
                  <a:lnTo>
                    <a:pt x="984" y="344"/>
                  </a:lnTo>
                  <a:lnTo>
                    <a:pt x="980" y="344"/>
                  </a:lnTo>
                  <a:lnTo>
                    <a:pt x="976" y="344"/>
                  </a:lnTo>
                  <a:lnTo>
                    <a:pt x="974" y="344"/>
                  </a:lnTo>
                  <a:lnTo>
                    <a:pt x="976" y="344"/>
                  </a:lnTo>
                  <a:lnTo>
                    <a:pt x="976" y="340"/>
                  </a:lnTo>
                  <a:lnTo>
                    <a:pt x="980" y="340"/>
                  </a:lnTo>
                  <a:lnTo>
                    <a:pt x="980" y="340"/>
                  </a:lnTo>
                  <a:lnTo>
                    <a:pt x="980" y="340"/>
                  </a:lnTo>
                  <a:close/>
                  <a:moveTo>
                    <a:pt x="574" y="348"/>
                  </a:moveTo>
                  <a:lnTo>
                    <a:pt x="574" y="350"/>
                  </a:lnTo>
                  <a:lnTo>
                    <a:pt x="578" y="350"/>
                  </a:lnTo>
                  <a:lnTo>
                    <a:pt x="578" y="354"/>
                  </a:lnTo>
                  <a:lnTo>
                    <a:pt x="574" y="354"/>
                  </a:lnTo>
                  <a:lnTo>
                    <a:pt x="574" y="350"/>
                  </a:lnTo>
                  <a:lnTo>
                    <a:pt x="570" y="350"/>
                  </a:lnTo>
                  <a:lnTo>
                    <a:pt x="570" y="348"/>
                  </a:lnTo>
                  <a:lnTo>
                    <a:pt x="574" y="348"/>
                  </a:lnTo>
                  <a:lnTo>
                    <a:pt x="574" y="348"/>
                  </a:lnTo>
                  <a:lnTo>
                    <a:pt x="574" y="348"/>
                  </a:lnTo>
                  <a:close/>
                  <a:moveTo>
                    <a:pt x="182" y="350"/>
                  </a:moveTo>
                  <a:lnTo>
                    <a:pt x="180" y="350"/>
                  </a:lnTo>
                  <a:lnTo>
                    <a:pt x="180" y="348"/>
                  </a:lnTo>
                  <a:lnTo>
                    <a:pt x="182" y="350"/>
                  </a:lnTo>
                  <a:lnTo>
                    <a:pt x="182" y="350"/>
                  </a:lnTo>
                  <a:lnTo>
                    <a:pt x="182" y="350"/>
                  </a:lnTo>
                  <a:close/>
                  <a:moveTo>
                    <a:pt x="760" y="362"/>
                  </a:moveTo>
                  <a:lnTo>
                    <a:pt x="764" y="362"/>
                  </a:lnTo>
                  <a:lnTo>
                    <a:pt x="768" y="362"/>
                  </a:lnTo>
                  <a:lnTo>
                    <a:pt x="772" y="362"/>
                  </a:lnTo>
                  <a:lnTo>
                    <a:pt x="772" y="366"/>
                  </a:lnTo>
                  <a:lnTo>
                    <a:pt x="768" y="366"/>
                  </a:lnTo>
                  <a:lnTo>
                    <a:pt x="764" y="366"/>
                  </a:lnTo>
                  <a:lnTo>
                    <a:pt x="760" y="366"/>
                  </a:lnTo>
                  <a:lnTo>
                    <a:pt x="760" y="362"/>
                  </a:lnTo>
                  <a:lnTo>
                    <a:pt x="756" y="362"/>
                  </a:lnTo>
                  <a:lnTo>
                    <a:pt x="760" y="362"/>
                  </a:lnTo>
                  <a:lnTo>
                    <a:pt x="760" y="362"/>
                  </a:lnTo>
                  <a:lnTo>
                    <a:pt x="760" y="362"/>
                  </a:lnTo>
                  <a:close/>
                  <a:moveTo>
                    <a:pt x="638" y="396"/>
                  </a:moveTo>
                  <a:lnTo>
                    <a:pt x="642" y="392"/>
                  </a:lnTo>
                  <a:lnTo>
                    <a:pt x="642" y="396"/>
                  </a:lnTo>
                  <a:lnTo>
                    <a:pt x="646" y="396"/>
                  </a:lnTo>
                  <a:lnTo>
                    <a:pt x="646" y="392"/>
                  </a:lnTo>
                  <a:lnTo>
                    <a:pt x="650" y="396"/>
                  </a:lnTo>
                  <a:lnTo>
                    <a:pt x="646" y="396"/>
                  </a:lnTo>
                  <a:lnTo>
                    <a:pt x="646" y="400"/>
                  </a:lnTo>
                  <a:lnTo>
                    <a:pt x="642" y="400"/>
                  </a:lnTo>
                  <a:lnTo>
                    <a:pt x="642" y="396"/>
                  </a:lnTo>
                  <a:lnTo>
                    <a:pt x="638" y="400"/>
                  </a:lnTo>
                  <a:lnTo>
                    <a:pt x="634" y="404"/>
                  </a:lnTo>
                  <a:lnTo>
                    <a:pt x="630" y="404"/>
                  </a:lnTo>
                  <a:lnTo>
                    <a:pt x="626" y="404"/>
                  </a:lnTo>
                  <a:lnTo>
                    <a:pt x="622" y="404"/>
                  </a:lnTo>
                  <a:lnTo>
                    <a:pt x="620" y="404"/>
                  </a:lnTo>
                  <a:lnTo>
                    <a:pt x="616" y="404"/>
                  </a:lnTo>
                  <a:lnTo>
                    <a:pt x="612" y="400"/>
                  </a:lnTo>
                  <a:lnTo>
                    <a:pt x="608" y="400"/>
                  </a:lnTo>
                  <a:lnTo>
                    <a:pt x="604" y="400"/>
                  </a:lnTo>
                  <a:lnTo>
                    <a:pt x="604" y="396"/>
                  </a:lnTo>
                  <a:lnTo>
                    <a:pt x="600" y="396"/>
                  </a:lnTo>
                  <a:lnTo>
                    <a:pt x="596" y="396"/>
                  </a:lnTo>
                  <a:lnTo>
                    <a:pt x="596" y="392"/>
                  </a:lnTo>
                  <a:lnTo>
                    <a:pt x="592" y="392"/>
                  </a:lnTo>
                  <a:lnTo>
                    <a:pt x="592" y="396"/>
                  </a:lnTo>
                  <a:lnTo>
                    <a:pt x="590" y="396"/>
                  </a:lnTo>
                  <a:lnTo>
                    <a:pt x="590" y="392"/>
                  </a:lnTo>
                  <a:lnTo>
                    <a:pt x="586" y="392"/>
                  </a:lnTo>
                  <a:lnTo>
                    <a:pt x="586" y="388"/>
                  </a:lnTo>
                  <a:lnTo>
                    <a:pt x="590" y="388"/>
                  </a:lnTo>
                  <a:lnTo>
                    <a:pt x="592" y="388"/>
                  </a:lnTo>
                  <a:lnTo>
                    <a:pt x="596" y="388"/>
                  </a:lnTo>
                  <a:lnTo>
                    <a:pt x="596" y="384"/>
                  </a:lnTo>
                  <a:lnTo>
                    <a:pt x="600" y="384"/>
                  </a:lnTo>
                  <a:lnTo>
                    <a:pt x="604" y="384"/>
                  </a:lnTo>
                  <a:lnTo>
                    <a:pt x="600" y="380"/>
                  </a:lnTo>
                  <a:lnTo>
                    <a:pt x="604" y="380"/>
                  </a:lnTo>
                  <a:lnTo>
                    <a:pt x="600" y="378"/>
                  </a:lnTo>
                  <a:lnTo>
                    <a:pt x="604" y="378"/>
                  </a:lnTo>
                  <a:lnTo>
                    <a:pt x="608" y="380"/>
                  </a:lnTo>
                  <a:lnTo>
                    <a:pt x="604" y="378"/>
                  </a:lnTo>
                  <a:lnTo>
                    <a:pt x="604" y="374"/>
                  </a:lnTo>
                  <a:lnTo>
                    <a:pt x="604" y="370"/>
                  </a:lnTo>
                  <a:lnTo>
                    <a:pt x="608" y="370"/>
                  </a:lnTo>
                  <a:lnTo>
                    <a:pt x="612" y="370"/>
                  </a:lnTo>
                  <a:lnTo>
                    <a:pt x="616" y="370"/>
                  </a:lnTo>
                  <a:lnTo>
                    <a:pt x="616" y="374"/>
                  </a:lnTo>
                  <a:lnTo>
                    <a:pt x="620" y="374"/>
                  </a:lnTo>
                  <a:lnTo>
                    <a:pt x="616" y="374"/>
                  </a:lnTo>
                  <a:lnTo>
                    <a:pt x="616" y="378"/>
                  </a:lnTo>
                  <a:lnTo>
                    <a:pt x="620" y="374"/>
                  </a:lnTo>
                  <a:lnTo>
                    <a:pt x="620" y="378"/>
                  </a:lnTo>
                  <a:lnTo>
                    <a:pt x="622" y="378"/>
                  </a:lnTo>
                  <a:lnTo>
                    <a:pt x="626" y="380"/>
                  </a:lnTo>
                  <a:lnTo>
                    <a:pt x="630" y="380"/>
                  </a:lnTo>
                  <a:lnTo>
                    <a:pt x="634" y="380"/>
                  </a:lnTo>
                  <a:lnTo>
                    <a:pt x="634" y="384"/>
                  </a:lnTo>
                  <a:lnTo>
                    <a:pt x="634" y="388"/>
                  </a:lnTo>
                  <a:lnTo>
                    <a:pt x="634" y="392"/>
                  </a:lnTo>
                  <a:lnTo>
                    <a:pt x="634" y="388"/>
                  </a:lnTo>
                  <a:lnTo>
                    <a:pt x="634" y="384"/>
                  </a:lnTo>
                  <a:lnTo>
                    <a:pt x="638" y="384"/>
                  </a:lnTo>
                  <a:lnTo>
                    <a:pt x="638" y="388"/>
                  </a:lnTo>
                  <a:lnTo>
                    <a:pt x="638" y="392"/>
                  </a:lnTo>
                  <a:lnTo>
                    <a:pt x="638" y="396"/>
                  </a:lnTo>
                  <a:lnTo>
                    <a:pt x="638" y="396"/>
                  </a:lnTo>
                  <a:lnTo>
                    <a:pt x="638" y="396"/>
                  </a:lnTo>
                  <a:close/>
                  <a:moveTo>
                    <a:pt x="824" y="370"/>
                  </a:moveTo>
                  <a:lnTo>
                    <a:pt x="828" y="370"/>
                  </a:lnTo>
                  <a:lnTo>
                    <a:pt x="824" y="370"/>
                  </a:lnTo>
                  <a:lnTo>
                    <a:pt x="824" y="370"/>
                  </a:lnTo>
                  <a:lnTo>
                    <a:pt x="824" y="370"/>
                  </a:lnTo>
                  <a:close/>
                  <a:moveTo>
                    <a:pt x="812" y="370"/>
                  </a:moveTo>
                  <a:lnTo>
                    <a:pt x="808" y="374"/>
                  </a:lnTo>
                  <a:lnTo>
                    <a:pt x="812" y="374"/>
                  </a:lnTo>
                  <a:lnTo>
                    <a:pt x="808" y="374"/>
                  </a:lnTo>
                  <a:lnTo>
                    <a:pt x="808" y="370"/>
                  </a:lnTo>
                  <a:lnTo>
                    <a:pt x="812" y="370"/>
                  </a:lnTo>
                  <a:lnTo>
                    <a:pt x="812" y="370"/>
                  </a:lnTo>
                  <a:lnTo>
                    <a:pt x="812" y="370"/>
                  </a:lnTo>
                  <a:close/>
                  <a:moveTo>
                    <a:pt x="864" y="374"/>
                  </a:moveTo>
                  <a:lnTo>
                    <a:pt x="864" y="370"/>
                  </a:lnTo>
                  <a:lnTo>
                    <a:pt x="868" y="370"/>
                  </a:lnTo>
                  <a:lnTo>
                    <a:pt x="872" y="370"/>
                  </a:lnTo>
                  <a:lnTo>
                    <a:pt x="872" y="374"/>
                  </a:lnTo>
                  <a:lnTo>
                    <a:pt x="868" y="374"/>
                  </a:lnTo>
                  <a:lnTo>
                    <a:pt x="868" y="378"/>
                  </a:lnTo>
                  <a:lnTo>
                    <a:pt x="864" y="378"/>
                  </a:lnTo>
                  <a:lnTo>
                    <a:pt x="864" y="374"/>
                  </a:lnTo>
                  <a:lnTo>
                    <a:pt x="862" y="374"/>
                  </a:lnTo>
                  <a:lnTo>
                    <a:pt x="862" y="378"/>
                  </a:lnTo>
                  <a:lnTo>
                    <a:pt x="864" y="378"/>
                  </a:lnTo>
                  <a:lnTo>
                    <a:pt x="862" y="378"/>
                  </a:lnTo>
                  <a:lnTo>
                    <a:pt x="858" y="378"/>
                  </a:lnTo>
                  <a:lnTo>
                    <a:pt x="858" y="374"/>
                  </a:lnTo>
                  <a:lnTo>
                    <a:pt x="854" y="374"/>
                  </a:lnTo>
                  <a:lnTo>
                    <a:pt x="850" y="374"/>
                  </a:lnTo>
                  <a:lnTo>
                    <a:pt x="854" y="374"/>
                  </a:lnTo>
                  <a:lnTo>
                    <a:pt x="858" y="374"/>
                  </a:lnTo>
                  <a:lnTo>
                    <a:pt x="858" y="370"/>
                  </a:lnTo>
                  <a:lnTo>
                    <a:pt x="862" y="370"/>
                  </a:lnTo>
                  <a:lnTo>
                    <a:pt x="862" y="374"/>
                  </a:lnTo>
                  <a:lnTo>
                    <a:pt x="864" y="374"/>
                  </a:lnTo>
                  <a:lnTo>
                    <a:pt x="864" y="374"/>
                  </a:lnTo>
                  <a:lnTo>
                    <a:pt x="864" y="374"/>
                  </a:lnTo>
                  <a:close/>
                  <a:moveTo>
                    <a:pt x="824" y="370"/>
                  </a:moveTo>
                  <a:lnTo>
                    <a:pt x="828" y="370"/>
                  </a:lnTo>
                  <a:lnTo>
                    <a:pt x="828" y="374"/>
                  </a:lnTo>
                  <a:lnTo>
                    <a:pt x="824" y="374"/>
                  </a:lnTo>
                  <a:lnTo>
                    <a:pt x="820" y="370"/>
                  </a:lnTo>
                  <a:lnTo>
                    <a:pt x="824" y="370"/>
                  </a:lnTo>
                  <a:lnTo>
                    <a:pt x="824" y="370"/>
                  </a:lnTo>
                  <a:lnTo>
                    <a:pt x="824" y="370"/>
                  </a:lnTo>
                  <a:close/>
                  <a:moveTo>
                    <a:pt x="888" y="374"/>
                  </a:moveTo>
                  <a:lnTo>
                    <a:pt x="890" y="374"/>
                  </a:lnTo>
                  <a:lnTo>
                    <a:pt x="890" y="378"/>
                  </a:lnTo>
                  <a:lnTo>
                    <a:pt x="888" y="378"/>
                  </a:lnTo>
                  <a:lnTo>
                    <a:pt x="884" y="378"/>
                  </a:lnTo>
                  <a:lnTo>
                    <a:pt x="880" y="378"/>
                  </a:lnTo>
                  <a:lnTo>
                    <a:pt x="880" y="380"/>
                  </a:lnTo>
                  <a:lnTo>
                    <a:pt x="880" y="378"/>
                  </a:lnTo>
                  <a:lnTo>
                    <a:pt x="884" y="378"/>
                  </a:lnTo>
                  <a:lnTo>
                    <a:pt x="884" y="374"/>
                  </a:lnTo>
                  <a:lnTo>
                    <a:pt x="888" y="374"/>
                  </a:lnTo>
                  <a:lnTo>
                    <a:pt x="888" y="374"/>
                  </a:lnTo>
                  <a:lnTo>
                    <a:pt x="888" y="374"/>
                  </a:lnTo>
                  <a:close/>
                  <a:moveTo>
                    <a:pt x="76" y="392"/>
                  </a:moveTo>
                  <a:lnTo>
                    <a:pt x="80" y="392"/>
                  </a:lnTo>
                  <a:lnTo>
                    <a:pt x="76" y="388"/>
                  </a:lnTo>
                  <a:lnTo>
                    <a:pt x="72" y="388"/>
                  </a:lnTo>
                  <a:lnTo>
                    <a:pt x="72" y="384"/>
                  </a:lnTo>
                  <a:lnTo>
                    <a:pt x="76" y="384"/>
                  </a:lnTo>
                  <a:lnTo>
                    <a:pt x="76" y="388"/>
                  </a:lnTo>
                  <a:lnTo>
                    <a:pt x="80" y="388"/>
                  </a:lnTo>
                  <a:lnTo>
                    <a:pt x="76" y="388"/>
                  </a:lnTo>
                  <a:lnTo>
                    <a:pt x="76" y="384"/>
                  </a:lnTo>
                  <a:lnTo>
                    <a:pt x="72" y="384"/>
                  </a:lnTo>
                  <a:lnTo>
                    <a:pt x="76" y="384"/>
                  </a:lnTo>
                  <a:lnTo>
                    <a:pt x="80" y="380"/>
                  </a:lnTo>
                  <a:lnTo>
                    <a:pt x="80" y="384"/>
                  </a:lnTo>
                  <a:lnTo>
                    <a:pt x="82" y="384"/>
                  </a:lnTo>
                  <a:lnTo>
                    <a:pt x="82" y="380"/>
                  </a:lnTo>
                  <a:lnTo>
                    <a:pt x="86" y="378"/>
                  </a:lnTo>
                  <a:lnTo>
                    <a:pt x="90" y="378"/>
                  </a:lnTo>
                  <a:lnTo>
                    <a:pt x="90" y="380"/>
                  </a:lnTo>
                  <a:lnTo>
                    <a:pt x="94" y="380"/>
                  </a:lnTo>
                  <a:lnTo>
                    <a:pt x="94" y="378"/>
                  </a:lnTo>
                  <a:lnTo>
                    <a:pt x="94" y="374"/>
                  </a:lnTo>
                  <a:lnTo>
                    <a:pt x="96" y="374"/>
                  </a:lnTo>
                  <a:lnTo>
                    <a:pt x="96" y="378"/>
                  </a:lnTo>
                  <a:lnTo>
                    <a:pt x="100" y="378"/>
                  </a:lnTo>
                  <a:lnTo>
                    <a:pt x="100" y="380"/>
                  </a:lnTo>
                  <a:lnTo>
                    <a:pt x="96" y="380"/>
                  </a:lnTo>
                  <a:lnTo>
                    <a:pt x="96" y="384"/>
                  </a:lnTo>
                  <a:lnTo>
                    <a:pt x="94" y="384"/>
                  </a:lnTo>
                  <a:lnTo>
                    <a:pt x="94" y="388"/>
                  </a:lnTo>
                  <a:lnTo>
                    <a:pt x="90" y="388"/>
                  </a:lnTo>
                  <a:lnTo>
                    <a:pt x="90" y="392"/>
                  </a:lnTo>
                  <a:lnTo>
                    <a:pt x="94" y="396"/>
                  </a:lnTo>
                  <a:lnTo>
                    <a:pt x="96" y="400"/>
                  </a:lnTo>
                  <a:lnTo>
                    <a:pt x="94" y="400"/>
                  </a:lnTo>
                  <a:lnTo>
                    <a:pt x="90" y="396"/>
                  </a:lnTo>
                  <a:lnTo>
                    <a:pt x="90" y="392"/>
                  </a:lnTo>
                  <a:lnTo>
                    <a:pt x="86" y="392"/>
                  </a:lnTo>
                  <a:lnTo>
                    <a:pt x="82" y="392"/>
                  </a:lnTo>
                  <a:lnTo>
                    <a:pt x="80" y="392"/>
                  </a:lnTo>
                  <a:lnTo>
                    <a:pt x="76" y="392"/>
                  </a:lnTo>
                  <a:lnTo>
                    <a:pt x="72" y="392"/>
                  </a:lnTo>
                  <a:lnTo>
                    <a:pt x="72" y="388"/>
                  </a:lnTo>
                  <a:lnTo>
                    <a:pt x="72" y="392"/>
                  </a:lnTo>
                  <a:lnTo>
                    <a:pt x="76" y="392"/>
                  </a:lnTo>
                  <a:lnTo>
                    <a:pt x="76" y="392"/>
                  </a:lnTo>
                  <a:lnTo>
                    <a:pt x="76" y="392"/>
                  </a:lnTo>
                  <a:close/>
                  <a:moveTo>
                    <a:pt x="1032" y="374"/>
                  </a:moveTo>
                  <a:lnTo>
                    <a:pt x="1036" y="374"/>
                  </a:lnTo>
                  <a:lnTo>
                    <a:pt x="1036" y="378"/>
                  </a:lnTo>
                  <a:lnTo>
                    <a:pt x="1032" y="378"/>
                  </a:lnTo>
                  <a:lnTo>
                    <a:pt x="1030" y="378"/>
                  </a:lnTo>
                  <a:lnTo>
                    <a:pt x="1032" y="374"/>
                  </a:lnTo>
                  <a:lnTo>
                    <a:pt x="1032" y="374"/>
                  </a:lnTo>
                  <a:lnTo>
                    <a:pt x="1032" y="374"/>
                  </a:lnTo>
                  <a:close/>
                  <a:moveTo>
                    <a:pt x="26" y="378"/>
                  </a:moveTo>
                  <a:lnTo>
                    <a:pt x="24" y="378"/>
                  </a:lnTo>
                  <a:lnTo>
                    <a:pt x="26" y="378"/>
                  </a:lnTo>
                  <a:lnTo>
                    <a:pt x="26" y="374"/>
                  </a:lnTo>
                  <a:lnTo>
                    <a:pt x="30" y="378"/>
                  </a:lnTo>
                  <a:lnTo>
                    <a:pt x="26" y="378"/>
                  </a:lnTo>
                  <a:lnTo>
                    <a:pt x="26" y="378"/>
                  </a:lnTo>
                  <a:lnTo>
                    <a:pt x="26" y="378"/>
                  </a:lnTo>
                  <a:close/>
                  <a:moveTo>
                    <a:pt x="646" y="378"/>
                  </a:moveTo>
                  <a:lnTo>
                    <a:pt x="646" y="380"/>
                  </a:lnTo>
                  <a:lnTo>
                    <a:pt x="642" y="384"/>
                  </a:lnTo>
                  <a:lnTo>
                    <a:pt x="642" y="380"/>
                  </a:lnTo>
                  <a:lnTo>
                    <a:pt x="642" y="378"/>
                  </a:lnTo>
                  <a:lnTo>
                    <a:pt x="638" y="378"/>
                  </a:lnTo>
                  <a:lnTo>
                    <a:pt x="638" y="380"/>
                  </a:lnTo>
                  <a:lnTo>
                    <a:pt x="638" y="378"/>
                  </a:lnTo>
                  <a:lnTo>
                    <a:pt x="638" y="374"/>
                  </a:lnTo>
                  <a:lnTo>
                    <a:pt x="642" y="374"/>
                  </a:lnTo>
                  <a:lnTo>
                    <a:pt x="642" y="378"/>
                  </a:lnTo>
                  <a:lnTo>
                    <a:pt x="646" y="378"/>
                  </a:lnTo>
                  <a:lnTo>
                    <a:pt x="646" y="378"/>
                  </a:lnTo>
                  <a:lnTo>
                    <a:pt x="646" y="378"/>
                  </a:lnTo>
                  <a:close/>
                  <a:moveTo>
                    <a:pt x="1040" y="378"/>
                  </a:moveTo>
                  <a:lnTo>
                    <a:pt x="1036" y="378"/>
                  </a:lnTo>
                  <a:lnTo>
                    <a:pt x="1040" y="378"/>
                  </a:lnTo>
                  <a:lnTo>
                    <a:pt x="1044" y="378"/>
                  </a:lnTo>
                  <a:lnTo>
                    <a:pt x="1040" y="378"/>
                  </a:lnTo>
                  <a:lnTo>
                    <a:pt x="1040" y="378"/>
                  </a:lnTo>
                  <a:lnTo>
                    <a:pt x="1040" y="378"/>
                  </a:lnTo>
                  <a:close/>
                  <a:moveTo>
                    <a:pt x="566" y="378"/>
                  </a:moveTo>
                  <a:lnTo>
                    <a:pt x="566" y="380"/>
                  </a:lnTo>
                  <a:lnTo>
                    <a:pt x="564" y="380"/>
                  </a:lnTo>
                  <a:lnTo>
                    <a:pt x="564" y="378"/>
                  </a:lnTo>
                  <a:lnTo>
                    <a:pt x="560" y="378"/>
                  </a:lnTo>
                  <a:lnTo>
                    <a:pt x="564" y="378"/>
                  </a:lnTo>
                  <a:lnTo>
                    <a:pt x="566" y="378"/>
                  </a:lnTo>
                  <a:lnTo>
                    <a:pt x="566" y="378"/>
                  </a:lnTo>
                  <a:lnTo>
                    <a:pt x="566" y="378"/>
                  </a:lnTo>
                  <a:close/>
                  <a:moveTo>
                    <a:pt x="902" y="380"/>
                  </a:moveTo>
                  <a:lnTo>
                    <a:pt x="906" y="380"/>
                  </a:lnTo>
                  <a:lnTo>
                    <a:pt x="910" y="380"/>
                  </a:lnTo>
                  <a:lnTo>
                    <a:pt x="910" y="384"/>
                  </a:lnTo>
                  <a:lnTo>
                    <a:pt x="906" y="384"/>
                  </a:lnTo>
                  <a:lnTo>
                    <a:pt x="906" y="388"/>
                  </a:lnTo>
                  <a:lnTo>
                    <a:pt x="902" y="388"/>
                  </a:lnTo>
                  <a:lnTo>
                    <a:pt x="898" y="384"/>
                  </a:lnTo>
                  <a:lnTo>
                    <a:pt x="898" y="380"/>
                  </a:lnTo>
                  <a:lnTo>
                    <a:pt x="902" y="380"/>
                  </a:lnTo>
                  <a:lnTo>
                    <a:pt x="902" y="380"/>
                  </a:lnTo>
                  <a:lnTo>
                    <a:pt x="902" y="380"/>
                  </a:lnTo>
                  <a:close/>
                  <a:moveTo>
                    <a:pt x="884" y="380"/>
                  </a:moveTo>
                  <a:lnTo>
                    <a:pt x="888" y="380"/>
                  </a:lnTo>
                  <a:lnTo>
                    <a:pt x="888" y="384"/>
                  </a:lnTo>
                  <a:lnTo>
                    <a:pt x="884" y="384"/>
                  </a:lnTo>
                  <a:lnTo>
                    <a:pt x="884" y="388"/>
                  </a:lnTo>
                  <a:lnTo>
                    <a:pt x="880" y="392"/>
                  </a:lnTo>
                  <a:lnTo>
                    <a:pt x="876" y="392"/>
                  </a:lnTo>
                  <a:lnTo>
                    <a:pt x="876" y="396"/>
                  </a:lnTo>
                  <a:lnTo>
                    <a:pt x="872" y="396"/>
                  </a:lnTo>
                  <a:lnTo>
                    <a:pt x="872" y="392"/>
                  </a:lnTo>
                  <a:lnTo>
                    <a:pt x="872" y="388"/>
                  </a:lnTo>
                  <a:lnTo>
                    <a:pt x="876" y="388"/>
                  </a:lnTo>
                  <a:lnTo>
                    <a:pt x="880" y="388"/>
                  </a:lnTo>
                  <a:lnTo>
                    <a:pt x="880" y="384"/>
                  </a:lnTo>
                  <a:lnTo>
                    <a:pt x="880" y="380"/>
                  </a:lnTo>
                  <a:lnTo>
                    <a:pt x="884" y="380"/>
                  </a:lnTo>
                  <a:lnTo>
                    <a:pt x="884" y="380"/>
                  </a:lnTo>
                  <a:lnTo>
                    <a:pt x="884" y="380"/>
                  </a:lnTo>
                  <a:close/>
                  <a:moveTo>
                    <a:pt x="556" y="396"/>
                  </a:moveTo>
                  <a:lnTo>
                    <a:pt x="556" y="400"/>
                  </a:lnTo>
                  <a:lnTo>
                    <a:pt x="556" y="404"/>
                  </a:lnTo>
                  <a:lnTo>
                    <a:pt x="552" y="404"/>
                  </a:lnTo>
                  <a:lnTo>
                    <a:pt x="552" y="400"/>
                  </a:lnTo>
                  <a:lnTo>
                    <a:pt x="548" y="400"/>
                  </a:lnTo>
                  <a:lnTo>
                    <a:pt x="548" y="396"/>
                  </a:lnTo>
                  <a:lnTo>
                    <a:pt x="552" y="396"/>
                  </a:lnTo>
                  <a:lnTo>
                    <a:pt x="556" y="396"/>
                  </a:lnTo>
                  <a:lnTo>
                    <a:pt x="556" y="396"/>
                  </a:lnTo>
                  <a:lnTo>
                    <a:pt x="556" y="396"/>
                  </a:lnTo>
                  <a:close/>
                  <a:moveTo>
                    <a:pt x="932" y="400"/>
                  </a:moveTo>
                  <a:lnTo>
                    <a:pt x="936" y="404"/>
                  </a:lnTo>
                  <a:lnTo>
                    <a:pt x="936" y="408"/>
                  </a:lnTo>
                  <a:lnTo>
                    <a:pt x="932" y="408"/>
                  </a:lnTo>
                  <a:lnTo>
                    <a:pt x="928" y="408"/>
                  </a:lnTo>
                  <a:lnTo>
                    <a:pt x="928" y="404"/>
                  </a:lnTo>
                  <a:lnTo>
                    <a:pt x="928" y="400"/>
                  </a:lnTo>
                  <a:lnTo>
                    <a:pt x="932" y="400"/>
                  </a:lnTo>
                  <a:lnTo>
                    <a:pt x="932" y="400"/>
                  </a:lnTo>
                  <a:lnTo>
                    <a:pt x="932" y="400"/>
                  </a:lnTo>
                  <a:close/>
                  <a:moveTo>
                    <a:pt x="936" y="400"/>
                  </a:moveTo>
                  <a:lnTo>
                    <a:pt x="940" y="400"/>
                  </a:lnTo>
                  <a:lnTo>
                    <a:pt x="940" y="404"/>
                  </a:lnTo>
                  <a:lnTo>
                    <a:pt x="936" y="404"/>
                  </a:lnTo>
                  <a:lnTo>
                    <a:pt x="936" y="400"/>
                  </a:lnTo>
                  <a:lnTo>
                    <a:pt x="936" y="400"/>
                  </a:lnTo>
                  <a:lnTo>
                    <a:pt x="936" y="400"/>
                  </a:lnTo>
                  <a:close/>
                  <a:moveTo>
                    <a:pt x="880" y="408"/>
                  </a:moveTo>
                  <a:lnTo>
                    <a:pt x="880" y="404"/>
                  </a:lnTo>
                  <a:lnTo>
                    <a:pt x="876" y="404"/>
                  </a:lnTo>
                  <a:lnTo>
                    <a:pt x="880" y="404"/>
                  </a:lnTo>
                  <a:lnTo>
                    <a:pt x="880" y="400"/>
                  </a:lnTo>
                  <a:lnTo>
                    <a:pt x="884" y="400"/>
                  </a:lnTo>
                  <a:lnTo>
                    <a:pt x="884" y="404"/>
                  </a:lnTo>
                  <a:lnTo>
                    <a:pt x="880" y="404"/>
                  </a:lnTo>
                  <a:lnTo>
                    <a:pt x="884" y="404"/>
                  </a:lnTo>
                  <a:lnTo>
                    <a:pt x="880" y="404"/>
                  </a:lnTo>
                  <a:lnTo>
                    <a:pt x="880" y="408"/>
                  </a:lnTo>
                  <a:lnTo>
                    <a:pt x="880" y="408"/>
                  </a:lnTo>
                  <a:lnTo>
                    <a:pt x="880" y="408"/>
                  </a:lnTo>
                  <a:close/>
                  <a:moveTo>
                    <a:pt x="514" y="404"/>
                  </a:moveTo>
                  <a:lnTo>
                    <a:pt x="518" y="404"/>
                  </a:lnTo>
                  <a:lnTo>
                    <a:pt x="518" y="408"/>
                  </a:lnTo>
                  <a:lnTo>
                    <a:pt x="514" y="408"/>
                  </a:lnTo>
                  <a:lnTo>
                    <a:pt x="510" y="408"/>
                  </a:lnTo>
                  <a:lnTo>
                    <a:pt x="510" y="404"/>
                  </a:lnTo>
                  <a:lnTo>
                    <a:pt x="508" y="404"/>
                  </a:lnTo>
                  <a:lnTo>
                    <a:pt x="510" y="404"/>
                  </a:lnTo>
                  <a:lnTo>
                    <a:pt x="514" y="404"/>
                  </a:lnTo>
                  <a:lnTo>
                    <a:pt x="514" y="404"/>
                  </a:lnTo>
                  <a:lnTo>
                    <a:pt x="514" y="404"/>
                  </a:lnTo>
                  <a:close/>
                  <a:moveTo>
                    <a:pt x="944" y="404"/>
                  </a:moveTo>
                  <a:lnTo>
                    <a:pt x="944" y="408"/>
                  </a:lnTo>
                  <a:lnTo>
                    <a:pt x="948" y="408"/>
                  </a:lnTo>
                  <a:lnTo>
                    <a:pt x="948" y="410"/>
                  </a:lnTo>
                  <a:lnTo>
                    <a:pt x="944" y="410"/>
                  </a:lnTo>
                  <a:lnTo>
                    <a:pt x="944" y="408"/>
                  </a:lnTo>
                  <a:lnTo>
                    <a:pt x="944" y="404"/>
                  </a:lnTo>
                  <a:lnTo>
                    <a:pt x="944" y="404"/>
                  </a:lnTo>
                  <a:lnTo>
                    <a:pt x="944" y="404"/>
                  </a:lnTo>
                  <a:close/>
                  <a:moveTo>
                    <a:pt x="876" y="408"/>
                  </a:moveTo>
                  <a:lnTo>
                    <a:pt x="880" y="408"/>
                  </a:lnTo>
                  <a:lnTo>
                    <a:pt x="880" y="410"/>
                  </a:lnTo>
                  <a:lnTo>
                    <a:pt x="876" y="410"/>
                  </a:lnTo>
                  <a:lnTo>
                    <a:pt x="872" y="410"/>
                  </a:lnTo>
                  <a:lnTo>
                    <a:pt x="872" y="408"/>
                  </a:lnTo>
                  <a:lnTo>
                    <a:pt x="876" y="408"/>
                  </a:lnTo>
                  <a:lnTo>
                    <a:pt x="876" y="408"/>
                  </a:lnTo>
                  <a:lnTo>
                    <a:pt x="876" y="408"/>
                  </a:lnTo>
                  <a:close/>
                  <a:moveTo>
                    <a:pt x="910" y="436"/>
                  </a:moveTo>
                  <a:lnTo>
                    <a:pt x="906" y="434"/>
                  </a:lnTo>
                  <a:lnTo>
                    <a:pt x="902" y="434"/>
                  </a:lnTo>
                  <a:lnTo>
                    <a:pt x="902" y="430"/>
                  </a:lnTo>
                  <a:lnTo>
                    <a:pt x="902" y="426"/>
                  </a:lnTo>
                  <a:lnTo>
                    <a:pt x="902" y="422"/>
                  </a:lnTo>
                  <a:lnTo>
                    <a:pt x="902" y="418"/>
                  </a:lnTo>
                  <a:lnTo>
                    <a:pt x="906" y="410"/>
                  </a:lnTo>
                  <a:lnTo>
                    <a:pt x="910" y="410"/>
                  </a:lnTo>
                  <a:lnTo>
                    <a:pt x="918" y="408"/>
                  </a:lnTo>
                  <a:lnTo>
                    <a:pt x="920" y="408"/>
                  </a:lnTo>
                  <a:lnTo>
                    <a:pt x="924" y="408"/>
                  </a:lnTo>
                  <a:lnTo>
                    <a:pt x="928" y="410"/>
                  </a:lnTo>
                  <a:lnTo>
                    <a:pt x="932" y="410"/>
                  </a:lnTo>
                  <a:lnTo>
                    <a:pt x="932" y="414"/>
                  </a:lnTo>
                  <a:lnTo>
                    <a:pt x="932" y="418"/>
                  </a:lnTo>
                  <a:lnTo>
                    <a:pt x="932" y="422"/>
                  </a:lnTo>
                  <a:lnTo>
                    <a:pt x="932" y="426"/>
                  </a:lnTo>
                  <a:lnTo>
                    <a:pt x="932" y="430"/>
                  </a:lnTo>
                  <a:lnTo>
                    <a:pt x="928" y="434"/>
                  </a:lnTo>
                  <a:lnTo>
                    <a:pt x="924" y="434"/>
                  </a:lnTo>
                  <a:lnTo>
                    <a:pt x="920" y="434"/>
                  </a:lnTo>
                  <a:lnTo>
                    <a:pt x="918" y="434"/>
                  </a:lnTo>
                  <a:lnTo>
                    <a:pt x="914" y="434"/>
                  </a:lnTo>
                  <a:lnTo>
                    <a:pt x="914" y="436"/>
                  </a:lnTo>
                  <a:lnTo>
                    <a:pt x="910" y="436"/>
                  </a:lnTo>
                  <a:lnTo>
                    <a:pt x="910" y="436"/>
                  </a:lnTo>
                  <a:lnTo>
                    <a:pt x="910" y="436"/>
                  </a:lnTo>
                  <a:close/>
                  <a:moveTo>
                    <a:pt x="772" y="410"/>
                  </a:moveTo>
                  <a:lnTo>
                    <a:pt x="772" y="414"/>
                  </a:lnTo>
                  <a:lnTo>
                    <a:pt x="772" y="418"/>
                  </a:lnTo>
                  <a:lnTo>
                    <a:pt x="772" y="422"/>
                  </a:lnTo>
                  <a:lnTo>
                    <a:pt x="768" y="422"/>
                  </a:lnTo>
                  <a:lnTo>
                    <a:pt x="764" y="422"/>
                  </a:lnTo>
                  <a:lnTo>
                    <a:pt x="764" y="418"/>
                  </a:lnTo>
                  <a:lnTo>
                    <a:pt x="764" y="414"/>
                  </a:lnTo>
                  <a:lnTo>
                    <a:pt x="764" y="410"/>
                  </a:lnTo>
                  <a:lnTo>
                    <a:pt x="768" y="410"/>
                  </a:lnTo>
                  <a:lnTo>
                    <a:pt x="768" y="408"/>
                  </a:lnTo>
                  <a:lnTo>
                    <a:pt x="772" y="410"/>
                  </a:lnTo>
                  <a:lnTo>
                    <a:pt x="772" y="410"/>
                  </a:lnTo>
                  <a:lnTo>
                    <a:pt x="772" y="410"/>
                  </a:lnTo>
                  <a:close/>
                  <a:moveTo>
                    <a:pt x="1066" y="410"/>
                  </a:moveTo>
                  <a:lnTo>
                    <a:pt x="1066" y="414"/>
                  </a:lnTo>
                  <a:lnTo>
                    <a:pt x="1066" y="410"/>
                  </a:lnTo>
                  <a:lnTo>
                    <a:pt x="1066" y="410"/>
                  </a:lnTo>
                  <a:lnTo>
                    <a:pt x="1066" y="410"/>
                  </a:lnTo>
                  <a:close/>
                  <a:moveTo>
                    <a:pt x="950" y="414"/>
                  </a:moveTo>
                  <a:lnTo>
                    <a:pt x="954" y="414"/>
                  </a:lnTo>
                  <a:lnTo>
                    <a:pt x="954" y="418"/>
                  </a:lnTo>
                  <a:lnTo>
                    <a:pt x="958" y="422"/>
                  </a:lnTo>
                  <a:lnTo>
                    <a:pt x="954" y="422"/>
                  </a:lnTo>
                  <a:lnTo>
                    <a:pt x="950" y="422"/>
                  </a:lnTo>
                  <a:lnTo>
                    <a:pt x="948" y="422"/>
                  </a:lnTo>
                  <a:lnTo>
                    <a:pt x="944" y="422"/>
                  </a:lnTo>
                  <a:lnTo>
                    <a:pt x="940" y="422"/>
                  </a:lnTo>
                  <a:lnTo>
                    <a:pt x="940" y="418"/>
                  </a:lnTo>
                  <a:lnTo>
                    <a:pt x="936" y="418"/>
                  </a:lnTo>
                  <a:lnTo>
                    <a:pt x="936" y="414"/>
                  </a:lnTo>
                  <a:lnTo>
                    <a:pt x="940" y="414"/>
                  </a:lnTo>
                  <a:lnTo>
                    <a:pt x="944" y="414"/>
                  </a:lnTo>
                  <a:lnTo>
                    <a:pt x="944" y="410"/>
                  </a:lnTo>
                  <a:lnTo>
                    <a:pt x="944" y="414"/>
                  </a:lnTo>
                  <a:lnTo>
                    <a:pt x="948" y="414"/>
                  </a:lnTo>
                  <a:lnTo>
                    <a:pt x="950" y="414"/>
                  </a:lnTo>
                  <a:lnTo>
                    <a:pt x="950" y="414"/>
                  </a:lnTo>
                  <a:lnTo>
                    <a:pt x="950" y="414"/>
                  </a:lnTo>
                  <a:close/>
                  <a:moveTo>
                    <a:pt x="454" y="418"/>
                  </a:moveTo>
                  <a:lnTo>
                    <a:pt x="450" y="418"/>
                  </a:lnTo>
                  <a:lnTo>
                    <a:pt x="454" y="418"/>
                  </a:lnTo>
                  <a:lnTo>
                    <a:pt x="454" y="418"/>
                  </a:lnTo>
                  <a:lnTo>
                    <a:pt x="454" y="418"/>
                  </a:lnTo>
                  <a:close/>
                  <a:moveTo>
                    <a:pt x="424" y="418"/>
                  </a:moveTo>
                  <a:lnTo>
                    <a:pt x="422" y="418"/>
                  </a:lnTo>
                  <a:lnTo>
                    <a:pt x="424" y="418"/>
                  </a:lnTo>
                  <a:lnTo>
                    <a:pt x="424" y="418"/>
                  </a:lnTo>
                  <a:lnTo>
                    <a:pt x="424" y="418"/>
                  </a:lnTo>
                  <a:close/>
                  <a:moveTo>
                    <a:pt x="462" y="430"/>
                  </a:moveTo>
                  <a:lnTo>
                    <a:pt x="458" y="430"/>
                  </a:lnTo>
                  <a:lnTo>
                    <a:pt x="458" y="426"/>
                  </a:lnTo>
                  <a:lnTo>
                    <a:pt x="462" y="426"/>
                  </a:lnTo>
                  <a:lnTo>
                    <a:pt x="462" y="430"/>
                  </a:lnTo>
                  <a:lnTo>
                    <a:pt x="462" y="430"/>
                  </a:lnTo>
                  <a:lnTo>
                    <a:pt x="462" y="430"/>
                  </a:lnTo>
                  <a:close/>
                  <a:moveTo>
                    <a:pt x="470" y="430"/>
                  </a:moveTo>
                  <a:lnTo>
                    <a:pt x="470" y="434"/>
                  </a:lnTo>
                  <a:lnTo>
                    <a:pt x="466" y="434"/>
                  </a:lnTo>
                  <a:lnTo>
                    <a:pt x="466" y="430"/>
                  </a:lnTo>
                  <a:lnTo>
                    <a:pt x="470" y="430"/>
                  </a:lnTo>
                  <a:lnTo>
                    <a:pt x="470" y="430"/>
                  </a:lnTo>
                  <a:lnTo>
                    <a:pt x="470" y="430"/>
                  </a:lnTo>
                  <a:close/>
                  <a:moveTo>
                    <a:pt x="1104" y="440"/>
                  </a:moveTo>
                  <a:lnTo>
                    <a:pt x="1106" y="440"/>
                  </a:lnTo>
                  <a:lnTo>
                    <a:pt x="1106" y="436"/>
                  </a:lnTo>
                  <a:lnTo>
                    <a:pt x="1110" y="436"/>
                  </a:lnTo>
                  <a:lnTo>
                    <a:pt x="1106" y="436"/>
                  </a:lnTo>
                  <a:lnTo>
                    <a:pt x="1106" y="440"/>
                  </a:lnTo>
                  <a:lnTo>
                    <a:pt x="1104" y="440"/>
                  </a:lnTo>
                  <a:lnTo>
                    <a:pt x="1104" y="440"/>
                  </a:lnTo>
                  <a:lnTo>
                    <a:pt x="1104" y="440"/>
                  </a:lnTo>
                  <a:close/>
                  <a:moveTo>
                    <a:pt x="1048" y="456"/>
                  </a:moveTo>
                  <a:lnTo>
                    <a:pt x="1052" y="456"/>
                  </a:lnTo>
                  <a:lnTo>
                    <a:pt x="1052" y="460"/>
                  </a:lnTo>
                  <a:lnTo>
                    <a:pt x="1048" y="456"/>
                  </a:lnTo>
                  <a:lnTo>
                    <a:pt x="1048" y="456"/>
                  </a:lnTo>
                  <a:lnTo>
                    <a:pt x="1048" y="456"/>
                  </a:lnTo>
                  <a:close/>
                  <a:moveTo>
                    <a:pt x="820" y="460"/>
                  </a:moveTo>
                  <a:lnTo>
                    <a:pt x="816" y="460"/>
                  </a:lnTo>
                  <a:lnTo>
                    <a:pt x="816" y="456"/>
                  </a:lnTo>
                  <a:lnTo>
                    <a:pt x="816" y="460"/>
                  </a:lnTo>
                  <a:lnTo>
                    <a:pt x="820" y="460"/>
                  </a:lnTo>
                  <a:lnTo>
                    <a:pt x="820" y="460"/>
                  </a:lnTo>
                  <a:lnTo>
                    <a:pt x="820" y="460"/>
                  </a:lnTo>
                  <a:close/>
                  <a:moveTo>
                    <a:pt x="808" y="466"/>
                  </a:moveTo>
                  <a:lnTo>
                    <a:pt x="808" y="470"/>
                  </a:lnTo>
                  <a:lnTo>
                    <a:pt x="812" y="470"/>
                  </a:lnTo>
                  <a:lnTo>
                    <a:pt x="816" y="470"/>
                  </a:lnTo>
                  <a:lnTo>
                    <a:pt x="816" y="474"/>
                  </a:lnTo>
                  <a:lnTo>
                    <a:pt x="812" y="474"/>
                  </a:lnTo>
                  <a:lnTo>
                    <a:pt x="808" y="474"/>
                  </a:lnTo>
                  <a:lnTo>
                    <a:pt x="808" y="470"/>
                  </a:lnTo>
                  <a:lnTo>
                    <a:pt x="806" y="470"/>
                  </a:lnTo>
                  <a:lnTo>
                    <a:pt x="806" y="466"/>
                  </a:lnTo>
                  <a:lnTo>
                    <a:pt x="802" y="466"/>
                  </a:lnTo>
                  <a:lnTo>
                    <a:pt x="802" y="464"/>
                  </a:lnTo>
                  <a:lnTo>
                    <a:pt x="798" y="464"/>
                  </a:lnTo>
                  <a:lnTo>
                    <a:pt x="802" y="464"/>
                  </a:lnTo>
                  <a:lnTo>
                    <a:pt x="806" y="464"/>
                  </a:lnTo>
                  <a:lnTo>
                    <a:pt x="808" y="466"/>
                  </a:lnTo>
                  <a:lnTo>
                    <a:pt x="808" y="466"/>
                  </a:lnTo>
                  <a:lnTo>
                    <a:pt x="808" y="466"/>
                  </a:lnTo>
                  <a:close/>
                  <a:moveTo>
                    <a:pt x="794" y="466"/>
                  </a:moveTo>
                  <a:lnTo>
                    <a:pt x="794" y="470"/>
                  </a:lnTo>
                  <a:lnTo>
                    <a:pt x="798" y="470"/>
                  </a:lnTo>
                  <a:lnTo>
                    <a:pt x="798" y="474"/>
                  </a:lnTo>
                  <a:lnTo>
                    <a:pt x="794" y="478"/>
                  </a:lnTo>
                  <a:lnTo>
                    <a:pt x="794" y="474"/>
                  </a:lnTo>
                  <a:lnTo>
                    <a:pt x="790" y="470"/>
                  </a:lnTo>
                  <a:lnTo>
                    <a:pt x="790" y="466"/>
                  </a:lnTo>
                  <a:lnTo>
                    <a:pt x="790" y="464"/>
                  </a:lnTo>
                  <a:lnTo>
                    <a:pt x="794" y="466"/>
                  </a:lnTo>
                  <a:lnTo>
                    <a:pt x="794" y="466"/>
                  </a:lnTo>
                  <a:lnTo>
                    <a:pt x="794" y="466"/>
                  </a:lnTo>
                  <a:close/>
                  <a:moveTo>
                    <a:pt x="772" y="496"/>
                  </a:moveTo>
                  <a:lnTo>
                    <a:pt x="776" y="496"/>
                  </a:lnTo>
                  <a:lnTo>
                    <a:pt x="776" y="494"/>
                  </a:lnTo>
                  <a:lnTo>
                    <a:pt x="776" y="490"/>
                  </a:lnTo>
                  <a:lnTo>
                    <a:pt x="776" y="486"/>
                  </a:lnTo>
                  <a:lnTo>
                    <a:pt x="776" y="482"/>
                  </a:lnTo>
                  <a:lnTo>
                    <a:pt x="776" y="478"/>
                  </a:lnTo>
                  <a:lnTo>
                    <a:pt x="778" y="470"/>
                  </a:lnTo>
                  <a:lnTo>
                    <a:pt x="782" y="470"/>
                  </a:lnTo>
                  <a:lnTo>
                    <a:pt x="782" y="466"/>
                  </a:lnTo>
                  <a:lnTo>
                    <a:pt x="786" y="466"/>
                  </a:lnTo>
                  <a:lnTo>
                    <a:pt x="786" y="470"/>
                  </a:lnTo>
                  <a:lnTo>
                    <a:pt x="782" y="470"/>
                  </a:lnTo>
                  <a:lnTo>
                    <a:pt x="786" y="470"/>
                  </a:lnTo>
                  <a:lnTo>
                    <a:pt x="790" y="470"/>
                  </a:lnTo>
                  <a:lnTo>
                    <a:pt x="790" y="474"/>
                  </a:lnTo>
                  <a:lnTo>
                    <a:pt x="790" y="478"/>
                  </a:lnTo>
                  <a:lnTo>
                    <a:pt x="786" y="474"/>
                  </a:lnTo>
                  <a:lnTo>
                    <a:pt x="786" y="478"/>
                  </a:lnTo>
                  <a:lnTo>
                    <a:pt x="790" y="478"/>
                  </a:lnTo>
                  <a:lnTo>
                    <a:pt x="790" y="482"/>
                  </a:lnTo>
                  <a:lnTo>
                    <a:pt x="794" y="486"/>
                  </a:lnTo>
                  <a:lnTo>
                    <a:pt x="794" y="482"/>
                  </a:lnTo>
                  <a:lnTo>
                    <a:pt x="798" y="478"/>
                  </a:lnTo>
                  <a:lnTo>
                    <a:pt x="802" y="478"/>
                  </a:lnTo>
                  <a:lnTo>
                    <a:pt x="802" y="482"/>
                  </a:lnTo>
                  <a:lnTo>
                    <a:pt x="806" y="482"/>
                  </a:lnTo>
                  <a:lnTo>
                    <a:pt x="802" y="482"/>
                  </a:lnTo>
                  <a:lnTo>
                    <a:pt x="806" y="486"/>
                  </a:lnTo>
                  <a:lnTo>
                    <a:pt x="808" y="486"/>
                  </a:lnTo>
                  <a:lnTo>
                    <a:pt x="812" y="486"/>
                  </a:lnTo>
                  <a:lnTo>
                    <a:pt x="816" y="486"/>
                  </a:lnTo>
                  <a:lnTo>
                    <a:pt x="816" y="490"/>
                  </a:lnTo>
                  <a:lnTo>
                    <a:pt x="820" y="494"/>
                  </a:lnTo>
                  <a:lnTo>
                    <a:pt x="824" y="494"/>
                  </a:lnTo>
                  <a:lnTo>
                    <a:pt x="824" y="496"/>
                  </a:lnTo>
                  <a:lnTo>
                    <a:pt x="828" y="496"/>
                  </a:lnTo>
                  <a:lnTo>
                    <a:pt x="832" y="496"/>
                  </a:lnTo>
                  <a:lnTo>
                    <a:pt x="834" y="496"/>
                  </a:lnTo>
                  <a:lnTo>
                    <a:pt x="834" y="500"/>
                  </a:lnTo>
                  <a:lnTo>
                    <a:pt x="838" y="500"/>
                  </a:lnTo>
                  <a:lnTo>
                    <a:pt x="838" y="504"/>
                  </a:lnTo>
                  <a:lnTo>
                    <a:pt x="838" y="508"/>
                  </a:lnTo>
                  <a:lnTo>
                    <a:pt x="838" y="512"/>
                  </a:lnTo>
                  <a:lnTo>
                    <a:pt x="834" y="512"/>
                  </a:lnTo>
                  <a:lnTo>
                    <a:pt x="834" y="516"/>
                  </a:lnTo>
                  <a:lnTo>
                    <a:pt x="838" y="512"/>
                  </a:lnTo>
                  <a:lnTo>
                    <a:pt x="842" y="512"/>
                  </a:lnTo>
                  <a:lnTo>
                    <a:pt x="846" y="512"/>
                  </a:lnTo>
                  <a:lnTo>
                    <a:pt x="850" y="516"/>
                  </a:lnTo>
                  <a:lnTo>
                    <a:pt x="850" y="512"/>
                  </a:lnTo>
                  <a:lnTo>
                    <a:pt x="854" y="512"/>
                  </a:lnTo>
                  <a:lnTo>
                    <a:pt x="854" y="516"/>
                  </a:lnTo>
                  <a:lnTo>
                    <a:pt x="858" y="516"/>
                  </a:lnTo>
                  <a:lnTo>
                    <a:pt x="854" y="516"/>
                  </a:lnTo>
                  <a:lnTo>
                    <a:pt x="858" y="516"/>
                  </a:lnTo>
                  <a:lnTo>
                    <a:pt x="858" y="520"/>
                  </a:lnTo>
                  <a:lnTo>
                    <a:pt x="862" y="520"/>
                  </a:lnTo>
                  <a:lnTo>
                    <a:pt x="858" y="520"/>
                  </a:lnTo>
                  <a:lnTo>
                    <a:pt x="854" y="522"/>
                  </a:lnTo>
                  <a:lnTo>
                    <a:pt x="850" y="522"/>
                  </a:lnTo>
                  <a:lnTo>
                    <a:pt x="850" y="526"/>
                  </a:lnTo>
                  <a:lnTo>
                    <a:pt x="846" y="526"/>
                  </a:lnTo>
                  <a:lnTo>
                    <a:pt x="842" y="526"/>
                  </a:lnTo>
                  <a:lnTo>
                    <a:pt x="838" y="522"/>
                  </a:lnTo>
                  <a:lnTo>
                    <a:pt x="834" y="522"/>
                  </a:lnTo>
                  <a:lnTo>
                    <a:pt x="834" y="520"/>
                  </a:lnTo>
                  <a:lnTo>
                    <a:pt x="832" y="520"/>
                  </a:lnTo>
                  <a:lnTo>
                    <a:pt x="832" y="522"/>
                  </a:lnTo>
                  <a:lnTo>
                    <a:pt x="828" y="522"/>
                  </a:lnTo>
                  <a:lnTo>
                    <a:pt x="828" y="520"/>
                  </a:lnTo>
                  <a:lnTo>
                    <a:pt x="828" y="516"/>
                  </a:lnTo>
                  <a:lnTo>
                    <a:pt x="824" y="516"/>
                  </a:lnTo>
                  <a:lnTo>
                    <a:pt x="820" y="516"/>
                  </a:lnTo>
                  <a:lnTo>
                    <a:pt x="816" y="512"/>
                  </a:lnTo>
                  <a:lnTo>
                    <a:pt x="820" y="512"/>
                  </a:lnTo>
                  <a:lnTo>
                    <a:pt x="820" y="508"/>
                  </a:lnTo>
                  <a:lnTo>
                    <a:pt x="816" y="508"/>
                  </a:lnTo>
                  <a:lnTo>
                    <a:pt x="816" y="512"/>
                  </a:lnTo>
                  <a:lnTo>
                    <a:pt x="812" y="512"/>
                  </a:lnTo>
                  <a:lnTo>
                    <a:pt x="808" y="512"/>
                  </a:lnTo>
                  <a:lnTo>
                    <a:pt x="808" y="516"/>
                  </a:lnTo>
                  <a:lnTo>
                    <a:pt x="812" y="516"/>
                  </a:lnTo>
                  <a:lnTo>
                    <a:pt x="812" y="520"/>
                  </a:lnTo>
                  <a:lnTo>
                    <a:pt x="808" y="520"/>
                  </a:lnTo>
                  <a:lnTo>
                    <a:pt x="806" y="522"/>
                  </a:lnTo>
                  <a:lnTo>
                    <a:pt x="802" y="522"/>
                  </a:lnTo>
                  <a:lnTo>
                    <a:pt x="802" y="526"/>
                  </a:lnTo>
                  <a:lnTo>
                    <a:pt x="798" y="526"/>
                  </a:lnTo>
                  <a:lnTo>
                    <a:pt x="798" y="530"/>
                  </a:lnTo>
                  <a:lnTo>
                    <a:pt x="794" y="530"/>
                  </a:lnTo>
                  <a:lnTo>
                    <a:pt x="794" y="534"/>
                  </a:lnTo>
                  <a:lnTo>
                    <a:pt x="790" y="534"/>
                  </a:lnTo>
                  <a:lnTo>
                    <a:pt x="786" y="534"/>
                  </a:lnTo>
                  <a:lnTo>
                    <a:pt x="782" y="534"/>
                  </a:lnTo>
                  <a:lnTo>
                    <a:pt x="782" y="530"/>
                  </a:lnTo>
                  <a:lnTo>
                    <a:pt x="782" y="526"/>
                  </a:lnTo>
                  <a:lnTo>
                    <a:pt x="782" y="522"/>
                  </a:lnTo>
                  <a:lnTo>
                    <a:pt x="782" y="520"/>
                  </a:lnTo>
                  <a:lnTo>
                    <a:pt x="778" y="520"/>
                  </a:lnTo>
                  <a:lnTo>
                    <a:pt x="776" y="522"/>
                  </a:lnTo>
                  <a:lnTo>
                    <a:pt x="772" y="522"/>
                  </a:lnTo>
                  <a:lnTo>
                    <a:pt x="768" y="522"/>
                  </a:lnTo>
                  <a:lnTo>
                    <a:pt x="764" y="522"/>
                  </a:lnTo>
                  <a:lnTo>
                    <a:pt x="760" y="522"/>
                  </a:lnTo>
                  <a:lnTo>
                    <a:pt x="760" y="520"/>
                  </a:lnTo>
                  <a:lnTo>
                    <a:pt x="764" y="516"/>
                  </a:lnTo>
                  <a:lnTo>
                    <a:pt x="768" y="516"/>
                  </a:lnTo>
                  <a:lnTo>
                    <a:pt x="772" y="512"/>
                  </a:lnTo>
                  <a:lnTo>
                    <a:pt x="776" y="512"/>
                  </a:lnTo>
                  <a:lnTo>
                    <a:pt x="776" y="508"/>
                  </a:lnTo>
                  <a:lnTo>
                    <a:pt x="772" y="508"/>
                  </a:lnTo>
                  <a:lnTo>
                    <a:pt x="772" y="504"/>
                  </a:lnTo>
                  <a:lnTo>
                    <a:pt x="772" y="500"/>
                  </a:lnTo>
                  <a:lnTo>
                    <a:pt x="772" y="496"/>
                  </a:lnTo>
                  <a:lnTo>
                    <a:pt x="772" y="496"/>
                  </a:lnTo>
                  <a:lnTo>
                    <a:pt x="772" y="496"/>
                  </a:lnTo>
                  <a:close/>
                  <a:moveTo>
                    <a:pt x="816" y="470"/>
                  </a:moveTo>
                  <a:lnTo>
                    <a:pt x="812" y="470"/>
                  </a:lnTo>
                  <a:lnTo>
                    <a:pt x="812" y="466"/>
                  </a:lnTo>
                  <a:lnTo>
                    <a:pt x="816" y="466"/>
                  </a:lnTo>
                  <a:lnTo>
                    <a:pt x="816" y="470"/>
                  </a:lnTo>
                  <a:lnTo>
                    <a:pt x="816" y="470"/>
                  </a:lnTo>
                  <a:lnTo>
                    <a:pt x="816" y="470"/>
                  </a:lnTo>
                  <a:close/>
                  <a:moveTo>
                    <a:pt x="1114" y="470"/>
                  </a:moveTo>
                  <a:lnTo>
                    <a:pt x="1114" y="474"/>
                  </a:lnTo>
                  <a:lnTo>
                    <a:pt x="1114" y="470"/>
                  </a:lnTo>
                  <a:lnTo>
                    <a:pt x="1114" y="474"/>
                  </a:lnTo>
                  <a:lnTo>
                    <a:pt x="1110" y="474"/>
                  </a:lnTo>
                  <a:lnTo>
                    <a:pt x="1110" y="470"/>
                  </a:lnTo>
                  <a:lnTo>
                    <a:pt x="1114" y="470"/>
                  </a:lnTo>
                  <a:lnTo>
                    <a:pt x="1114" y="470"/>
                  </a:lnTo>
                  <a:lnTo>
                    <a:pt x="1114" y="470"/>
                  </a:lnTo>
                  <a:close/>
                  <a:moveTo>
                    <a:pt x="1070" y="496"/>
                  </a:moveTo>
                  <a:lnTo>
                    <a:pt x="1074" y="496"/>
                  </a:lnTo>
                  <a:lnTo>
                    <a:pt x="1070" y="500"/>
                  </a:lnTo>
                  <a:lnTo>
                    <a:pt x="1066" y="500"/>
                  </a:lnTo>
                  <a:lnTo>
                    <a:pt x="1070" y="496"/>
                  </a:lnTo>
                  <a:lnTo>
                    <a:pt x="1070" y="496"/>
                  </a:lnTo>
                  <a:lnTo>
                    <a:pt x="1070" y="496"/>
                  </a:lnTo>
                  <a:close/>
                  <a:moveTo>
                    <a:pt x="894" y="516"/>
                  </a:moveTo>
                  <a:lnTo>
                    <a:pt x="890" y="516"/>
                  </a:lnTo>
                  <a:lnTo>
                    <a:pt x="890" y="512"/>
                  </a:lnTo>
                  <a:lnTo>
                    <a:pt x="894" y="512"/>
                  </a:lnTo>
                  <a:lnTo>
                    <a:pt x="898" y="512"/>
                  </a:lnTo>
                  <a:lnTo>
                    <a:pt x="894" y="516"/>
                  </a:lnTo>
                  <a:lnTo>
                    <a:pt x="894" y="516"/>
                  </a:lnTo>
                  <a:lnTo>
                    <a:pt x="894" y="516"/>
                  </a:lnTo>
                  <a:close/>
                  <a:moveTo>
                    <a:pt x="970" y="520"/>
                  </a:moveTo>
                  <a:lnTo>
                    <a:pt x="970" y="522"/>
                  </a:lnTo>
                  <a:lnTo>
                    <a:pt x="966" y="522"/>
                  </a:lnTo>
                  <a:lnTo>
                    <a:pt x="970" y="520"/>
                  </a:lnTo>
                  <a:lnTo>
                    <a:pt x="970" y="520"/>
                  </a:lnTo>
                  <a:lnTo>
                    <a:pt x="970" y="520"/>
                  </a:lnTo>
                  <a:close/>
                  <a:moveTo>
                    <a:pt x="910" y="526"/>
                  </a:moveTo>
                  <a:lnTo>
                    <a:pt x="914" y="526"/>
                  </a:lnTo>
                  <a:lnTo>
                    <a:pt x="910" y="526"/>
                  </a:lnTo>
                  <a:lnTo>
                    <a:pt x="910" y="530"/>
                  </a:lnTo>
                  <a:lnTo>
                    <a:pt x="906" y="526"/>
                  </a:lnTo>
                  <a:lnTo>
                    <a:pt x="902" y="526"/>
                  </a:lnTo>
                  <a:lnTo>
                    <a:pt x="902" y="522"/>
                  </a:lnTo>
                  <a:lnTo>
                    <a:pt x="898" y="522"/>
                  </a:lnTo>
                  <a:lnTo>
                    <a:pt x="898" y="520"/>
                  </a:lnTo>
                  <a:lnTo>
                    <a:pt x="902" y="522"/>
                  </a:lnTo>
                  <a:lnTo>
                    <a:pt x="906" y="522"/>
                  </a:lnTo>
                  <a:lnTo>
                    <a:pt x="910" y="522"/>
                  </a:lnTo>
                  <a:lnTo>
                    <a:pt x="910" y="526"/>
                  </a:lnTo>
                  <a:lnTo>
                    <a:pt x="910" y="526"/>
                  </a:lnTo>
                  <a:lnTo>
                    <a:pt x="910" y="526"/>
                  </a:lnTo>
                  <a:close/>
                  <a:moveTo>
                    <a:pt x="1084" y="522"/>
                  </a:moveTo>
                  <a:lnTo>
                    <a:pt x="1084" y="526"/>
                  </a:lnTo>
                  <a:lnTo>
                    <a:pt x="1088" y="530"/>
                  </a:lnTo>
                  <a:lnTo>
                    <a:pt x="1084" y="530"/>
                  </a:lnTo>
                  <a:lnTo>
                    <a:pt x="1084" y="526"/>
                  </a:lnTo>
                  <a:lnTo>
                    <a:pt x="1080" y="522"/>
                  </a:lnTo>
                  <a:lnTo>
                    <a:pt x="1084" y="522"/>
                  </a:lnTo>
                  <a:lnTo>
                    <a:pt x="1084" y="522"/>
                  </a:lnTo>
                  <a:lnTo>
                    <a:pt x="1084" y="522"/>
                  </a:lnTo>
                  <a:close/>
                  <a:moveTo>
                    <a:pt x="1076" y="522"/>
                  </a:moveTo>
                  <a:lnTo>
                    <a:pt x="1076" y="526"/>
                  </a:lnTo>
                  <a:lnTo>
                    <a:pt x="1074" y="526"/>
                  </a:lnTo>
                  <a:lnTo>
                    <a:pt x="1074" y="522"/>
                  </a:lnTo>
                  <a:lnTo>
                    <a:pt x="1076" y="522"/>
                  </a:lnTo>
                  <a:lnTo>
                    <a:pt x="1076" y="522"/>
                  </a:lnTo>
                  <a:lnTo>
                    <a:pt x="1076" y="522"/>
                  </a:lnTo>
                  <a:close/>
                  <a:moveTo>
                    <a:pt x="888" y="526"/>
                  </a:moveTo>
                  <a:lnTo>
                    <a:pt x="890" y="526"/>
                  </a:lnTo>
                  <a:lnTo>
                    <a:pt x="894" y="526"/>
                  </a:lnTo>
                  <a:lnTo>
                    <a:pt x="898" y="530"/>
                  </a:lnTo>
                  <a:lnTo>
                    <a:pt x="898" y="534"/>
                  </a:lnTo>
                  <a:lnTo>
                    <a:pt x="894" y="534"/>
                  </a:lnTo>
                  <a:lnTo>
                    <a:pt x="890" y="534"/>
                  </a:lnTo>
                  <a:lnTo>
                    <a:pt x="888" y="530"/>
                  </a:lnTo>
                  <a:lnTo>
                    <a:pt x="884" y="530"/>
                  </a:lnTo>
                  <a:lnTo>
                    <a:pt x="884" y="526"/>
                  </a:lnTo>
                  <a:lnTo>
                    <a:pt x="888" y="526"/>
                  </a:lnTo>
                  <a:lnTo>
                    <a:pt x="888" y="526"/>
                  </a:lnTo>
                  <a:lnTo>
                    <a:pt x="888" y="526"/>
                  </a:lnTo>
                  <a:close/>
                  <a:moveTo>
                    <a:pt x="832" y="538"/>
                  </a:moveTo>
                  <a:lnTo>
                    <a:pt x="834" y="538"/>
                  </a:lnTo>
                  <a:lnTo>
                    <a:pt x="834" y="542"/>
                  </a:lnTo>
                  <a:lnTo>
                    <a:pt x="834" y="546"/>
                  </a:lnTo>
                  <a:lnTo>
                    <a:pt x="832" y="546"/>
                  </a:lnTo>
                  <a:lnTo>
                    <a:pt x="832" y="550"/>
                  </a:lnTo>
                  <a:lnTo>
                    <a:pt x="828" y="550"/>
                  </a:lnTo>
                  <a:lnTo>
                    <a:pt x="828" y="552"/>
                  </a:lnTo>
                  <a:lnTo>
                    <a:pt x="824" y="552"/>
                  </a:lnTo>
                  <a:lnTo>
                    <a:pt x="820" y="556"/>
                  </a:lnTo>
                  <a:lnTo>
                    <a:pt x="816" y="556"/>
                  </a:lnTo>
                  <a:lnTo>
                    <a:pt x="812" y="556"/>
                  </a:lnTo>
                  <a:lnTo>
                    <a:pt x="808" y="556"/>
                  </a:lnTo>
                  <a:lnTo>
                    <a:pt x="808" y="552"/>
                  </a:lnTo>
                  <a:lnTo>
                    <a:pt x="806" y="550"/>
                  </a:lnTo>
                  <a:lnTo>
                    <a:pt x="808" y="550"/>
                  </a:lnTo>
                  <a:lnTo>
                    <a:pt x="812" y="546"/>
                  </a:lnTo>
                  <a:lnTo>
                    <a:pt x="812" y="542"/>
                  </a:lnTo>
                  <a:lnTo>
                    <a:pt x="816" y="538"/>
                  </a:lnTo>
                  <a:lnTo>
                    <a:pt x="816" y="542"/>
                  </a:lnTo>
                  <a:lnTo>
                    <a:pt x="820" y="542"/>
                  </a:lnTo>
                  <a:lnTo>
                    <a:pt x="824" y="542"/>
                  </a:lnTo>
                  <a:lnTo>
                    <a:pt x="824" y="538"/>
                  </a:lnTo>
                  <a:lnTo>
                    <a:pt x="828" y="538"/>
                  </a:lnTo>
                  <a:lnTo>
                    <a:pt x="832" y="538"/>
                  </a:lnTo>
                  <a:lnTo>
                    <a:pt x="832" y="538"/>
                  </a:lnTo>
                  <a:lnTo>
                    <a:pt x="832" y="538"/>
                  </a:lnTo>
                  <a:close/>
                  <a:moveTo>
                    <a:pt x="940" y="542"/>
                  </a:moveTo>
                  <a:lnTo>
                    <a:pt x="944" y="546"/>
                  </a:lnTo>
                  <a:lnTo>
                    <a:pt x="948" y="546"/>
                  </a:lnTo>
                  <a:lnTo>
                    <a:pt x="944" y="546"/>
                  </a:lnTo>
                  <a:lnTo>
                    <a:pt x="940" y="546"/>
                  </a:lnTo>
                  <a:lnTo>
                    <a:pt x="940" y="542"/>
                  </a:lnTo>
                  <a:lnTo>
                    <a:pt x="940" y="542"/>
                  </a:lnTo>
                  <a:lnTo>
                    <a:pt x="940" y="542"/>
                  </a:lnTo>
                  <a:close/>
                  <a:moveTo>
                    <a:pt x="1076" y="546"/>
                  </a:moveTo>
                  <a:lnTo>
                    <a:pt x="1076" y="550"/>
                  </a:lnTo>
                  <a:lnTo>
                    <a:pt x="1074" y="550"/>
                  </a:lnTo>
                  <a:lnTo>
                    <a:pt x="1074" y="546"/>
                  </a:lnTo>
                  <a:lnTo>
                    <a:pt x="1076" y="546"/>
                  </a:lnTo>
                  <a:lnTo>
                    <a:pt x="1076" y="546"/>
                  </a:lnTo>
                  <a:lnTo>
                    <a:pt x="1076" y="546"/>
                  </a:lnTo>
                  <a:close/>
                  <a:moveTo>
                    <a:pt x="1084" y="550"/>
                  </a:moveTo>
                  <a:lnTo>
                    <a:pt x="1080" y="552"/>
                  </a:lnTo>
                  <a:lnTo>
                    <a:pt x="1076" y="552"/>
                  </a:lnTo>
                  <a:lnTo>
                    <a:pt x="1076" y="550"/>
                  </a:lnTo>
                  <a:lnTo>
                    <a:pt x="1074" y="550"/>
                  </a:lnTo>
                  <a:lnTo>
                    <a:pt x="1076" y="550"/>
                  </a:lnTo>
                  <a:lnTo>
                    <a:pt x="1080" y="550"/>
                  </a:lnTo>
                  <a:lnTo>
                    <a:pt x="1084" y="550"/>
                  </a:lnTo>
                  <a:lnTo>
                    <a:pt x="1084" y="550"/>
                  </a:lnTo>
                  <a:lnTo>
                    <a:pt x="1084" y="550"/>
                  </a:lnTo>
                  <a:close/>
                  <a:moveTo>
                    <a:pt x="868" y="564"/>
                  </a:moveTo>
                  <a:lnTo>
                    <a:pt x="868" y="566"/>
                  </a:lnTo>
                  <a:lnTo>
                    <a:pt x="864" y="570"/>
                  </a:lnTo>
                  <a:lnTo>
                    <a:pt x="864" y="566"/>
                  </a:lnTo>
                  <a:lnTo>
                    <a:pt x="862" y="566"/>
                  </a:lnTo>
                  <a:lnTo>
                    <a:pt x="858" y="564"/>
                  </a:lnTo>
                  <a:lnTo>
                    <a:pt x="858" y="560"/>
                  </a:lnTo>
                  <a:lnTo>
                    <a:pt x="858" y="556"/>
                  </a:lnTo>
                  <a:lnTo>
                    <a:pt x="862" y="556"/>
                  </a:lnTo>
                  <a:lnTo>
                    <a:pt x="862" y="552"/>
                  </a:lnTo>
                  <a:lnTo>
                    <a:pt x="864" y="552"/>
                  </a:lnTo>
                  <a:lnTo>
                    <a:pt x="868" y="552"/>
                  </a:lnTo>
                  <a:lnTo>
                    <a:pt x="868" y="550"/>
                  </a:lnTo>
                  <a:lnTo>
                    <a:pt x="868" y="552"/>
                  </a:lnTo>
                  <a:lnTo>
                    <a:pt x="872" y="552"/>
                  </a:lnTo>
                  <a:lnTo>
                    <a:pt x="872" y="556"/>
                  </a:lnTo>
                  <a:lnTo>
                    <a:pt x="872" y="560"/>
                  </a:lnTo>
                  <a:lnTo>
                    <a:pt x="868" y="564"/>
                  </a:lnTo>
                  <a:lnTo>
                    <a:pt x="868" y="564"/>
                  </a:lnTo>
                  <a:lnTo>
                    <a:pt x="868" y="564"/>
                  </a:lnTo>
                  <a:close/>
                  <a:moveTo>
                    <a:pt x="1074" y="564"/>
                  </a:moveTo>
                  <a:lnTo>
                    <a:pt x="1076" y="564"/>
                  </a:lnTo>
                  <a:lnTo>
                    <a:pt x="1076" y="566"/>
                  </a:lnTo>
                  <a:lnTo>
                    <a:pt x="1074" y="564"/>
                  </a:lnTo>
                  <a:lnTo>
                    <a:pt x="1070" y="564"/>
                  </a:lnTo>
                  <a:lnTo>
                    <a:pt x="1074" y="560"/>
                  </a:lnTo>
                  <a:lnTo>
                    <a:pt x="1074" y="564"/>
                  </a:lnTo>
                  <a:lnTo>
                    <a:pt x="1074" y="564"/>
                  </a:lnTo>
                  <a:lnTo>
                    <a:pt x="1074" y="564"/>
                  </a:lnTo>
                  <a:close/>
                  <a:moveTo>
                    <a:pt x="678" y="564"/>
                  </a:moveTo>
                  <a:lnTo>
                    <a:pt x="676" y="564"/>
                  </a:lnTo>
                  <a:lnTo>
                    <a:pt x="678" y="564"/>
                  </a:lnTo>
                  <a:lnTo>
                    <a:pt x="678" y="564"/>
                  </a:lnTo>
                  <a:lnTo>
                    <a:pt x="678" y="564"/>
                  </a:lnTo>
                  <a:close/>
                  <a:moveTo>
                    <a:pt x="1080" y="570"/>
                  </a:moveTo>
                  <a:lnTo>
                    <a:pt x="1076" y="570"/>
                  </a:lnTo>
                  <a:lnTo>
                    <a:pt x="1080" y="570"/>
                  </a:lnTo>
                  <a:lnTo>
                    <a:pt x="1076" y="574"/>
                  </a:lnTo>
                  <a:lnTo>
                    <a:pt x="1074" y="574"/>
                  </a:lnTo>
                  <a:lnTo>
                    <a:pt x="1074" y="570"/>
                  </a:lnTo>
                  <a:lnTo>
                    <a:pt x="1070" y="570"/>
                  </a:lnTo>
                  <a:lnTo>
                    <a:pt x="1066" y="570"/>
                  </a:lnTo>
                  <a:lnTo>
                    <a:pt x="1070" y="566"/>
                  </a:lnTo>
                  <a:lnTo>
                    <a:pt x="1074" y="566"/>
                  </a:lnTo>
                  <a:lnTo>
                    <a:pt x="1076" y="566"/>
                  </a:lnTo>
                  <a:lnTo>
                    <a:pt x="1080" y="570"/>
                  </a:lnTo>
                  <a:lnTo>
                    <a:pt x="1080" y="570"/>
                  </a:lnTo>
                  <a:lnTo>
                    <a:pt x="1080" y="570"/>
                  </a:lnTo>
                  <a:close/>
                  <a:moveTo>
                    <a:pt x="888" y="586"/>
                  </a:moveTo>
                  <a:lnTo>
                    <a:pt x="888" y="590"/>
                  </a:lnTo>
                  <a:lnTo>
                    <a:pt x="884" y="590"/>
                  </a:lnTo>
                  <a:lnTo>
                    <a:pt x="880" y="590"/>
                  </a:lnTo>
                  <a:lnTo>
                    <a:pt x="884" y="590"/>
                  </a:lnTo>
                  <a:lnTo>
                    <a:pt x="884" y="586"/>
                  </a:lnTo>
                  <a:lnTo>
                    <a:pt x="888" y="586"/>
                  </a:lnTo>
                  <a:lnTo>
                    <a:pt x="888" y="586"/>
                  </a:lnTo>
                  <a:lnTo>
                    <a:pt x="888" y="586"/>
                  </a:lnTo>
                  <a:close/>
                  <a:moveTo>
                    <a:pt x="1032" y="594"/>
                  </a:moveTo>
                  <a:lnTo>
                    <a:pt x="1036" y="596"/>
                  </a:lnTo>
                  <a:lnTo>
                    <a:pt x="1032" y="596"/>
                  </a:lnTo>
                  <a:lnTo>
                    <a:pt x="1032" y="600"/>
                  </a:lnTo>
                  <a:lnTo>
                    <a:pt x="1030" y="600"/>
                  </a:lnTo>
                  <a:lnTo>
                    <a:pt x="1026" y="600"/>
                  </a:lnTo>
                  <a:lnTo>
                    <a:pt x="1030" y="600"/>
                  </a:lnTo>
                  <a:lnTo>
                    <a:pt x="1030" y="596"/>
                  </a:lnTo>
                  <a:lnTo>
                    <a:pt x="1030" y="594"/>
                  </a:lnTo>
                  <a:lnTo>
                    <a:pt x="1032" y="594"/>
                  </a:lnTo>
                  <a:lnTo>
                    <a:pt x="1032" y="594"/>
                  </a:lnTo>
                  <a:lnTo>
                    <a:pt x="1032" y="594"/>
                  </a:lnTo>
                  <a:close/>
                  <a:moveTo>
                    <a:pt x="864" y="608"/>
                  </a:moveTo>
                  <a:lnTo>
                    <a:pt x="864" y="612"/>
                  </a:lnTo>
                  <a:lnTo>
                    <a:pt x="862" y="612"/>
                  </a:lnTo>
                  <a:lnTo>
                    <a:pt x="862" y="608"/>
                  </a:lnTo>
                  <a:lnTo>
                    <a:pt x="864" y="608"/>
                  </a:lnTo>
                  <a:lnTo>
                    <a:pt x="864" y="608"/>
                  </a:lnTo>
                  <a:lnTo>
                    <a:pt x="864" y="608"/>
                  </a:lnTo>
                  <a:close/>
                  <a:moveTo>
                    <a:pt x="1014" y="626"/>
                  </a:moveTo>
                  <a:lnTo>
                    <a:pt x="1014" y="630"/>
                  </a:lnTo>
                  <a:lnTo>
                    <a:pt x="1014" y="626"/>
                  </a:lnTo>
                  <a:lnTo>
                    <a:pt x="1014" y="626"/>
                  </a:lnTo>
                  <a:lnTo>
                    <a:pt x="1014" y="626"/>
                  </a:lnTo>
                  <a:close/>
                  <a:moveTo>
                    <a:pt x="1118" y="652"/>
                  </a:moveTo>
                  <a:lnTo>
                    <a:pt x="1118" y="656"/>
                  </a:lnTo>
                  <a:lnTo>
                    <a:pt x="1114" y="656"/>
                  </a:lnTo>
                  <a:lnTo>
                    <a:pt x="1114" y="652"/>
                  </a:lnTo>
                  <a:lnTo>
                    <a:pt x="1118" y="652"/>
                  </a:lnTo>
                  <a:lnTo>
                    <a:pt x="1118" y="652"/>
                  </a:lnTo>
                  <a:lnTo>
                    <a:pt x="1118" y="652"/>
                  </a:lnTo>
                  <a:close/>
                  <a:moveTo>
                    <a:pt x="1122" y="656"/>
                  </a:moveTo>
                  <a:lnTo>
                    <a:pt x="1118" y="656"/>
                  </a:lnTo>
                  <a:lnTo>
                    <a:pt x="1118" y="652"/>
                  </a:lnTo>
                  <a:lnTo>
                    <a:pt x="1122" y="652"/>
                  </a:lnTo>
                  <a:lnTo>
                    <a:pt x="1122" y="656"/>
                  </a:lnTo>
                  <a:lnTo>
                    <a:pt x="1122" y="656"/>
                  </a:lnTo>
                  <a:lnTo>
                    <a:pt x="1122" y="656"/>
                  </a:lnTo>
                  <a:close/>
                  <a:moveTo>
                    <a:pt x="868" y="660"/>
                  </a:moveTo>
                  <a:lnTo>
                    <a:pt x="868" y="664"/>
                  </a:lnTo>
                  <a:lnTo>
                    <a:pt x="864" y="664"/>
                  </a:lnTo>
                  <a:lnTo>
                    <a:pt x="864" y="660"/>
                  </a:lnTo>
                  <a:lnTo>
                    <a:pt x="868" y="660"/>
                  </a:lnTo>
                  <a:lnTo>
                    <a:pt x="868" y="660"/>
                  </a:lnTo>
                  <a:lnTo>
                    <a:pt x="868" y="660"/>
                  </a:lnTo>
                  <a:close/>
                  <a:moveTo>
                    <a:pt x="1122" y="664"/>
                  </a:moveTo>
                  <a:lnTo>
                    <a:pt x="1122" y="668"/>
                  </a:lnTo>
                  <a:lnTo>
                    <a:pt x="1122" y="664"/>
                  </a:lnTo>
                  <a:lnTo>
                    <a:pt x="1122" y="664"/>
                  </a:lnTo>
                  <a:lnTo>
                    <a:pt x="1122" y="664"/>
                  </a:lnTo>
                  <a:close/>
                  <a:moveTo>
                    <a:pt x="1126" y="676"/>
                  </a:moveTo>
                  <a:lnTo>
                    <a:pt x="1126" y="680"/>
                  </a:lnTo>
                  <a:lnTo>
                    <a:pt x="1122" y="680"/>
                  </a:lnTo>
                  <a:lnTo>
                    <a:pt x="1126" y="680"/>
                  </a:lnTo>
                  <a:lnTo>
                    <a:pt x="1126" y="682"/>
                  </a:lnTo>
                  <a:lnTo>
                    <a:pt x="1126" y="680"/>
                  </a:lnTo>
                  <a:lnTo>
                    <a:pt x="1122" y="680"/>
                  </a:lnTo>
                  <a:lnTo>
                    <a:pt x="1122" y="676"/>
                  </a:lnTo>
                  <a:lnTo>
                    <a:pt x="1126" y="676"/>
                  </a:lnTo>
                  <a:lnTo>
                    <a:pt x="1126" y="676"/>
                  </a:lnTo>
                  <a:lnTo>
                    <a:pt x="1126" y="676"/>
                  </a:lnTo>
                  <a:close/>
                  <a:moveTo>
                    <a:pt x="864" y="676"/>
                  </a:moveTo>
                  <a:lnTo>
                    <a:pt x="864" y="680"/>
                  </a:lnTo>
                  <a:lnTo>
                    <a:pt x="864" y="676"/>
                  </a:lnTo>
                  <a:lnTo>
                    <a:pt x="864" y="676"/>
                  </a:lnTo>
                  <a:lnTo>
                    <a:pt x="864" y="676"/>
                  </a:lnTo>
                  <a:close/>
                  <a:moveTo>
                    <a:pt x="868" y="680"/>
                  </a:moveTo>
                  <a:lnTo>
                    <a:pt x="868" y="682"/>
                  </a:lnTo>
                  <a:lnTo>
                    <a:pt x="868" y="680"/>
                  </a:lnTo>
                  <a:lnTo>
                    <a:pt x="868" y="680"/>
                  </a:lnTo>
                  <a:lnTo>
                    <a:pt x="868" y="680"/>
                  </a:lnTo>
                  <a:close/>
                  <a:moveTo>
                    <a:pt x="864" y="702"/>
                  </a:moveTo>
                  <a:lnTo>
                    <a:pt x="864" y="698"/>
                  </a:lnTo>
                  <a:lnTo>
                    <a:pt x="868" y="698"/>
                  </a:lnTo>
                  <a:lnTo>
                    <a:pt x="868" y="694"/>
                  </a:lnTo>
                  <a:lnTo>
                    <a:pt x="864" y="698"/>
                  </a:lnTo>
                  <a:lnTo>
                    <a:pt x="862" y="698"/>
                  </a:lnTo>
                  <a:lnTo>
                    <a:pt x="864" y="698"/>
                  </a:lnTo>
                  <a:lnTo>
                    <a:pt x="864" y="694"/>
                  </a:lnTo>
                  <a:lnTo>
                    <a:pt x="868" y="690"/>
                  </a:lnTo>
                  <a:lnTo>
                    <a:pt x="868" y="686"/>
                  </a:lnTo>
                  <a:lnTo>
                    <a:pt x="868" y="682"/>
                  </a:lnTo>
                  <a:lnTo>
                    <a:pt x="872" y="682"/>
                  </a:lnTo>
                  <a:lnTo>
                    <a:pt x="872" y="686"/>
                  </a:lnTo>
                  <a:lnTo>
                    <a:pt x="868" y="690"/>
                  </a:lnTo>
                  <a:lnTo>
                    <a:pt x="872" y="690"/>
                  </a:lnTo>
                  <a:lnTo>
                    <a:pt x="872" y="686"/>
                  </a:lnTo>
                  <a:lnTo>
                    <a:pt x="872" y="682"/>
                  </a:lnTo>
                  <a:lnTo>
                    <a:pt x="876" y="682"/>
                  </a:lnTo>
                  <a:lnTo>
                    <a:pt x="876" y="686"/>
                  </a:lnTo>
                  <a:lnTo>
                    <a:pt x="880" y="686"/>
                  </a:lnTo>
                  <a:lnTo>
                    <a:pt x="876" y="690"/>
                  </a:lnTo>
                  <a:lnTo>
                    <a:pt x="876" y="694"/>
                  </a:lnTo>
                  <a:lnTo>
                    <a:pt x="876" y="698"/>
                  </a:lnTo>
                  <a:lnTo>
                    <a:pt x="872" y="698"/>
                  </a:lnTo>
                  <a:lnTo>
                    <a:pt x="876" y="698"/>
                  </a:lnTo>
                  <a:lnTo>
                    <a:pt x="876" y="694"/>
                  </a:lnTo>
                  <a:lnTo>
                    <a:pt x="876" y="690"/>
                  </a:lnTo>
                  <a:lnTo>
                    <a:pt x="876" y="686"/>
                  </a:lnTo>
                  <a:lnTo>
                    <a:pt x="876" y="690"/>
                  </a:lnTo>
                  <a:lnTo>
                    <a:pt x="872" y="698"/>
                  </a:lnTo>
                  <a:lnTo>
                    <a:pt x="876" y="694"/>
                  </a:lnTo>
                  <a:lnTo>
                    <a:pt x="876" y="690"/>
                  </a:lnTo>
                  <a:lnTo>
                    <a:pt x="872" y="690"/>
                  </a:lnTo>
                  <a:lnTo>
                    <a:pt x="872" y="694"/>
                  </a:lnTo>
                  <a:lnTo>
                    <a:pt x="872" y="698"/>
                  </a:lnTo>
                  <a:lnTo>
                    <a:pt x="868" y="698"/>
                  </a:lnTo>
                  <a:lnTo>
                    <a:pt x="864" y="702"/>
                  </a:lnTo>
                  <a:lnTo>
                    <a:pt x="864" y="702"/>
                  </a:lnTo>
                  <a:lnTo>
                    <a:pt x="864" y="702"/>
                  </a:lnTo>
                  <a:close/>
                  <a:moveTo>
                    <a:pt x="862" y="690"/>
                  </a:moveTo>
                  <a:lnTo>
                    <a:pt x="864" y="686"/>
                  </a:lnTo>
                  <a:lnTo>
                    <a:pt x="868" y="686"/>
                  </a:lnTo>
                  <a:lnTo>
                    <a:pt x="868" y="682"/>
                  </a:lnTo>
                  <a:lnTo>
                    <a:pt x="868" y="686"/>
                  </a:lnTo>
                  <a:lnTo>
                    <a:pt x="868" y="690"/>
                  </a:lnTo>
                  <a:lnTo>
                    <a:pt x="864" y="690"/>
                  </a:lnTo>
                  <a:lnTo>
                    <a:pt x="862" y="690"/>
                  </a:lnTo>
                  <a:lnTo>
                    <a:pt x="862" y="690"/>
                  </a:lnTo>
                  <a:lnTo>
                    <a:pt x="862" y="690"/>
                  </a:lnTo>
                  <a:close/>
                  <a:moveTo>
                    <a:pt x="876" y="694"/>
                  </a:moveTo>
                  <a:lnTo>
                    <a:pt x="880" y="690"/>
                  </a:lnTo>
                  <a:lnTo>
                    <a:pt x="880" y="686"/>
                  </a:lnTo>
                  <a:lnTo>
                    <a:pt x="884" y="690"/>
                  </a:lnTo>
                  <a:lnTo>
                    <a:pt x="880" y="690"/>
                  </a:lnTo>
                  <a:lnTo>
                    <a:pt x="880" y="694"/>
                  </a:lnTo>
                  <a:lnTo>
                    <a:pt x="876" y="694"/>
                  </a:lnTo>
                  <a:lnTo>
                    <a:pt x="876" y="694"/>
                  </a:lnTo>
                  <a:lnTo>
                    <a:pt x="876" y="694"/>
                  </a:lnTo>
                  <a:close/>
                  <a:moveTo>
                    <a:pt x="1122" y="686"/>
                  </a:moveTo>
                  <a:lnTo>
                    <a:pt x="1126" y="686"/>
                  </a:lnTo>
                  <a:lnTo>
                    <a:pt x="1126" y="690"/>
                  </a:lnTo>
                  <a:lnTo>
                    <a:pt x="1122" y="690"/>
                  </a:lnTo>
                  <a:lnTo>
                    <a:pt x="1122" y="686"/>
                  </a:lnTo>
                  <a:lnTo>
                    <a:pt x="1122" y="686"/>
                  </a:lnTo>
                  <a:lnTo>
                    <a:pt x="1122" y="686"/>
                  </a:lnTo>
                  <a:close/>
                  <a:moveTo>
                    <a:pt x="1130" y="690"/>
                  </a:moveTo>
                  <a:lnTo>
                    <a:pt x="1132" y="694"/>
                  </a:lnTo>
                  <a:lnTo>
                    <a:pt x="1130" y="694"/>
                  </a:lnTo>
                  <a:lnTo>
                    <a:pt x="1130" y="690"/>
                  </a:lnTo>
                  <a:lnTo>
                    <a:pt x="1130" y="690"/>
                  </a:lnTo>
                  <a:lnTo>
                    <a:pt x="1130" y="690"/>
                  </a:lnTo>
                  <a:close/>
                  <a:moveTo>
                    <a:pt x="876" y="694"/>
                  </a:moveTo>
                  <a:lnTo>
                    <a:pt x="876" y="698"/>
                  </a:lnTo>
                  <a:lnTo>
                    <a:pt x="876" y="702"/>
                  </a:lnTo>
                  <a:lnTo>
                    <a:pt x="876" y="698"/>
                  </a:lnTo>
                  <a:lnTo>
                    <a:pt x="876" y="694"/>
                  </a:lnTo>
                  <a:lnTo>
                    <a:pt x="876" y="694"/>
                  </a:lnTo>
                  <a:lnTo>
                    <a:pt x="876" y="694"/>
                  </a:lnTo>
                  <a:close/>
                  <a:moveTo>
                    <a:pt x="152" y="716"/>
                  </a:moveTo>
                  <a:lnTo>
                    <a:pt x="152" y="720"/>
                  </a:lnTo>
                  <a:lnTo>
                    <a:pt x="150" y="724"/>
                  </a:lnTo>
                  <a:lnTo>
                    <a:pt x="150" y="720"/>
                  </a:lnTo>
                  <a:lnTo>
                    <a:pt x="152" y="720"/>
                  </a:lnTo>
                  <a:lnTo>
                    <a:pt x="152" y="716"/>
                  </a:lnTo>
                  <a:lnTo>
                    <a:pt x="152" y="716"/>
                  </a:lnTo>
                  <a:lnTo>
                    <a:pt x="152" y="716"/>
                  </a:lnTo>
                  <a:close/>
                  <a:moveTo>
                    <a:pt x="876" y="720"/>
                  </a:moveTo>
                  <a:lnTo>
                    <a:pt x="872" y="720"/>
                  </a:lnTo>
                  <a:lnTo>
                    <a:pt x="868" y="720"/>
                  </a:lnTo>
                  <a:lnTo>
                    <a:pt x="864" y="724"/>
                  </a:lnTo>
                  <a:lnTo>
                    <a:pt x="864" y="720"/>
                  </a:lnTo>
                  <a:lnTo>
                    <a:pt x="868" y="720"/>
                  </a:lnTo>
                  <a:lnTo>
                    <a:pt x="872" y="720"/>
                  </a:lnTo>
                  <a:lnTo>
                    <a:pt x="876" y="720"/>
                  </a:lnTo>
                  <a:lnTo>
                    <a:pt x="876" y="720"/>
                  </a:lnTo>
                  <a:lnTo>
                    <a:pt x="876" y="720"/>
                  </a:lnTo>
                  <a:close/>
                  <a:moveTo>
                    <a:pt x="146" y="724"/>
                  </a:moveTo>
                  <a:lnTo>
                    <a:pt x="146" y="728"/>
                  </a:lnTo>
                  <a:lnTo>
                    <a:pt x="142" y="728"/>
                  </a:lnTo>
                  <a:lnTo>
                    <a:pt x="142" y="724"/>
                  </a:lnTo>
                  <a:lnTo>
                    <a:pt x="146" y="724"/>
                  </a:lnTo>
                  <a:lnTo>
                    <a:pt x="146" y="724"/>
                  </a:lnTo>
                  <a:lnTo>
                    <a:pt x="146" y="724"/>
                  </a:lnTo>
                  <a:close/>
                  <a:moveTo>
                    <a:pt x="112" y="746"/>
                  </a:moveTo>
                  <a:lnTo>
                    <a:pt x="112" y="742"/>
                  </a:lnTo>
                  <a:lnTo>
                    <a:pt x="112" y="738"/>
                  </a:lnTo>
                  <a:lnTo>
                    <a:pt x="112" y="736"/>
                  </a:lnTo>
                  <a:lnTo>
                    <a:pt x="116" y="736"/>
                  </a:lnTo>
                  <a:lnTo>
                    <a:pt x="120" y="736"/>
                  </a:lnTo>
                  <a:lnTo>
                    <a:pt x="120" y="738"/>
                  </a:lnTo>
                  <a:lnTo>
                    <a:pt x="116" y="738"/>
                  </a:lnTo>
                  <a:lnTo>
                    <a:pt x="120" y="738"/>
                  </a:lnTo>
                  <a:lnTo>
                    <a:pt x="124" y="736"/>
                  </a:lnTo>
                  <a:lnTo>
                    <a:pt x="124" y="738"/>
                  </a:lnTo>
                  <a:lnTo>
                    <a:pt x="126" y="738"/>
                  </a:lnTo>
                  <a:lnTo>
                    <a:pt x="126" y="742"/>
                  </a:lnTo>
                  <a:lnTo>
                    <a:pt x="124" y="742"/>
                  </a:lnTo>
                  <a:lnTo>
                    <a:pt x="120" y="746"/>
                  </a:lnTo>
                  <a:lnTo>
                    <a:pt x="124" y="746"/>
                  </a:lnTo>
                  <a:lnTo>
                    <a:pt x="126" y="742"/>
                  </a:lnTo>
                  <a:lnTo>
                    <a:pt x="126" y="738"/>
                  </a:lnTo>
                  <a:lnTo>
                    <a:pt x="130" y="738"/>
                  </a:lnTo>
                  <a:lnTo>
                    <a:pt x="130" y="736"/>
                  </a:lnTo>
                  <a:lnTo>
                    <a:pt x="130" y="738"/>
                  </a:lnTo>
                  <a:lnTo>
                    <a:pt x="130" y="742"/>
                  </a:lnTo>
                  <a:lnTo>
                    <a:pt x="126" y="746"/>
                  </a:lnTo>
                  <a:lnTo>
                    <a:pt x="126" y="750"/>
                  </a:lnTo>
                  <a:lnTo>
                    <a:pt x="126" y="754"/>
                  </a:lnTo>
                  <a:lnTo>
                    <a:pt x="124" y="754"/>
                  </a:lnTo>
                  <a:lnTo>
                    <a:pt x="124" y="758"/>
                  </a:lnTo>
                  <a:lnTo>
                    <a:pt x="126" y="758"/>
                  </a:lnTo>
                  <a:lnTo>
                    <a:pt x="124" y="758"/>
                  </a:lnTo>
                  <a:lnTo>
                    <a:pt x="120" y="758"/>
                  </a:lnTo>
                  <a:lnTo>
                    <a:pt x="120" y="754"/>
                  </a:lnTo>
                  <a:lnTo>
                    <a:pt x="116" y="754"/>
                  </a:lnTo>
                  <a:lnTo>
                    <a:pt x="120" y="754"/>
                  </a:lnTo>
                  <a:lnTo>
                    <a:pt x="124" y="754"/>
                  </a:lnTo>
                  <a:lnTo>
                    <a:pt x="120" y="750"/>
                  </a:lnTo>
                  <a:lnTo>
                    <a:pt x="116" y="750"/>
                  </a:lnTo>
                  <a:lnTo>
                    <a:pt x="112" y="750"/>
                  </a:lnTo>
                  <a:lnTo>
                    <a:pt x="112" y="746"/>
                  </a:lnTo>
                  <a:lnTo>
                    <a:pt x="116" y="746"/>
                  </a:lnTo>
                  <a:lnTo>
                    <a:pt x="112" y="746"/>
                  </a:lnTo>
                  <a:lnTo>
                    <a:pt x="112" y="746"/>
                  </a:lnTo>
                  <a:lnTo>
                    <a:pt x="112" y="746"/>
                  </a:lnTo>
                  <a:close/>
                  <a:moveTo>
                    <a:pt x="150" y="738"/>
                  </a:moveTo>
                  <a:lnTo>
                    <a:pt x="152" y="738"/>
                  </a:lnTo>
                  <a:lnTo>
                    <a:pt x="150" y="742"/>
                  </a:lnTo>
                  <a:lnTo>
                    <a:pt x="150" y="738"/>
                  </a:lnTo>
                  <a:lnTo>
                    <a:pt x="150" y="742"/>
                  </a:lnTo>
                  <a:lnTo>
                    <a:pt x="150" y="738"/>
                  </a:lnTo>
                  <a:lnTo>
                    <a:pt x="146" y="738"/>
                  </a:lnTo>
                  <a:lnTo>
                    <a:pt x="146" y="742"/>
                  </a:lnTo>
                  <a:lnTo>
                    <a:pt x="146" y="738"/>
                  </a:lnTo>
                  <a:lnTo>
                    <a:pt x="150" y="738"/>
                  </a:lnTo>
                  <a:lnTo>
                    <a:pt x="150" y="736"/>
                  </a:lnTo>
                  <a:lnTo>
                    <a:pt x="150" y="738"/>
                  </a:lnTo>
                  <a:lnTo>
                    <a:pt x="150" y="738"/>
                  </a:lnTo>
                  <a:lnTo>
                    <a:pt x="150" y="738"/>
                  </a:lnTo>
                  <a:close/>
                  <a:moveTo>
                    <a:pt x="152" y="742"/>
                  </a:moveTo>
                  <a:lnTo>
                    <a:pt x="152" y="746"/>
                  </a:lnTo>
                  <a:lnTo>
                    <a:pt x="152" y="750"/>
                  </a:lnTo>
                  <a:lnTo>
                    <a:pt x="152" y="746"/>
                  </a:lnTo>
                  <a:lnTo>
                    <a:pt x="150" y="746"/>
                  </a:lnTo>
                  <a:lnTo>
                    <a:pt x="152" y="742"/>
                  </a:lnTo>
                  <a:lnTo>
                    <a:pt x="152" y="742"/>
                  </a:lnTo>
                  <a:lnTo>
                    <a:pt x="152" y="742"/>
                  </a:lnTo>
                  <a:close/>
                  <a:moveTo>
                    <a:pt x="172" y="746"/>
                  </a:moveTo>
                  <a:lnTo>
                    <a:pt x="168" y="746"/>
                  </a:lnTo>
                  <a:lnTo>
                    <a:pt x="168" y="750"/>
                  </a:lnTo>
                  <a:lnTo>
                    <a:pt x="168" y="754"/>
                  </a:lnTo>
                  <a:lnTo>
                    <a:pt x="168" y="746"/>
                  </a:lnTo>
                  <a:lnTo>
                    <a:pt x="172" y="746"/>
                  </a:lnTo>
                  <a:lnTo>
                    <a:pt x="172" y="746"/>
                  </a:lnTo>
                  <a:lnTo>
                    <a:pt x="172" y="746"/>
                  </a:lnTo>
                  <a:close/>
                  <a:moveTo>
                    <a:pt x="150" y="746"/>
                  </a:moveTo>
                  <a:lnTo>
                    <a:pt x="152" y="746"/>
                  </a:lnTo>
                  <a:lnTo>
                    <a:pt x="152" y="750"/>
                  </a:lnTo>
                  <a:lnTo>
                    <a:pt x="156" y="750"/>
                  </a:lnTo>
                  <a:lnTo>
                    <a:pt x="156" y="754"/>
                  </a:lnTo>
                  <a:lnTo>
                    <a:pt x="160" y="758"/>
                  </a:lnTo>
                  <a:lnTo>
                    <a:pt x="156" y="758"/>
                  </a:lnTo>
                  <a:lnTo>
                    <a:pt x="152" y="754"/>
                  </a:lnTo>
                  <a:lnTo>
                    <a:pt x="150" y="754"/>
                  </a:lnTo>
                  <a:lnTo>
                    <a:pt x="150" y="750"/>
                  </a:lnTo>
                  <a:lnTo>
                    <a:pt x="150" y="746"/>
                  </a:lnTo>
                  <a:lnTo>
                    <a:pt x="150" y="746"/>
                  </a:lnTo>
                  <a:lnTo>
                    <a:pt x="150" y="746"/>
                  </a:lnTo>
                  <a:close/>
                  <a:moveTo>
                    <a:pt x="172" y="750"/>
                  </a:moveTo>
                  <a:lnTo>
                    <a:pt x="172" y="754"/>
                  </a:lnTo>
                  <a:lnTo>
                    <a:pt x="168" y="754"/>
                  </a:lnTo>
                  <a:lnTo>
                    <a:pt x="168" y="750"/>
                  </a:lnTo>
                  <a:lnTo>
                    <a:pt x="172" y="750"/>
                  </a:lnTo>
                  <a:lnTo>
                    <a:pt x="172" y="750"/>
                  </a:lnTo>
                  <a:lnTo>
                    <a:pt x="172" y="750"/>
                  </a:lnTo>
                  <a:close/>
                  <a:moveTo>
                    <a:pt x="864" y="754"/>
                  </a:moveTo>
                  <a:lnTo>
                    <a:pt x="862" y="754"/>
                  </a:lnTo>
                  <a:lnTo>
                    <a:pt x="864" y="754"/>
                  </a:lnTo>
                  <a:lnTo>
                    <a:pt x="864" y="754"/>
                  </a:lnTo>
                  <a:lnTo>
                    <a:pt x="864" y="754"/>
                  </a:lnTo>
                  <a:close/>
                  <a:moveTo>
                    <a:pt x="168" y="754"/>
                  </a:moveTo>
                  <a:lnTo>
                    <a:pt x="168" y="758"/>
                  </a:lnTo>
                  <a:lnTo>
                    <a:pt x="164" y="758"/>
                  </a:lnTo>
                  <a:lnTo>
                    <a:pt x="164" y="754"/>
                  </a:lnTo>
                  <a:lnTo>
                    <a:pt x="168" y="754"/>
                  </a:lnTo>
                  <a:lnTo>
                    <a:pt x="168" y="754"/>
                  </a:lnTo>
                  <a:lnTo>
                    <a:pt x="168" y="754"/>
                  </a:lnTo>
                  <a:close/>
                  <a:moveTo>
                    <a:pt x="846" y="758"/>
                  </a:moveTo>
                  <a:lnTo>
                    <a:pt x="850" y="758"/>
                  </a:lnTo>
                  <a:lnTo>
                    <a:pt x="850" y="762"/>
                  </a:lnTo>
                  <a:lnTo>
                    <a:pt x="854" y="766"/>
                  </a:lnTo>
                  <a:lnTo>
                    <a:pt x="854" y="768"/>
                  </a:lnTo>
                  <a:lnTo>
                    <a:pt x="854" y="766"/>
                  </a:lnTo>
                  <a:lnTo>
                    <a:pt x="850" y="766"/>
                  </a:lnTo>
                  <a:lnTo>
                    <a:pt x="846" y="766"/>
                  </a:lnTo>
                  <a:lnTo>
                    <a:pt x="842" y="766"/>
                  </a:lnTo>
                  <a:lnTo>
                    <a:pt x="838" y="762"/>
                  </a:lnTo>
                  <a:lnTo>
                    <a:pt x="834" y="762"/>
                  </a:lnTo>
                  <a:lnTo>
                    <a:pt x="834" y="758"/>
                  </a:lnTo>
                  <a:lnTo>
                    <a:pt x="838" y="758"/>
                  </a:lnTo>
                  <a:lnTo>
                    <a:pt x="842" y="758"/>
                  </a:lnTo>
                  <a:lnTo>
                    <a:pt x="842" y="754"/>
                  </a:lnTo>
                  <a:lnTo>
                    <a:pt x="842" y="758"/>
                  </a:lnTo>
                  <a:lnTo>
                    <a:pt x="846" y="758"/>
                  </a:lnTo>
                  <a:lnTo>
                    <a:pt x="846" y="758"/>
                  </a:lnTo>
                  <a:lnTo>
                    <a:pt x="846" y="758"/>
                  </a:lnTo>
                  <a:close/>
                  <a:moveTo>
                    <a:pt x="164" y="758"/>
                  </a:moveTo>
                  <a:lnTo>
                    <a:pt x="164" y="762"/>
                  </a:lnTo>
                  <a:lnTo>
                    <a:pt x="164" y="758"/>
                  </a:lnTo>
                  <a:lnTo>
                    <a:pt x="160" y="758"/>
                  </a:lnTo>
                  <a:lnTo>
                    <a:pt x="164" y="758"/>
                  </a:lnTo>
                  <a:lnTo>
                    <a:pt x="164" y="758"/>
                  </a:lnTo>
                  <a:lnTo>
                    <a:pt x="164" y="758"/>
                  </a:lnTo>
                  <a:close/>
                  <a:moveTo>
                    <a:pt x="168" y="766"/>
                  </a:moveTo>
                  <a:lnTo>
                    <a:pt x="172" y="768"/>
                  </a:lnTo>
                  <a:lnTo>
                    <a:pt x="172" y="772"/>
                  </a:lnTo>
                  <a:lnTo>
                    <a:pt x="168" y="768"/>
                  </a:lnTo>
                  <a:lnTo>
                    <a:pt x="164" y="766"/>
                  </a:lnTo>
                  <a:lnTo>
                    <a:pt x="168" y="766"/>
                  </a:lnTo>
                  <a:lnTo>
                    <a:pt x="168" y="766"/>
                  </a:lnTo>
                  <a:lnTo>
                    <a:pt x="168" y="766"/>
                  </a:lnTo>
                  <a:close/>
                  <a:moveTo>
                    <a:pt x="182" y="766"/>
                  </a:moveTo>
                  <a:lnTo>
                    <a:pt x="180" y="766"/>
                  </a:lnTo>
                  <a:lnTo>
                    <a:pt x="180" y="768"/>
                  </a:lnTo>
                  <a:lnTo>
                    <a:pt x="180" y="766"/>
                  </a:lnTo>
                  <a:lnTo>
                    <a:pt x="182" y="766"/>
                  </a:lnTo>
                  <a:lnTo>
                    <a:pt x="182" y="766"/>
                  </a:lnTo>
                  <a:lnTo>
                    <a:pt x="182" y="766"/>
                  </a:lnTo>
                  <a:close/>
                  <a:moveTo>
                    <a:pt x="180" y="766"/>
                  </a:moveTo>
                  <a:lnTo>
                    <a:pt x="180" y="768"/>
                  </a:lnTo>
                  <a:lnTo>
                    <a:pt x="180" y="772"/>
                  </a:lnTo>
                  <a:lnTo>
                    <a:pt x="176" y="772"/>
                  </a:lnTo>
                  <a:lnTo>
                    <a:pt x="180" y="768"/>
                  </a:lnTo>
                  <a:lnTo>
                    <a:pt x="180" y="766"/>
                  </a:lnTo>
                  <a:lnTo>
                    <a:pt x="180" y="766"/>
                  </a:lnTo>
                  <a:lnTo>
                    <a:pt x="180" y="766"/>
                  </a:lnTo>
                  <a:close/>
                  <a:moveTo>
                    <a:pt x="134" y="766"/>
                  </a:moveTo>
                  <a:lnTo>
                    <a:pt x="134" y="768"/>
                  </a:lnTo>
                  <a:lnTo>
                    <a:pt x="130" y="766"/>
                  </a:lnTo>
                  <a:lnTo>
                    <a:pt x="134" y="766"/>
                  </a:lnTo>
                  <a:lnTo>
                    <a:pt x="134" y="766"/>
                  </a:lnTo>
                  <a:lnTo>
                    <a:pt x="134" y="766"/>
                  </a:lnTo>
                  <a:close/>
                  <a:moveTo>
                    <a:pt x="176" y="768"/>
                  </a:moveTo>
                  <a:lnTo>
                    <a:pt x="176" y="772"/>
                  </a:lnTo>
                  <a:lnTo>
                    <a:pt x="172" y="772"/>
                  </a:lnTo>
                  <a:lnTo>
                    <a:pt x="172" y="768"/>
                  </a:lnTo>
                  <a:lnTo>
                    <a:pt x="176" y="768"/>
                  </a:lnTo>
                  <a:lnTo>
                    <a:pt x="176" y="768"/>
                  </a:lnTo>
                  <a:lnTo>
                    <a:pt x="176" y="768"/>
                  </a:lnTo>
                  <a:close/>
                  <a:moveTo>
                    <a:pt x="176" y="772"/>
                  </a:moveTo>
                  <a:lnTo>
                    <a:pt x="176" y="776"/>
                  </a:lnTo>
                  <a:lnTo>
                    <a:pt x="172" y="772"/>
                  </a:lnTo>
                  <a:lnTo>
                    <a:pt x="176" y="772"/>
                  </a:lnTo>
                  <a:lnTo>
                    <a:pt x="176" y="772"/>
                  </a:lnTo>
                  <a:lnTo>
                    <a:pt x="176" y="772"/>
                  </a:lnTo>
                  <a:close/>
                  <a:moveTo>
                    <a:pt x="190" y="780"/>
                  </a:moveTo>
                  <a:lnTo>
                    <a:pt x="186" y="780"/>
                  </a:lnTo>
                  <a:lnTo>
                    <a:pt x="186" y="784"/>
                  </a:lnTo>
                  <a:lnTo>
                    <a:pt x="186" y="780"/>
                  </a:lnTo>
                  <a:lnTo>
                    <a:pt x="186" y="776"/>
                  </a:lnTo>
                  <a:lnTo>
                    <a:pt x="190" y="776"/>
                  </a:lnTo>
                  <a:lnTo>
                    <a:pt x="190" y="772"/>
                  </a:lnTo>
                  <a:lnTo>
                    <a:pt x="194" y="772"/>
                  </a:lnTo>
                  <a:lnTo>
                    <a:pt x="194" y="776"/>
                  </a:lnTo>
                  <a:lnTo>
                    <a:pt x="190" y="776"/>
                  </a:lnTo>
                  <a:lnTo>
                    <a:pt x="190" y="780"/>
                  </a:lnTo>
                  <a:lnTo>
                    <a:pt x="190" y="780"/>
                  </a:lnTo>
                  <a:lnTo>
                    <a:pt x="190" y="780"/>
                  </a:lnTo>
                  <a:close/>
                  <a:moveTo>
                    <a:pt x="182" y="772"/>
                  </a:moveTo>
                  <a:lnTo>
                    <a:pt x="182" y="776"/>
                  </a:lnTo>
                  <a:lnTo>
                    <a:pt x="180" y="776"/>
                  </a:lnTo>
                  <a:lnTo>
                    <a:pt x="182" y="776"/>
                  </a:lnTo>
                  <a:lnTo>
                    <a:pt x="182" y="772"/>
                  </a:lnTo>
                  <a:lnTo>
                    <a:pt x="182" y="772"/>
                  </a:lnTo>
                  <a:lnTo>
                    <a:pt x="182" y="772"/>
                  </a:lnTo>
                  <a:close/>
                  <a:moveTo>
                    <a:pt x="142" y="780"/>
                  </a:moveTo>
                  <a:lnTo>
                    <a:pt x="142" y="784"/>
                  </a:lnTo>
                  <a:lnTo>
                    <a:pt x="138" y="780"/>
                  </a:lnTo>
                  <a:lnTo>
                    <a:pt x="142" y="780"/>
                  </a:lnTo>
                  <a:lnTo>
                    <a:pt x="142" y="780"/>
                  </a:lnTo>
                  <a:lnTo>
                    <a:pt x="142" y="780"/>
                  </a:lnTo>
                  <a:close/>
                  <a:moveTo>
                    <a:pt x="872" y="780"/>
                  </a:moveTo>
                  <a:lnTo>
                    <a:pt x="872" y="784"/>
                  </a:lnTo>
                  <a:lnTo>
                    <a:pt x="868" y="784"/>
                  </a:lnTo>
                  <a:lnTo>
                    <a:pt x="868" y="780"/>
                  </a:lnTo>
                  <a:lnTo>
                    <a:pt x="872" y="780"/>
                  </a:lnTo>
                  <a:lnTo>
                    <a:pt x="872" y="780"/>
                  </a:lnTo>
                  <a:lnTo>
                    <a:pt x="872" y="780"/>
                  </a:lnTo>
                  <a:close/>
                  <a:moveTo>
                    <a:pt x="182" y="788"/>
                  </a:moveTo>
                  <a:lnTo>
                    <a:pt x="182" y="792"/>
                  </a:lnTo>
                  <a:lnTo>
                    <a:pt x="186" y="792"/>
                  </a:lnTo>
                  <a:lnTo>
                    <a:pt x="186" y="794"/>
                  </a:lnTo>
                  <a:lnTo>
                    <a:pt x="182" y="794"/>
                  </a:lnTo>
                  <a:lnTo>
                    <a:pt x="182" y="792"/>
                  </a:lnTo>
                  <a:lnTo>
                    <a:pt x="182" y="788"/>
                  </a:lnTo>
                  <a:lnTo>
                    <a:pt x="182" y="788"/>
                  </a:lnTo>
                  <a:lnTo>
                    <a:pt x="182" y="788"/>
                  </a:lnTo>
                  <a:close/>
                  <a:moveTo>
                    <a:pt x="1188" y="874"/>
                  </a:moveTo>
                  <a:lnTo>
                    <a:pt x="1186" y="874"/>
                  </a:lnTo>
                  <a:lnTo>
                    <a:pt x="1182" y="874"/>
                  </a:lnTo>
                  <a:lnTo>
                    <a:pt x="1178" y="874"/>
                  </a:lnTo>
                  <a:lnTo>
                    <a:pt x="1174" y="874"/>
                  </a:lnTo>
                  <a:lnTo>
                    <a:pt x="1174" y="870"/>
                  </a:lnTo>
                  <a:lnTo>
                    <a:pt x="1170" y="874"/>
                  </a:lnTo>
                  <a:lnTo>
                    <a:pt x="1162" y="874"/>
                  </a:lnTo>
                  <a:lnTo>
                    <a:pt x="1160" y="874"/>
                  </a:lnTo>
                  <a:lnTo>
                    <a:pt x="1156" y="874"/>
                  </a:lnTo>
                  <a:lnTo>
                    <a:pt x="1156" y="870"/>
                  </a:lnTo>
                  <a:lnTo>
                    <a:pt x="1156" y="866"/>
                  </a:lnTo>
                  <a:lnTo>
                    <a:pt x="1160" y="862"/>
                  </a:lnTo>
                  <a:lnTo>
                    <a:pt x="1162" y="858"/>
                  </a:lnTo>
                  <a:lnTo>
                    <a:pt x="1166" y="854"/>
                  </a:lnTo>
                  <a:lnTo>
                    <a:pt x="1166" y="858"/>
                  </a:lnTo>
                  <a:lnTo>
                    <a:pt x="1166" y="854"/>
                  </a:lnTo>
                  <a:lnTo>
                    <a:pt x="1162" y="854"/>
                  </a:lnTo>
                  <a:lnTo>
                    <a:pt x="1160" y="854"/>
                  </a:lnTo>
                  <a:lnTo>
                    <a:pt x="1156" y="854"/>
                  </a:lnTo>
                  <a:lnTo>
                    <a:pt x="1160" y="852"/>
                  </a:lnTo>
                  <a:lnTo>
                    <a:pt x="1162" y="852"/>
                  </a:lnTo>
                  <a:lnTo>
                    <a:pt x="1160" y="852"/>
                  </a:lnTo>
                  <a:lnTo>
                    <a:pt x="1162" y="854"/>
                  </a:lnTo>
                  <a:lnTo>
                    <a:pt x="1162" y="852"/>
                  </a:lnTo>
                  <a:lnTo>
                    <a:pt x="1166" y="848"/>
                  </a:lnTo>
                  <a:lnTo>
                    <a:pt x="1166" y="844"/>
                  </a:lnTo>
                  <a:lnTo>
                    <a:pt x="1170" y="840"/>
                  </a:lnTo>
                  <a:lnTo>
                    <a:pt x="1170" y="844"/>
                  </a:lnTo>
                  <a:lnTo>
                    <a:pt x="1174" y="844"/>
                  </a:lnTo>
                  <a:lnTo>
                    <a:pt x="1174" y="848"/>
                  </a:lnTo>
                  <a:lnTo>
                    <a:pt x="1174" y="844"/>
                  </a:lnTo>
                  <a:lnTo>
                    <a:pt x="1170" y="844"/>
                  </a:lnTo>
                  <a:lnTo>
                    <a:pt x="1174" y="844"/>
                  </a:lnTo>
                  <a:lnTo>
                    <a:pt x="1174" y="840"/>
                  </a:lnTo>
                  <a:lnTo>
                    <a:pt x="1170" y="840"/>
                  </a:lnTo>
                  <a:lnTo>
                    <a:pt x="1170" y="836"/>
                  </a:lnTo>
                  <a:lnTo>
                    <a:pt x="1174" y="832"/>
                  </a:lnTo>
                  <a:lnTo>
                    <a:pt x="1178" y="836"/>
                  </a:lnTo>
                  <a:lnTo>
                    <a:pt x="1174" y="832"/>
                  </a:lnTo>
                  <a:lnTo>
                    <a:pt x="1174" y="828"/>
                  </a:lnTo>
                  <a:lnTo>
                    <a:pt x="1178" y="828"/>
                  </a:lnTo>
                  <a:lnTo>
                    <a:pt x="1178" y="822"/>
                  </a:lnTo>
                  <a:lnTo>
                    <a:pt x="1182" y="818"/>
                  </a:lnTo>
                  <a:lnTo>
                    <a:pt x="1182" y="814"/>
                  </a:lnTo>
                  <a:lnTo>
                    <a:pt x="1182" y="810"/>
                  </a:lnTo>
                  <a:lnTo>
                    <a:pt x="1186" y="810"/>
                  </a:lnTo>
                  <a:lnTo>
                    <a:pt x="1182" y="810"/>
                  </a:lnTo>
                  <a:lnTo>
                    <a:pt x="1186" y="810"/>
                  </a:lnTo>
                  <a:lnTo>
                    <a:pt x="1186" y="806"/>
                  </a:lnTo>
                  <a:lnTo>
                    <a:pt x="1188" y="806"/>
                  </a:lnTo>
                  <a:lnTo>
                    <a:pt x="1188" y="802"/>
                  </a:lnTo>
                  <a:lnTo>
                    <a:pt x="1188" y="798"/>
                  </a:lnTo>
                  <a:lnTo>
                    <a:pt x="1192" y="794"/>
                  </a:lnTo>
                  <a:lnTo>
                    <a:pt x="1196" y="794"/>
                  </a:lnTo>
                  <a:lnTo>
                    <a:pt x="1196" y="792"/>
                  </a:lnTo>
                  <a:lnTo>
                    <a:pt x="1200" y="792"/>
                  </a:lnTo>
                  <a:lnTo>
                    <a:pt x="1204" y="792"/>
                  </a:lnTo>
                  <a:lnTo>
                    <a:pt x="1208" y="792"/>
                  </a:lnTo>
                  <a:lnTo>
                    <a:pt x="1204" y="792"/>
                  </a:lnTo>
                  <a:lnTo>
                    <a:pt x="1208" y="792"/>
                  </a:lnTo>
                  <a:lnTo>
                    <a:pt x="1212" y="792"/>
                  </a:lnTo>
                  <a:lnTo>
                    <a:pt x="1212" y="794"/>
                  </a:lnTo>
                  <a:lnTo>
                    <a:pt x="1208" y="794"/>
                  </a:lnTo>
                  <a:lnTo>
                    <a:pt x="1204" y="794"/>
                  </a:lnTo>
                  <a:lnTo>
                    <a:pt x="1200" y="794"/>
                  </a:lnTo>
                  <a:lnTo>
                    <a:pt x="1200" y="798"/>
                  </a:lnTo>
                  <a:lnTo>
                    <a:pt x="1204" y="798"/>
                  </a:lnTo>
                  <a:lnTo>
                    <a:pt x="1208" y="798"/>
                  </a:lnTo>
                  <a:lnTo>
                    <a:pt x="1208" y="802"/>
                  </a:lnTo>
                  <a:lnTo>
                    <a:pt x="1204" y="802"/>
                  </a:lnTo>
                  <a:lnTo>
                    <a:pt x="1200" y="806"/>
                  </a:lnTo>
                  <a:lnTo>
                    <a:pt x="1200" y="810"/>
                  </a:lnTo>
                  <a:lnTo>
                    <a:pt x="1200" y="806"/>
                  </a:lnTo>
                  <a:lnTo>
                    <a:pt x="1200" y="810"/>
                  </a:lnTo>
                  <a:lnTo>
                    <a:pt x="1200" y="814"/>
                  </a:lnTo>
                  <a:lnTo>
                    <a:pt x="1196" y="814"/>
                  </a:lnTo>
                  <a:lnTo>
                    <a:pt x="1196" y="818"/>
                  </a:lnTo>
                  <a:lnTo>
                    <a:pt x="1196" y="822"/>
                  </a:lnTo>
                  <a:lnTo>
                    <a:pt x="1192" y="822"/>
                  </a:lnTo>
                  <a:lnTo>
                    <a:pt x="1192" y="824"/>
                  </a:lnTo>
                  <a:lnTo>
                    <a:pt x="1192" y="828"/>
                  </a:lnTo>
                  <a:lnTo>
                    <a:pt x="1188" y="828"/>
                  </a:lnTo>
                  <a:lnTo>
                    <a:pt x="1192" y="828"/>
                  </a:lnTo>
                  <a:lnTo>
                    <a:pt x="1188" y="832"/>
                  </a:lnTo>
                  <a:lnTo>
                    <a:pt x="1192" y="832"/>
                  </a:lnTo>
                  <a:lnTo>
                    <a:pt x="1192" y="828"/>
                  </a:lnTo>
                  <a:lnTo>
                    <a:pt x="1196" y="824"/>
                  </a:lnTo>
                  <a:lnTo>
                    <a:pt x="1200" y="822"/>
                  </a:lnTo>
                  <a:lnTo>
                    <a:pt x="1200" y="824"/>
                  </a:lnTo>
                  <a:lnTo>
                    <a:pt x="1204" y="824"/>
                  </a:lnTo>
                  <a:lnTo>
                    <a:pt x="1208" y="824"/>
                  </a:lnTo>
                  <a:lnTo>
                    <a:pt x="1212" y="824"/>
                  </a:lnTo>
                  <a:lnTo>
                    <a:pt x="1208" y="824"/>
                  </a:lnTo>
                  <a:lnTo>
                    <a:pt x="1208" y="828"/>
                  </a:lnTo>
                  <a:lnTo>
                    <a:pt x="1204" y="828"/>
                  </a:lnTo>
                  <a:lnTo>
                    <a:pt x="1200" y="832"/>
                  </a:lnTo>
                  <a:lnTo>
                    <a:pt x="1204" y="828"/>
                  </a:lnTo>
                  <a:lnTo>
                    <a:pt x="1204" y="832"/>
                  </a:lnTo>
                  <a:lnTo>
                    <a:pt x="1200" y="832"/>
                  </a:lnTo>
                  <a:lnTo>
                    <a:pt x="1200" y="836"/>
                  </a:lnTo>
                  <a:lnTo>
                    <a:pt x="1204" y="836"/>
                  </a:lnTo>
                  <a:lnTo>
                    <a:pt x="1204" y="832"/>
                  </a:lnTo>
                  <a:lnTo>
                    <a:pt x="1208" y="836"/>
                  </a:lnTo>
                  <a:lnTo>
                    <a:pt x="1212" y="836"/>
                  </a:lnTo>
                  <a:lnTo>
                    <a:pt x="1212" y="832"/>
                  </a:lnTo>
                  <a:lnTo>
                    <a:pt x="1212" y="836"/>
                  </a:lnTo>
                  <a:lnTo>
                    <a:pt x="1212" y="840"/>
                  </a:lnTo>
                  <a:lnTo>
                    <a:pt x="1212" y="836"/>
                  </a:lnTo>
                  <a:lnTo>
                    <a:pt x="1212" y="832"/>
                  </a:lnTo>
                  <a:lnTo>
                    <a:pt x="1216" y="832"/>
                  </a:lnTo>
                  <a:lnTo>
                    <a:pt x="1216" y="836"/>
                  </a:lnTo>
                  <a:lnTo>
                    <a:pt x="1212" y="840"/>
                  </a:lnTo>
                  <a:lnTo>
                    <a:pt x="1212" y="844"/>
                  </a:lnTo>
                  <a:lnTo>
                    <a:pt x="1212" y="840"/>
                  </a:lnTo>
                  <a:lnTo>
                    <a:pt x="1216" y="840"/>
                  </a:lnTo>
                  <a:lnTo>
                    <a:pt x="1216" y="836"/>
                  </a:lnTo>
                  <a:lnTo>
                    <a:pt x="1216" y="840"/>
                  </a:lnTo>
                  <a:lnTo>
                    <a:pt x="1218" y="840"/>
                  </a:lnTo>
                  <a:lnTo>
                    <a:pt x="1222" y="836"/>
                  </a:lnTo>
                  <a:lnTo>
                    <a:pt x="1222" y="832"/>
                  </a:lnTo>
                  <a:lnTo>
                    <a:pt x="1222" y="836"/>
                  </a:lnTo>
                  <a:lnTo>
                    <a:pt x="1222" y="840"/>
                  </a:lnTo>
                  <a:lnTo>
                    <a:pt x="1226" y="836"/>
                  </a:lnTo>
                  <a:lnTo>
                    <a:pt x="1230" y="836"/>
                  </a:lnTo>
                  <a:lnTo>
                    <a:pt x="1234" y="836"/>
                  </a:lnTo>
                  <a:lnTo>
                    <a:pt x="1238" y="840"/>
                  </a:lnTo>
                  <a:lnTo>
                    <a:pt x="1238" y="844"/>
                  </a:lnTo>
                  <a:lnTo>
                    <a:pt x="1234" y="844"/>
                  </a:lnTo>
                  <a:lnTo>
                    <a:pt x="1234" y="848"/>
                  </a:lnTo>
                  <a:lnTo>
                    <a:pt x="1230" y="848"/>
                  </a:lnTo>
                  <a:lnTo>
                    <a:pt x="1234" y="848"/>
                  </a:lnTo>
                  <a:lnTo>
                    <a:pt x="1234" y="852"/>
                  </a:lnTo>
                  <a:lnTo>
                    <a:pt x="1230" y="852"/>
                  </a:lnTo>
                  <a:lnTo>
                    <a:pt x="1234" y="852"/>
                  </a:lnTo>
                  <a:lnTo>
                    <a:pt x="1230" y="852"/>
                  </a:lnTo>
                  <a:lnTo>
                    <a:pt x="1234" y="852"/>
                  </a:lnTo>
                  <a:lnTo>
                    <a:pt x="1238" y="852"/>
                  </a:lnTo>
                  <a:lnTo>
                    <a:pt x="1234" y="852"/>
                  </a:lnTo>
                  <a:lnTo>
                    <a:pt x="1230" y="854"/>
                  </a:lnTo>
                  <a:lnTo>
                    <a:pt x="1234" y="854"/>
                  </a:lnTo>
                  <a:lnTo>
                    <a:pt x="1238" y="854"/>
                  </a:lnTo>
                  <a:lnTo>
                    <a:pt x="1238" y="852"/>
                  </a:lnTo>
                  <a:lnTo>
                    <a:pt x="1242" y="852"/>
                  </a:lnTo>
                  <a:lnTo>
                    <a:pt x="1242" y="854"/>
                  </a:lnTo>
                  <a:lnTo>
                    <a:pt x="1242" y="852"/>
                  </a:lnTo>
                  <a:lnTo>
                    <a:pt x="1244" y="852"/>
                  </a:lnTo>
                  <a:lnTo>
                    <a:pt x="1244" y="854"/>
                  </a:lnTo>
                  <a:lnTo>
                    <a:pt x="1244" y="858"/>
                  </a:lnTo>
                  <a:lnTo>
                    <a:pt x="1242" y="858"/>
                  </a:lnTo>
                  <a:lnTo>
                    <a:pt x="1238" y="858"/>
                  </a:lnTo>
                  <a:lnTo>
                    <a:pt x="1234" y="862"/>
                  </a:lnTo>
                  <a:lnTo>
                    <a:pt x="1230" y="862"/>
                  </a:lnTo>
                  <a:lnTo>
                    <a:pt x="1234" y="862"/>
                  </a:lnTo>
                  <a:lnTo>
                    <a:pt x="1234" y="866"/>
                  </a:lnTo>
                  <a:lnTo>
                    <a:pt x="1230" y="866"/>
                  </a:lnTo>
                  <a:lnTo>
                    <a:pt x="1234" y="866"/>
                  </a:lnTo>
                  <a:lnTo>
                    <a:pt x="1238" y="866"/>
                  </a:lnTo>
                  <a:lnTo>
                    <a:pt x="1234" y="870"/>
                  </a:lnTo>
                  <a:lnTo>
                    <a:pt x="1234" y="874"/>
                  </a:lnTo>
                  <a:lnTo>
                    <a:pt x="1238" y="874"/>
                  </a:lnTo>
                  <a:lnTo>
                    <a:pt x="1238" y="870"/>
                  </a:lnTo>
                  <a:lnTo>
                    <a:pt x="1242" y="866"/>
                  </a:lnTo>
                  <a:lnTo>
                    <a:pt x="1242" y="862"/>
                  </a:lnTo>
                  <a:lnTo>
                    <a:pt x="1242" y="866"/>
                  </a:lnTo>
                  <a:lnTo>
                    <a:pt x="1244" y="862"/>
                  </a:lnTo>
                  <a:lnTo>
                    <a:pt x="1248" y="862"/>
                  </a:lnTo>
                  <a:lnTo>
                    <a:pt x="1244" y="862"/>
                  </a:lnTo>
                  <a:lnTo>
                    <a:pt x="1244" y="866"/>
                  </a:lnTo>
                  <a:lnTo>
                    <a:pt x="1244" y="870"/>
                  </a:lnTo>
                  <a:lnTo>
                    <a:pt x="1242" y="874"/>
                  </a:lnTo>
                  <a:lnTo>
                    <a:pt x="1242" y="878"/>
                  </a:lnTo>
                  <a:lnTo>
                    <a:pt x="1244" y="878"/>
                  </a:lnTo>
                  <a:lnTo>
                    <a:pt x="1244" y="874"/>
                  </a:lnTo>
                  <a:lnTo>
                    <a:pt x="1248" y="870"/>
                  </a:lnTo>
                  <a:lnTo>
                    <a:pt x="1248" y="874"/>
                  </a:lnTo>
                  <a:lnTo>
                    <a:pt x="1248" y="878"/>
                  </a:lnTo>
                  <a:lnTo>
                    <a:pt x="1248" y="880"/>
                  </a:lnTo>
                  <a:lnTo>
                    <a:pt x="1244" y="880"/>
                  </a:lnTo>
                  <a:lnTo>
                    <a:pt x="1244" y="884"/>
                  </a:lnTo>
                  <a:lnTo>
                    <a:pt x="1244" y="888"/>
                  </a:lnTo>
                  <a:lnTo>
                    <a:pt x="1244" y="892"/>
                  </a:lnTo>
                  <a:lnTo>
                    <a:pt x="1242" y="892"/>
                  </a:lnTo>
                  <a:lnTo>
                    <a:pt x="1238" y="892"/>
                  </a:lnTo>
                  <a:lnTo>
                    <a:pt x="1234" y="892"/>
                  </a:lnTo>
                  <a:lnTo>
                    <a:pt x="1234" y="888"/>
                  </a:lnTo>
                  <a:lnTo>
                    <a:pt x="1238" y="888"/>
                  </a:lnTo>
                  <a:lnTo>
                    <a:pt x="1234" y="884"/>
                  </a:lnTo>
                  <a:lnTo>
                    <a:pt x="1238" y="884"/>
                  </a:lnTo>
                  <a:lnTo>
                    <a:pt x="1238" y="880"/>
                  </a:lnTo>
                  <a:lnTo>
                    <a:pt x="1234" y="884"/>
                  </a:lnTo>
                  <a:lnTo>
                    <a:pt x="1230" y="888"/>
                  </a:lnTo>
                  <a:lnTo>
                    <a:pt x="1226" y="888"/>
                  </a:lnTo>
                  <a:lnTo>
                    <a:pt x="1226" y="884"/>
                  </a:lnTo>
                  <a:lnTo>
                    <a:pt x="1230" y="884"/>
                  </a:lnTo>
                  <a:lnTo>
                    <a:pt x="1230" y="880"/>
                  </a:lnTo>
                  <a:lnTo>
                    <a:pt x="1234" y="878"/>
                  </a:lnTo>
                  <a:lnTo>
                    <a:pt x="1230" y="878"/>
                  </a:lnTo>
                  <a:lnTo>
                    <a:pt x="1230" y="874"/>
                  </a:lnTo>
                  <a:lnTo>
                    <a:pt x="1234" y="874"/>
                  </a:lnTo>
                  <a:lnTo>
                    <a:pt x="1230" y="874"/>
                  </a:lnTo>
                  <a:lnTo>
                    <a:pt x="1230" y="870"/>
                  </a:lnTo>
                  <a:lnTo>
                    <a:pt x="1226" y="870"/>
                  </a:lnTo>
                  <a:lnTo>
                    <a:pt x="1226" y="874"/>
                  </a:lnTo>
                  <a:lnTo>
                    <a:pt x="1222" y="874"/>
                  </a:lnTo>
                  <a:lnTo>
                    <a:pt x="1222" y="878"/>
                  </a:lnTo>
                  <a:lnTo>
                    <a:pt x="1226" y="874"/>
                  </a:lnTo>
                  <a:lnTo>
                    <a:pt x="1222" y="874"/>
                  </a:lnTo>
                  <a:lnTo>
                    <a:pt x="1222" y="878"/>
                  </a:lnTo>
                  <a:lnTo>
                    <a:pt x="1218" y="878"/>
                  </a:lnTo>
                  <a:lnTo>
                    <a:pt x="1216" y="880"/>
                  </a:lnTo>
                  <a:lnTo>
                    <a:pt x="1216" y="884"/>
                  </a:lnTo>
                  <a:lnTo>
                    <a:pt x="1212" y="888"/>
                  </a:lnTo>
                  <a:lnTo>
                    <a:pt x="1208" y="888"/>
                  </a:lnTo>
                  <a:lnTo>
                    <a:pt x="1204" y="888"/>
                  </a:lnTo>
                  <a:lnTo>
                    <a:pt x="1204" y="884"/>
                  </a:lnTo>
                  <a:lnTo>
                    <a:pt x="1208" y="884"/>
                  </a:lnTo>
                  <a:lnTo>
                    <a:pt x="1212" y="880"/>
                  </a:lnTo>
                  <a:lnTo>
                    <a:pt x="1212" y="878"/>
                  </a:lnTo>
                  <a:lnTo>
                    <a:pt x="1216" y="878"/>
                  </a:lnTo>
                  <a:lnTo>
                    <a:pt x="1218" y="874"/>
                  </a:lnTo>
                  <a:lnTo>
                    <a:pt x="1216" y="874"/>
                  </a:lnTo>
                  <a:lnTo>
                    <a:pt x="1216" y="870"/>
                  </a:lnTo>
                  <a:lnTo>
                    <a:pt x="1218" y="870"/>
                  </a:lnTo>
                  <a:lnTo>
                    <a:pt x="1216" y="870"/>
                  </a:lnTo>
                  <a:lnTo>
                    <a:pt x="1216" y="874"/>
                  </a:lnTo>
                  <a:lnTo>
                    <a:pt x="1212" y="874"/>
                  </a:lnTo>
                  <a:lnTo>
                    <a:pt x="1212" y="870"/>
                  </a:lnTo>
                  <a:lnTo>
                    <a:pt x="1212" y="874"/>
                  </a:lnTo>
                  <a:lnTo>
                    <a:pt x="1212" y="878"/>
                  </a:lnTo>
                  <a:lnTo>
                    <a:pt x="1208" y="878"/>
                  </a:lnTo>
                  <a:lnTo>
                    <a:pt x="1204" y="878"/>
                  </a:lnTo>
                  <a:lnTo>
                    <a:pt x="1204" y="874"/>
                  </a:lnTo>
                  <a:lnTo>
                    <a:pt x="1204" y="878"/>
                  </a:lnTo>
                  <a:lnTo>
                    <a:pt x="1200" y="878"/>
                  </a:lnTo>
                  <a:lnTo>
                    <a:pt x="1200" y="874"/>
                  </a:lnTo>
                  <a:lnTo>
                    <a:pt x="1204" y="874"/>
                  </a:lnTo>
                  <a:lnTo>
                    <a:pt x="1208" y="874"/>
                  </a:lnTo>
                  <a:lnTo>
                    <a:pt x="1204" y="874"/>
                  </a:lnTo>
                  <a:lnTo>
                    <a:pt x="1204" y="870"/>
                  </a:lnTo>
                  <a:lnTo>
                    <a:pt x="1204" y="866"/>
                  </a:lnTo>
                  <a:lnTo>
                    <a:pt x="1204" y="870"/>
                  </a:lnTo>
                  <a:lnTo>
                    <a:pt x="1200" y="870"/>
                  </a:lnTo>
                  <a:lnTo>
                    <a:pt x="1200" y="874"/>
                  </a:lnTo>
                  <a:lnTo>
                    <a:pt x="1196" y="874"/>
                  </a:lnTo>
                  <a:lnTo>
                    <a:pt x="1192" y="874"/>
                  </a:lnTo>
                  <a:lnTo>
                    <a:pt x="1188" y="874"/>
                  </a:lnTo>
                  <a:lnTo>
                    <a:pt x="1188" y="874"/>
                  </a:lnTo>
                  <a:lnTo>
                    <a:pt x="1188" y="874"/>
                  </a:lnTo>
                  <a:close/>
                  <a:moveTo>
                    <a:pt x="190" y="818"/>
                  </a:moveTo>
                  <a:lnTo>
                    <a:pt x="190" y="814"/>
                  </a:lnTo>
                  <a:lnTo>
                    <a:pt x="190" y="810"/>
                  </a:lnTo>
                  <a:lnTo>
                    <a:pt x="186" y="810"/>
                  </a:lnTo>
                  <a:lnTo>
                    <a:pt x="190" y="810"/>
                  </a:lnTo>
                  <a:lnTo>
                    <a:pt x="190" y="814"/>
                  </a:lnTo>
                  <a:lnTo>
                    <a:pt x="182" y="814"/>
                  </a:lnTo>
                  <a:lnTo>
                    <a:pt x="180" y="814"/>
                  </a:lnTo>
                  <a:lnTo>
                    <a:pt x="180" y="810"/>
                  </a:lnTo>
                  <a:lnTo>
                    <a:pt x="180" y="806"/>
                  </a:lnTo>
                  <a:lnTo>
                    <a:pt x="182" y="806"/>
                  </a:lnTo>
                  <a:lnTo>
                    <a:pt x="186" y="806"/>
                  </a:lnTo>
                  <a:lnTo>
                    <a:pt x="190" y="806"/>
                  </a:lnTo>
                  <a:lnTo>
                    <a:pt x="190" y="810"/>
                  </a:lnTo>
                  <a:lnTo>
                    <a:pt x="194" y="810"/>
                  </a:lnTo>
                  <a:lnTo>
                    <a:pt x="198" y="810"/>
                  </a:lnTo>
                  <a:lnTo>
                    <a:pt x="202" y="814"/>
                  </a:lnTo>
                  <a:lnTo>
                    <a:pt x="206" y="814"/>
                  </a:lnTo>
                  <a:lnTo>
                    <a:pt x="210" y="814"/>
                  </a:lnTo>
                  <a:lnTo>
                    <a:pt x="212" y="814"/>
                  </a:lnTo>
                  <a:lnTo>
                    <a:pt x="212" y="818"/>
                  </a:lnTo>
                  <a:lnTo>
                    <a:pt x="216" y="818"/>
                  </a:lnTo>
                  <a:lnTo>
                    <a:pt x="220" y="818"/>
                  </a:lnTo>
                  <a:lnTo>
                    <a:pt x="220" y="822"/>
                  </a:lnTo>
                  <a:lnTo>
                    <a:pt x="224" y="822"/>
                  </a:lnTo>
                  <a:lnTo>
                    <a:pt x="224" y="824"/>
                  </a:lnTo>
                  <a:lnTo>
                    <a:pt x="228" y="828"/>
                  </a:lnTo>
                  <a:lnTo>
                    <a:pt x="228" y="832"/>
                  </a:lnTo>
                  <a:lnTo>
                    <a:pt x="228" y="836"/>
                  </a:lnTo>
                  <a:lnTo>
                    <a:pt x="232" y="836"/>
                  </a:lnTo>
                  <a:lnTo>
                    <a:pt x="236" y="840"/>
                  </a:lnTo>
                  <a:lnTo>
                    <a:pt x="238" y="840"/>
                  </a:lnTo>
                  <a:lnTo>
                    <a:pt x="242" y="840"/>
                  </a:lnTo>
                  <a:lnTo>
                    <a:pt x="242" y="844"/>
                  </a:lnTo>
                  <a:lnTo>
                    <a:pt x="246" y="848"/>
                  </a:lnTo>
                  <a:lnTo>
                    <a:pt x="246" y="852"/>
                  </a:lnTo>
                  <a:lnTo>
                    <a:pt x="246" y="854"/>
                  </a:lnTo>
                  <a:lnTo>
                    <a:pt x="246" y="852"/>
                  </a:lnTo>
                  <a:lnTo>
                    <a:pt x="250" y="852"/>
                  </a:lnTo>
                  <a:lnTo>
                    <a:pt x="250" y="854"/>
                  </a:lnTo>
                  <a:lnTo>
                    <a:pt x="250" y="858"/>
                  </a:lnTo>
                  <a:lnTo>
                    <a:pt x="250" y="854"/>
                  </a:lnTo>
                  <a:lnTo>
                    <a:pt x="246" y="858"/>
                  </a:lnTo>
                  <a:lnTo>
                    <a:pt x="242" y="858"/>
                  </a:lnTo>
                  <a:lnTo>
                    <a:pt x="236" y="854"/>
                  </a:lnTo>
                  <a:lnTo>
                    <a:pt x="232" y="854"/>
                  </a:lnTo>
                  <a:lnTo>
                    <a:pt x="232" y="852"/>
                  </a:lnTo>
                  <a:lnTo>
                    <a:pt x="228" y="852"/>
                  </a:lnTo>
                  <a:lnTo>
                    <a:pt x="224" y="852"/>
                  </a:lnTo>
                  <a:lnTo>
                    <a:pt x="224" y="848"/>
                  </a:lnTo>
                  <a:lnTo>
                    <a:pt x="228" y="848"/>
                  </a:lnTo>
                  <a:lnTo>
                    <a:pt x="228" y="844"/>
                  </a:lnTo>
                  <a:lnTo>
                    <a:pt x="228" y="840"/>
                  </a:lnTo>
                  <a:lnTo>
                    <a:pt x="228" y="844"/>
                  </a:lnTo>
                  <a:lnTo>
                    <a:pt x="224" y="844"/>
                  </a:lnTo>
                  <a:lnTo>
                    <a:pt x="224" y="848"/>
                  </a:lnTo>
                  <a:lnTo>
                    <a:pt x="220" y="844"/>
                  </a:lnTo>
                  <a:lnTo>
                    <a:pt x="220" y="848"/>
                  </a:lnTo>
                  <a:lnTo>
                    <a:pt x="216" y="844"/>
                  </a:lnTo>
                  <a:lnTo>
                    <a:pt x="216" y="840"/>
                  </a:lnTo>
                  <a:lnTo>
                    <a:pt x="212" y="840"/>
                  </a:lnTo>
                  <a:lnTo>
                    <a:pt x="212" y="836"/>
                  </a:lnTo>
                  <a:lnTo>
                    <a:pt x="210" y="836"/>
                  </a:lnTo>
                  <a:lnTo>
                    <a:pt x="206" y="836"/>
                  </a:lnTo>
                  <a:lnTo>
                    <a:pt x="206" y="832"/>
                  </a:lnTo>
                  <a:lnTo>
                    <a:pt x="210" y="832"/>
                  </a:lnTo>
                  <a:lnTo>
                    <a:pt x="212" y="832"/>
                  </a:lnTo>
                  <a:lnTo>
                    <a:pt x="210" y="832"/>
                  </a:lnTo>
                  <a:lnTo>
                    <a:pt x="206" y="832"/>
                  </a:lnTo>
                  <a:lnTo>
                    <a:pt x="206" y="828"/>
                  </a:lnTo>
                  <a:lnTo>
                    <a:pt x="202" y="828"/>
                  </a:lnTo>
                  <a:lnTo>
                    <a:pt x="202" y="824"/>
                  </a:lnTo>
                  <a:lnTo>
                    <a:pt x="198" y="824"/>
                  </a:lnTo>
                  <a:lnTo>
                    <a:pt x="198" y="828"/>
                  </a:lnTo>
                  <a:lnTo>
                    <a:pt x="194" y="824"/>
                  </a:lnTo>
                  <a:lnTo>
                    <a:pt x="194" y="822"/>
                  </a:lnTo>
                  <a:lnTo>
                    <a:pt x="198" y="822"/>
                  </a:lnTo>
                  <a:lnTo>
                    <a:pt x="194" y="822"/>
                  </a:lnTo>
                  <a:lnTo>
                    <a:pt x="194" y="824"/>
                  </a:lnTo>
                  <a:lnTo>
                    <a:pt x="190" y="822"/>
                  </a:lnTo>
                  <a:lnTo>
                    <a:pt x="186" y="822"/>
                  </a:lnTo>
                  <a:lnTo>
                    <a:pt x="186" y="818"/>
                  </a:lnTo>
                  <a:lnTo>
                    <a:pt x="182" y="818"/>
                  </a:lnTo>
                  <a:lnTo>
                    <a:pt x="186" y="814"/>
                  </a:lnTo>
                  <a:lnTo>
                    <a:pt x="190" y="814"/>
                  </a:lnTo>
                  <a:lnTo>
                    <a:pt x="190" y="818"/>
                  </a:lnTo>
                  <a:lnTo>
                    <a:pt x="190" y="818"/>
                  </a:lnTo>
                  <a:lnTo>
                    <a:pt x="190" y="818"/>
                  </a:lnTo>
                  <a:close/>
                  <a:moveTo>
                    <a:pt x="210" y="806"/>
                  </a:moveTo>
                  <a:lnTo>
                    <a:pt x="210" y="810"/>
                  </a:lnTo>
                  <a:lnTo>
                    <a:pt x="206" y="810"/>
                  </a:lnTo>
                  <a:lnTo>
                    <a:pt x="206" y="806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06"/>
                  </a:lnTo>
                  <a:close/>
                  <a:moveTo>
                    <a:pt x="220" y="818"/>
                  </a:moveTo>
                  <a:lnTo>
                    <a:pt x="224" y="818"/>
                  </a:lnTo>
                  <a:lnTo>
                    <a:pt x="224" y="822"/>
                  </a:lnTo>
                  <a:lnTo>
                    <a:pt x="224" y="824"/>
                  </a:lnTo>
                  <a:lnTo>
                    <a:pt x="224" y="822"/>
                  </a:lnTo>
                  <a:lnTo>
                    <a:pt x="220" y="822"/>
                  </a:lnTo>
                  <a:lnTo>
                    <a:pt x="220" y="818"/>
                  </a:lnTo>
                  <a:lnTo>
                    <a:pt x="220" y="818"/>
                  </a:lnTo>
                  <a:lnTo>
                    <a:pt x="220" y="818"/>
                  </a:lnTo>
                  <a:close/>
                  <a:moveTo>
                    <a:pt x="1096" y="828"/>
                  </a:moveTo>
                  <a:lnTo>
                    <a:pt x="1100" y="828"/>
                  </a:lnTo>
                  <a:lnTo>
                    <a:pt x="1104" y="828"/>
                  </a:lnTo>
                  <a:lnTo>
                    <a:pt x="1106" y="832"/>
                  </a:lnTo>
                  <a:lnTo>
                    <a:pt x="1110" y="832"/>
                  </a:lnTo>
                  <a:lnTo>
                    <a:pt x="1110" y="836"/>
                  </a:lnTo>
                  <a:lnTo>
                    <a:pt x="1114" y="836"/>
                  </a:lnTo>
                  <a:lnTo>
                    <a:pt x="1118" y="836"/>
                  </a:lnTo>
                  <a:lnTo>
                    <a:pt x="1118" y="840"/>
                  </a:lnTo>
                  <a:lnTo>
                    <a:pt x="1122" y="840"/>
                  </a:lnTo>
                  <a:lnTo>
                    <a:pt x="1122" y="844"/>
                  </a:lnTo>
                  <a:lnTo>
                    <a:pt x="1118" y="844"/>
                  </a:lnTo>
                  <a:lnTo>
                    <a:pt x="1114" y="844"/>
                  </a:lnTo>
                  <a:lnTo>
                    <a:pt x="1110" y="844"/>
                  </a:lnTo>
                  <a:lnTo>
                    <a:pt x="1106" y="840"/>
                  </a:lnTo>
                  <a:lnTo>
                    <a:pt x="1104" y="840"/>
                  </a:lnTo>
                  <a:lnTo>
                    <a:pt x="1100" y="840"/>
                  </a:lnTo>
                  <a:lnTo>
                    <a:pt x="1096" y="836"/>
                  </a:lnTo>
                  <a:lnTo>
                    <a:pt x="1092" y="832"/>
                  </a:lnTo>
                  <a:lnTo>
                    <a:pt x="1088" y="832"/>
                  </a:lnTo>
                  <a:lnTo>
                    <a:pt x="1088" y="828"/>
                  </a:lnTo>
                  <a:lnTo>
                    <a:pt x="1084" y="828"/>
                  </a:lnTo>
                  <a:lnTo>
                    <a:pt x="1080" y="824"/>
                  </a:lnTo>
                  <a:lnTo>
                    <a:pt x="1084" y="824"/>
                  </a:lnTo>
                  <a:lnTo>
                    <a:pt x="1088" y="824"/>
                  </a:lnTo>
                  <a:lnTo>
                    <a:pt x="1096" y="828"/>
                  </a:lnTo>
                  <a:lnTo>
                    <a:pt x="1096" y="828"/>
                  </a:lnTo>
                  <a:lnTo>
                    <a:pt x="1096" y="828"/>
                  </a:lnTo>
                  <a:close/>
                  <a:moveTo>
                    <a:pt x="202" y="824"/>
                  </a:moveTo>
                  <a:lnTo>
                    <a:pt x="202" y="828"/>
                  </a:lnTo>
                  <a:lnTo>
                    <a:pt x="206" y="832"/>
                  </a:lnTo>
                  <a:lnTo>
                    <a:pt x="202" y="832"/>
                  </a:lnTo>
                  <a:lnTo>
                    <a:pt x="198" y="828"/>
                  </a:lnTo>
                  <a:lnTo>
                    <a:pt x="202" y="824"/>
                  </a:lnTo>
                  <a:lnTo>
                    <a:pt x="202" y="824"/>
                  </a:lnTo>
                  <a:lnTo>
                    <a:pt x="202" y="824"/>
                  </a:lnTo>
                  <a:close/>
                  <a:moveTo>
                    <a:pt x="238" y="836"/>
                  </a:moveTo>
                  <a:lnTo>
                    <a:pt x="236" y="832"/>
                  </a:lnTo>
                  <a:lnTo>
                    <a:pt x="232" y="828"/>
                  </a:lnTo>
                  <a:lnTo>
                    <a:pt x="236" y="828"/>
                  </a:lnTo>
                  <a:lnTo>
                    <a:pt x="238" y="832"/>
                  </a:lnTo>
                  <a:lnTo>
                    <a:pt x="238" y="836"/>
                  </a:lnTo>
                  <a:lnTo>
                    <a:pt x="238" y="836"/>
                  </a:lnTo>
                  <a:lnTo>
                    <a:pt x="238" y="836"/>
                  </a:lnTo>
                  <a:close/>
                  <a:moveTo>
                    <a:pt x="210" y="836"/>
                  </a:moveTo>
                  <a:lnTo>
                    <a:pt x="212" y="836"/>
                  </a:lnTo>
                  <a:lnTo>
                    <a:pt x="212" y="840"/>
                  </a:lnTo>
                  <a:lnTo>
                    <a:pt x="210" y="840"/>
                  </a:lnTo>
                  <a:lnTo>
                    <a:pt x="210" y="836"/>
                  </a:lnTo>
                  <a:lnTo>
                    <a:pt x="210" y="836"/>
                  </a:lnTo>
                  <a:lnTo>
                    <a:pt x="210" y="836"/>
                  </a:lnTo>
                  <a:close/>
                  <a:moveTo>
                    <a:pt x="246" y="844"/>
                  </a:moveTo>
                  <a:lnTo>
                    <a:pt x="246" y="848"/>
                  </a:lnTo>
                  <a:lnTo>
                    <a:pt x="250" y="848"/>
                  </a:lnTo>
                  <a:lnTo>
                    <a:pt x="246" y="848"/>
                  </a:lnTo>
                  <a:lnTo>
                    <a:pt x="246" y="844"/>
                  </a:lnTo>
                  <a:lnTo>
                    <a:pt x="246" y="844"/>
                  </a:lnTo>
                  <a:lnTo>
                    <a:pt x="246" y="844"/>
                  </a:lnTo>
                  <a:close/>
                  <a:moveTo>
                    <a:pt x="246" y="848"/>
                  </a:moveTo>
                  <a:lnTo>
                    <a:pt x="250" y="848"/>
                  </a:lnTo>
                  <a:lnTo>
                    <a:pt x="250" y="852"/>
                  </a:lnTo>
                  <a:lnTo>
                    <a:pt x="246" y="852"/>
                  </a:lnTo>
                  <a:lnTo>
                    <a:pt x="246" y="848"/>
                  </a:lnTo>
                  <a:lnTo>
                    <a:pt x="246" y="848"/>
                  </a:lnTo>
                  <a:lnTo>
                    <a:pt x="246" y="848"/>
                  </a:lnTo>
                  <a:close/>
                  <a:moveTo>
                    <a:pt x="1080" y="866"/>
                  </a:moveTo>
                  <a:lnTo>
                    <a:pt x="1080" y="870"/>
                  </a:lnTo>
                  <a:lnTo>
                    <a:pt x="1076" y="870"/>
                  </a:lnTo>
                  <a:lnTo>
                    <a:pt x="1080" y="870"/>
                  </a:lnTo>
                  <a:lnTo>
                    <a:pt x="1080" y="866"/>
                  </a:lnTo>
                  <a:lnTo>
                    <a:pt x="1080" y="866"/>
                  </a:lnTo>
                  <a:lnTo>
                    <a:pt x="1080" y="866"/>
                  </a:lnTo>
                  <a:close/>
                  <a:moveTo>
                    <a:pt x="1126" y="874"/>
                  </a:moveTo>
                  <a:lnTo>
                    <a:pt x="1122" y="874"/>
                  </a:lnTo>
                  <a:lnTo>
                    <a:pt x="1126" y="874"/>
                  </a:lnTo>
                  <a:lnTo>
                    <a:pt x="1122" y="874"/>
                  </a:lnTo>
                  <a:lnTo>
                    <a:pt x="1118" y="878"/>
                  </a:lnTo>
                  <a:lnTo>
                    <a:pt x="1122" y="878"/>
                  </a:lnTo>
                  <a:lnTo>
                    <a:pt x="1122" y="874"/>
                  </a:lnTo>
                  <a:lnTo>
                    <a:pt x="1122" y="878"/>
                  </a:lnTo>
                  <a:lnTo>
                    <a:pt x="1118" y="878"/>
                  </a:lnTo>
                  <a:lnTo>
                    <a:pt x="1118" y="880"/>
                  </a:lnTo>
                  <a:lnTo>
                    <a:pt x="1122" y="880"/>
                  </a:lnTo>
                  <a:lnTo>
                    <a:pt x="1118" y="880"/>
                  </a:lnTo>
                  <a:lnTo>
                    <a:pt x="1118" y="878"/>
                  </a:lnTo>
                  <a:lnTo>
                    <a:pt x="1122" y="874"/>
                  </a:lnTo>
                  <a:lnTo>
                    <a:pt x="1126" y="874"/>
                  </a:lnTo>
                  <a:lnTo>
                    <a:pt x="1126" y="874"/>
                  </a:lnTo>
                  <a:lnTo>
                    <a:pt x="1126" y="874"/>
                  </a:lnTo>
                  <a:close/>
                  <a:moveTo>
                    <a:pt x="1114" y="900"/>
                  </a:moveTo>
                  <a:lnTo>
                    <a:pt x="1110" y="900"/>
                  </a:lnTo>
                  <a:lnTo>
                    <a:pt x="1110" y="904"/>
                  </a:lnTo>
                  <a:lnTo>
                    <a:pt x="1106" y="904"/>
                  </a:lnTo>
                  <a:lnTo>
                    <a:pt x="1110" y="904"/>
                  </a:lnTo>
                  <a:lnTo>
                    <a:pt x="1110" y="908"/>
                  </a:lnTo>
                  <a:lnTo>
                    <a:pt x="1106" y="908"/>
                  </a:lnTo>
                  <a:lnTo>
                    <a:pt x="1104" y="908"/>
                  </a:lnTo>
                  <a:lnTo>
                    <a:pt x="1104" y="904"/>
                  </a:lnTo>
                  <a:lnTo>
                    <a:pt x="1100" y="904"/>
                  </a:lnTo>
                  <a:lnTo>
                    <a:pt x="1104" y="900"/>
                  </a:lnTo>
                  <a:lnTo>
                    <a:pt x="1100" y="904"/>
                  </a:lnTo>
                  <a:lnTo>
                    <a:pt x="1096" y="904"/>
                  </a:lnTo>
                  <a:lnTo>
                    <a:pt x="1092" y="900"/>
                  </a:lnTo>
                  <a:lnTo>
                    <a:pt x="1088" y="900"/>
                  </a:lnTo>
                  <a:lnTo>
                    <a:pt x="1088" y="896"/>
                  </a:lnTo>
                  <a:lnTo>
                    <a:pt x="1088" y="892"/>
                  </a:lnTo>
                  <a:lnTo>
                    <a:pt x="1084" y="892"/>
                  </a:lnTo>
                  <a:lnTo>
                    <a:pt x="1084" y="888"/>
                  </a:lnTo>
                  <a:lnTo>
                    <a:pt x="1088" y="884"/>
                  </a:lnTo>
                  <a:lnTo>
                    <a:pt x="1088" y="888"/>
                  </a:lnTo>
                  <a:lnTo>
                    <a:pt x="1088" y="892"/>
                  </a:lnTo>
                  <a:lnTo>
                    <a:pt x="1092" y="892"/>
                  </a:lnTo>
                  <a:lnTo>
                    <a:pt x="1092" y="896"/>
                  </a:lnTo>
                  <a:lnTo>
                    <a:pt x="1096" y="896"/>
                  </a:lnTo>
                  <a:lnTo>
                    <a:pt x="1100" y="896"/>
                  </a:lnTo>
                  <a:lnTo>
                    <a:pt x="1104" y="896"/>
                  </a:lnTo>
                  <a:lnTo>
                    <a:pt x="1106" y="896"/>
                  </a:lnTo>
                  <a:lnTo>
                    <a:pt x="1110" y="896"/>
                  </a:lnTo>
                  <a:lnTo>
                    <a:pt x="1114" y="896"/>
                  </a:lnTo>
                  <a:lnTo>
                    <a:pt x="1118" y="896"/>
                  </a:lnTo>
                  <a:lnTo>
                    <a:pt x="1114" y="900"/>
                  </a:lnTo>
                  <a:lnTo>
                    <a:pt x="1114" y="900"/>
                  </a:lnTo>
                  <a:lnTo>
                    <a:pt x="1114" y="900"/>
                  </a:lnTo>
                  <a:close/>
                  <a:moveTo>
                    <a:pt x="1136" y="914"/>
                  </a:moveTo>
                  <a:lnTo>
                    <a:pt x="1132" y="914"/>
                  </a:lnTo>
                  <a:lnTo>
                    <a:pt x="1130" y="914"/>
                  </a:lnTo>
                  <a:lnTo>
                    <a:pt x="1126" y="914"/>
                  </a:lnTo>
                  <a:lnTo>
                    <a:pt x="1126" y="910"/>
                  </a:lnTo>
                  <a:lnTo>
                    <a:pt x="1126" y="908"/>
                  </a:lnTo>
                  <a:lnTo>
                    <a:pt x="1126" y="904"/>
                  </a:lnTo>
                  <a:lnTo>
                    <a:pt x="1126" y="900"/>
                  </a:lnTo>
                  <a:lnTo>
                    <a:pt x="1130" y="896"/>
                  </a:lnTo>
                  <a:lnTo>
                    <a:pt x="1132" y="892"/>
                  </a:lnTo>
                  <a:lnTo>
                    <a:pt x="1132" y="888"/>
                  </a:lnTo>
                  <a:lnTo>
                    <a:pt x="1136" y="888"/>
                  </a:lnTo>
                  <a:lnTo>
                    <a:pt x="1136" y="884"/>
                  </a:lnTo>
                  <a:lnTo>
                    <a:pt x="1140" y="884"/>
                  </a:lnTo>
                  <a:lnTo>
                    <a:pt x="1136" y="888"/>
                  </a:lnTo>
                  <a:lnTo>
                    <a:pt x="1140" y="888"/>
                  </a:lnTo>
                  <a:lnTo>
                    <a:pt x="1140" y="892"/>
                  </a:lnTo>
                  <a:lnTo>
                    <a:pt x="1136" y="900"/>
                  </a:lnTo>
                  <a:lnTo>
                    <a:pt x="1136" y="904"/>
                  </a:lnTo>
                  <a:lnTo>
                    <a:pt x="1136" y="900"/>
                  </a:lnTo>
                  <a:lnTo>
                    <a:pt x="1140" y="900"/>
                  </a:lnTo>
                  <a:lnTo>
                    <a:pt x="1136" y="904"/>
                  </a:lnTo>
                  <a:lnTo>
                    <a:pt x="1132" y="904"/>
                  </a:lnTo>
                  <a:lnTo>
                    <a:pt x="1132" y="908"/>
                  </a:lnTo>
                  <a:lnTo>
                    <a:pt x="1130" y="908"/>
                  </a:lnTo>
                  <a:lnTo>
                    <a:pt x="1132" y="908"/>
                  </a:lnTo>
                  <a:lnTo>
                    <a:pt x="1132" y="904"/>
                  </a:lnTo>
                  <a:lnTo>
                    <a:pt x="1136" y="904"/>
                  </a:lnTo>
                  <a:lnTo>
                    <a:pt x="1132" y="908"/>
                  </a:lnTo>
                  <a:lnTo>
                    <a:pt x="1130" y="908"/>
                  </a:lnTo>
                  <a:lnTo>
                    <a:pt x="1132" y="908"/>
                  </a:lnTo>
                  <a:lnTo>
                    <a:pt x="1132" y="910"/>
                  </a:lnTo>
                  <a:lnTo>
                    <a:pt x="1130" y="910"/>
                  </a:lnTo>
                  <a:lnTo>
                    <a:pt x="1132" y="910"/>
                  </a:lnTo>
                  <a:lnTo>
                    <a:pt x="1136" y="910"/>
                  </a:lnTo>
                  <a:lnTo>
                    <a:pt x="1136" y="908"/>
                  </a:lnTo>
                  <a:lnTo>
                    <a:pt x="1140" y="908"/>
                  </a:lnTo>
                  <a:lnTo>
                    <a:pt x="1136" y="908"/>
                  </a:lnTo>
                  <a:lnTo>
                    <a:pt x="1132" y="908"/>
                  </a:lnTo>
                  <a:lnTo>
                    <a:pt x="1136" y="908"/>
                  </a:lnTo>
                  <a:lnTo>
                    <a:pt x="1136" y="904"/>
                  </a:lnTo>
                  <a:lnTo>
                    <a:pt x="1140" y="904"/>
                  </a:lnTo>
                  <a:lnTo>
                    <a:pt x="1140" y="900"/>
                  </a:lnTo>
                  <a:lnTo>
                    <a:pt x="1140" y="904"/>
                  </a:lnTo>
                  <a:lnTo>
                    <a:pt x="1136" y="904"/>
                  </a:lnTo>
                  <a:lnTo>
                    <a:pt x="1140" y="900"/>
                  </a:lnTo>
                  <a:lnTo>
                    <a:pt x="1144" y="900"/>
                  </a:lnTo>
                  <a:lnTo>
                    <a:pt x="1144" y="904"/>
                  </a:lnTo>
                  <a:lnTo>
                    <a:pt x="1148" y="904"/>
                  </a:lnTo>
                  <a:lnTo>
                    <a:pt x="1148" y="908"/>
                  </a:lnTo>
                  <a:lnTo>
                    <a:pt x="1144" y="908"/>
                  </a:lnTo>
                  <a:lnTo>
                    <a:pt x="1144" y="910"/>
                  </a:lnTo>
                  <a:lnTo>
                    <a:pt x="1140" y="910"/>
                  </a:lnTo>
                  <a:lnTo>
                    <a:pt x="1140" y="914"/>
                  </a:lnTo>
                  <a:lnTo>
                    <a:pt x="1136" y="914"/>
                  </a:lnTo>
                  <a:lnTo>
                    <a:pt x="1136" y="914"/>
                  </a:lnTo>
                  <a:lnTo>
                    <a:pt x="1136" y="914"/>
                  </a:lnTo>
                  <a:close/>
                  <a:moveTo>
                    <a:pt x="992" y="884"/>
                  </a:moveTo>
                  <a:lnTo>
                    <a:pt x="992" y="888"/>
                  </a:lnTo>
                  <a:lnTo>
                    <a:pt x="988" y="888"/>
                  </a:lnTo>
                  <a:lnTo>
                    <a:pt x="992" y="884"/>
                  </a:lnTo>
                  <a:lnTo>
                    <a:pt x="992" y="884"/>
                  </a:lnTo>
                  <a:lnTo>
                    <a:pt x="992" y="884"/>
                  </a:lnTo>
                  <a:close/>
                  <a:moveTo>
                    <a:pt x="1132" y="914"/>
                  </a:moveTo>
                  <a:lnTo>
                    <a:pt x="1132" y="918"/>
                  </a:lnTo>
                  <a:lnTo>
                    <a:pt x="1130" y="918"/>
                  </a:lnTo>
                  <a:lnTo>
                    <a:pt x="1130" y="914"/>
                  </a:lnTo>
                  <a:lnTo>
                    <a:pt x="1132" y="914"/>
                  </a:lnTo>
                  <a:lnTo>
                    <a:pt x="1132" y="914"/>
                  </a:lnTo>
                  <a:lnTo>
                    <a:pt x="1132" y="914"/>
                  </a:lnTo>
                  <a:close/>
                  <a:moveTo>
                    <a:pt x="1052" y="930"/>
                  </a:moveTo>
                  <a:lnTo>
                    <a:pt x="1052" y="934"/>
                  </a:lnTo>
                  <a:lnTo>
                    <a:pt x="1048" y="934"/>
                  </a:lnTo>
                  <a:lnTo>
                    <a:pt x="1048" y="930"/>
                  </a:lnTo>
                  <a:lnTo>
                    <a:pt x="1052" y="930"/>
                  </a:lnTo>
                  <a:lnTo>
                    <a:pt x="1052" y="930"/>
                  </a:lnTo>
                  <a:lnTo>
                    <a:pt x="1052" y="930"/>
                  </a:lnTo>
                  <a:close/>
                  <a:moveTo>
                    <a:pt x="820" y="78"/>
                  </a:moveTo>
                  <a:lnTo>
                    <a:pt x="816" y="78"/>
                  </a:lnTo>
                  <a:lnTo>
                    <a:pt x="816" y="76"/>
                  </a:lnTo>
                  <a:lnTo>
                    <a:pt x="820" y="76"/>
                  </a:lnTo>
                  <a:lnTo>
                    <a:pt x="824" y="76"/>
                  </a:lnTo>
                  <a:lnTo>
                    <a:pt x="828" y="76"/>
                  </a:lnTo>
                  <a:lnTo>
                    <a:pt x="828" y="72"/>
                  </a:lnTo>
                  <a:lnTo>
                    <a:pt x="832" y="72"/>
                  </a:lnTo>
                  <a:lnTo>
                    <a:pt x="834" y="72"/>
                  </a:lnTo>
                  <a:lnTo>
                    <a:pt x="838" y="72"/>
                  </a:lnTo>
                  <a:lnTo>
                    <a:pt x="834" y="68"/>
                  </a:lnTo>
                  <a:lnTo>
                    <a:pt x="834" y="72"/>
                  </a:lnTo>
                  <a:lnTo>
                    <a:pt x="832" y="72"/>
                  </a:lnTo>
                  <a:lnTo>
                    <a:pt x="828" y="72"/>
                  </a:lnTo>
                  <a:lnTo>
                    <a:pt x="820" y="72"/>
                  </a:lnTo>
                  <a:lnTo>
                    <a:pt x="816" y="76"/>
                  </a:lnTo>
                  <a:lnTo>
                    <a:pt x="812" y="76"/>
                  </a:lnTo>
                  <a:lnTo>
                    <a:pt x="812" y="72"/>
                  </a:lnTo>
                  <a:lnTo>
                    <a:pt x="816" y="72"/>
                  </a:lnTo>
                  <a:lnTo>
                    <a:pt x="820" y="72"/>
                  </a:lnTo>
                  <a:lnTo>
                    <a:pt x="816" y="68"/>
                  </a:lnTo>
                  <a:lnTo>
                    <a:pt x="816" y="72"/>
                  </a:lnTo>
                  <a:lnTo>
                    <a:pt x="812" y="72"/>
                  </a:lnTo>
                  <a:lnTo>
                    <a:pt x="808" y="72"/>
                  </a:lnTo>
                  <a:lnTo>
                    <a:pt x="808" y="76"/>
                  </a:lnTo>
                  <a:lnTo>
                    <a:pt x="808" y="78"/>
                  </a:lnTo>
                  <a:lnTo>
                    <a:pt x="806" y="78"/>
                  </a:lnTo>
                  <a:lnTo>
                    <a:pt x="802" y="78"/>
                  </a:lnTo>
                  <a:lnTo>
                    <a:pt x="798" y="78"/>
                  </a:lnTo>
                  <a:lnTo>
                    <a:pt x="794" y="78"/>
                  </a:lnTo>
                  <a:lnTo>
                    <a:pt x="790" y="78"/>
                  </a:lnTo>
                  <a:lnTo>
                    <a:pt x="786" y="78"/>
                  </a:lnTo>
                  <a:lnTo>
                    <a:pt x="782" y="78"/>
                  </a:lnTo>
                  <a:lnTo>
                    <a:pt x="778" y="78"/>
                  </a:lnTo>
                  <a:lnTo>
                    <a:pt x="782" y="76"/>
                  </a:lnTo>
                  <a:lnTo>
                    <a:pt x="778" y="76"/>
                  </a:lnTo>
                  <a:lnTo>
                    <a:pt x="778" y="78"/>
                  </a:lnTo>
                  <a:lnTo>
                    <a:pt x="776" y="78"/>
                  </a:lnTo>
                  <a:lnTo>
                    <a:pt x="772" y="78"/>
                  </a:lnTo>
                  <a:lnTo>
                    <a:pt x="768" y="76"/>
                  </a:lnTo>
                  <a:lnTo>
                    <a:pt x="772" y="72"/>
                  </a:lnTo>
                  <a:lnTo>
                    <a:pt x="776" y="72"/>
                  </a:lnTo>
                  <a:lnTo>
                    <a:pt x="776" y="68"/>
                  </a:lnTo>
                  <a:lnTo>
                    <a:pt x="778" y="68"/>
                  </a:lnTo>
                  <a:lnTo>
                    <a:pt x="782" y="68"/>
                  </a:lnTo>
                  <a:lnTo>
                    <a:pt x="782" y="64"/>
                  </a:lnTo>
                  <a:lnTo>
                    <a:pt x="790" y="64"/>
                  </a:lnTo>
                  <a:lnTo>
                    <a:pt x="794" y="64"/>
                  </a:lnTo>
                  <a:lnTo>
                    <a:pt x="802" y="64"/>
                  </a:lnTo>
                  <a:lnTo>
                    <a:pt x="806" y="64"/>
                  </a:lnTo>
                  <a:lnTo>
                    <a:pt x="808" y="64"/>
                  </a:lnTo>
                  <a:lnTo>
                    <a:pt x="812" y="60"/>
                  </a:lnTo>
                  <a:lnTo>
                    <a:pt x="816" y="60"/>
                  </a:lnTo>
                  <a:lnTo>
                    <a:pt x="820" y="60"/>
                  </a:lnTo>
                  <a:lnTo>
                    <a:pt x="824" y="60"/>
                  </a:lnTo>
                  <a:lnTo>
                    <a:pt x="828" y="60"/>
                  </a:lnTo>
                  <a:lnTo>
                    <a:pt x="824" y="60"/>
                  </a:lnTo>
                  <a:lnTo>
                    <a:pt x="820" y="60"/>
                  </a:lnTo>
                  <a:lnTo>
                    <a:pt x="816" y="60"/>
                  </a:lnTo>
                  <a:lnTo>
                    <a:pt x="812" y="60"/>
                  </a:lnTo>
                  <a:lnTo>
                    <a:pt x="808" y="60"/>
                  </a:lnTo>
                  <a:lnTo>
                    <a:pt x="806" y="60"/>
                  </a:lnTo>
                  <a:lnTo>
                    <a:pt x="802" y="60"/>
                  </a:lnTo>
                  <a:lnTo>
                    <a:pt x="798" y="60"/>
                  </a:lnTo>
                  <a:lnTo>
                    <a:pt x="794" y="64"/>
                  </a:lnTo>
                  <a:lnTo>
                    <a:pt x="790" y="64"/>
                  </a:lnTo>
                  <a:lnTo>
                    <a:pt x="786" y="64"/>
                  </a:lnTo>
                  <a:lnTo>
                    <a:pt x="782" y="64"/>
                  </a:lnTo>
                  <a:lnTo>
                    <a:pt x="778" y="64"/>
                  </a:lnTo>
                  <a:lnTo>
                    <a:pt x="776" y="64"/>
                  </a:lnTo>
                  <a:lnTo>
                    <a:pt x="772" y="68"/>
                  </a:lnTo>
                  <a:lnTo>
                    <a:pt x="764" y="72"/>
                  </a:lnTo>
                  <a:lnTo>
                    <a:pt x="760" y="76"/>
                  </a:lnTo>
                  <a:lnTo>
                    <a:pt x="756" y="76"/>
                  </a:lnTo>
                  <a:lnTo>
                    <a:pt x="752" y="76"/>
                  </a:lnTo>
                  <a:lnTo>
                    <a:pt x="748" y="76"/>
                  </a:lnTo>
                  <a:lnTo>
                    <a:pt x="746" y="76"/>
                  </a:lnTo>
                  <a:lnTo>
                    <a:pt x="746" y="72"/>
                  </a:lnTo>
                  <a:lnTo>
                    <a:pt x="742" y="72"/>
                  </a:lnTo>
                  <a:lnTo>
                    <a:pt x="738" y="72"/>
                  </a:lnTo>
                  <a:lnTo>
                    <a:pt x="734" y="72"/>
                  </a:lnTo>
                  <a:lnTo>
                    <a:pt x="732" y="68"/>
                  </a:lnTo>
                  <a:lnTo>
                    <a:pt x="734" y="68"/>
                  </a:lnTo>
                  <a:lnTo>
                    <a:pt x="738" y="64"/>
                  </a:lnTo>
                  <a:lnTo>
                    <a:pt x="742" y="64"/>
                  </a:lnTo>
                  <a:lnTo>
                    <a:pt x="746" y="64"/>
                  </a:lnTo>
                  <a:lnTo>
                    <a:pt x="748" y="64"/>
                  </a:lnTo>
                  <a:lnTo>
                    <a:pt x="752" y="64"/>
                  </a:lnTo>
                  <a:lnTo>
                    <a:pt x="756" y="64"/>
                  </a:lnTo>
                  <a:lnTo>
                    <a:pt x="760" y="64"/>
                  </a:lnTo>
                  <a:lnTo>
                    <a:pt x="764" y="64"/>
                  </a:lnTo>
                  <a:lnTo>
                    <a:pt x="768" y="64"/>
                  </a:lnTo>
                  <a:lnTo>
                    <a:pt x="772" y="64"/>
                  </a:lnTo>
                  <a:lnTo>
                    <a:pt x="776" y="64"/>
                  </a:lnTo>
                  <a:lnTo>
                    <a:pt x="778" y="60"/>
                  </a:lnTo>
                  <a:lnTo>
                    <a:pt x="782" y="60"/>
                  </a:lnTo>
                  <a:lnTo>
                    <a:pt x="786" y="60"/>
                  </a:lnTo>
                  <a:lnTo>
                    <a:pt x="786" y="56"/>
                  </a:lnTo>
                  <a:lnTo>
                    <a:pt x="790" y="56"/>
                  </a:lnTo>
                  <a:lnTo>
                    <a:pt x="794" y="56"/>
                  </a:lnTo>
                  <a:lnTo>
                    <a:pt x="790" y="56"/>
                  </a:lnTo>
                  <a:lnTo>
                    <a:pt x="786" y="56"/>
                  </a:lnTo>
                  <a:lnTo>
                    <a:pt x="782" y="56"/>
                  </a:lnTo>
                  <a:lnTo>
                    <a:pt x="778" y="56"/>
                  </a:lnTo>
                  <a:lnTo>
                    <a:pt x="776" y="60"/>
                  </a:lnTo>
                  <a:lnTo>
                    <a:pt x="772" y="60"/>
                  </a:lnTo>
                  <a:lnTo>
                    <a:pt x="768" y="60"/>
                  </a:lnTo>
                  <a:lnTo>
                    <a:pt x="764" y="60"/>
                  </a:lnTo>
                  <a:lnTo>
                    <a:pt x="760" y="60"/>
                  </a:lnTo>
                  <a:lnTo>
                    <a:pt x="760" y="64"/>
                  </a:lnTo>
                  <a:lnTo>
                    <a:pt x="752" y="64"/>
                  </a:lnTo>
                  <a:lnTo>
                    <a:pt x="748" y="64"/>
                  </a:lnTo>
                  <a:lnTo>
                    <a:pt x="746" y="64"/>
                  </a:lnTo>
                  <a:lnTo>
                    <a:pt x="742" y="64"/>
                  </a:lnTo>
                  <a:lnTo>
                    <a:pt x="738" y="64"/>
                  </a:lnTo>
                  <a:lnTo>
                    <a:pt x="734" y="64"/>
                  </a:lnTo>
                  <a:lnTo>
                    <a:pt x="732" y="64"/>
                  </a:lnTo>
                  <a:lnTo>
                    <a:pt x="728" y="64"/>
                  </a:lnTo>
                  <a:lnTo>
                    <a:pt x="724" y="64"/>
                  </a:lnTo>
                  <a:lnTo>
                    <a:pt x="720" y="64"/>
                  </a:lnTo>
                  <a:lnTo>
                    <a:pt x="716" y="60"/>
                  </a:lnTo>
                  <a:lnTo>
                    <a:pt x="720" y="56"/>
                  </a:lnTo>
                  <a:lnTo>
                    <a:pt x="724" y="56"/>
                  </a:lnTo>
                  <a:lnTo>
                    <a:pt x="728" y="56"/>
                  </a:lnTo>
                  <a:lnTo>
                    <a:pt x="728" y="60"/>
                  </a:lnTo>
                  <a:lnTo>
                    <a:pt x="732" y="60"/>
                  </a:lnTo>
                  <a:lnTo>
                    <a:pt x="732" y="56"/>
                  </a:lnTo>
                  <a:lnTo>
                    <a:pt x="734" y="56"/>
                  </a:lnTo>
                  <a:lnTo>
                    <a:pt x="732" y="56"/>
                  </a:lnTo>
                  <a:lnTo>
                    <a:pt x="728" y="56"/>
                  </a:lnTo>
                  <a:lnTo>
                    <a:pt x="724" y="56"/>
                  </a:lnTo>
                  <a:lnTo>
                    <a:pt x="724" y="52"/>
                  </a:lnTo>
                  <a:lnTo>
                    <a:pt x="728" y="52"/>
                  </a:lnTo>
                  <a:lnTo>
                    <a:pt x="732" y="52"/>
                  </a:lnTo>
                  <a:lnTo>
                    <a:pt x="734" y="52"/>
                  </a:lnTo>
                  <a:lnTo>
                    <a:pt x="738" y="50"/>
                  </a:lnTo>
                  <a:lnTo>
                    <a:pt x="742" y="50"/>
                  </a:lnTo>
                  <a:lnTo>
                    <a:pt x="746" y="50"/>
                  </a:lnTo>
                  <a:lnTo>
                    <a:pt x="748" y="50"/>
                  </a:lnTo>
                  <a:lnTo>
                    <a:pt x="752" y="50"/>
                  </a:lnTo>
                  <a:lnTo>
                    <a:pt x="756" y="50"/>
                  </a:lnTo>
                  <a:lnTo>
                    <a:pt x="760" y="50"/>
                  </a:lnTo>
                  <a:lnTo>
                    <a:pt x="756" y="50"/>
                  </a:lnTo>
                  <a:lnTo>
                    <a:pt x="752" y="50"/>
                  </a:lnTo>
                  <a:lnTo>
                    <a:pt x="748" y="50"/>
                  </a:lnTo>
                  <a:lnTo>
                    <a:pt x="746" y="50"/>
                  </a:lnTo>
                  <a:lnTo>
                    <a:pt x="742" y="50"/>
                  </a:lnTo>
                  <a:lnTo>
                    <a:pt x="738" y="50"/>
                  </a:lnTo>
                  <a:lnTo>
                    <a:pt x="734" y="50"/>
                  </a:lnTo>
                  <a:lnTo>
                    <a:pt x="732" y="50"/>
                  </a:lnTo>
                  <a:lnTo>
                    <a:pt x="728" y="50"/>
                  </a:lnTo>
                  <a:lnTo>
                    <a:pt x="728" y="52"/>
                  </a:lnTo>
                  <a:lnTo>
                    <a:pt x="720" y="52"/>
                  </a:lnTo>
                  <a:lnTo>
                    <a:pt x="716" y="52"/>
                  </a:lnTo>
                  <a:lnTo>
                    <a:pt x="712" y="52"/>
                  </a:lnTo>
                  <a:lnTo>
                    <a:pt x="716" y="52"/>
                  </a:lnTo>
                  <a:lnTo>
                    <a:pt x="712" y="52"/>
                  </a:lnTo>
                  <a:lnTo>
                    <a:pt x="708" y="52"/>
                  </a:lnTo>
                  <a:lnTo>
                    <a:pt x="708" y="50"/>
                  </a:lnTo>
                  <a:lnTo>
                    <a:pt x="712" y="50"/>
                  </a:lnTo>
                  <a:lnTo>
                    <a:pt x="716" y="50"/>
                  </a:lnTo>
                  <a:lnTo>
                    <a:pt x="720" y="50"/>
                  </a:lnTo>
                  <a:lnTo>
                    <a:pt x="724" y="46"/>
                  </a:lnTo>
                  <a:lnTo>
                    <a:pt x="728" y="46"/>
                  </a:lnTo>
                  <a:lnTo>
                    <a:pt x="724" y="46"/>
                  </a:lnTo>
                  <a:lnTo>
                    <a:pt x="720" y="46"/>
                  </a:lnTo>
                  <a:lnTo>
                    <a:pt x="716" y="46"/>
                  </a:lnTo>
                  <a:lnTo>
                    <a:pt x="712" y="46"/>
                  </a:lnTo>
                  <a:lnTo>
                    <a:pt x="708" y="46"/>
                  </a:lnTo>
                  <a:lnTo>
                    <a:pt x="708" y="50"/>
                  </a:lnTo>
                  <a:lnTo>
                    <a:pt x="706" y="50"/>
                  </a:lnTo>
                  <a:lnTo>
                    <a:pt x="702" y="50"/>
                  </a:lnTo>
                  <a:lnTo>
                    <a:pt x="702" y="46"/>
                  </a:lnTo>
                  <a:lnTo>
                    <a:pt x="698" y="46"/>
                  </a:lnTo>
                  <a:lnTo>
                    <a:pt x="694" y="46"/>
                  </a:lnTo>
                  <a:lnTo>
                    <a:pt x="698" y="46"/>
                  </a:lnTo>
                  <a:lnTo>
                    <a:pt x="698" y="42"/>
                  </a:lnTo>
                  <a:lnTo>
                    <a:pt x="702" y="42"/>
                  </a:lnTo>
                  <a:lnTo>
                    <a:pt x="706" y="42"/>
                  </a:lnTo>
                  <a:lnTo>
                    <a:pt x="708" y="42"/>
                  </a:lnTo>
                  <a:lnTo>
                    <a:pt x="708" y="38"/>
                  </a:lnTo>
                  <a:lnTo>
                    <a:pt x="712" y="38"/>
                  </a:lnTo>
                  <a:lnTo>
                    <a:pt x="716" y="38"/>
                  </a:lnTo>
                  <a:lnTo>
                    <a:pt x="720" y="38"/>
                  </a:lnTo>
                  <a:lnTo>
                    <a:pt x="724" y="38"/>
                  </a:lnTo>
                  <a:lnTo>
                    <a:pt x="728" y="38"/>
                  </a:lnTo>
                  <a:lnTo>
                    <a:pt x="732" y="42"/>
                  </a:lnTo>
                  <a:lnTo>
                    <a:pt x="732" y="38"/>
                  </a:lnTo>
                  <a:lnTo>
                    <a:pt x="734" y="38"/>
                  </a:lnTo>
                  <a:lnTo>
                    <a:pt x="734" y="34"/>
                  </a:lnTo>
                  <a:lnTo>
                    <a:pt x="738" y="34"/>
                  </a:lnTo>
                  <a:lnTo>
                    <a:pt x="742" y="34"/>
                  </a:lnTo>
                  <a:lnTo>
                    <a:pt x="746" y="34"/>
                  </a:lnTo>
                  <a:lnTo>
                    <a:pt x="748" y="30"/>
                  </a:lnTo>
                  <a:lnTo>
                    <a:pt x="752" y="34"/>
                  </a:lnTo>
                  <a:lnTo>
                    <a:pt x="752" y="30"/>
                  </a:lnTo>
                  <a:lnTo>
                    <a:pt x="756" y="30"/>
                  </a:lnTo>
                  <a:lnTo>
                    <a:pt x="756" y="34"/>
                  </a:lnTo>
                  <a:lnTo>
                    <a:pt x="760" y="34"/>
                  </a:lnTo>
                  <a:lnTo>
                    <a:pt x="760" y="38"/>
                  </a:lnTo>
                  <a:lnTo>
                    <a:pt x="764" y="38"/>
                  </a:lnTo>
                  <a:lnTo>
                    <a:pt x="768" y="38"/>
                  </a:lnTo>
                  <a:lnTo>
                    <a:pt x="764" y="38"/>
                  </a:lnTo>
                  <a:lnTo>
                    <a:pt x="760" y="38"/>
                  </a:lnTo>
                  <a:lnTo>
                    <a:pt x="760" y="34"/>
                  </a:lnTo>
                  <a:lnTo>
                    <a:pt x="764" y="34"/>
                  </a:lnTo>
                  <a:lnTo>
                    <a:pt x="768" y="34"/>
                  </a:lnTo>
                  <a:lnTo>
                    <a:pt x="772" y="34"/>
                  </a:lnTo>
                  <a:lnTo>
                    <a:pt x="776" y="34"/>
                  </a:lnTo>
                  <a:lnTo>
                    <a:pt x="778" y="34"/>
                  </a:lnTo>
                  <a:lnTo>
                    <a:pt x="782" y="34"/>
                  </a:lnTo>
                  <a:lnTo>
                    <a:pt x="782" y="38"/>
                  </a:lnTo>
                  <a:lnTo>
                    <a:pt x="786" y="38"/>
                  </a:lnTo>
                  <a:lnTo>
                    <a:pt x="782" y="38"/>
                  </a:lnTo>
                  <a:lnTo>
                    <a:pt x="782" y="34"/>
                  </a:lnTo>
                  <a:lnTo>
                    <a:pt x="786" y="34"/>
                  </a:lnTo>
                  <a:lnTo>
                    <a:pt x="790" y="34"/>
                  </a:lnTo>
                  <a:lnTo>
                    <a:pt x="790" y="38"/>
                  </a:lnTo>
                  <a:lnTo>
                    <a:pt x="794" y="38"/>
                  </a:lnTo>
                  <a:lnTo>
                    <a:pt x="790" y="38"/>
                  </a:lnTo>
                  <a:lnTo>
                    <a:pt x="790" y="34"/>
                  </a:lnTo>
                  <a:lnTo>
                    <a:pt x="794" y="34"/>
                  </a:lnTo>
                  <a:lnTo>
                    <a:pt x="794" y="38"/>
                  </a:lnTo>
                  <a:lnTo>
                    <a:pt x="798" y="38"/>
                  </a:lnTo>
                  <a:lnTo>
                    <a:pt x="794" y="34"/>
                  </a:lnTo>
                  <a:lnTo>
                    <a:pt x="790" y="34"/>
                  </a:lnTo>
                  <a:lnTo>
                    <a:pt x="786" y="34"/>
                  </a:lnTo>
                  <a:lnTo>
                    <a:pt x="782" y="34"/>
                  </a:lnTo>
                  <a:lnTo>
                    <a:pt x="778" y="34"/>
                  </a:lnTo>
                  <a:lnTo>
                    <a:pt x="778" y="30"/>
                  </a:lnTo>
                  <a:lnTo>
                    <a:pt x="776" y="30"/>
                  </a:lnTo>
                  <a:lnTo>
                    <a:pt x="772" y="30"/>
                  </a:lnTo>
                  <a:lnTo>
                    <a:pt x="768" y="30"/>
                  </a:lnTo>
                  <a:lnTo>
                    <a:pt x="764" y="30"/>
                  </a:lnTo>
                  <a:lnTo>
                    <a:pt x="764" y="26"/>
                  </a:lnTo>
                  <a:lnTo>
                    <a:pt x="768" y="26"/>
                  </a:lnTo>
                  <a:lnTo>
                    <a:pt x="772" y="26"/>
                  </a:lnTo>
                  <a:lnTo>
                    <a:pt x="776" y="26"/>
                  </a:lnTo>
                  <a:lnTo>
                    <a:pt x="778" y="26"/>
                  </a:lnTo>
                  <a:lnTo>
                    <a:pt x="782" y="26"/>
                  </a:lnTo>
                  <a:lnTo>
                    <a:pt x="786" y="26"/>
                  </a:lnTo>
                  <a:lnTo>
                    <a:pt x="782" y="22"/>
                  </a:lnTo>
                  <a:lnTo>
                    <a:pt x="786" y="22"/>
                  </a:lnTo>
                  <a:lnTo>
                    <a:pt x="782" y="22"/>
                  </a:lnTo>
                  <a:lnTo>
                    <a:pt x="778" y="22"/>
                  </a:lnTo>
                  <a:lnTo>
                    <a:pt x="778" y="20"/>
                  </a:lnTo>
                  <a:lnTo>
                    <a:pt x="782" y="20"/>
                  </a:lnTo>
                  <a:lnTo>
                    <a:pt x="786" y="20"/>
                  </a:lnTo>
                  <a:lnTo>
                    <a:pt x="790" y="20"/>
                  </a:lnTo>
                  <a:lnTo>
                    <a:pt x="798" y="20"/>
                  </a:lnTo>
                  <a:lnTo>
                    <a:pt x="798" y="22"/>
                  </a:lnTo>
                  <a:lnTo>
                    <a:pt x="794" y="22"/>
                  </a:lnTo>
                  <a:lnTo>
                    <a:pt x="798" y="22"/>
                  </a:lnTo>
                  <a:lnTo>
                    <a:pt x="802" y="22"/>
                  </a:lnTo>
                  <a:lnTo>
                    <a:pt x="806" y="22"/>
                  </a:lnTo>
                  <a:lnTo>
                    <a:pt x="808" y="22"/>
                  </a:lnTo>
                  <a:lnTo>
                    <a:pt x="812" y="26"/>
                  </a:lnTo>
                  <a:lnTo>
                    <a:pt x="816" y="26"/>
                  </a:lnTo>
                  <a:lnTo>
                    <a:pt x="816" y="30"/>
                  </a:lnTo>
                  <a:lnTo>
                    <a:pt x="820" y="30"/>
                  </a:lnTo>
                  <a:lnTo>
                    <a:pt x="820" y="34"/>
                  </a:lnTo>
                  <a:lnTo>
                    <a:pt x="824" y="34"/>
                  </a:lnTo>
                  <a:lnTo>
                    <a:pt x="828" y="34"/>
                  </a:lnTo>
                  <a:lnTo>
                    <a:pt x="832" y="34"/>
                  </a:lnTo>
                  <a:lnTo>
                    <a:pt x="834" y="34"/>
                  </a:lnTo>
                  <a:lnTo>
                    <a:pt x="832" y="34"/>
                  </a:lnTo>
                  <a:lnTo>
                    <a:pt x="828" y="30"/>
                  </a:lnTo>
                  <a:lnTo>
                    <a:pt x="824" y="30"/>
                  </a:lnTo>
                  <a:lnTo>
                    <a:pt x="820" y="30"/>
                  </a:lnTo>
                  <a:lnTo>
                    <a:pt x="820" y="26"/>
                  </a:lnTo>
                  <a:lnTo>
                    <a:pt x="824" y="26"/>
                  </a:lnTo>
                  <a:lnTo>
                    <a:pt x="828" y="26"/>
                  </a:lnTo>
                  <a:lnTo>
                    <a:pt x="832" y="26"/>
                  </a:lnTo>
                  <a:lnTo>
                    <a:pt x="832" y="30"/>
                  </a:lnTo>
                  <a:lnTo>
                    <a:pt x="834" y="30"/>
                  </a:lnTo>
                  <a:lnTo>
                    <a:pt x="838" y="30"/>
                  </a:lnTo>
                  <a:lnTo>
                    <a:pt x="842" y="30"/>
                  </a:lnTo>
                  <a:lnTo>
                    <a:pt x="846" y="34"/>
                  </a:lnTo>
                  <a:lnTo>
                    <a:pt x="850" y="34"/>
                  </a:lnTo>
                  <a:lnTo>
                    <a:pt x="854" y="34"/>
                  </a:lnTo>
                  <a:lnTo>
                    <a:pt x="858" y="34"/>
                  </a:lnTo>
                  <a:lnTo>
                    <a:pt x="862" y="34"/>
                  </a:lnTo>
                  <a:lnTo>
                    <a:pt x="864" y="38"/>
                  </a:lnTo>
                  <a:lnTo>
                    <a:pt x="868" y="38"/>
                  </a:lnTo>
                  <a:lnTo>
                    <a:pt x="868" y="42"/>
                  </a:lnTo>
                  <a:lnTo>
                    <a:pt x="872" y="42"/>
                  </a:lnTo>
                  <a:lnTo>
                    <a:pt x="868" y="38"/>
                  </a:lnTo>
                  <a:lnTo>
                    <a:pt x="864" y="34"/>
                  </a:lnTo>
                  <a:lnTo>
                    <a:pt x="862" y="34"/>
                  </a:lnTo>
                  <a:lnTo>
                    <a:pt x="858" y="34"/>
                  </a:lnTo>
                  <a:lnTo>
                    <a:pt x="854" y="34"/>
                  </a:lnTo>
                  <a:lnTo>
                    <a:pt x="850" y="34"/>
                  </a:lnTo>
                  <a:lnTo>
                    <a:pt x="850" y="30"/>
                  </a:lnTo>
                  <a:lnTo>
                    <a:pt x="846" y="30"/>
                  </a:lnTo>
                  <a:lnTo>
                    <a:pt x="842" y="30"/>
                  </a:lnTo>
                  <a:lnTo>
                    <a:pt x="838" y="26"/>
                  </a:lnTo>
                  <a:lnTo>
                    <a:pt x="834" y="26"/>
                  </a:lnTo>
                  <a:lnTo>
                    <a:pt x="832" y="26"/>
                  </a:lnTo>
                  <a:lnTo>
                    <a:pt x="828" y="26"/>
                  </a:lnTo>
                  <a:lnTo>
                    <a:pt x="828" y="22"/>
                  </a:lnTo>
                  <a:lnTo>
                    <a:pt x="824" y="22"/>
                  </a:lnTo>
                  <a:lnTo>
                    <a:pt x="828" y="20"/>
                  </a:lnTo>
                  <a:lnTo>
                    <a:pt x="832" y="20"/>
                  </a:lnTo>
                  <a:lnTo>
                    <a:pt x="838" y="20"/>
                  </a:lnTo>
                  <a:lnTo>
                    <a:pt x="842" y="20"/>
                  </a:lnTo>
                  <a:lnTo>
                    <a:pt x="838" y="20"/>
                  </a:lnTo>
                  <a:lnTo>
                    <a:pt x="834" y="20"/>
                  </a:lnTo>
                  <a:lnTo>
                    <a:pt x="832" y="20"/>
                  </a:lnTo>
                  <a:lnTo>
                    <a:pt x="832" y="16"/>
                  </a:lnTo>
                  <a:lnTo>
                    <a:pt x="828" y="16"/>
                  </a:lnTo>
                  <a:lnTo>
                    <a:pt x="832" y="16"/>
                  </a:lnTo>
                  <a:lnTo>
                    <a:pt x="834" y="16"/>
                  </a:lnTo>
                  <a:lnTo>
                    <a:pt x="842" y="16"/>
                  </a:lnTo>
                  <a:lnTo>
                    <a:pt x="846" y="20"/>
                  </a:lnTo>
                  <a:lnTo>
                    <a:pt x="850" y="20"/>
                  </a:lnTo>
                  <a:lnTo>
                    <a:pt x="854" y="20"/>
                  </a:lnTo>
                  <a:lnTo>
                    <a:pt x="850" y="16"/>
                  </a:lnTo>
                  <a:lnTo>
                    <a:pt x="846" y="16"/>
                  </a:lnTo>
                  <a:lnTo>
                    <a:pt x="846" y="12"/>
                  </a:lnTo>
                  <a:lnTo>
                    <a:pt x="842" y="12"/>
                  </a:lnTo>
                  <a:lnTo>
                    <a:pt x="838" y="12"/>
                  </a:lnTo>
                  <a:lnTo>
                    <a:pt x="842" y="12"/>
                  </a:lnTo>
                  <a:lnTo>
                    <a:pt x="842" y="8"/>
                  </a:lnTo>
                  <a:lnTo>
                    <a:pt x="850" y="12"/>
                  </a:lnTo>
                  <a:lnTo>
                    <a:pt x="858" y="12"/>
                  </a:lnTo>
                  <a:lnTo>
                    <a:pt x="862" y="12"/>
                  </a:lnTo>
                  <a:lnTo>
                    <a:pt x="862" y="16"/>
                  </a:lnTo>
                  <a:lnTo>
                    <a:pt x="864" y="16"/>
                  </a:lnTo>
                  <a:lnTo>
                    <a:pt x="864" y="12"/>
                  </a:lnTo>
                  <a:lnTo>
                    <a:pt x="868" y="16"/>
                  </a:lnTo>
                  <a:lnTo>
                    <a:pt x="872" y="16"/>
                  </a:lnTo>
                  <a:lnTo>
                    <a:pt x="876" y="16"/>
                  </a:lnTo>
                  <a:lnTo>
                    <a:pt x="880" y="16"/>
                  </a:lnTo>
                  <a:lnTo>
                    <a:pt x="884" y="16"/>
                  </a:lnTo>
                  <a:lnTo>
                    <a:pt x="880" y="16"/>
                  </a:lnTo>
                  <a:lnTo>
                    <a:pt x="876" y="16"/>
                  </a:lnTo>
                  <a:lnTo>
                    <a:pt x="872" y="16"/>
                  </a:lnTo>
                  <a:lnTo>
                    <a:pt x="872" y="12"/>
                  </a:lnTo>
                  <a:lnTo>
                    <a:pt x="868" y="12"/>
                  </a:lnTo>
                  <a:lnTo>
                    <a:pt x="864" y="12"/>
                  </a:lnTo>
                  <a:lnTo>
                    <a:pt x="862" y="12"/>
                  </a:lnTo>
                  <a:lnTo>
                    <a:pt x="864" y="12"/>
                  </a:lnTo>
                  <a:lnTo>
                    <a:pt x="868" y="12"/>
                  </a:lnTo>
                  <a:lnTo>
                    <a:pt x="864" y="8"/>
                  </a:lnTo>
                  <a:lnTo>
                    <a:pt x="862" y="8"/>
                  </a:lnTo>
                  <a:lnTo>
                    <a:pt x="858" y="8"/>
                  </a:lnTo>
                  <a:lnTo>
                    <a:pt x="862" y="8"/>
                  </a:lnTo>
                  <a:lnTo>
                    <a:pt x="864" y="4"/>
                  </a:lnTo>
                  <a:lnTo>
                    <a:pt x="868" y="4"/>
                  </a:lnTo>
                  <a:lnTo>
                    <a:pt x="872" y="4"/>
                  </a:lnTo>
                  <a:lnTo>
                    <a:pt x="876" y="4"/>
                  </a:lnTo>
                  <a:lnTo>
                    <a:pt x="876" y="8"/>
                  </a:lnTo>
                  <a:lnTo>
                    <a:pt x="880" y="8"/>
                  </a:lnTo>
                  <a:lnTo>
                    <a:pt x="884" y="8"/>
                  </a:lnTo>
                  <a:lnTo>
                    <a:pt x="888" y="8"/>
                  </a:lnTo>
                  <a:lnTo>
                    <a:pt x="888" y="12"/>
                  </a:lnTo>
                  <a:lnTo>
                    <a:pt x="890" y="8"/>
                  </a:lnTo>
                  <a:lnTo>
                    <a:pt x="888" y="8"/>
                  </a:lnTo>
                  <a:lnTo>
                    <a:pt x="890" y="8"/>
                  </a:lnTo>
                  <a:lnTo>
                    <a:pt x="894" y="8"/>
                  </a:lnTo>
                  <a:lnTo>
                    <a:pt x="898" y="8"/>
                  </a:lnTo>
                  <a:lnTo>
                    <a:pt x="902" y="8"/>
                  </a:lnTo>
                  <a:lnTo>
                    <a:pt x="906" y="12"/>
                  </a:lnTo>
                  <a:lnTo>
                    <a:pt x="910" y="12"/>
                  </a:lnTo>
                  <a:lnTo>
                    <a:pt x="910" y="16"/>
                  </a:lnTo>
                  <a:lnTo>
                    <a:pt x="914" y="16"/>
                  </a:lnTo>
                  <a:lnTo>
                    <a:pt x="918" y="16"/>
                  </a:lnTo>
                  <a:lnTo>
                    <a:pt x="920" y="16"/>
                  </a:lnTo>
                  <a:lnTo>
                    <a:pt x="920" y="20"/>
                  </a:lnTo>
                  <a:lnTo>
                    <a:pt x="918" y="20"/>
                  </a:lnTo>
                  <a:lnTo>
                    <a:pt x="918" y="22"/>
                  </a:lnTo>
                  <a:lnTo>
                    <a:pt x="918" y="20"/>
                  </a:lnTo>
                  <a:lnTo>
                    <a:pt x="920" y="20"/>
                  </a:lnTo>
                  <a:lnTo>
                    <a:pt x="924" y="16"/>
                  </a:lnTo>
                  <a:lnTo>
                    <a:pt x="928" y="16"/>
                  </a:lnTo>
                  <a:lnTo>
                    <a:pt x="924" y="16"/>
                  </a:lnTo>
                  <a:lnTo>
                    <a:pt x="920" y="16"/>
                  </a:lnTo>
                  <a:lnTo>
                    <a:pt x="918" y="16"/>
                  </a:lnTo>
                  <a:lnTo>
                    <a:pt x="918" y="12"/>
                  </a:lnTo>
                  <a:lnTo>
                    <a:pt x="914" y="12"/>
                  </a:lnTo>
                  <a:lnTo>
                    <a:pt x="918" y="12"/>
                  </a:lnTo>
                  <a:lnTo>
                    <a:pt x="920" y="12"/>
                  </a:lnTo>
                  <a:lnTo>
                    <a:pt x="918" y="12"/>
                  </a:lnTo>
                  <a:lnTo>
                    <a:pt x="914" y="12"/>
                  </a:lnTo>
                  <a:lnTo>
                    <a:pt x="910" y="8"/>
                  </a:lnTo>
                  <a:lnTo>
                    <a:pt x="906" y="8"/>
                  </a:lnTo>
                  <a:lnTo>
                    <a:pt x="902" y="8"/>
                  </a:lnTo>
                  <a:lnTo>
                    <a:pt x="898" y="4"/>
                  </a:lnTo>
                  <a:lnTo>
                    <a:pt x="902" y="4"/>
                  </a:lnTo>
                  <a:lnTo>
                    <a:pt x="906" y="4"/>
                  </a:lnTo>
                  <a:lnTo>
                    <a:pt x="910" y="4"/>
                  </a:lnTo>
                  <a:lnTo>
                    <a:pt x="914" y="4"/>
                  </a:lnTo>
                  <a:lnTo>
                    <a:pt x="918" y="4"/>
                  </a:lnTo>
                  <a:lnTo>
                    <a:pt x="920" y="4"/>
                  </a:lnTo>
                  <a:lnTo>
                    <a:pt x="924" y="4"/>
                  </a:lnTo>
                  <a:lnTo>
                    <a:pt x="928" y="4"/>
                  </a:lnTo>
                  <a:lnTo>
                    <a:pt x="932" y="4"/>
                  </a:lnTo>
                  <a:lnTo>
                    <a:pt x="936" y="4"/>
                  </a:lnTo>
                  <a:lnTo>
                    <a:pt x="940" y="4"/>
                  </a:lnTo>
                  <a:lnTo>
                    <a:pt x="944" y="4"/>
                  </a:lnTo>
                  <a:lnTo>
                    <a:pt x="948" y="4"/>
                  </a:lnTo>
                  <a:lnTo>
                    <a:pt x="950" y="8"/>
                  </a:lnTo>
                  <a:lnTo>
                    <a:pt x="954" y="12"/>
                  </a:lnTo>
                  <a:lnTo>
                    <a:pt x="958" y="12"/>
                  </a:lnTo>
                  <a:lnTo>
                    <a:pt x="962" y="12"/>
                  </a:lnTo>
                  <a:lnTo>
                    <a:pt x="966" y="12"/>
                  </a:lnTo>
                  <a:lnTo>
                    <a:pt x="966" y="16"/>
                  </a:lnTo>
                  <a:lnTo>
                    <a:pt x="970" y="12"/>
                  </a:lnTo>
                  <a:lnTo>
                    <a:pt x="966" y="12"/>
                  </a:lnTo>
                  <a:lnTo>
                    <a:pt x="962" y="12"/>
                  </a:lnTo>
                  <a:lnTo>
                    <a:pt x="958" y="12"/>
                  </a:lnTo>
                  <a:lnTo>
                    <a:pt x="954" y="8"/>
                  </a:lnTo>
                  <a:lnTo>
                    <a:pt x="958" y="4"/>
                  </a:lnTo>
                  <a:lnTo>
                    <a:pt x="962" y="4"/>
                  </a:lnTo>
                  <a:lnTo>
                    <a:pt x="966" y="0"/>
                  </a:lnTo>
                  <a:lnTo>
                    <a:pt x="970" y="0"/>
                  </a:lnTo>
                  <a:lnTo>
                    <a:pt x="974" y="0"/>
                  </a:lnTo>
                  <a:lnTo>
                    <a:pt x="976" y="0"/>
                  </a:lnTo>
                  <a:lnTo>
                    <a:pt x="980" y="0"/>
                  </a:lnTo>
                  <a:lnTo>
                    <a:pt x="980" y="4"/>
                  </a:lnTo>
                  <a:lnTo>
                    <a:pt x="980" y="8"/>
                  </a:lnTo>
                  <a:lnTo>
                    <a:pt x="984" y="8"/>
                  </a:lnTo>
                  <a:lnTo>
                    <a:pt x="988" y="8"/>
                  </a:lnTo>
                  <a:lnTo>
                    <a:pt x="992" y="8"/>
                  </a:lnTo>
                  <a:lnTo>
                    <a:pt x="988" y="8"/>
                  </a:lnTo>
                  <a:lnTo>
                    <a:pt x="984" y="4"/>
                  </a:lnTo>
                  <a:lnTo>
                    <a:pt x="988" y="0"/>
                  </a:lnTo>
                  <a:lnTo>
                    <a:pt x="992" y="0"/>
                  </a:lnTo>
                  <a:lnTo>
                    <a:pt x="996" y="0"/>
                  </a:lnTo>
                  <a:lnTo>
                    <a:pt x="1000" y="0"/>
                  </a:lnTo>
                  <a:lnTo>
                    <a:pt x="1004" y="0"/>
                  </a:lnTo>
                  <a:lnTo>
                    <a:pt x="1006" y="0"/>
                  </a:lnTo>
                  <a:lnTo>
                    <a:pt x="1010" y="0"/>
                  </a:lnTo>
                  <a:lnTo>
                    <a:pt x="1010" y="4"/>
                  </a:lnTo>
                  <a:lnTo>
                    <a:pt x="1006" y="4"/>
                  </a:lnTo>
                  <a:lnTo>
                    <a:pt x="1010" y="4"/>
                  </a:lnTo>
                  <a:lnTo>
                    <a:pt x="1014" y="4"/>
                  </a:lnTo>
                  <a:lnTo>
                    <a:pt x="1018" y="4"/>
                  </a:lnTo>
                  <a:lnTo>
                    <a:pt x="1022" y="4"/>
                  </a:lnTo>
                  <a:lnTo>
                    <a:pt x="1026" y="4"/>
                  </a:lnTo>
                  <a:lnTo>
                    <a:pt x="1030" y="4"/>
                  </a:lnTo>
                  <a:lnTo>
                    <a:pt x="1030" y="8"/>
                  </a:lnTo>
                  <a:lnTo>
                    <a:pt x="1032" y="8"/>
                  </a:lnTo>
                  <a:lnTo>
                    <a:pt x="1032" y="4"/>
                  </a:lnTo>
                  <a:lnTo>
                    <a:pt x="1036" y="4"/>
                  </a:lnTo>
                  <a:lnTo>
                    <a:pt x="1040" y="4"/>
                  </a:lnTo>
                  <a:lnTo>
                    <a:pt x="1040" y="8"/>
                  </a:lnTo>
                  <a:lnTo>
                    <a:pt x="1044" y="8"/>
                  </a:lnTo>
                  <a:lnTo>
                    <a:pt x="1044" y="4"/>
                  </a:lnTo>
                  <a:lnTo>
                    <a:pt x="1048" y="4"/>
                  </a:lnTo>
                  <a:lnTo>
                    <a:pt x="1048" y="8"/>
                  </a:lnTo>
                  <a:lnTo>
                    <a:pt x="1052" y="8"/>
                  </a:lnTo>
                  <a:lnTo>
                    <a:pt x="1056" y="8"/>
                  </a:lnTo>
                  <a:lnTo>
                    <a:pt x="1048" y="12"/>
                  </a:lnTo>
                  <a:lnTo>
                    <a:pt x="1044" y="12"/>
                  </a:lnTo>
                  <a:lnTo>
                    <a:pt x="1040" y="12"/>
                  </a:lnTo>
                  <a:lnTo>
                    <a:pt x="1036" y="12"/>
                  </a:lnTo>
                  <a:lnTo>
                    <a:pt x="1032" y="12"/>
                  </a:lnTo>
                  <a:lnTo>
                    <a:pt x="1032" y="16"/>
                  </a:lnTo>
                  <a:lnTo>
                    <a:pt x="1030" y="16"/>
                  </a:lnTo>
                  <a:lnTo>
                    <a:pt x="1026" y="16"/>
                  </a:lnTo>
                  <a:lnTo>
                    <a:pt x="1022" y="16"/>
                  </a:lnTo>
                  <a:lnTo>
                    <a:pt x="1026" y="16"/>
                  </a:lnTo>
                  <a:lnTo>
                    <a:pt x="1030" y="16"/>
                  </a:lnTo>
                  <a:lnTo>
                    <a:pt x="1032" y="16"/>
                  </a:lnTo>
                  <a:lnTo>
                    <a:pt x="1036" y="16"/>
                  </a:lnTo>
                  <a:lnTo>
                    <a:pt x="1040" y="16"/>
                  </a:lnTo>
                  <a:lnTo>
                    <a:pt x="1044" y="16"/>
                  </a:lnTo>
                  <a:lnTo>
                    <a:pt x="1048" y="12"/>
                  </a:lnTo>
                  <a:lnTo>
                    <a:pt x="1052" y="12"/>
                  </a:lnTo>
                  <a:lnTo>
                    <a:pt x="1060" y="12"/>
                  </a:lnTo>
                  <a:lnTo>
                    <a:pt x="1062" y="8"/>
                  </a:lnTo>
                  <a:lnTo>
                    <a:pt x="1066" y="8"/>
                  </a:lnTo>
                  <a:lnTo>
                    <a:pt x="1070" y="8"/>
                  </a:lnTo>
                  <a:lnTo>
                    <a:pt x="1066" y="12"/>
                  </a:lnTo>
                  <a:lnTo>
                    <a:pt x="1070" y="12"/>
                  </a:lnTo>
                  <a:lnTo>
                    <a:pt x="1074" y="12"/>
                  </a:lnTo>
                  <a:lnTo>
                    <a:pt x="1070" y="12"/>
                  </a:lnTo>
                  <a:lnTo>
                    <a:pt x="1070" y="8"/>
                  </a:lnTo>
                  <a:lnTo>
                    <a:pt x="1074" y="8"/>
                  </a:lnTo>
                  <a:lnTo>
                    <a:pt x="1070" y="8"/>
                  </a:lnTo>
                  <a:lnTo>
                    <a:pt x="1074" y="8"/>
                  </a:lnTo>
                  <a:lnTo>
                    <a:pt x="1076" y="8"/>
                  </a:lnTo>
                  <a:lnTo>
                    <a:pt x="1080" y="8"/>
                  </a:lnTo>
                  <a:lnTo>
                    <a:pt x="1076" y="8"/>
                  </a:lnTo>
                  <a:lnTo>
                    <a:pt x="1076" y="12"/>
                  </a:lnTo>
                  <a:lnTo>
                    <a:pt x="1080" y="12"/>
                  </a:lnTo>
                  <a:lnTo>
                    <a:pt x="1084" y="12"/>
                  </a:lnTo>
                  <a:lnTo>
                    <a:pt x="1088" y="8"/>
                  </a:lnTo>
                  <a:lnTo>
                    <a:pt x="1092" y="8"/>
                  </a:lnTo>
                  <a:lnTo>
                    <a:pt x="1096" y="8"/>
                  </a:lnTo>
                  <a:lnTo>
                    <a:pt x="1096" y="12"/>
                  </a:lnTo>
                  <a:lnTo>
                    <a:pt x="1092" y="12"/>
                  </a:lnTo>
                  <a:lnTo>
                    <a:pt x="1096" y="16"/>
                  </a:lnTo>
                  <a:lnTo>
                    <a:pt x="1100" y="16"/>
                  </a:lnTo>
                  <a:lnTo>
                    <a:pt x="1104" y="16"/>
                  </a:lnTo>
                  <a:lnTo>
                    <a:pt x="1104" y="20"/>
                  </a:lnTo>
                  <a:lnTo>
                    <a:pt x="1100" y="20"/>
                  </a:lnTo>
                  <a:lnTo>
                    <a:pt x="1100" y="22"/>
                  </a:lnTo>
                  <a:lnTo>
                    <a:pt x="1104" y="22"/>
                  </a:lnTo>
                  <a:lnTo>
                    <a:pt x="1104" y="20"/>
                  </a:lnTo>
                  <a:lnTo>
                    <a:pt x="1106" y="20"/>
                  </a:lnTo>
                  <a:lnTo>
                    <a:pt x="1110" y="20"/>
                  </a:lnTo>
                  <a:lnTo>
                    <a:pt x="1114" y="20"/>
                  </a:lnTo>
                  <a:lnTo>
                    <a:pt x="1110" y="20"/>
                  </a:lnTo>
                  <a:lnTo>
                    <a:pt x="1114" y="20"/>
                  </a:lnTo>
                  <a:lnTo>
                    <a:pt x="1118" y="20"/>
                  </a:lnTo>
                  <a:lnTo>
                    <a:pt x="1122" y="20"/>
                  </a:lnTo>
                  <a:lnTo>
                    <a:pt x="1126" y="20"/>
                  </a:lnTo>
                  <a:lnTo>
                    <a:pt x="1126" y="22"/>
                  </a:lnTo>
                  <a:lnTo>
                    <a:pt x="1130" y="22"/>
                  </a:lnTo>
                  <a:lnTo>
                    <a:pt x="1130" y="26"/>
                  </a:lnTo>
                  <a:lnTo>
                    <a:pt x="1126" y="30"/>
                  </a:lnTo>
                  <a:lnTo>
                    <a:pt x="1122" y="30"/>
                  </a:lnTo>
                  <a:lnTo>
                    <a:pt x="1118" y="30"/>
                  </a:lnTo>
                  <a:lnTo>
                    <a:pt x="1114" y="34"/>
                  </a:lnTo>
                  <a:lnTo>
                    <a:pt x="1110" y="34"/>
                  </a:lnTo>
                  <a:lnTo>
                    <a:pt x="1104" y="38"/>
                  </a:lnTo>
                  <a:lnTo>
                    <a:pt x="1100" y="38"/>
                  </a:lnTo>
                  <a:lnTo>
                    <a:pt x="1096" y="38"/>
                  </a:lnTo>
                  <a:lnTo>
                    <a:pt x="1092" y="38"/>
                  </a:lnTo>
                  <a:lnTo>
                    <a:pt x="1092" y="42"/>
                  </a:lnTo>
                  <a:lnTo>
                    <a:pt x="1088" y="42"/>
                  </a:lnTo>
                  <a:lnTo>
                    <a:pt x="1084" y="42"/>
                  </a:lnTo>
                  <a:lnTo>
                    <a:pt x="1088" y="42"/>
                  </a:lnTo>
                  <a:lnTo>
                    <a:pt x="1084" y="42"/>
                  </a:lnTo>
                  <a:lnTo>
                    <a:pt x="1080" y="42"/>
                  </a:lnTo>
                  <a:lnTo>
                    <a:pt x="1076" y="42"/>
                  </a:lnTo>
                  <a:lnTo>
                    <a:pt x="1074" y="42"/>
                  </a:lnTo>
                  <a:lnTo>
                    <a:pt x="1070" y="42"/>
                  </a:lnTo>
                  <a:lnTo>
                    <a:pt x="1066" y="46"/>
                  </a:lnTo>
                  <a:lnTo>
                    <a:pt x="1062" y="46"/>
                  </a:lnTo>
                  <a:lnTo>
                    <a:pt x="1060" y="46"/>
                  </a:lnTo>
                  <a:lnTo>
                    <a:pt x="1062" y="46"/>
                  </a:lnTo>
                  <a:lnTo>
                    <a:pt x="1066" y="46"/>
                  </a:lnTo>
                  <a:lnTo>
                    <a:pt x="1070" y="46"/>
                  </a:lnTo>
                  <a:lnTo>
                    <a:pt x="1066" y="46"/>
                  </a:lnTo>
                  <a:lnTo>
                    <a:pt x="1062" y="46"/>
                  </a:lnTo>
                  <a:lnTo>
                    <a:pt x="1060" y="46"/>
                  </a:lnTo>
                  <a:lnTo>
                    <a:pt x="1056" y="46"/>
                  </a:lnTo>
                  <a:lnTo>
                    <a:pt x="1052" y="46"/>
                  </a:lnTo>
                  <a:lnTo>
                    <a:pt x="1048" y="46"/>
                  </a:lnTo>
                  <a:lnTo>
                    <a:pt x="1044" y="46"/>
                  </a:lnTo>
                  <a:lnTo>
                    <a:pt x="1040" y="46"/>
                  </a:lnTo>
                  <a:lnTo>
                    <a:pt x="1036" y="46"/>
                  </a:lnTo>
                  <a:lnTo>
                    <a:pt x="1032" y="50"/>
                  </a:lnTo>
                  <a:lnTo>
                    <a:pt x="1030" y="50"/>
                  </a:lnTo>
                  <a:lnTo>
                    <a:pt x="1026" y="46"/>
                  </a:lnTo>
                  <a:lnTo>
                    <a:pt x="1022" y="46"/>
                  </a:lnTo>
                  <a:lnTo>
                    <a:pt x="1018" y="46"/>
                  </a:lnTo>
                  <a:lnTo>
                    <a:pt x="1014" y="42"/>
                  </a:lnTo>
                  <a:lnTo>
                    <a:pt x="1014" y="46"/>
                  </a:lnTo>
                  <a:lnTo>
                    <a:pt x="1018" y="46"/>
                  </a:lnTo>
                  <a:lnTo>
                    <a:pt x="1022" y="46"/>
                  </a:lnTo>
                  <a:lnTo>
                    <a:pt x="1026" y="46"/>
                  </a:lnTo>
                  <a:lnTo>
                    <a:pt x="1026" y="50"/>
                  </a:lnTo>
                  <a:lnTo>
                    <a:pt x="1030" y="50"/>
                  </a:lnTo>
                  <a:lnTo>
                    <a:pt x="1026" y="50"/>
                  </a:lnTo>
                  <a:lnTo>
                    <a:pt x="1022" y="50"/>
                  </a:lnTo>
                  <a:lnTo>
                    <a:pt x="1026" y="50"/>
                  </a:lnTo>
                  <a:lnTo>
                    <a:pt x="1030" y="50"/>
                  </a:lnTo>
                  <a:lnTo>
                    <a:pt x="1032" y="50"/>
                  </a:lnTo>
                  <a:lnTo>
                    <a:pt x="1036" y="50"/>
                  </a:lnTo>
                  <a:lnTo>
                    <a:pt x="1040" y="50"/>
                  </a:lnTo>
                  <a:lnTo>
                    <a:pt x="1044" y="50"/>
                  </a:lnTo>
                  <a:lnTo>
                    <a:pt x="1048" y="50"/>
                  </a:lnTo>
                  <a:lnTo>
                    <a:pt x="1052" y="50"/>
                  </a:lnTo>
                  <a:lnTo>
                    <a:pt x="1048" y="50"/>
                  </a:lnTo>
                  <a:lnTo>
                    <a:pt x="1044" y="52"/>
                  </a:lnTo>
                  <a:lnTo>
                    <a:pt x="1040" y="52"/>
                  </a:lnTo>
                  <a:lnTo>
                    <a:pt x="1036" y="52"/>
                  </a:lnTo>
                  <a:lnTo>
                    <a:pt x="1032" y="52"/>
                  </a:lnTo>
                  <a:lnTo>
                    <a:pt x="1030" y="52"/>
                  </a:lnTo>
                  <a:lnTo>
                    <a:pt x="1030" y="56"/>
                  </a:lnTo>
                  <a:lnTo>
                    <a:pt x="1026" y="56"/>
                  </a:lnTo>
                  <a:lnTo>
                    <a:pt x="1022" y="56"/>
                  </a:lnTo>
                  <a:lnTo>
                    <a:pt x="1018" y="56"/>
                  </a:lnTo>
                  <a:lnTo>
                    <a:pt x="1014" y="56"/>
                  </a:lnTo>
                  <a:lnTo>
                    <a:pt x="1010" y="56"/>
                  </a:lnTo>
                  <a:lnTo>
                    <a:pt x="1014" y="56"/>
                  </a:lnTo>
                  <a:lnTo>
                    <a:pt x="1010" y="56"/>
                  </a:lnTo>
                  <a:lnTo>
                    <a:pt x="1006" y="60"/>
                  </a:lnTo>
                  <a:lnTo>
                    <a:pt x="1004" y="60"/>
                  </a:lnTo>
                  <a:lnTo>
                    <a:pt x="1006" y="60"/>
                  </a:lnTo>
                  <a:lnTo>
                    <a:pt x="1010" y="60"/>
                  </a:lnTo>
                  <a:lnTo>
                    <a:pt x="1006" y="60"/>
                  </a:lnTo>
                  <a:lnTo>
                    <a:pt x="1004" y="60"/>
                  </a:lnTo>
                  <a:lnTo>
                    <a:pt x="1006" y="60"/>
                  </a:lnTo>
                  <a:lnTo>
                    <a:pt x="1010" y="60"/>
                  </a:lnTo>
                  <a:lnTo>
                    <a:pt x="1014" y="60"/>
                  </a:lnTo>
                  <a:lnTo>
                    <a:pt x="1022" y="56"/>
                  </a:lnTo>
                  <a:lnTo>
                    <a:pt x="1030" y="56"/>
                  </a:lnTo>
                  <a:lnTo>
                    <a:pt x="1032" y="56"/>
                  </a:lnTo>
                  <a:lnTo>
                    <a:pt x="1036" y="56"/>
                  </a:lnTo>
                  <a:lnTo>
                    <a:pt x="1036" y="52"/>
                  </a:lnTo>
                  <a:lnTo>
                    <a:pt x="1040" y="52"/>
                  </a:lnTo>
                  <a:lnTo>
                    <a:pt x="1044" y="52"/>
                  </a:lnTo>
                  <a:lnTo>
                    <a:pt x="1048" y="52"/>
                  </a:lnTo>
                  <a:lnTo>
                    <a:pt x="1052" y="52"/>
                  </a:lnTo>
                  <a:lnTo>
                    <a:pt x="1056" y="52"/>
                  </a:lnTo>
                  <a:lnTo>
                    <a:pt x="1060" y="52"/>
                  </a:lnTo>
                  <a:lnTo>
                    <a:pt x="1062" y="50"/>
                  </a:lnTo>
                  <a:lnTo>
                    <a:pt x="1066" y="50"/>
                  </a:lnTo>
                  <a:lnTo>
                    <a:pt x="1070" y="50"/>
                  </a:lnTo>
                  <a:lnTo>
                    <a:pt x="1074" y="50"/>
                  </a:lnTo>
                  <a:lnTo>
                    <a:pt x="1080" y="50"/>
                  </a:lnTo>
                  <a:lnTo>
                    <a:pt x="1080" y="52"/>
                  </a:lnTo>
                  <a:lnTo>
                    <a:pt x="1076" y="52"/>
                  </a:lnTo>
                  <a:lnTo>
                    <a:pt x="1074" y="56"/>
                  </a:lnTo>
                  <a:lnTo>
                    <a:pt x="1070" y="56"/>
                  </a:lnTo>
                  <a:lnTo>
                    <a:pt x="1066" y="56"/>
                  </a:lnTo>
                  <a:lnTo>
                    <a:pt x="1062" y="56"/>
                  </a:lnTo>
                  <a:lnTo>
                    <a:pt x="1060" y="60"/>
                  </a:lnTo>
                  <a:lnTo>
                    <a:pt x="1056" y="60"/>
                  </a:lnTo>
                  <a:lnTo>
                    <a:pt x="1056" y="64"/>
                  </a:lnTo>
                  <a:lnTo>
                    <a:pt x="1052" y="64"/>
                  </a:lnTo>
                  <a:lnTo>
                    <a:pt x="1048" y="64"/>
                  </a:lnTo>
                  <a:lnTo>
                    <a:pt x="1044" y="68"/>
                  </a:lnTo>
                  <a:lnTo>
                    <a:pt x="1040" y="68"/>
                  </a:lnTo>
                  <a:lnTo>
                    <a:pt x="1036" y="68"/>
                  </a:lnTo>
                  <a:lnTo>
                    <a:pt x="1040" y="68"/>
                  </a:lnTo>
                  <a:lnTo>
                    <a:pt x="1036" y="68"/>
                  </a:lnTo>
                  <a:lnTo>
                    <a:pt x="1032" y="68"/>
                  </a:lnTo>
                  <a:lnTo>
                    <a:pt x="1032" y="72"/>
                  </a:lnTo>
                  <a:lnTo>
                    <a:pt x="1030" y="72"/>
                  </a:lnTo>
                  <a:lnTo>
                    <a:pt x="1022" y="76"/>
                  </a:lnTo>
                  <a:lnTo>
                    <a:pt x="1018" y="76"/>
                  </a:lnTo>
                  <a:lnTo>
                    <a:pt x="1018" y="78"/>
                  </a:lnTo>
                  <a:lnTo>
                    <a:pt x="1014" y="78"/>
                  </a:lnTo>
                  <a:lnTo>
                    <a:pt x="1014" y="82"/>
                  </a:lnTo>
                  <a:lnTo>
                    <a:pt x="1010" y="82"/>
                  </a:lnTo>
                  <a:lnTo>
                    <a:pt x="1006" y="82"/>
                  </a:lnTo>
                  <a:lnTo>
                    <a:pt x="1004" y="82"/>
                  </a:lnTo>
                  <a:lnTo>
                    <a:pt x="1000" y="82"/>
                  </a:lnTo>
                  <a:lnTo>
                    <a:pt x="1000" y="78"/>
                  </a:lnTo>
                  <a:lnTo>
                    <a:pt x="996" y="78"/>
                  </a:lnTo>
                  <a:lnTo>
                    <a:pt x="992" y="78"/>
                  </a:lnTo>
                  <a:lnTo>
                    <a:pt x="996" y="78"/>
                  </a:lnTo>
                  <a:lnTo>
                    <a:pt x="1000" y="78"/>
                  </a:lnTo>
                  <a:lnTo>
                    <a:pt x="1000" y="82"/>
                  </a:lnTo>
                  <a:lnTo>
                    <a:pt x="1000" y="86"/>
                  </a:lnTo>
                  <a:lnTo>
                    <a:pt x="1004" y="86"/>
                  </a:lnTo>
                  <a:lnTo>
                    <a:pt x="1006" y="86"/>
                  </a:lnTo>
                  <a:lnTo>
                    <a:pt x="1004" y="86"/>
                  </a:lnTo>
                  <a:lnTo>
                    <a:pt x="1004" y="90"/>
                  </a:lnTo>
                  <a:lnTo>
                    <a:pt x="1000" y="90"/>
                  </a:lnTo>
                  <a:lnTo>
                    <a:pt x="996" y="86"/>
                  </a:lnTo>
                  <a:lnTo>
                    <a:pt x="992" y="90"/>
                  </a:lnTo>
                  <a:lnTo>
                    <a:pt x="988" y="90"/>
                  </a:lnTo>
                  <a:lnTo>
                    <a:pt x="984" y="90"/>
                  </a:lnTo>
                  <a:lnTo>
                    <a:pt x="980" y="90"/>
                  </a:lnTo>
                  <a:lnTo>
                    <a:pt x="976" y="90"/>
                  </a:lnTo>
                  <a:lnTo>
                    <a:pt x="974" y="90"/>
                  </a:lnTo>
                  <a:lnTo>
                    <a:pt x="974" y="86"/>
                  </a:lnTo>
                  <a:lnTo>
                    <a:pt x="970" y="86"/>
                  </a:lnTo>
                  <a:lnTo>
                    <a:pt x="974" y="90"/>
                  </a:lnTo>
                  <a:lnTo>
                    <a:pt x="976" y="90"/>
                  </a:lnTo>
                  <a:lnTo>
                    <a:pt x="974" y="90"/>
                  </a:lnTo>
                  <a:lnTo>
                    <a:pt x="970" y="90"/>
                  </a:lnTo>
                  <a:lnTo>
                    <a:pt x="970" y="94"/>
                  </a:lnTo>
                  <a:lnTo>
                    <a:pt x="974" y="94"/>
                  </a:lnTo>
                  <a:lnTo>
                    <a:pt x="976" y="94"/>
                  </a:lnTo>
                  <a:lnTo>
                    <a:pt x="980" y="94"/>
                  </a:lnTo>
                  <a:lnTo>
                    <a:pt x="984" y="94"/>
                  </a:lnTo>
                  <a:lnTo>
                    <a:pt x="984" y="90"/>
                  </a:lnTo>
                  <a:lnTo>
                    <a:pt x="988" y="90"/>
                  </a:lnTo>
                  <a:lnTo>
                    <a:pt x="992" y="90"/>
                  </a:lnTo>
                  <a:lnTo>
                    <a:pt x="996" y="90"/>
                  </a:lnTo>
                  <a:lnTo>
                    <a:pt x="996" y="94"/>
                  </a:lnTo>
                  <a:lnTo>
                    <a:pt x="992" y="94"/>
                  </a:lnTo>
                  <a:lnTo>
                    <a:pt x="988" y="94"/>
                  </a:lnTo>
                  <a:lnTo>
                    <a:pt x="984" y="98"/>
                  </a:lnTo>
                  <a:lnTo>
                    <a:pt x="988" y="98"/>
                  </a:lnTo>
                  <a:lnTo>
                    <a:pt x="992" y="98"/>
                  </a:lnTo>
                  <a:lnTo>
                    <a:pt x="988" y="102"/>
                  </a:lnTo>
                  <a:lnTo>
                    <a:pt x="984" y="102"/>
                  </a:lnTo>
                  <a:lnTo>
                    <a:pt x="980" y="102"/>
                  </a:lnTo>
                  <a:lnTo>
                    <a:pt x="976" y="102"/>
                  </a:lnTo>
                  <a:lnTo>
                    <a:pt x="974" y="106"/>
                  </a:lnTo>
                  <a:lnTo>
                    <a:pt x="970" y="106"/>
                  </a:lnTo>
                  <a:lnTo>
                    <a:pt x="970" y="102"/>
                  </a:lnTo>
                  <a:lnTo>
                    <a:pt x="970" y="106"/>
                  </a:lnTo>
                  <a:lnTo>
                    <a:pt x="966" y="106"/>
                  </a:lnTo>
                  <a:lnTo>
                    <a:pt x="962" y="102"/>
                  </a:lnTo>
                  <a:lnTo>
                    <a:pt x="962" y="98"/>
                  </a:lnTo>
                  <a:lnTo>
                    <a:pt x="958" y="98"/>
                  </a:lnTo>
                  <a:lnTo>
                    <a:pt x="954" y="98"/>
                  </a:lnTo>
                  <a:lnTo>
                    <a:pt x="950" y="98"/>
                  </a:lnTo>
                  <a:lnTo>
                    <a:pt x="948" y="98"/>
                  </a:lnTo>
                  <a:lnTo>
                    <a:pt x="944" y="98"/>
                  </a:lnTo>
                  <a:lnTo>
                    <a:pt x="940" y="98"/>
                  </a:lnTo>
                  <a:lnTo>
                    <a:pt x="936" y="98"/>
                  </a:lnTo>
                  <a:lnTo>
                    <a:pt x="936" y="102"/>
                  </a:lnTo>
                  <a:lnTo>
                    <a:pt x="940" y="102"/>
                  </a:lnTo>
                  <a:lnTo>
                    <a:pt x="944" y="102"/>
                  </a:lnTo>
                  <a:lnTo>
                    <a:pt x="948" y="102"/>
                  </a:lnTo>
                  <a:lnTo>
                    <a:pt x="950" y="102"/>
                  </a:lnTo>
                  <a:lnTo>
                    <a:pt x="954" y="102"/>
                  </a:lnTo>
                  <a:lnTo>
                    <a:pt x="958" y="102"/>
                  </a:lnTo>
                  <a:lnTo>
                    <a:pt x="958" y="106"/>
                  </a:lnTo>
                  <a:lnTo>
                    <a:pt x="958" y="108"/>
                  </a:lnTo>
                  <a:lnTo>
                    <a:pt x="954" y="108"/>
                  </a:lnTo>
                  <a:lnTo>
                    <a:pt x="950" y="108"/>
                  </a:lnTo>
                  <a:lnTo>
                    <a:pt x="948" y="108"/>
                  </a:lnTo>
                  <a:lnTo>
                    <a:pt x="944" y="108"/>
                  </a:lnTo>
                  <a:lnTo>
                    <a:pt x="940" y="108"/>
                  </a:lnTo>
                  <a:lnTo>
                    <a:pt x="936" y="108"/>
                  </a:lnTo>
                  <a:lnTo>
                    <a:pt x="932" y="108"/>
                  </a:lnTo>
                  <a:lnTo>
                    <a:pt x="936" y="108"/>
                  </a:lnTo>
                  <a:lnTo>
                    <a:pt x="936" y="112"/>
                  </a:lnTo>
                  <a:lnTo>
                    <a:pt x="932" y="112"/>
                  </a:lnTo>
                  <a:lnTo>
                    <a:pt x="928" y="112"/>
                  </a:lnTo>
                  <a:lnTo>
                    <a:pt x="924" y="112"/>
                  </a:lnTo>
                  <a:lnTo>
                    <a:pt x="920" y="108"/>
                  </a:lnTo>
                  <a:lnTo>
                    <a:pt x="920" y="112"/>
                  </a:lnTo>
                  <a:lnTo>
                    <a:pt x="920" y="108"/>
                  </a:lnTo>
                  <a:lnTo>
                    <a:pt x="918" y="108"/>
                  </a:lnTo>
                  <a:lnTo>
                    <a:pt x="914" y="108"/>
                  </a:lnTo>
                  <a:lnTo>
                    <a:pt x="910" y="108"/>
                  </a:lnTo>
                  <a:lnTo>
                    <a:pt x="906" y="108"/>
                  </a:lnTo>
                  <a:lnTo>
                    <a:pt x="902" y="108"/>
                  </a:lnTo>
                  <a:lnTo>
                    <a:pt x="906" y="108"/>
                  </a:lnTo>
                  <a:lnTo>
                    <a:pt x="910" y="108"/>
                  </a:lnTo>
                  <a:lnTo>
                    <a:pt x="914" y="108"/>
                  </a:lnTo>
                  <a:lnTo>
                    <a:pt x="918" y="108"/>
                  </a:lnTo>
                  <a:lnTo>
                    <a:pt x="918" y="112"/>
                  </a:lnTo>
                  <a:lnTo>
                    <a:pt x="920" y="112"/>
                  </a:lnTo>
                  <a:lnTo>
                    <a:pt x="918" y="112"/>
                  </a:lnTo>
                  <a:lnTo>
                    <a:pt x="914" y="112"/>
                  </a:lnTo>
                  <a:lnTo>
                    <a:pt x="910" y="112"/>
                  </a:lnTo>
                  <a:lnTo>
                    <a:pt x="906" y="112"/>
                  </a:lnTo>
                  <a:lnTo>
                    <a:pt x="902" y="112"/>
                  </a:lnTo>
                  <a:lnTo>
                    <a:pt x="902" y="108"/>
                  </a:lnTo>
                  <a:lnTo>
                    <a:pt x="898" y="108"/>
                  </a:lnTo>
                  <a:lnTo>
                    <a:pt x="902" y="112"/>
                  </a:lnTo>
                  <a:lnTo>
                    <a:pt x="898" y="112"/>
                  </a:lnTo>
                  <a:lnTo>
                    <a:pt x="894" y="112"/>
                  </a:lnTo>
                  <a:lnTo>
                    <a:pt x="890" y="112"/>
                  </a:lnTo>
                  <a:lnTo>
                    <a:pt x="894" y="112"/>
                  </a:lnTo>
                  <a:lnTo>
                    <a:pt x="898" y="112"/>
                  </a:lnTo>
                  <a:lnTo>
                    <a:pt x="898" y="116"/>
                  </a:lnTo>
                  <a:lnTo>
                    <a:pt x="902" y="116"/>
                  </a:lnTo>
                  <a:lnTo>
                    <a:pt x="898" y="116"/>
                  </a:lnTo>
                  <a:lnTo>
                    <a:pt x="902" y="116"/>
                  </a:lnTo>
                  <a:lnTo>
                    <a:pt x="906" y="116"/>
                  </a:lnTo>
                  <a:lnTo>
                    <a:pt x="910" y="116"/>
                  </a:lnTo>
                  <a:lnTo>
                    <a:pt x="918" y="116"/>
                  </a:lnTo>
                  <a:lnTo>
                    <a:pt x="920" y="116"/>
                  </a:lnTo>
                  <a:lnTo>
                    <a:pt x="924" y="116"/>
                  </a:lnTo>
                  <a:lnTo>
                    <a:pt x="928" y="116"/>
                  </a:lnTo>
                  <a:lnTo>
                    <a:pt x="932" y="116"/>
                  </a:lnTo>
                  <a:lnTo>
                    <a:pt x="936" y="116"/>
                  </a:lnTo>
                  <a:lnTo>
                    <a:pt x="940" y="116"/>
                  </a:lnTo>
                  <a:lnTo>
                    <a:pt x="936" y="116"/>
                  </a:lnTo>
                  <a:lnTo>
                    <a:pt x="936" y="120"/>
                  </a:lnTo>
                  <a:lnTo>
                    <a:pt x="940" y="120"/>
                  </a:lnTo>
                  <a:lnTo>
                    <a:pt x="944" y="120"/>
                  </a:lnTo>
                  <a:lnTo>
                    <a:pt x="940" y="120"/>
                  </a:lnTo>
                  <a:lnTo>
                    <a:pt x="940" y="124"/>
                  </a:lnTo>
                  <a:lnTo>
                    <a:pt x="936" y="124"/>
                  </a:lnTo>
                  <a:lnTo>
                    <a:pt x="932" y="124"/>
                  </a:lnTo>
                  <a:lnTo>
                    <a:pt x="928" y="120"/>
                  </a:lnTo>
                  <a:lnTo>
                    <a:pt x="924" y="120"/>
                  </a:lnTo>
                  <a:lnTo>
                    <a:pt x="920" y="120"/>
                  </a:lnTo>
                  <a:lnTo>
                    <a:pt x="920" y="116"/>
                  </a:lnTo>
                  <a:lnTo>
                    <a:pt x="918" y="116"/>
                  </a:lnTo>
                  <a:lnTo>
                    <a:pt x="914" y="116"/>
                  </a:lnTo>
                  <a:lnTo>
                    <a:pt x="906" y="116"/>
                  </a:lnTo>
                  <a:lnTo>
                    <a:pt x="902" y="116"/>
                  </a:lnTo>
                  <a:lnTo>
                    <a:pt x="898" y="116"/>
                  </a:lnTo>
                  <a:lnTo>
                    <a:pt x="894" y="116"/>
                  </a:lnTo>
                  <a:lnTo>
                    <a:pt x="888" y="116"/>
                  </a:lnTo>
                  <a:lnTo>
                    <a:pt x="888" y="120"/>
                  </a:lnTo>
                  <a:lnTo>
                    <a:pt x="890" y="116"/>
                  </a:lnTo>
                  <a:lnTo>
                    <a:pt x="894" y="116"/>
                  </a:lnTo>
                  <a:lnTo>
                    <a:pt x="898" y="116"/>
                  </a:lnTo>
                  <a:lnTo>
                    <a:pt x="902" y="120"/>
                  </a:lnTo>
                  <a:lnTo>
                    <a:pt x="906" y="120"/>
                  </a:lnTo>
                  <a:lnTo>
                    <a:pt x="910" y="120"/>
                  </a:lnTo>
                  <a:lnTo>
                    <a:pt x="914" y="120"/>
                  </a:lnTo>
                  <a:lnTo>
                    <a:pt x="918" y="120"/>
                  </a:lnTo>
                  <a:lnTo>
                    <a:pt x="914" y="120"/>
                  </a:lnTo>
                  <a:lnTo>
                    <a:pt x="910" y="120"/>
                  </a:lnTo>
                  <a:lnTo>
                    <a:pt x="906" y="120"/>
                  </a:lnTo>
                  <a:lnTo>
                    <a:pt x="902" y="120"/>
                  </a:lnTo>
                  <a:lnTo>
                    <a:pt x="898" y="120"/>
                  </a:lnTo>
                  <a:lnTo>
                    <a:pt x="898" y="124"/>
                  </a:lnTo>
                  <a:lnTo>
                    <a:pt x="894" y="124"/>
                  </a:lnTo>
                  <a:lnTo>
                    <a:pt x="894" y="120"/>
                  </a:lnTo>
                  <a:lnTo>
                    <a:pt x="890" y="120"/>
                  </a:lnTo>
                  <a:lnTo>
                    <a:pt x="888" y="120"/>
                  </a:lnTo>
                  <a:lnTo>
                    <a:pt x="884" y="120"/>
                  </a:lnTo>
                  <a:lnTo>
                    <a:pt x="880" y="120"/>
                  </a:lnTo>
                  <a:lnTo>
                    <a:pt x="884" y="120"/>
                  </a:lnTo>
                  <a:lnTo>
                    <a:pt x="888" y="120"/>
                  </a:lnTo>
                  <a:lnTo>
                    <a:pt x="890" y="120"/>
                  </a:lnTo>
                  <a:lnTo>
                    <a:pt x="894" y="120"/>
                  </a:lnTo>
                  <a:lnTo>
                    <a:pt x="894" y="124"/>
                  </a:lnTo>
                  <a:lnTo>
                    <a:pt x="890" y="124"/>
                  </a:lnTo>
                  <a:lnTo>
                    <a:pt x="890" y="128"/>
                  </a:lnTo>
                  <a:lnTo>
                    <a:pt x="888" y="128"/>
                  </a:lnTo>
                  <a:lnTo>
                    <a:pt x="888" y="132"/>
                  </a:lnTo>
                  <a:lnTo>
                    <a:pt x="888" y="128"/>
                  </a:lnTo>
                  <a:lnTo>
                    <a:pt x="890" y="128"/>
                  </a:lnTo>
                  <a:lnTo>
                    <a:pt x="890" y="124"/>
                  </a:lnTo>
                  <a:lnTo>
                    <a:pt x="894" y="124"/>
                  </a:lnTo>
                  <a:lnTo>
                    <a:pt x="898" y="124"/>
                  </a:lnTo>
                  <a:lnTo>
                    <a:pt x="902" y="124"/>
                  </a:lnTo>
                  <a:lnTo>
                    <a:pt x="906" y="124"/>
                  </a:lnTo>
                  <a:lnTo>
                    <a:pt x="910" y="124"/>
                  </a:lnTo>
                  <a:lnTo>
                    <a:pt x="914" y="124"/>
                  </a:lnTo>
                  <a:lnTo>
                    <a:pt x="920" y="124"/>
                  </a:lnTo>
                  <a:lnTo>
                    <a:pt x="924" y="124"/>
                  </a:lnTo>
                  <a:lnTo>
                    <a:pt x="920" y="124"/>
                  </a:lnTo>
                  <a:lnTo>
                    <a:pt x="918" y="124"/>
                  </a:lnTo>
                  <a:lnTo>
                    <a:pt x="918" y="128"/>
                  </a:lnTo>
                  <a:lnTo>
                    <a:pt x="914" y="128"/>
                  </a:lnTo>
                  <a:lnTo>
                    <a:pt x="918" y="128"/>
                  </a:lnTo>
                  <a:lnTo>
                    <a:pt x="920" y="128"/>
                  </a:lnTo>
                  <a:lnTo>
                    <a:pt x="928" y="128"/>
                  </a:lnTo>
                  <a:lnTo>
                    <a:pt x="932" y="128"/>
                  </a:lnTo>
                  <a:lnTo>
                    <a:pt x="936" y="128"/>
                  </a:lnTo>
                  <a:lnTo>
                    <a:pt x="936" y="132"/>
                  </a:lnTo>
                  <a:lnTo>
                    <a:pt x="936" y="136"/>
                  </a:lnTo>
                  <a:lnTo>
                    <a:pt x="932" y="136"/>
                  </a:lnTo>
                  <a:lnTo>
                    <a:pt x="928" y="136"/>
                  </a:lnTo>
                  <a:lnTo>
                    <a:pt x="928" y="138"/>
                  </a:lnTo>
                  <a:lnTo>
                    <a:pt x="920" y="138"/>
                  </a:lnTo>
                  <a:lnTo>
                    <a:pt x="918" y="136"/>
                  </a:lnTo>
                  <a:lnTo>
                    <a:pt x="914" y="136"/>
                  </a:lnTo>
                  <a:lnTo>
                    <a:pt x="910" y="136"/>
                  </a:lnTo>
                  <a:lnTo>
                    <a:pt x="910" y="138"/>
                  </a:lnTo>
                  <a:lnTo>
                    <a:pt x="914" y="138"/>
                  </a:lnTo>
                  <a:lnTo>
                    <a:pt x="918" y="138"/>
                  </a:lnTo>
                  <a:lnTo>
                    <a:pt x="920" y="138"/>
                  </a:lnTo>
                  <a:lnTo>
                    <a:pt x="924" y="138"/>
                  </a:lnTo>
                  <a:lnTo>
                    <a:pt x="928" y="138"/>
                  </a:lnTo>
                  <a:lnTo>
                    <a:pt x="932" y="142"/>
                  </a:lnTo>
                  <a:lnTo>
                    <a:pt x="928" y="142"/>
                  </a:lnTo>
                  <a:lnTo>
                    <a:pt x="928" y="146"/>
                  </a:lnTo>
                  <a:lnTo>
                    <a:pt x="924" y="146"/>
                  </a:lnTo>
                  <a:lnTo>
                    <a:pt x="920" y="146"/>
                  </a:lnTo>
                  <a:lnTo>
                    <a:pt x="918" y="146"/>
                  </a:lnTo>
                  <a:lnTo>
                    <a:pt x="914" y="146"/>
                  </a:lnTo>
                  <a:lnTo>
                    <a:pt x="910" y="146"/>
                  </a:lnTo>
                  <a:lnTo>
                    <a:pt x="906" y="146"/>
                  </a:lnTo>
                  <a:lnTo>
                    <a:pt x="910" y="146"/>
                  </a:lnTo>
                  <a:lnTo>
                    <a:pt x="914" y="146"/>
                  </a:lnTo>
                  <a:lnTo>
                    <a:pt x="920" y="146"/>
                  </a:lnTo>
                  <a:lnTo>
                    <a:pt x="924" y="146"/>
                  </a:lnTo>
                  <a:lnTo>
                    <a:pt x="924" y="150"/>
                  </a:lnTo>
                  <a:lnTo>
                    <a:pt x="920" y="150"/>
                  </a:lnTo>
                  <a:lnTo>
                    <a:pt x="920" y="154"/>
                  </a:lnTo>
                  <a:lnTo>
                    <a:pt x="918" y="150"/>
                  </a:lnTo>
                  <a:lnTo>
                    <a:pt x="914" y="150"/>
                  </a:lnTo>
                  <a:lnTo>
                    <a:pt x="914" y="154"/>
                  </a:lnTo>
                  <a:lnTo>
                    <a:pt x="910" y="154"/>
                  </a:lnTo>
                  <a:lnTo>
                    <a:pt x="906" y="154"/>
                  </a:lnTo>
                  <a:lnTo>
                    <a:pt x="902" y="154"/>
                  </a:lnTo>
                  <a:lnTo>
                    <a:pt x="894" y="154"/>
                  </a:lnTo>
                  <a:lnTo>
                    <a:pt x="890" y="154"/>
                  </a:lnTo>
                  <a:lnTo>
                    <a:pt x="888" y="154"/>
                  </a:lnTo>
                  <a:lnTo>
                    <a:pt x="888" y="150"/>
                  </a:lnTo>
                  <a:lnTo>
                    <a:pt x="884" y="154"/>
                  </a:lnTo>
                  <a:lnTo>
                    <a:pt x="888" y="154"/>
                  </a:lnTo>
                  <a:lnTo>
                    <a:pt x="888" y="158"/>
                  </a:lnTo>
                  <a:lnTo>
                    <a:pt x="890" y="158"/>
                  </a:lnTo>
                  <a:lnTo>
                    <a:pt x="890" y="160"/>
                  </a:lnTo>
                  <a:lnTo>
                    <a:pt x="894" y="160"/>
                  </a:lnTo>
                  <a:lnTo>
                    <a:pt x="890" y="164"/>
                  </a:lnTo>
                  <a:lnTo>
                    <a:pt x="888" y="168"/>
                  </a:lnTo>
                  <a:lnTo>
                    <a:pt x="880" y="172"/>
                  </a:lnTo>
                  <a:lnTo>
                    <a:pt x="880" y="168"/>
                  </a:lnTo>
                  <a:lnTo>
                    <a:pt x="876" y="168"/>
                  </a:lnTo>
                  <a:lnTo>
                    <a:pt x="876" y="172"/>
                  </a:lnTo>
                  <a:lnTo>
                    <a:pt x="872" y="172"/>
                  </a:lnTo>
                  <a:lnTo>
                    <a:pt x="868" y="172"/>
                  </a:lnTo>
                  <a:lnTo>
                    <a:pt x="864" y="172"/>
                  </a:lnTo>
                  <a:lnTo>
                    <a:pt x="862" y="172"/>
                  </a:lnTo>
                  <a:lnTo>
                    <a:pt x="858" y="172"/>
                  </a:lnTo>
                  <a:lnTo>
                    <a:pt x="854" y="168"/>
                  </a:lnTo>
                  <a:lnTo>
                    <a:pt x="850" y="168"/>
                  </a:lnTo>
                  <a:lnTo>
                    <a:pt x="846" y="168"/>
                  </a:lnTo>
                  <a:lnTo>
                    <a:pt x="842" y="168"/>
                  </a:lnTo>
                  <a:lnTo>
                    <a:pt x="842" y="164"/>
                  </a:lnTo>
                  <a:lnTo>
                    <a:pt x="838" y="164"/>
                  </a:lnTo>
                  <a:lnTo>
                    <a:pt x="834" y="160"/>
                  </a:lnTo>
                  <a:lnTo>
                    <a:pt x="838" y="164"/>
                  </a:lnTo>
                  <a:lnTo>
                    <a:pt x="838" y="168"/>
                  </a:lnTo>
                  <a:lnTo>
                    <a:pt x="842" y="168"/>
                  </a:lnTo>
                  <a:lnTo>
                    <a:pt x="846" y="168"/>
                  </a:lnTo>
                  <a:lnTo>
                    <a:pt x="846" y="172"/>
                  </a:lnTo>
                  <a:lnTo>
                    <a:pt x="842" y="172"/>
                  </a:lnTo>
                  <a:lnTo>
                    <a:pt x="834" y="172"/>
                  </a:lnTo>
                  <a:lnTo>
                    <a:pt x="832" y="172"/>
                  </a:lnTo>
                  <a:lnTo>
                    <a:pt x="834" y="172"/>
                  </a:lnTo>
                  <a:lnTo>
                    <a:pt x="834" y="176"/>
                  </a:lnTo>
                  <a:lnTo>
                    <a:pt x="838" y="176"/>
                  </a:lnTo>
                  <a:lnTo>
                    <a:pt x="838" y="172"/>
                  </a:lnTo>
                  <a:lnTo>
                    <a:pt x="842" y="172"/>
                  </a:lnTo>
                  <a:lnTo>
                    <a:pt x="846" y="172"/>
                  </a:lnTo>
                  <a:lnTo>
                    <a:pt x="850" y="172"/>
                  </a:lnTo>
                  <a:lnTo>
                    <a:pt x="854" y="172"/>
                  </a:lnTo>
                  <a:lnTo>
                    <a:pt x="858" y="172"/>
                  </a:lnTo>
                  <a:lnTo>
                    <a:pt x="862" y="172"/>
                  </a:lnTo>
                  <a:lnTo>
                    <a:pt x="862" y="176"/>
                  </a:lnTo>
                  <a:lnTo>
                    <a:pt x="858" y="176"/>
                  </a:lnTo>
                  <a:lnTo>
                    <a:pt x="862" y="176"/>
                  </a:lnTo>
                  <a:lnTo>
                    <a:pt x="864" y="172"/>
                  </a:lnTo>
                  <a:lnTo>
                    <a:pt x="868" y="172"/>
                  </a:lnTo>
                  <a:lnTo>
                    <a:pt x="872" y="172"/>
                  </a:lnTo>
                  <a:lnTo>
                    <a:pt x="876" y="176"/>
                  </a:lnTo>
                  <a:lnTo>
                    <a:pt x="876" y="180"/>
                  </a:lnTo>
                  <a:lnTo>
                    <a:pt x="872" y="180"/>
                  </a:lnTo>
                  <a:lnTo>
                    <a:pt x="872" y="182"/>
                  </a:lnTo>
                  <a:lnTo>
                    <a:pt x="872" y="180"/>
                  </a:lnTo>
                  <a:lnTo>
                    <a:pt x="876" y="180"/>
                  </a:lnTo>
                  <a:lnTo>
                    <a:pt x="880" y="182"/>
                  </a:lnTo>
                  <a:lnTo>
                    <a:pt x="884" y="182"/>
                  </a:lnTo>
                  <a:lnTo>
                    <a:pt x="884" y="180"/>
                  </a:lnTo>
                  <a:lnTo>
                    <a:pt x="888" y="180"/>
                  </a:lnTo>
                  <a:lnTo>
                    <a:pt x="890" y="180"/>
                  </a:lnTo>
                  <a:lnTo>
                    <a:pt x="894" y="186"/>
                  </a:lnTo>
                  <a:lnTo>
                    <a:pt x="894" y="190"/>
                  </a:lnTo>
                  <a:lnTo>
                    <a:pt x="890" y="190"/>
                  </a:lnTo>
                  <a:lnTo>
                    <a:pt x="888" y="190"/>
                  </a:lnTo>
                  <a:lnTo>
                    <a:pt x="888" y="194"/>
                  </a:lnTo>
                  <a:lnTo>
                    <a:pt x="884" y="194"/>
                  </a:lnTo>
                  <a:lnTo>
                    <a:pt x="884" y="190"/>
                  </a:lnTo>
                  <a:lnTo>
                    <a:pt x="880" y="190"/>
                  </a:lnTo>
                  <a:lnTo>
                    <a:pt x="880" y="194"/>
                  </a:lnTo>
                  <a:lnTo>
                    <a:pt x="876" y="194"/>
                  </a:lnTo>
                  <a:lnTo>
                    <a:pt x="872" y="194"/>
                  </a:lnTo>
                  <a:lnTo>
                    <a:pt x="872" y="198"/>
                  </a:lnTo>
                  <a:lnTo>
                    <a:pt x="868" y="198"/>
                  </a:lnTo>
                  <a:lnTo>
                    <a:pt x="864" y="198"/>
                  </a:lnTo>
                  <a:lnTo>
                    <a:pt x="864" y="202"/>
                  </a:lnTo>
                  <a:lnTo>
                    <a:pt x="862" y="202"/>
                  </a:lnTo>
                  <a:lnTo>
                    <a:pt x="858" y="202"/>
                  </a:lnTo>
                  <a:lnTo>
                    <a:pt x="854" y="202"/>
                  </a:lnTo>
                  <a:lnTo>
                    <a:pt x="850" y="202"/>
                  </a:lnTo>
                  <a:lnTo>
                    <a:pt x="846" y="202"/>
                  </a:lnTo>
                  <a:lnTo>
                    <a:pt x="850" y="198"/>
                  </a:lnTo>
                  <a:lnTo>
                    <a:pt x="854" y="194"/>
                  </a:lnTo>
                  <a:lnTo>
                    <a:pt x="850" y="194"/>
                  </a:lnTo>
                  <a:lnTo>
                    <a:pt x="846" y="194"/>
                  </a:lnTo>
                  <a:lnTo>
                    <a:pt x="846" y="190"/>
                  </a:lnTo>
                  <a:lnTo>
                    <a:pt x="842" y="194"/>
                  </a:lnTo>
                  <a:lnTo>
                    <a:pt x="838" y="194"/>
                  </a:lnTo>
                  <a:lnTo>
                    <a:pt x="834" y="194"/>
                  </a:lnTo>
                  <a:lnTo>
                    <a:pt x="834" y="190"/>
                  </a:lnTo>
                  <a:lnTo>
                    <a:pt x="838" y="190"/>
                  </a:lnTo>
                  <a:lnTo>
                    <a:pt x="838" y="186"/>
                  </a:lnTo>
                  <a:lnTo>
                    <a:pt x="834" y="186"/>
                  </a:lnTo>
                  <a:lnTo>
                    <a:pt x="834" y="190"/>
                  </a:lnTo>
                  <a:lnTo>
                    <a:pt x="832" y="190"/>
                  </a:lnTo>
                  <a:lnTo>
                    <a:pt x="828" y="190"/>
                  </a:lnTo>
                  <a:lnTo>
                    <a:pt x="828" y="186"/>
                  </a:lnTo>
                  <a:lnTo>
                    <a:pt x="824" y="182"/>
                  </a:lnTo>
                  <a:lnTo>
                    <a:pt x="824" y="186"/>
                  </a:lnTo>
                  <a:lnTo>
                    <a:pt x="828" y="186"/>
                  </a:lnTo>
                  <a:lnTo>
                    <a:pt x="828" y="190"/>
                  </a:lnTo>
                  <a:lnTo>
                    <a:pt x="832" y="190"/>
                  </a:lnTo>
                  <a:lnTo>
                    <a:pt x="832" y="194"/>
                  </a:lnTo>
                  <a:lnTo>
                    <a:pt x="828" y="194"/>
                  </a:lnTo>
                  <a:lnTo>
                    <a:pt x="824" y="198"/>
                  </a:lnTo>
                  <a:lnTo>
                    <a:pt x="824" y="194"/>
                  </a:lnTo>
                  <a:lnTo>
                    <a:pt x="820" y="194"/>
                  </a:lnTo>
                  <a:lnTo>
                    <a:pt x="820" y="190"/>
                  </a:lnTo>
                  <a:lnTo>
                    <a:pt x="816" y="190"/>
                  </a:lnTo>
                  <a:lnTo>
                    <a:pt x="816" y="186"/>
                  </a:lnTo>
                  <a:lnTo>
                    <a:pt x="812" y="186"/>
                  </a:lnTo>
                  <a:lnTo>
                    <a:pt x="816" y="190"/>
                  </a:lnTo>
                  <a:lnTo>
                    <a:pt x="816" y="194"/>
                  </a:lnTo>
                  <a:lnTo>
                    <a:pt x="812" y="194"/>
                  </a:lnTo>
                  <a:lnTo>
                    <a:pt x="808" y="194"/>
                  </a:lnTo>
                  <a:lnTo>
                    <a:pt x="806" y="194"/>
                  </a:lnTo>
                  <a:lnTo>
                    <a:pt x="806" y="190"/>
                  </a:lnTo>
                  <a:lnTo>
                    <a:pt x="802" y="190"/>
                  </a:lnTo>
                  <a:lnTo>
                    <a:pt x="802" y="194"/>
                  </a:lnTo>
                  <a:lnTo>
                    <a:pt x="806" y="194"/>
                  </a:lnTo>
                  <a:lnTo>
                    <a:pt x="802" y="194"/>
                  </a:lnTo>
                  <a:lnTo>
                    <a:pt x="798" y="194"/>
                  </a:lnTo>
                  <a:lnTo>
                    <a:pt x="794" y="194"/>
                  </a:lnTo>
                  <a:lnTo>
                    <a:pt x="794" y="190"/>
                  </a:lnTo>
                  <a:lnTo>
                    <a:pt x="790" y="190"/>
                  </a:lnTo>
                  <a:lnTo>
                    <a:pt x="790" y="194"/>
                  </a:lnTo>
                  <a:lnTo>
                    <a:pt x="794" y="194"/>
                  </a:lnTo>
                  <a:lnTo>
                    <a:pt x="802" y="198"/>
                  </a:lnTo>
                  <a:lnTo>
                    <a:pt x="798" y="198"/>
                  </a:lnTo>
                  <a:lnTo>
                    <a:pt x="794" y="198"/>
                  </a:lnTo>
                  <a:lnTo>
                    <a:pt x="790" y="198"/>
                  </a:lnTo>
                  <a:lnTo>
                    <a:pt x="786" y="198"/>
                  </a:lnTo>
                  <a:lnTo>
                    <a:pt x="782" y="198"/>
                  </a:lnTo>
                  <a:lnTo>
                    <a:pt x="778" y="198"/>
                  </a:lnTo>
                  <a:lnTo>
                    <a:pt x="776" y="198"/>
                  </a:lnTo>
                  <a:lnTo>
                    <a:pt x="772" y="198"/>
                  </a:lnTo>
                  <a:lnTo>
                    <a:pt x="772" y="194"/>
                  </a:lnTo>
                  <a:lnTo>
                    <a:pt x="776" y="194"/>
                  </a:lnTo>
                  <a:lnTo>
                    <a:pt x="772" y="190"/>
                  </a:lnTo>
                  <a:lnTo>
                    <a:pt x="768" y="190"/>
                  </a:lnTo>
                  <a:lnTo>
                    <a:pt x="772" y="190"/>
                  </a:lnTo>
                  <a:lnTo>
                    <a:pt x="772" y="194"/>
                  </a:lnTo>
                  <a:lnTo>
                    <a:pt x="768" y="194"/>
                  </a:lnTo>
                  <a:lnTo>
                    <a:pt x="768" y="198"/>
                  </a:lnTo>
                  <a:lnTo>
                    <a:pt x="764" y="198"/>
                  </a:lnTo>
                  <a:lnTo>
                    <a:pt x="760" y="194"/>
                  </a:lnTo>
                  <a:lnTo>
                    <a:pt x="756" y="194"/>
                  </a:lnTo>
                  <a:lnTo>
                    <a:pt x="756" y="190"/>
                  </a:lnTo>
                  <a:lnTo>
                    <a:pt x="756" y="194"/>
                  </a:lnTo>
                  <a:lnTo>
                    <a:pt x="756" y="198"/>
                  </a:lnTo>
                  <a:lnTo>
                    <a:pt x="752" y="198"/>
                  </a:lnTo>
                  <a:lnTo>
                    <a:pt x="752" y="194"/>
                  </a:lnTo>
                  <a:lnTo>
                    <a:pt x="752" y="198"/>
                  </a:lnTo>
                  <a:lnTo>
                    <a:pt x="748" y="198"/>
                  </a:lnTo>
                  <a:lnTo>
                    <a:pt x="746" y="198"/>
                  </a:lnTo>
                  <a:lnTo>
                    <a:pt x="742" y="194"/>
                  </a:lnTo>
                  <a:lnTo>
                    <a:pt x="746" y="194"/>
                  </a:lnTo>
                  <a:lnTo>
                    <a:pt x="742" y="190"/>
                  </a:lnTo>
                  <a:lnTo>
                    <a:pt x="742" y="186"/>
                  </a:lnTo>
                  <a:lnTo>
                    <a:pt x="742" y="182"/>
                  </a:lnTo>
                  <a:lnTo>
                    <a:pt x="738" y="186"/>
                  </a:lnTo>
                  <a:lnTo>
                    <a:pt x="742" y="186"/>
                  </a:lnTo>
                  <a:lnTo>
                    <a:pt x="742" y="190"/>
                  </a:lnTo>
                  <a:lnTo>
                    <a:pt x="742" y="194"/>
                  </a:lnTo>
                  <a:lnTo>
                    <a:pt x="738" y="194"/>
                  </a:lnTo>
                  <a:lnTo>
                    <a:pt x="742" y="194"/>
                  </a:lnTo>
                  <a:lnTo>
                    <a:pt x="742" y="190"/>
                  </a:lnTo>
                  <a:lnTo>
                    <a:pt x="738" y="190"/>
                  </a:lnTo>
                  <a:lnTo>
                    <a:pt x="738" y="194"/>
                  </a:lnTo>
                  <a:lnTo>
                    <a:pt x="734" y="194"/>
                  </a:lnTo>
                  <a:lnTo>
                    <a:pt x="732" y="194"/>
                  </a:lnTo>
                  <a:lnTo>
                    <a:pt x="728" y="190"/>
                  </a:lnTo>
                  <a:lnTo>
                    <a:pt x="732" y="186"/>
                  </a:lnTo>
                  <a:lnTo>
                    <a:pt x="728" y="186"/>
                  </a:lnTo>
                  <a:lnTo>
                    <a:pt x="728" y="182"/>
                  </a:lnTo>
                  <a:lnTo>
                    <a:pt x="732" y="182"/>
                  </a:lnTo>
                  <a:lnTo>
                    <a:pt x="734" y="182"/>
                  </a:lnTo>
                  <a:lnTo>
                    <a:pt x="734" y="180"/>
                  </a:lnTo>
                  <a:lnTo>
                    <a:pt x="738" y="180"/>
                  </a:lnTo>
                  <a:lnTo>
                    <a:pt x="742" y="176"/>
                  </a:lnTo>
                  <a:lnTo>
                    <a:pt x="746" y="176"/>
                  </a:lnTo>
                  <a:lnTo>
                    <a:pt x="748" y="176"/>
                  </a:lnTo>
                  <a:lnTo>
                    <a:pt x="752" y="176"/>
                  </a:lnTo>
                  <a:lnTo>
                    <a:pt x="756" y="176"/>
                  </a:lnTo>
                  <a:lnTo>
                    <a:pt x="760" y="176"/>
                  </a:lnTo>
                  <a:lnTo>
                    <a:pt x="756" y="176"/>
                  </a:lnTo>
                  <a:lnTo>
                    <a:pt x="760" y="176"/>
                  </a:lnTo>
                  <a:lnTo>
                    <a:pt x="764" y="176"/>
                  </a:lnTo>
                  <a:lnTo>
                    <a:pt x="768" y="176"/>
                  </a:lnTo>
                  <a:lnTo>
                    <a:pt x="764" y="172"/>
                  </a:lnTo>
                  <a:lnTo>
                    <a:pt x="760" y="172"/>
                  </a:lnTo>
                  <a:lnTo>
                    <a:pt x="764" y="172"/>
                  </a:lnTo>
                  <a:lnTo>
                    <a:pt x="760" y="172"/>
                  </a:lnTo>
                  <a:lnTo>
                    <a:pt x="760" y="168"/>
                  </a:lnTo>
                  <a:lnTo>
                    <a:pt x="764" y="168"/>
                  </a:lnTo>
                  <a:lnTo>
                    <a:pt x="760" y="168"/>
                  </a:lnTo>
                  <a:lnTo>
                    <a:pt x="756" y="168"/>
                  </a:lnTo>
                  <a:lnTo>
                    <a:pt x="752" y="168"/>
                  </a:lnTo>
                  <a:lnTo>
                    <a:pt x="752" y="164"/>
                  </a:lnTo>
                  <a:lnTo>
                    <a:pt x="748" y="160"/>
                  </a:lnTo>
                  <a:lnTo>
                    <a:pt x="746" y="160"/>
                  </a:lnTo>
                  <a:lnTo>
                    <a:pt x="746" y="158"/>
                  </a:lnTo>
                  <a:lnTo>
                    <a:pt x="748" y="158"/>
                  </a:lnTo>
                  <a:lnTo>
                    <a:pt x="752" y="158"/>
                  </a:lnTo>
                  <a:lnTo>
                    <a:pt x="752" y="154"/>
                  </a:lnTo>
                  <a:lnTo>
                    <a:pt x="760" y="154"/>
                  </a:lnTo>
                  <a:lnTo>
                    <a:pt x="764" y="154"/>
                  </a:lnTo>
                  <a:lnTo>
                    <a:pt x="768" y="154"/>
                  </a:lnTo>
                  <a:lnTo>
                    <a:pt x="772" y="158"/>
                  </a:lnTo>
                  <a:lnTo>
                    <a:pt x="776" y="158"/>
                  </a:lnTo>
                  <a:lnTo>
                    <a:pt x="778" y="160"/>
                  </a:lnTo>
                  <a:lnTo>
                    <a:pt x="782" y="164"/>
                  </a:lnTo>
                  <a:lnTo>
                    <a:pt x="782" y="168"/>
                  </a:lnTo>
                  <a:lnTo>
                    <a:pt x="778" y="168"/>
                  </a:lnTo>
                  <a:lnTo>
                    <a:pt x="782" y="168"/>
                  </a:lnTo>
                  <a:lnTo>
                    <a:pt x="782" y="164"/>
                  </a:lnTo>
                  <a:lnTo>
                    <a:pt x="786" y="168"/>
                  </a:lnTo>
                  <a:lnTo>
                    <a:pt x="790" y="168"/>
                  </a:lnTo>
                  <a:lnTo>
                    <a:pt x="794" y="168"/>
                  </a:lnTo>
                  <a:lnTo>
                    <a:pt x="794" y="172"/>
                  </a:lnTo>
                  <a:lnTo>
                    <a:pt x="798" y="172"/>
                  </a:lnTo>
                  <a:lnTo>
                    <a:pt x="798" y="168"/>
                  </a:lnTo>
                  <a:lnTo>
                    <a:pt x="802" y="168"/>
                  </a:lnTo>
                  <a:lnTo>
                    <a:pt x="806" y="168"/>
                  </a:lnTo>
                  <a:lnTo>
                    <a:pt x="808" y="168"/>
                  </a:lnTo>
                  <a:lnTo>
                    <a:pt x="812" y="168"/>
                  </a:lnTo>
                  <a:lnTo>
                    <a:pt x="808" y="168"/>
                  </a:lnTo>
                  <a:lnTo>
                    <a:pt x="808" y="164"/>
                  </a:lnTo>
                  <a:lnTo>
                    <a:pt x="812" y="164"/>
                  </a:lnTo>
                  <a:lnTo>
                    <a:pt x="816" y="164"/>
                  </a:lnTo>
                  <a:lnTo>
                    <a:pt x="820" y="160"/>
                  </a:lnTo>
                  <a:lnTo>
                    <a:pt x="824" y="158"/>
                  </a:lnTo>
                  <a:lnTo>
                    <a:pt x="828" y="154"/>
                  </a:lnTo>
                  <a:lnTo>
                    <a:pt x="828" y="150"/>
                  </a:lnTo>
                  <a:lnTo>
                    <a:pt x="832" y="150"/>
                  </a:lnTo>
                  <a:lnTo>
                    <a:pt x="828" y="150"/>
                  </a:lnTo>
                  <a:lnTo>
                    <a:pt x="824" y="150"/>
                  </a:lnTo>
                  <a:lnTo>
                    <a:pt x="824" y="154"/>
                  </a:lnTo>
                  <a:lnTo>
                    <a:pt x="820" y="154"/>
                  </a:lnTo>
                  <a:lnTo>
                    <a:pt x="820" y="158"/>
                  </a:lnTo>
                  <a:lnTo>
                    <a:pt x="816" y="158"/>
                  </a:lnTo>
                  <a:lnTo>
                    <a:pt x="816" y="160"/>
                  </a:lnTo>
                  <a:lnTo>
                    <a:pt x="812" y="160"/>
                  </a:lnTo>
                  <a:lnTo>
                    <a:pt x="812" y="164"/>
                  </a:lnTo>
                  <a:lnTo>
                    <a:pt x="808" y="164"/>
                  </a:lnTo>
                  <a:lnTo>
                    <a:pt x="806" y="164"/>
                  </a:lnTo>
                  <a:lnTo>
                    <a:pt x="802" y="164"/>
                  </a:lnTo>
                  <a:lnTo>
                    <a:pt x="798" y="164"/>
                  </a:lnTo>
                  <a:lnTo>
                    <a:pt x="794" y="164"/>
                  </a:lnTo>
                  <a:lnTo>
                    <a:pt x="794" y="160"/>
                  </a:lnTo>
                  <a:lnTo>
                    <a:pt x="798" y="160"/>
                  </a:lnTo>
                  <a:lnTo>
                    <a:pt x="802" y="160"/>
                  </a:lnTo>
                  <a:lnTo>
                    <a:pt x="798" y="158"/>
                  </a:lnTo>
                  <a:lnTo>
                    <a:pt x="798" y="160"/>
                  </a:lnTo>
                  <a:lnTo>
                    <a:pt x="794" y="160"/>
                  </a:lnTo>
                  <a:lnTo>
                    <a:pt x="790" y="160"/>
                  </a:lnTo>
                  <a:lnTo>
                    <a:pt x="786" y="160"/>
                  </a:lnTo>
                  <a:lnTo>
                    <a:pt x="786" y="158"/>
                  </a:lnTo>
                  <a:lnTo>
                    <a:pt x="790" y="158"/>
                  </a:lnTo>
                  <a:lnTo>
                    <a:pt x="786" y="158"/>
                  </a:lnTo>
                  <a:lnTo>
                    <a:pt x="786" y="154"/>
                  </a:lnTo>
                  <a:lnTo>
                    <a:pt x="790" y="154"/>
                  </a:lnTo>
                  <a:lnTo>
                    <a:pt x="794" y="154"/>
                  </a:lnTo>
                  <a:lnTo>
                    <a:pt x="798" y="154"/>
                  </a:lnTo>
                  <a:lnTo>
                    <a:pt x="802" y="154"/>
                  </a:lnTo>
                  <a:lnTo>
                    <a:pt x="798" y="154"/>
                  </a:lnTo>
                  <a:lnTo>
                    <a:pt x="794" y="154"/>
                  </a:lnTo>
                  <a:lnTo>
                    <a:pt x="790" y="154"/>
                  </a:lnTo>
                  <a:lnTo>
                    <a:pt x="786" y="154"/>
                  </a:lnTo>
                  <a:lnTo>
                    <a:pt x="782" y="154"/>
                  </a:lnTo>
                  <a:lnTo>
                    <a:pt x="786" y="150"/>
                  </a:lnTo>
                  <a:lnTo>
                    <a:pt x="790" y="150"/>
                  </a:lnTo>
                  <a:lnTo>
                    <a:pt x="794" y="150"/>
                  </a:lnTo>
                  <a:lnTo>
                    <a:pt x="798" y="150"/>
                  </a:lnTo>
                  <a:lnTo>
                    <a:pt x="802" y="150"/>
                  </a:lnTo>
                  <a:lnTo>
                    <a:pt x="798" y="150"/>
                  </a:lnTo>
                  <a:lnTo>
                    <a:pt x="794" y="150"/>
                  </a:lnTo>
                  <a:lnTo>
                    <a:pt x="790" y="150"/>
                  </a:lnTo>
                  <a:lnTo>
                    <a:pt x="790" y="146"/>
                  </a:lnTo>
                  <a:lnTo>
                    <a:pt x="794" y="146"/>
                  </a:lnTo>
                  <a:lnTo>
                    <a:pt x="798" y="146"/>
                  </a:lnTo>
                  <a:lnTo>
                    <a:pt x="802" y="146"/>
                  </a:lnTo>
                  <a:lnTo>
                    <a:pt x="806" y="146"/>
                  </a:lnTo>
                  <a:lnTo>
                    <a:pt x="802" y="146"/>
                  </a:lnTo>
                  <a:lnTo>
                    <a:pt x="798" y="146"/>
                  </a:lnTo>
                  <a:lnTo>
                    <a:pt x="794" y="146"/>
                  </a:lnTo>
                  <a:lnTo>
                    <a:pt x="794" y="142"/>
                  </a:lnTo>
                  <a:lnTo>
                    <a:pt x="798" y="142"/>
                  </a:lnTo>
                  <a:lnTo>
                    <a:pt x="794" y="142"/>
                  </a:lnTo>
                  <a:lnTo>
                    <a:pt x="794" y="138"/>
                  </a:lnTo>
                  <a:lnTo>
                    <a:pt x="794" y="136"/>
                  </a:lnTo>
                  <a:lnTo>
                    <a:pt x="798" y="136"/>
                  </a:lnTo>
                  <a:lnTo>
                    <a:pt x="794" y="138"/>
                  </a:lnTo>
                  <a:lnTo>
                    <a:pt x="794" y="142"/>
                  </a:lnTo>
                  <a:lnTo>
                    <a:pt x="790" y="142"/>
                  </a:lnTo>
                  <a:lnTo>
                    <a:pt x="790" y="146"/>
                  </a:lnTo>
                  <a:lnTo>
                    <a:pt x="786" y="150"/>
                  </a:lnTo>
                  <a:lnTo>
                    <a:pt x="782" y="150"/>
                  </a:lnTo>
                  <a:lnTo>
                    <a:pt x="778" y="150"/>
                  </a:lnTo>
                  <a:lnTo>
                    <a:pt x="776" y="150"/>
                  </a:lnTo>
                  <a:lnTo>
                    <a:pt x="776" y="146"/>
                  </a:lnTo>
                  <a:lnTo>
                    <a:pt x="778" y="146"/>
                  </a:lnTo>
                  <a:lnTo>
                    <a:pt x="778" y="142"/>
                  </a:lnTo>
                  <a:lnTo>
                    <a:pt x="776" y="142"/>
                  </a:lnTo>
                  <a:lnTo>
                    <a:pt x="776" y="146"/>
                  </a:lnTo>
                  <a:lnTo>
                    <a:pt x="772" y="146"/>
                  </a:lnTo>
                  <a:lnTo>
                    <a:pt x="768" y="146"/>
                  </a:lnTo>
                  <a:lnTo>
                    <a:pt x="768" y="150"/>
                  </a:lnTo>
                  <a:lnTo>
                    <a:pt x="764" y="150"/>
                  </a:lnTo>
                  <a:lnTo>
                    <a:pt x="760" y="150"/>
                  </a:lnTo>
                  <a:lnTo>
                    <a:pt x="756" y="150"/>
                  </a:lnTo>
                  <a:lnTo>
                    <a:pt x="756" y="146"/>
                  </a:lnTo>
                  <a:lnTo>
                    <a:pt x="760" y="146"/>
                  </a:lnTo>
                  <a:lnTo>
                    <a:pt x="756" y="146"/>
                  </a:lnTo>
                  <a:lnTo>
                    <a:pt x="756" y="142"/>
                  </a:lnTo>
                  <a:lnTo>
                    <a:pt x="756" y="138"/>
                  </a:lnTo>
                  <a:lnTo>
                    <a:pt x="760" y="138"/>
                  </a:lnTo>
                  <a:lnTo>
                    <a:pt x="760" y="136"/>
                  </a:lnTo>
                  <a:lnTo>
                    <a:pt x="764" y="136"/>
                  </a:lnTo>
                  <a:lnTo>
                    <a:pt x="760" y="136"/>
                  </a:lnTo>
                  <a:lnTo>
                    <a:pt x="764" y="132"/>
                  </a:lnTo>
                  <a:lnTo>
                    <a:pt x="768" y="128"/>
                  </a:lnTo>
                  <a:lnTo>
                    <a:pt x="772" y="128"/>
                  </a:lnTo>
                  <a:lnTo>
                    <a:pt x="776" y="128"/>
                  </a:lnTo>
                  <a:lnTo>
                    <a:pt x="778" y="128"/>
                  </a:lnTo>
                  <a:lnTo>
                    <a:pt x="782" y="128"/>
                  </a:lnTo>
                  <a:lnTo>
                    <a:pt x="786" y="128"/>
                  </a:lnTo>
                  <a:lnTo>
                    <a:pt x="786" y="124"/>
                  </a:lnTo>
                  <a:lnTo>
                    <a:pt x="790" y="124"/>
                  </a:lnTo>
                  <a:lnTo>
                    <a:pt x="794" y="128"/>
                  </a:lnTo>
                  <a:lnTo>
                    <a:pt x="798" y="128"/>
                  </a:lnTo>
                  <a:lnTo>
                    <a:pt x="802" y="128"/>
                  </a:lnTo>
                  <a:lnTo>
                    <a:pt x="806" y="128"/>
                  </a:lnTo>
                  <a:lnTo>
                    <a:pt x="808" y="128"/>
                  </a:lnTo>
                  <a:lnTo>
                    <a:pt x="812" y="128"/>
                  </a:lnTo>
                  <a:lnTo>
                    <a:pt x="816" y="128"/>
                  </a:lnTo>
                  <a:lnTo>
                    <a:pt x="816" y="132"/>
                  </a:lnTo>
                  <a:lnTo>
                    <a:pt x="820" y="132"/>
                  </a:lnTo>
                  <a:lnTo>
                    <a:pt x="824" y="132"/>
                  </a:lnTo>
                  <a:lnTo>
                    <a:pt x="828" y="136"/>
                  </a:lnTo>
                  <a:lnTo>
                    <a:pt x="832" y="136"/>
                  </a:lnTo>
                  <a:lnTo>
                    <a:pt x="828" y="136"/>
                  </a:lnTo>
                  <a:lnTo>
                    <a:pt x="828" y="132"/>
                  </a:lnTo>
                  <a:lnTo>
                    <a:pt x="832" y="132"/>
                  </a:lnTo>
                  <a:lnTo>
                    <a:pt x="828" y="132"/>
                  </a:lnTo>
                  <a:lnTo>
                    <a:pt x="824" y="132"/>
                  </a:lnTo>
                  <a:lnTo>
                    <a:pt x="820" y="132"/>
                  </a:lnTo>
                  <a:lnTo>
                    <a:pt x="820" y="128"/>
                  </a:lnTo>
                  <a:lnTo>
                    <a:pt x="816" y="128"/>
                  </a:lnTo>
                  <a:lnTo>
                    <a:pt x="820" y="128"/>
                  </a:lnTo>
                  <a:lnTo>
                    <a:pt x="824" y="128"/>
                  </a:lnTo>
                  <a:lnTo>
                    <a:pt x="828" y="128"/>
                  </a:lnTo>
                  <a:lnTo>
                    <a:pt x="832" y="128"/>
                  </a:lnTo>
                  <a:lnTo>
                    <a:pt x="834" y="128"/>
                  </a:lnTo>
                  <a:lnTo>
                    <a:pt x="838" y="128"/>
                  </a:lnTo>
                  <a:lnTo>
                    <a:pt x="834" y="128"/>
                  </a:lnTo>
                  <a:lnTo>
                    <a:pt x="838" y="128"/>
                  </a:lnTo>
                  <a:lnTo>
                    <a:pt x="838" y="124"/>
                  </a:lnTo>
                  <a:lnTo>
                    <a:pt x="842" y="124"/>
                  </a:lnTo>
                  <a:lnTo>
                    <a:pt x="842" y="120"/>
                  </a:lnTo>
                  <a:lnTo>
                    <a:pt x="838" y="120"/>
                  </a:lnTo>
                  <a:lnTo>
                    <a:pt x="834" y="124"/>
                  </a:lnTo>
                  <a:lnTo>
                    <a:pt x="832" y="124"/>
                  </a:lnTo>
                  <a:lnTo>
                    <a:pt x="832" y="128"/>
                  </a:lnTo>
                  <a:lnTo>
                    <a:pt x="828" y="128"/>
                  </a:lnTo>
                  <a:lnTo>
                    <a:pt x="824" y="128"/>
                  </a:lnTo>
                  <a:lnTo>
                    <a:pt x="824" y="124"/>
                  </a:lnTo>
                  <a:lnTo>
                    <a:pt x="820" y="124"/>
                  </a:lnTo>
                  <a:lnTo>
                    <a:pt x="816" y="124"/>
                  </a:lnTo>
                  <a:lnTo>
                    <a:pt x="812" y="124"/>
                  </a:lnTo>
                  <a:lnTo>
                    <a:pt x="808" y="124"/>
                  </a:lnTo>
                  <a:lnTo>
                    <a:pt x="806" y="124"/>
                  </a:lnTo>
                  <a:lnTo>
                    <a:pt x="802" y="124"/>
                  </a:lnTo>
                  <a:lnTo>
                    <a:pt x="798" y="124"/>
                  </a:lnTo>
                  <a:lnTo>
                    <a:pt x="794" y="124"/>
                  </a:lnTo>
                  <a:lnTo>
                    <a:pt x="794" y="120"/>
                  </a:lnTo>
                  <a:lnTo>
                    <a:pt x="798" y="120"/>
                  </a:lnTo>
                  <a:lnTo>
                    <a:pt x="806" y="120"/>
                  </a:lnTo>
                  <a:lnTo>
                    <a:pt x="808" y="120"/>
                  </a:lnTo>
                  <a:lnTo>
                    <a:pt x="808" y="124"/>
                  </a:lnTo>
                  <a:lnTo>
                    <a:pt x="812" y="124"/>
                  </a:lnTo>
                  <a:lnTo>
                    <a:pt x="816" y="120"/>
                  </a:lnTo>
                  <a:lnTo>
                    <a:pt x="812" y="120"/>
                  </a:lnTo>
                  <a:lnTo>
                    <a:pt x="808" y="120"/>
                  </a:lnTo>
                  <a:lnTo>
                    <a:pt x="806" y="120"/>
                  </a:lnTo>
                  <a:lnTo>
                    <a:pt x="806" y="116"/>
                  </a:lnTo>
                  <a:lnTo>
                    <a:pt x="802" y="116"/>
                  </a:lnTo>
                  <a:lnTo>
                    <a:pt x="802" y="112"/>
                  </a:lnTo>
                  <a:lnTo>
                    <a:pt x="798" y="112"/>
                  </a:lnTo>
                  <a:lnTo>
                    <a:pt x="798" y="108"/>
                  </a:lnTo>
                  <a:lnTo>
                    <a:pt x="794" y="108"/>
                  </a:lnTo>
                  <a:lnTo>
                    <a:pt x="790" y="106"/>
                  </a:lnTo>
                  <a:lnTo>
                    <a:pt x="786" y="106"/>
                  </a:lnTo>
                  <a:lnTo>
                    <a:pt x="786" y="102"/>
                  </a:lnTo>
                  <a:lnTo>
                    <a:pt x="782" y="102"/>
                  </a:lnTo>
                  <a:lnTo>
                    <a:pt x="778" y="102"/>
                  </a:lnTo>
                  <a:lnTo>
                    <a:pt x="776" y="102"/>
                  </a:lnTo>
                  <a:lnTo>
                    <a:pt x="772" y="102"/>
                  </a:lnTo>
                  <a:lnTo>
                    <a:pt x="772" y="98"/>
                  </a:lnTo>
                  <a:lnTo>
                    <a:pt x="772" y="94"/>
                  </a:lnTo>
                  <a:lnTo>
                    <a:pt x="776" y="94"/>
                  </a:lnTo>
                  <a:lnTo>
                    <a:pt x="778" y="94"/>
                  </a:lnTo>
                  <a:lnTo>
                    <a:pt x="778" y="98"/>
                  </a:lnTo>
                  <a:lnTo>
                    <a:pt x="782" y="98"/>
                  </a:lnTo>
                  <a:lnTo>
                    <a:pt x="786" y="98"/>
                  </a:lnTo>
                  <a:lnTo>
                    <a:pt x="782" y="94"/>
                  </a:lnTo>
                  <a:lnTo>
                    <a:pt x="776" y="94"/>
                  </a:lnTo>
                  <a:lnTo>
                    <a:pt x="772" y="94"/>
                  </a:lnTo>
                  <a:lnTo>
                    <a:pt x="768" y="94"/>
                  </a:lnTo>
                  <a:lnTo>
                    <a:pt x="768" y="90"/>
                  </a:lnTo>
                  <a:lnTo>
                    <a:pt x="772" y="86"/>
                  </a:lnTo>
                  <a:lnTo>
                    <a:pt x="776" y="82"/>
                  </a:lnTo>
                  <a:lnTo>
                    <a:pt x="778" y="82"/>
                  </a:lnTo>
                  <a:lnTo>
                    <a:pt x="782" y="86"/>
                  </a:lnTo>
                  <a:lnTo>
                    <a:pt x="786" y="86"/>
                  </a:lnTo>
                  <a:lnTo>
                    <a:pt x="790" y="86"/>
                  </a:lnTo>
                  <a:lnTo>
                    <a:pt x="794" y="86"/>
                  </a:lnTo>
                  <a:lnTo>
                    <a:pt x="798" y="86"/>
                  </a:lnTo>
                  <a:lnTo>
                    <a:pt x="802" y="86"/>
                  </a:lnTo>
                  <a:lnTo>
                    <a:pt x="806" y="86"/>
                  </a:lnTo>
                  <a:lnTo>
                    <a:pt x="808" y="86"/>
                  </a:lnTo>
                  <a:lnTo>
                    <a:pt x="812" y="86"/>
                  </a:lnTo>
                  <a:lnTo>
                    <a:pt x="812" y="90"/>
                  </a:lnTo>
                  <a:lnTo>
                    <a:pt x="816" y="90"/>
                  </a:lnTo>
                  <a:lnTo>
                    <a:pt x="820" y="90"/>
                  </a:lnTo>
                  <a:lnTo>
                    <a:pt x="820" y="94"/>
                  </a:lnTo>
                  <a:lnTo>
                    <a:pt x="824" y="94"/>
                  </a:lnTo>
                  <a:lnTo>
                    <a:pt x="828" y="94"/>
                  </a:lnTo>
                  <a:lnTo>
                    <a:pt x="832" y="98"/>
                  </a:lnTo>
                  <a:lnTo>
                    <a:pt x="834" y="98"/>
                  </a:lnTo>
                  <a:lnTo>
                    <a:pt x="834" y="102"/>
                  </a:lnTo>
                  <a:lnTo>
                    <a:pt x="838" y="102"/>
                  </a:lnTo>
                  <a:lnTo>
                    <a:pt x="838" y="106"/>
                  </a:lnTo>
                  <a:lnTo>
                    <a:pt x="842" y="106"/>
                  </a:lnTo>
                  <a:lnTo>
                    <a:pt x="846" y="106"/>
                  </a:lnTo>
                  <a:lnTo>
                    <a:pt x="850" y="106"/>
                  </a:lnTo>
                  <a:lnTo>
                    <a:pt x="854" y="106"/>
                  </a:lnTo>
                  <a:lnTo>
                    <a:pt x="858" y="106"/>
                  </a:lnTo>
                  <a:lnTo>
                    <a:pt x="862" y="106"/>
                  </a:lnTo>
                  <a:lnTo>
                    <a:pt x="864" y="106"/>
                  </a:lnTo>
                  <a:lnTo>
                    <a:pt x="864" y="102"/>
                  </a:lnTo>
                  <a:lnTo>
                    <a:pt x="862" y="102"/>
                  </a:lnTo>
                  <a:lnTo>
                    <a:pt x="858" y="102"/>
                  </a:lnTo>
                  <a:lnTo>
                    <a:pt x="858" y="106"/>
                  </a:lnTo>
                  <a:lnTo>
                    <a:pt x="854" y="106"/>
                  </a:lnTo>
                  <a:lnTo>
                    <a:pt x="850" y="106"/>
                  </a:lnTo>
                  <a:lnTo>
                    <a:pt x="846" y="102"/>
                  </a:lnTo>
                  <a:lnTo>
                    <a:pt x="842" y="102"/>
                  </a:lnTo>
                  <a:lnTo>
                    <a:pt x="838" y="98"/>
                  </a:lnTo>
                  <a:lnTo>
                    <a:pt x="842" y="98"/>
                  </a:lnTo>
                  <a:lnTo>
                    <a:pt x="842" y="94"/>
                  </a:lnTo>
                  <a:lnTo>
                    <a:pt x="838" y="94"/>
                  </a:lnTo>
                  <a:lnTo>
                    <a:pt x="834" y="94"/>
                  </a:lnTo>
                  <a:lnTo>
                    <a:pt x="832" y="94"/>
                  </a:lnTo>
                  <a:lnTo>
                    <a:pt x="828" y="94"/>
                  </a:lnTo>
                  <a:lnTo>
                    <a:pt x="824" y="90"/>
                  </a:lnTo>
                  <a:lnTo>
                    <a:pt x="820" y="86"/>
                  </a:lnTo>
                  <a:lnTo>
                    <a:pt x="816" y="86"/>
                  </a:lnTo>
                  <a:lnTo>
                    <a:pt x="816" y="82"/>
                  </a:lnTo>
                  <a:lnTo>
                    <a:pt x="820" y="82"/>
                  </a:lnTo>
                  <a:lnTo>
                    <a:pt x="824" y="82"/>
                  </a:lnTo>
                  <a:lnTo>
                    <a:pt x="828" y="82"/>
                  </a:lnTo>
                  <a:lnTo>
                    <a:pt x="832" y="82"/>
                  </a:lnTo>
                  <a:lnTo>
                    <a:pt x="834" y="82"/>
                  </a:lnTo>
                  <a:lnTo>
                    <a:pt x="838" y="82"/>
                  </a:lnTo>
                  <a:lnTo>
                    <a:pt x="842" y="82"/>
                  </a:lnTo>
                  <a:lnTo>
                    <a:pt x="846" y="82"/>
                  </a:lnTo>
                  <a:lnTo>
                    <a:pt x="850" y="82"/>
                  </a:lnTo>
                  <a:lnTo>
                    <a:pt x="850" y="78"/>
                  </a:lnTo>
                  <a:lnTo>
                    <a:pt x="854" y="78"/>
                  </a:lnTo>
                  <a:lnTo>
                    <a:pt x="858" y="78"/>
                  </a:lnTo>
                  <a:lnTo>
                    <a:pt x="862" y="78"/>
                  </a:lnTo>
                  <a:lnTo>
                    <a:pt x="864" y="78"/>
                  </a:lnTo>
                  <a:lnTo>
                    <a:pt x="868" y="78"/>
                  </a:lnTo>
                  <a:lnTo>
                    <a:pt x="872" y="78"/>
                  </a:lnTo>
                  <a:lnTo>
                    <a:pt x="876" y="78"/>
                  </a:lnTo>
                  <a:lnTo>
                    <a:pt x="880" y="78"/>
                  </a:lnTo>
                  <a:lnTo>
                    <a:pt x="884" y="78"/>
                  </a:lnTo>
                  <a:lnTo>
                    <a:pt x="888" y="78"/>
                  </a:lnTo>
                  <a:lnTo>
                    <a:pt x="890" y="78"/>
                  </a:lnTo>
                  <a:lnTo>
                    <a:pt x="890" y="76"/>
                  </a:lnTo>
                  <a:lnTo>
                    <a:pt x="888" y="76"/>
                  </a:lnTo>
                  <a:lnTo>
                    <a:pt x="880" y="76"/>
                  </a:lnTo>
                  <a:lnTo>
                    <a:pt x="876" y="76"/>
                  </a:lnTo>
                  <a:lnTo>
                    <a:pt x="872" y="76"/>
                  </a:lnTo>
                  <a:lnTo>
                    <a:pt x="868" y="76"/>
                  </a:lnTo>
                  <a:lnTo>
                    <a:pt x="864" y="76"/>
                  </a:lnTo>
                  <a:lnTo>
                    <a:pt x="868" y="76"/>
                  </a:lnTo>
                  <a:lnTo>
                    <a:pt x="872" y="76"/>
                  </a:lnTo>
                  <a:lnTo>
                    <a:pt x="876" y="72"/>
                  </a:lnTo>
                  <a:lnTo>
                    <a:pt x="880" y="72"/>
                  </a:lnTo>
                  <a:lnTo>
                    <a:pt x="884" y="72"/>
                  </a:lnTo>
                  <a:lnTo>
                    <a:pt x="888" y="72"/>
                  </a:lnTo>
                  <a:lnTo>
                    <a:pt x="890" y="72"/>
                  </a:lnTo>
                  <a:lnTo>
                    <a:pt x="894" y="72"/>
                  </a:lnTo>
                  <a:lnTo>
                    <a:pt x="902" y="68"/>
                  </a:lnTo>
                  <a:lnTo>
                    <a:pt x="906" y="68"/>
                  </a:lnTo>
                  <a:lnTo>
                    <a:pt x="910" y="68"/>
                  </a:lnTo>
                  <a:lnTo>
                    <a:pt x="914" y="68"/>
                  </a:lnTo>
                  <a:lnTo>
                    <a:pt x="910" y="68"/>
                  </a:lnTo>
                  <a:lnTo>
                    <a:pt x="906" y="68"/>
                  </a:lnTo>
                  <a:lnTo>
                    <a:pt x="902" y="68"/>
                  </a:lnTo>
                  <a:lnTo>
                    <a:pt x="898" y="68"/>
                  </a:lnTo>
                  <a:lnTo>
                    <a:pt x="894" y="68"/>
                  </a:lnTo>
                  <a:lnTo>
                    <a:pt x="890" y="68"/>
                  </a:lnTo>
                  <a:lnTo>
                    <a:pt x="884" y="68"/>
                  </a:lnTo>
                  <a:lnTo>
                    <a:pt x="880" y="68"/>
                  </a:lnTo>
                  <a:lnTo>
                    <a:pt x="876" y="68"/>
                  </a:lnTo>
                  <a:lnTo>
                    <a:pt x="876" y="64"/>
                  </a:lnTo>
                  <a:lnTo>
                    <a:pt x="880" y="64"/>
                  </a:lnTo>
                  <a:lnTo>
                    <a:pt x="884" y="64"/>
                  </a:lnTo>
                  <a:lnTo>
                    <a:pt x="884" y="60"/>
                  </a:lnTo>
                  <a:lnTo>
                    <a:pt x="888" y="60"/>
                  </a:lnTo>
                  <a:lnTo>
                    <a:pt x="890" y="56"/>
                  </a:lnTo>
                  <a:lnTo>
                    <a:pt x="894" y="56"/>
                  </a:lnTo>
                  <a:lnTo>
                    <a:pt x="898" y="56"/>
                  </a:lnTo>
                  <a:lnTo>
                    <a:pt x="902" y="52"/>
                  </a:lnTo>
                  <a:lnTo>
                    <a:pt x="906" y="52"/>
                  </a:lnTo>
                  <a:lnTo>
                    <a:pt x="910" y="52"/>
                  </a:lnTo>
                  <a:lnTo>
                    <a:pt x="906" y="52"/>
                  </a:lnTo>
                  <a:lnTo>
                    <a:pt x="902" y="52"/>
                  </a:lnTo>
                  <a:lnTo>
                    <a:pt x="898" y="52"/>
                  </a:lnTo>
                  <a:lnTo>
                    <a:pt x="894" y="52"/>
                  </a:lnTo>
                  <a:lnTo>
                    <a:pt x="890" y="56"/>
                  </a:lnTo>
                  <a:lnTo>
                    <a:pt x="888" y="56"/>
                  </a:lnTo>
                  <a:lnTo>
                    <a:pt x="884" y="56"/>
                  </a:lnTo>
                  <a:lnTo>
                    <a:pt x="884" y="60"/>
                  </a:lnTo>
                  <a:lnTo>
                    <a:pt x="880" y="60"/>
                  </a:lnTo>
                  <a:lnTo>
                    <a:pt x="876" y="60"/>
                  </a:lnTo>
                  <a:lnTo>
                    <a:pt x="872" y="60"/>
                  </a:lnTo>
                  <a:lnTo>
                    <a:pt x="868" y="60"/>
                  </a:lnTo>
                  <a:lnTo>
                    <a:pt x="872" y="60"/>
                  </a:lnTo>
                  <a:lnTo>
                    <a:pt x="876" y="60"/>
                  </a:lnTo>
                  <a:lnTo>
                    <a:pt x="876" y="64"/>
                  </a:lnTo>
                  <a:lnTo>
                    <a:pt x="872" y="64"/>
                  </a:lnTo>
                  <a:lnTo>
                    <a:pt x="876" y="64"/>
                  </a:lnTo>
                  <a:lnTo>
                    <a:pt x="872" y="68"/>
                  </a:lnTo>
                  <a:lnTo>
                    <a:pt x="868" y="72"/>
                  </a:lnTo>
                  <a:lnTo>
                    <a:pt x="864" y="72"/>
                  </a:lnTo>
                  <a:lnTo>
                    <a:pt x="862" y="72"/>
                  </a:lnTo>
                  <a:lnTo>
                    <a:pt x="858" y="72"/>
                  </a:lnTo>
                  <a:lnTo>
                    <a:pt x="854" y="72"/>
                  </a:lnTo>
                  <a:lnTo>
                    <a:pt x="854" y="76"/>
                  </a:lnTo>
                  <a:lnTo>
                    <a:pt x="850" y="76"/>
                  </a:lnTo>
                  <a:lnTo>
                    <a:pt x="842" y="76"/>
                  </a:lnTo>
                  <a:lnTo>
                    <a:pt x="838" y="76"/>
                  </a:lnTo>
                  <a:lnTo>
                    <a:pt x="834" y="76"/>
                  </a:lnTo>
                  <a:lnTo>
                    <a:pt x="828" y="78"/>
                  </a:lnTo>
                  <a:lnTo>
                    <a:pt x="824" y="78"/>
                  </a:lnTo>
                  <a:lnTo>
                    <a:pt x="820" y="78"/>
                  </a:lnTo>
                  <a:lnTo>
                    <a:pt x="820" y="78"/>
                  </a:lnTo>
                  <a:lnTo>
                    <a:pt x="820" y="7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29" name="Freeform 69">
              <a:extLst>
                <a:ext uri="{FF2B5EF4-FFF2-40B4-BE49-F238E27FC236}">
                  <a16:creationId xmlns:a16="http://schemas.microsoft.com/office/drawing/2014/main" id="{D7C06B7B-9596-4B0C-F7CC-2E89BAB23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7990" y="3809121"/>
              <a:ext cx="93515" cy="105588"/>
            </a:xfrm>
            <a:custGeom>
              <a:avLst/>
              <a:gdLst>
                <a:gd name="T0" fmla="*/ 6 w 48"/>
                <a:gd name="T1" fmla="*/ 22 h 56"/>
                <a:gd name="T2" fmla="*/ 2 w 48"/>
                <a:gd name="T3" fmla="*/ 22 h 56"/>
                <a:gd name="T4" fmla="*/ 2 w 48"/>
                <a:gd name="T5" fmla="*/ 18 h 56"/>
                <a:gd name="T6" fmla="*/ 0 w 48"/>
                <a:gd name="T7" fmla="*/ 16 h 56"/>
                <a:gd name="T8" fmla="*/ 2 w 48"/>
                <a:gd name="T9" fmla="*/ 12 h 56"/>
                <a:gd name="T10" fmla="*/ 0 w 48"/>
                <a:gd name="T11" fmla="*/ 8 h 56"/>
                <a:gd name="T12" fmla="*/ 0 w 48"/>
                <a:gd name="T13" fmla="*/ 4 h 56"/>
                <a:gd name="T14" fmla="*/ 2 w 48"/>
                <a:gd name="T15" fmla="*/ 4 h 56"/>
                <a:gd name="T16" fmla="*/ 2 w 48"/>
                <a:gd name="T17" fmla="*/ 0 h 56"/>
                <a:gd name="T18" fmla="*/ 6 w 48"/>
                <a:gd name="T19" fmla="*/ 4 h 56"/>
                <a:gd name="T20" fmla="*/ 10 w 48"/>
                <a:gd name="T21" fmla="*/ 4 h 56"/>
                <a:gd name="T22" fmla="*/ 18 w 48"/>
                <a:gd name="T23" fmla="*/ 4 h 56"/>
                <a:gd name="T24" fmla="*/ 26 w 48"/>
                <a:gd name="T25" fmla="*/ 8 h 56"/>
                <a:gd name="T26" fmla="*/ 26 w 48"/>
                <a:gd name="T27" fmla="*/ 8 h 56"/>
                <a:gd name="T28" fmla="*/ 28 w 48"/>
                <a:gd name="T29" fmla="*/ 8 h 56"/>
                <a:gd name="T30" fmla="*/ 28 w 48"/>
                <a:gd name="T31" fmla="*/ 8 h 56"/>
                <a:gd name="T32" fmla="*/ 32 w 48"/>
                <a:gd name="T33" fmla="*/ 4 h 56"/>
                <a:gd name="T34" fmla="*/ 32 w 48"/>
                <a:gd name="T35" fmla="*/ 8 h 56"/>
                <a:gd name="T36" fmla="*/ 32 w 48"/>
                <a:gd name="T37" fmla="*/ 8 h 56"/>
                <a:gd name="T38" fmla="*/ 36 w 48"/>
                <a:gd name="T39" fmla="*/ 16 h 56"/>
                <a:gd name="T40" fmla="*/ 40 w 48"/>
                <a:gd name="T41" fmla="*/ 22 h 56"/>
                <a:gd name="T42" fmla="*/ 44 w 48"/>
                <a:gd name="T43" fmla="*/ 26 h 56"/>
                <a:gd name="T44" fmla="*/ 48 w 48"/>
                <a:gd name="T45" fmla="*/ 30 h 56"/>
                <a:gd name="T46" fmla="*/ 44 w 48"/>
                <a:gd name="T47" fmla="*/ 30 h 56"/>
                <a:gd name="T48" fmla="*/ 44 w 48"/>
                <a:gd name="T49" fmla="*/ 26 h 56"/>
                <a:gd name="T50" fmla="*/ 40 w 48"/>
                <a:gd name="T51" fmla="*/ 38 h 56"/>
                <a:gd name="T52" fmla="*/ 44 w 48"/>
                <a:gd name="T53" fmla="*/ 40 h 56"/>
                <a:gd name="T54" fmla="*/ 40 w 48"/>
                <a:gd name="T55" fmla="*/ 40 h 56"/>
                <a:gd name="T56" fmla="*/ 40 w 48"/>
                <a:gd name="T57" fmla="*/ 44 h 56"/>
                <a:gd name="T58" fmla="*/ 40 w 48"/>
                <a:gd name="T59" fmla="*/ 48 h 56"/>
                <a:gd name="T60" fmla="*/ 40 w 48"/>
                <a:gd name="T61" fmla="*/ 48 h 56"/>
                <a:gd name="T62" fmla="*/ 40 w 48"/>
                <a:gd name="T63" fmla="*/ 52 h 56"/>
                <a:gd name="T64" fmla="*/ 40 w 48"/>
                <a:gd name="T65" fmla="*/ 56 h 56"/>
                <a:gd name="T66" fmla="*/ 40 w 48"/>
                <a:gd name="T67" fmla="*/ 52 h 56"/>
                <a:gd name="T68" fmla="*/ 36 w 48"/>
                <a:gd name="T69" fmla="*/ 48 h 56"/>
                <a:gd name="T70" fmla="*/ 36 w 48"/>
                <a:gd name="T71" fmla="*/ 44 h 56"/>
                <a:gd name="T72" fmla="*/ 36 w 48"/>
                <a:gd name="T73" fmla="*/ 40 h 56"/>
                <a:gd name="T74" fmla="*/ 32 w 48"/>
                <a:gd name="T75" fmla="*/ 44 h 56"/>
                <a:gd name="T76" fmla="*/ 36 w 48"/>
                <a:gd name="T77" fmla="*/ 44 h 56"/>
                <a:gd name="T78" fmla="*/ 36 w 48"/>
                <a:gd name="T79" fmla="*/ 48 h 56"/>
                <a:gd name="T80" fmla="*/ 36 w 48"/>
                <a:gd name="T81" fmla="*/ 48 h 56"/>
                <a:gd name="T82" fmla="*/ 32 w 48"/>
                <a:gd name="T83" fmla="*/ 48 h 56"/>
                <a:gd name="T84" fmla="*/ 28 w 48"/>
                <a:gd name="T85" fmla="*/ 44 h 56"/>
                <a:gd name="T86" fmla="*/ 32 w 48"/>
                <a:gd name="T87" fmla="*/ 38 h 56"/>
                <a:gd name="T88" fmla="*/ 28 w 48"/>
                <a:gd name="T89" fmla="*/ 34 h 56"/>
                <a:gd name="T90" fmla="*/ 26 w 48"/>
                <a:gd name="T91" fmla="*/ 30 h 56"/>
                <a:gd name="T92" fmla="*/ 22 w 48"/>
                <a:gd name="T93" fmla="*/ 30 h 56"/>
                <a:gd name="T94" fmla="*/ 18 w 48"/>
                <a:gd name="T95" fmla="*/ 26 h 56"/>
                <a:gd name="T96" fmla="*/ 18 w 48"/>
                <a:gd name="T97" fmla="*/ 26 h 56"/>
                <a:gd name="T98" fmla="*/ 14 w 48"/>
                <a:gd name="T99" fmla="*/ 22 h 56"/>
                <a:gd name="T100" fmla="*/ 10 w 48"/>
                <a:gd name="T101" fmla="*/ 18 h 56"/>
                <a:gd name="T102" fmla="*/ 10 w 48"/>
                <a:gd name="T103" fmla="*/ 18 h 56"/>
                <a:gd name="T104" fmla="*/ 10 w 48"/>
                <a:gd name="T105" fmla="*/ 18 h 56"/>
                <a:gd name="T106" fmla="*/ 14 w 48"/>
                <a:gd name="T107" fmla="*/ 22 h 56"/>
                <a:gd name="T108" fmla="*/ 10 w 48"/>
                <a:gd name="T109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8" h="56">
                  <a:moveTo>
                    <a:pt x="10" y="26"/>
                  </a:moveTo>
                  <a:lnTo>
                    <a:pt x="6" y="26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4" y="4"/>
                  </a:lnTo>
                  <a:lnTo>
                    <a:pt x="18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8" y="26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0" y="30"/>
                  </a:lnTo>
                  <a:lnTo>
                    <a:pt x="40" y="34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4" y="38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30" name="Freeform 70">
              <a:extLst>
                <a:ext uri="{FF2B5EF4-FFF2-40B4-BE49-F238E27FC236}">
                  <a16:creationId xmlns:a16="http://schemas.microsoft.com/office/drawing/2014/main" id="{B6EA2409-E081-4D2D-8A88-5B4B33926D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5266" y="3416935"/>
              <a:ext cx="300026" cy="109359"/>
            </a:xfrm>
            <a:custGeom>
              <a:avLst/>
              <a:gdLst>
                <a:gd name="T0" fmla="*/ 82 w 154"/>
                <a:gd name="T1" fmla="*/ 30 h 58"/>
                <a:gd name="T2" fmla="*/ 68 w 154"/>
                <a:gd name="T3" fmla="*/ 26 h 58"/>
                <a:gd name="T4" fmla="*/ 60 w 154"/>
                <a:gd name="T5" fmla="*/ 18 h 58"/>
                <a:gd name="T6" fmla="*/ 44 w 154"/>
                <a:gd name="T7" fmla="*/ 14 h 58"/>
                <a:gd name="T8" fmla="*/ 38 w 154"/>
                <a:gd name="T9" fmla="*/ 14 h 58"/>
                <a:gd name="T10" fmla="*/ 44 w 154"/>
                <a:gd name="T11" fmla="*/ 8 h 58"/>
                <a:gd name="T12" fmla="*/ 30 w 154"/>
                <a:gd name="T13" fmla="*/ 8 h 58"/>
                <a:gd name="T14" fmla="*/ 22 w 154"/>
                <a:gd name="T15" fmla="*/ 14 h 58"/>
                <a:gd name="T16" fmla="*/ 14 w 154"/>
                <a:gd name="T17" fmla="*/ 18 h 58"/>
                <a:gd name="T18" fmla="*/ 8 w 154"/>
                <a:gd name="T19" fmla="*/ 26 h 58"/>
                <a:gd name="T20" fmla="*/ 4 w 154"/>
                <a:gd name="T21" fmla="*/ 18 h 58"/>
                <a:gd name="T22" fmla="*/ 10 w 154"/>
                <a:gd name="T23" fmla="*/ 8 h 58"/>
                <a:gd name="T24" fmla="*/ 26 w 154"/>
                <a:gd name="T25" fmla="*/ 4 h 58"/>
                <a:gd name="T26" fmla="*/ 40 w 154"/>
                <a:gd name="T27" fmla="*/ 0 h 58"/>
                <a:gd name="T28" fmla="*/ 52 w 154"/>
                <a:gd name="T29" fmla="*/ 4 h 58"/>
                <a:gd name="T30" fmla="*/ 60 w 154"/>
                <a:gd name="T31" fmla="*/ 4 h 58"/>
                <a:gd name="T32" fmla="*/ 70 w 154"/>
                <a:gd name="T33" fmla="*/ 8 h 58"/>
                <a:gd name="T34" fmla="*/ 78 w 154"/>
                <a:gd name="T35" fmla="*/ 14 h 58"/>
                <a:gd name="T36" fmla="*/ 94 w 154"/>
                <a:gd name="T37" fmla="*/ 18 h 58"/>
                <a:gd name="T38" fmla="*/ 100 w 154"/>
                <a:gd name="T39" fmla="*/ 26 h 58"/>
                <a:gd name="T40" fmla="*/ 104 w 154"/>
                <a:gd name="T41" fmla="*/ 22 h 58"/>
                <a:gd name="T42" fmla="*/ 104 w 154"/>
                <a:gd name="T43" fmla="*/ 26 h 58"/>
                <a:gd name="T44" fmla="*/ 112 w 154"/>
                <a:gd name="T45" fmla="*/ 30 h 58"/>
                <a:gd name="T46" fmla="*/ 120 w 154"/>
                <a:gd name="T47" fmla="*/ 34 h 58"/>
                <a:gd name="T48" fmla="*/ 130 w 154"/>
                <a:gd name="T49" fmla="*/ 38 h 58"/>
                <a:gd name="T50" fmla="*/ 130 w 154"/>
                <a:gd name="T51" fmla="*/ 44 h 58"/>
                <a:gd name="T52" fmla="*/ 138 w 154"/>
                <a:gd name="T53" fmla="*/ 44 h 58"/>
                <a:gd name="T54" fmla="*/ 150 w 154"/>
                <a:gd name="T55" fmla="*/ 50 h 58"/>
                <a:gd name="T56" fmla="*/ 146 w 154"/>
                <a:gd name="T57" fmla="*/ 54 h 58"/>
                <a:gd name="T58" fmla="*/ 130 w 154"/>
                <a:gd name="T59" fmla="*/ 58 h 58"/>
                <a:gd name="T60" fmla="*/ 120 w 154"/>
                <a:gd name="T61" fmla="*/ 54 h 58"/>
                <a:gd name="T62" fmla="*/ 112 w 154"/>
                <a:gd name="T63" fmla="*/ 54 h 58"/>
                <a:gd name="T64" fmla="*/ 104 w 154"/>
                <a:gd name="T65" fmla="*/ 58 h 58"/>
                <a:gd name="T66" fmla="*/ 104 w 154"/>
                <a:gd name="T67" fmla="*/ 50 h 58"/>
                <a:gd name="T68" fmla="*/ 108 w 154"/>
                <a:gd name="T69" fmla="*/ 44 h 58"/>
                <a:gd name="T70" fmla="*/ 98 w 154"/>
                <a:gd name="T71" fmla="*/ 40 h 58"/>
                <a:gd name="T72" fmla="*/ 90 w 154"/>
                <a:gd name="T73" fmla="*/ 38 h 58"/>
                <a:gd name="T74" fmla="*/ 90 w 154"/>
                <a:gd name="T75" fmla="*/ 30 h 58"/>
                <a:gd name="T76" fmla="*/ 78 w 154"/>
                <a:gd name="T77" fmla="*/ 8 h 58"/>
                <a:gd name="T78" fmla="*/ 90 w 154"/>
                <a:gd name="T79" fmla="*/ 14 h 58"/>
                <a:gd name="T80" fmla="*/ 90 w 154"/>
                <a:gd name="T81" fmla="*/ 10 h 58"/>
                <a:gd name="T82" fmla="*/ 90 w 154"/>
                <a:gd name="T83" fmla="*/ 14 h 58"/>
                <a:gd name="T84" fmla="*/ 94 w 154"/>
                <a:gd name="T85" fmla="*/ 10 h 58"/>
                <a:gd name="T86" fmla="*/ 98 w 154"/>
                <a:gd name="T87" fmla="*/ 14 h 58"/>
                <a:gd name="T88" fmla="*/ 100 w 154"/>
                <a:gd name="T89" fmla="*/ 14 h 58"/>
                <a:gd name="T90" fmla="*/ 100 w 154"/>
                <a:gd name="T91" fmla="*/ 22 h 58"/>
                <a:gd name="T92" fmla="*/ 100 w 154"/>
                <a:gd name="T93" fmla="*/ 22 h 58"/>
                <a:gd name="T94" fmla="*/ 22 w 154"/>
                <a:gd name="T95" fmla="*/ 26 h 58"/>
                <a:gd name="T96" fmla="*/ 26 w 154"/>
                <a:gd name="T97" fmla="*/ 22 h 58"/>
                <a:gd name="T98" fmla="*/ 34 w 154"/>
                <a:gd name="T99" fmla="*/ 30 h 58"/>
                <a:gd name="T100" fmla="*/ 26 w 154"/>
                <a:gd name="T101" fmla="*/ 3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4" h="58">
                  <a:moveTo>
                    <a:pt x="90" y="30"/>
                  </a:moveTo>
                  <a:lnTo>
                    <a:pt x="86" y="26"/>
                  </a:lnTo>
                  <a:lnTo>
                    <a:pt x="82" y="26"/>
                  </a:lnTo>
                  <a:lnTo>
                    <a:pt x="82" y="30"/>
                  </a:lnTo>
                  <a:lnTo>
                    <a:pt x="78" y="30"/>
                  </a:lnTo>
                  <a:lnTo>
                    <a:pt x="74" y="26"/>
                  </a:lnTo>
                  <a:lnTo>
                    <a:pt x="70" y="26"/>
                  </a:lnTo>
                  <a:lnTo>
                    <a:pt x="68" y="26"/>
                  </a:lnTo>
                  <a:lnTo>
                    <a:pt x="68" y="22"/>
                  </a:lnTo>
                  <a:lnTo>
                    <a:pt x="64" y="22"/>
                  </a:lnTo>
                  <a:lnTo>
                    <a:pt x="64" y="18"/>
                  </a:lnTo>
                  <a:lnTo>
                    <a:pt x="60" y="18"/>
                  </a:lnTo>
                  <a:lnTo>
                    <a:pt x="56" y="18"/>
                  </a:lnTo>
                  <a:lnTo>
                    <a:pt x="52" y="18"/>
                  </a:lnTo>
                  <a:lnTo>
                    <a:pt x="48" y="18"/>
                  </a:lnTo>
                  <a:lnTo>
                    <a:pt x="44" y="14"/>
                  </a:lnTo>
                  <a:lnTo>
                    <a:pt x="44" y="18"/>
                  </a:lnTo>
                  <a:lnTo>
                    <a:pt x="40" y="18"/>
                  </a:lnTo>
                  <a:lnTo>
                    <a:pt x="40" y="14"/>
                  </a:lnTo>
                  <a:lnTo>
                    <a:pt x="38" y="14"/>
                  </a:lnTo>
                  <a:lnTo>
                    <a:pt x="38" y="10"/>
                  </a:lnTo>
                  <a:lnTo>
                    <a:pt x="40" y="10"/>
                  </a:lnTo>
                  <a:lnTo>
                    <a:pt x="44" y="10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38" y="8"/>
                  </a:lnTo>
                  <a:lnTo>
                    <a:pt x="34" y="8"/>
                  </a:lnTo>
                  <a:lnTo>
                    <a:pt x="30" y="8"/>
                  </a:lnTo>
                  <a:lnTo>
                    <a:pt x="30" y="10"/>
                  </a:lnTo>
                  <a:lnTo>
                    <a:pt x="26" y="10"/>
                  </a:lnTo>
                  <a:lnTo>
                    <a:pt x="26" y="14"/>
                  </a:lnTo>
                  <a:lnTo>
                    <a:pt x="22" y="14"/>
                  </a:lnTo>
                  <a:lnTo>
                    <a:pt x="22" y="18"/>
                  </a:lnTo>
                  <a:lnTo>
                    <a:pt x="18" y="18"/>
                  </a:lnTo>
                  <a:lnTo>
                    <a:pt x="18" y="14"/>
                  </a:lnTo>
                  <a:lnTo>
                    <a:pt x="14" y="18"/>
                  </a:lnTo>
                  <a:lnTo>
                    <a:pt x="10" y="18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26"/>
                  </a:lnTo>
                  <a:lnTo>
                    <a:pt x="4" y="26"/>
                  </a:lnTo>
                  <a:lnTo>
                    <a:pt x="4" y="22"/>
                  </a:lnTo>
                  <a:lnTo>
                    <a:pt x="0" y="22"/>
                  </a:lnTo>
                  <a:lnTo>
                    <a:pt x="4" y="18"/>
                  </a:lnTo>
                  <a:lnTo>
                    <a:pt x="8" y="18"/>
                  </a:lnTo>
                  <a:lnTo>
                    <a:pt x="8" y="14"/>
                  </a:lnTo>
                  <a:lnTo>
                    <a:pt x="8" y="10"/>
                  </a:lnTo>
                  <a:lnTo>
                    <a:pt x="10" y="8"/>
                  </a:lnTo>
                  <a:lnTo>
                    <a:pt x="14" y="8"/>
                  </a:lnTo>
                  <a:lnTo>
                    <a:pt x="18" y="4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4" y="0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0" y="4"/>
                  </a:lnTo>
                  <a:lnTo>
                    <a:pt x="70" y="8"/>
                  </a:lnTo>
                  <a:lnTo>
                    <a:pt x="74" y="8"/>
                  </a:lnTo>
                  <a:lnTo>
                    <a:pt x="74" y="10"/>
                  </a:lnTo>
                  <a:lnTo>
                    <a:pt x="78" y="10"/>
                  </a:lnTo>
                  <a:lnTo>
                    <a:pt x="78" y="14"/>
                  </a:lnTo>
                  <a:lnTo>
                    <a:pt x="82" y="14"/>
                  </a:lnTo>
                  <a:lnTo>
                    <a:pt x="86" y="14"/>
                  </a:lnTo>
                  <a:lnTo>
                    <a:pt x="90" y="14"/>
                  </a:lnTo>
                  <a:lnTo>
                    <a:pt x="94" y="18"/>
                  </a:lnTo>
                  <a:lnTo>
                    <a:pt x="98" y="18"/>
                  </a:lnTo>
                  <a:lnTo>
                    <a:pt x="98" y="22"/>
                  </a:lnTo>
                  <a:lnTo>
                    <a:pt x="100" y="22"/>
                  </a:lnTo>
                  <a:lnTo>
                    <a:pt x="100" y="26"/>
                  </a:lnTo>
                  <a:lnTo>
                    <a:pt x="104" y="26"/>
                  </a:lnTo>
                  <a:lnTo>
                    <a:pt x="108" y="26"/>
                  </a:lnTo>
                  <a:lnTo>
                    <a:pt x="104" y="26"/>
                  </a:lnTo>
                  <a:lnTo>
                    <a:pt x="104" y="22"/>
                  </a:lnTo>
                  <a:lnTo>
                    <a:pt x="100" y="22"/>
                  </a:lnTo>
                  <a:lnTo>
                    <a:pt x="104" y="22"/>
                  </a:lnTo>
                  <a:lnTo>
                    <a:pt x="108" y="26"/>
                  </a:lnTo>
                  <a:lnTo>
                    <a:pt x="104" y="26"/>
                  </a:lnTo>
                  <a:lnTo>
                    <a:pt x="108" y="30"/>
                  </a:lnTo>
                  <a:lnTo>
                    <a:pt x="108" y="26"/>
                  </a:lnTo>
                  <a:lnTo>
                    <a:pt x="112" y="26"/>
                  </a:lnTo>
                  <a:lnTo>
                    <a:pt x="112" y="30"/>
                  </a:lnTo>
                  <a:lnTo>
                    <a:pt x="112" y="34"/>
                  </a:lnTo>
                  <a:lnTo>
                    <a:pt x="116" y="30"/>
                  </a:lnTo>
                  <a:lnTo>
                    <a:pt x="116" y="34"/>
                  </a:lnTo>
                  <a:lnTo>
                    <a:pt x="120" y="34"/>
                  </a:lnTo>
                  <a:lnTo>
                    <a:pt x="124" y="34"/>
                  </a:lnTo>
                  <a:lnTo>
                    <a:pt x="124" y="38"/>
                  </a:lnTo>
                  <a:lnTo>
                    <a:pt x="128" y="38"/>
                  </a:lnTo>
                  <a:lnTo>
                    <a:pt x="130" y="38"/>
                  </a:lnTo>
                  <a:lnTo>
                    <a:pt x="130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30" y="44"/>
                  </a:lnTo>
                  <a:lnTo>
                    <a:pt x="134" y="44"/>
                  </a:lnTo>
                  <a:lnTo>
                    <a:pt x="134" y="40"/>
                  </a:lnTo>
                  <a:lnTo>
                    <a:pt x="134" y="44"/>
                  </a:lnTo>
                  <a:lnTo>
                    <a:pt x="138" y="44"/>
                  </a:lnTo>
                  <a:lnTo>
                    <a:pt x="142" y="44"/>
                  </a:lnTo>
                  <a:lnTo>
                    <a:pt x="146" y="44"/>
                  </a:lnTo>
                  <a:lnTo>
                    <a:pt x="146" y="48"/>
                  </a:lnTo>
                  <a:lnTo>
                    <a:pt x="150" y="50"/>
                  </a:lnTo>
                  <a:lnTo>
                    <a:pt x="150" y="48"/>
                  </a:lnTo>
                  <a:lnTo>
                    <a:pt x="154" y="50"/>
                  </a:lnTo>
                  <a:lnTo>
                    <a:pt x="150" y="54"/>
                  </a:lnTo>
                  <a:lnTo>
                    <a:pt x="146" y="54"/>
                  </a:lnTo>
                  <a:lnTo>
                    <a:pt x="142" y="54"/>
                  </a:lnTo>
                  <a:lnTo>
                    <a:pt x="138" y="54"/>
                  </a:lnTo>
                  <a:lnTo>
                    <a:pt x="134" y="58"/>
                  </a:lnTo>
                  <a:lnTo>
                    <a:pt x="130" y="58"/>
                  </a:lnTo>
                  <a:lnTo>
                    <a:pt x="130" y="54"/>
                  </a:lnTo>
                  <a:lnTo>
                    <a:pt x="128" y="54"/>
                  </a:lnTo>
                  <a:lnTo>
                    <a:pt x="124" y="54"/>
                  </a:lnTo>
                  <a:lnTo>
                    <a:pt x="120" y="54"/>
                  </a:lnTo>
                  <a:lnTo>
                    <a:pt x="116" y="54"/>
                  </a:lnTo>
                  <a:lnTo>
                    <a:pt x="112" y="54"/>
                  </a:lnTo>
                  <a:lnTo>
                    <a:pt x="112" y="58"/>
                  </a:lnTo>
                  <a:lnTo>
                    <a:pt x="112" y="54"/>
                  </a:lnTo>
                  <a:lnTo>
                    <a:pt x="112" y="58"/>
                  </a:lnTo>
                  <a:lnTo>
                    <a:pt x="108" y="54"/>
                  </a:lnTo>
                  <a:lnTo>
                    <a:pt x="108" y="58"/>
                  </a:lnTo>
                  <a:lnTo>
                    <a:pt x="104" y="58"/>
                  </a:lnTo>
                  <a:lnTo>
                    <a:pt x="100" y="58"/>
                  </a:lnTo>
                  <a:lnTo>
                    <a:pt x="100" y="54"/>
                  </a:lnTo>
                  <a:lnTo>
                    <a:pt x="104" y="54"/>
                  </a:lnTo>
                  <a:lnTo>
                    <a:pt x="104" y="50"/>
                  </a:lnTo>
                  <a:lnTo>
                    <a:pt x="108" y="50"/>
                  </a:lnTo>
                  <a:lnTo>
                    <a:pt x="108" y="48"/>
                  </a:lnTo>
                  <a:lnTo>
                    <a:pt x="112" y="48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0" y="44"/>
                  </a:lnTo>
                  <a:lnTo>
                    <a:pt x="100" y="40"/>
                  </a:lnTo>
                  <a:lnTo>
                    <a:pt x="98" y="40"/>
                  </a:lnTo>
                  <a:lnTo>
                    <a:pt x="98" y="44"/>
                  </a:lnTo>
                  <a:lnTo>
                    <a:pt x="94" y="40"/>
                  </a:lnTo>
                  <a:lnTo>
                    <a:pt x="94" y="38"/>
                  </a:lnTo>
                  <a:lnTo>
                    <a:pt x="90" y="38"/>
                  </a:lnTo>
                  <a:lnTo>
                    <a:pt x="90" y="34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0"/>
                  </a:lnTo>
                  <a:close/>
                  <a:moveTo>
                    <a:pt x="78" y="10"/>
                  </a:moveTo>
                  <a:lnTo>
                    <a:pt x="78" y="8"/>
                  </a:lnTo>
                  <a:lnTo>
                    <a:pt x="74" y="8"/>
                  </a:lnTo>
                  <a:lnTo>
                    <a:pt x="78" y="8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0"/>
                  </a:lnTo>
                  <a:close/>
                  <a:moveTo>
                    <a:pt x="90" y="14"/>
                  </a:moveTo>
                  <a:lnTo>
                    <a:pt x="94" y="10"/>
                  </a:lnTo>
                  <a:lnTo>
                    <a:pt x="90" y="10"/>
                  </a:lnTo>
                  <a:lnTo>
                    <a:pt x="86" y="10"/>
                  </a:lnTo>
                  <a:lnTo>
                    <a:pt x="90" y="10"/>
                  </a:lnTo>
                  <a:lnTo>
                    <a:pt x="94" y="10"/>
                  </a:lnTo>
                  <a:lnTo>
                    <a:pt x="90" y="10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close/>
                  <a:moveTo>
                    <a:pt x="98" y="14"/>
                  </a:moveTo>
                  <a:lnTo>
                    <a:pt x="94" y="14"/>
                  </a:lnTo>
                  <a:lnTo>
                    <a:pt x="94" y="10"/>
                  </a:lnTo>
                  <a:lnTo>
                    <a:pt x="98" y="10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4"/>
                  </a:lnTo>
                  <a:close/>
                  <a:moveTo>
                    <a:pt x="100" y="18"/>
                  </a:moveTo>
                  <a:lnTo>
                    <a:pt x="98" y="18"/>
                  </a:lnTo>
                  <a:lnTo>
                    <a:pt x="98" y="14"/>
                  </a:lnTo>
                  <a:lnTo>
                    <a:pt x="100" y="14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0" y="18"/>
                  </a:lnTo>
                  <a:close/>
                  <a:moveTo>
                    <a:pt x="100" y="22"/>
                  </a:moveTo>
                  <a:lnTo>
                    <a:pt x="98" y="18"/>
                  </a:lnTo>
                  <a:lnTo>
                    <a:pt x="100" y="18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0" y="22"/>
                  </a:lnTo>
                  <a:close/>
                  <a:moveTo>
                    <a:pt x="26" y="30"/>
                  </a:moveTo>
                  <a:lnTo>
                    <a:pt x="22" y="30"/>
                  </a:lnTo>
                  <a:lnTo>
                    <a:pt x="22" y="26"/>
                  </a:lnTo>
                  <a:lnTo>
                    <a:pt x="26" y="26"/>
                  </a:lnTo>
                  <a:lnTo>
                    <a:pt x="26" y="30"/>
                  </a:lnTo>
                  <a:lnTo>
                    <a:pt x="26" y="26"/>
                  </a:lnTo>
                  <a:lnTo>
                    <a:pt x="26" y="22"/>
                  </a:lnTo>
                  <a:lnTo>
                    <a:pt x="30" y="22"/>
                  </a:lnTo>
                  <a:lnTo>
                    <a:pt x="30" y="26"/>
                  </a:lnTo>
                  <a:lnTo>
                    <a:pt x="34" y="26"/>
                  </a:lnTo>
                  <a:lnTo>
                    <a:pt x="34" y="30"/>
                  </a:lnTo>
                  <a:lnTo>
                    <a:pt x="30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31" name="Freeform 71">
              <a:extLst>
                <a:ext uri="{FF2B5EF4-FFF2-40B4-BE49-F238E27FC236}">
                  <a16:creationId xmlns:a16="http://schemas.microsoft.com/office/drawing/2014/main" id="{BCEE9695-7265-BB38-264B-F65CA131FD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13738" y="3518753"/>
              <a:ext cx="97411" cy="79191"/>
            </a:xfrm>
            <a:custGeom>
              <a:avLst/>
              <a:gdLst>
                <a:gd name="T0" fmla="*/ 24 w 50"/>
                <a:gd name="T1" fmla="*/ 30 h 42"/>
                <a:gd name="T2" fmla="*/ 22 w 50"/>
                <a:gd name="T3" fmla="*/ 30 h 42"/>
                <a:gd name="T4" fmla="*/ 18 w 50"/>
                <a:gd name="T5" fmla="*/ 30 h 42"/>
                <a:gd name="T6" fmla="*/ 18 w 50"/>
                <a:gd name="T7" fmla="*/ 30 h 42"/>
                <a:gd name="T8" fmla="*/ 18 w 50"/>
                <a:gd name="T9" fmla="*/ 26 h 42"/>
                <a:gd name="T10" fmla="*/ 18 w 50"/>
                <a:gd name="T11" fmla="*/ 30 h 42"/>
                <a:gd name="T12" fmla="*/ 14 w 50"/>
                <a:gd name="T13" fmla="*/ 30 h 42"/>
                <a:gd name="T14" fmla="*/ 10 w 50"/>
                <a:gd name="T15" fmla="*/ 30 h 42"/>
                <a:gd name="T16" fmla="*/ 10 w 50"/>
                <a:gd name="T17" fmla="*/ 34 h 42"/>
                <a:gd name="T18" fmla="*/ 10 w 50"/>
                <a:gd name="T19" fmla="*/ 38 h 42"/>
                <a:gd name="T20" fmla="*/ 2 w 50"/>
                <a:gd name="T21" fmla="*/ 38 h 42"/>
                <a:gd name="T22" fmla="*/ 2 w 50"/>
                <a:gd name="T23" fmla="*/ 34 h 42"/>
                <a:gd name="T24" fmla="*/ 2 w 50"/>
                <a:gd name="T25" fmla="*/ 30 h 42"/>
                <a:gd name="T26" fmla="*/ 0 w 50"/>
                <a:gd name="T27" fmla="*/ 26 h 42"/>
                <a:gd name="T28" fmla="*/ 0 w 50"/>
                <a:gd name="T29" fmla="*/ 26 h 42"/>
                <a:gd name="T30" fmla="*/ 0 w 50"/>
                <a:gd name="T31" fmla="*/ 26 h 42"/>
                <a:gd name="T32" fmla="*/ 2 w 50"/>
                <a:gd name="T33" fmla="*/ 24 h 42"/>
                <a:gd name="T34" fmla="*/ 2 w 50"/>
                <a:gd name="T35" fmla="*/ 24 h 42"/>
                <a:gd name="T36" fmla="*/ 2 w 50"/>
                <a:gd name="T37" fmla="*/ 16 h 42"/>
                <a:gd name="T38" fmla="*/ 2 w 50"/>
                <a:gd name="T39" fmla="*/ 16 h 42"/>
                <a:gd name="T40" fmla="*/ 2 w 50"/>
                <a:gd name="T41" fmla="*/ 8 h 42"/>
                <a:gd name="T42" fmla="*/ 2 w 50"/>
                <a:gd name="T43" fmla="*/ 8 h 42"/>
                <a:gd name="T44" fmla="*/ 2 w 50"/>
                <a:gd name="T45" fmla="*/ 4 h 42"/>
                <a:gd name="T46" fmla="*/ 2 w 50"/>
                <a:gd name="T47" fmla="*/ 4 h 42"/>
                <a:gd name="T48" fmla="*/ 6 w 50"/>
                <a:gd name="T49" fmla="*/ 0 h 42"/>
                <a:gd name="T50" fmla="*/ 10 w 50"/>
                <a:gd name="T51" fmla="*/ 4 h 42"/>
                <a:gd name="T52" fmla="*/ 10 w 50"/>
                <a:gd name="T53" fmla="*/ 0 h 42"/>
                <a:gd name="T54" fmla="*/ 14 w 50"/>
                <a:gd name="T55" fmla="*/ 0 h 42"/>
                <a:gd name="T56" fmla="*/ 18 w 50"/>
                <a:gd name="T57" fmla="*/ 4 h 42"/>
                <a:gd name="T58" fmla="*/ 22 w 50"/>
                <a:gd name="T59" fmla="*/ 4 h 42"/>
                <a:gd name="T60" fmla="*/ 24 w 50"/>
                <a:gd name="T61" fmla="*/ 8 h 42"/>
                <a:gd name="T62" fmla="*/ 24 w 50"/>
                <a:gd name="T63" fmla="*/ 4 h 42"/>
                <a:gd name="T64" fmla="*/ 28 w 50"/>
                <a:gd name="T65" fmla="*/ 8 h 42"/>
                <a:gd name="T66" fmla="*/ 28 w 50"/>
                <a:gd name="T67" fmla="*/ 12 h 42"/>
                <a:gd name="T68" fmla="*/ 28 w 50"/>
                <a:gd name="T69" fmla="*/ 12 h 42"/>
                <a:gd name="T70" fmla="*/ 36 w 50"/>
                <a:gd name="T71" fmla="*/ 12 h 42"/>
                <a:gd name="T72" fmla="*/ 40 w 50"/>
                <a:gd name="T73" fmla="*/ 12 h 42"/>
                <a:gd name="T74" fmla="*/ 32 w 50"/>
                <a:gd name="T75" fmla="*/ 16 h 42"/>
                <a:gd name="T76" fmla="*/ 32 w 50"/>
                <a:gd name="T77" fmla="*/ 16 h 42"/>
                <a:gd name="T78" fmla="*/ 36 w 50"/>
                <a:gd name="T79" fmla="*/ 16 h 42"/>
                <a:gd name="T80" fmla="*/ 36 w 50"/>
                <a:gd name="T81" fmla="*/ 16 h 42"/>
                <a:gd name="T82" fmla="*/ 40 w 50"/>
                <a:gd name="T83" fmla="*/ 20 h 42"/>
                <a:gd name="T84" fmla="*/ 44 w 50"/>
                <a:gd name="T85" fmla="*/ 20 h 42"/>
                <a:gd name="T86" fmla="*/ 48 w 50"/>
                <a:gd name="T87" fmla="*/ 24 h 42"/>
                <a:gd name="T88" fmla="*/ 50 w 50"/>
                <a:gd name="T89" fmla="*/ 26 h 42"/>
                <a:gd name="T90" fmla="*/ 48 w 50"/>
                <a:gd name="T91" fmla="*/ 30 h 42"/>
                <a:gd name="T92" fmla="*/ 48 w 50"/>
                <a:gd name="T93" fmla="*/ 30 h 42"/>
                <a:gd name="T94" fmla="*/ 44 w 50"/>
                <a:gd name="T95" fmla="*/ 30 h 42"/>
                <a:gd name="T96" fmla="*/ 44 w 50"/>
                <a:gd name="T97" fmla="*/ 30 h 42"/>
                <a:gd name="T98" fmla="*/ 40 w 50"/>
                <a:gd name="T99" fmla="*/ 30 h 42"/>
                <a:gd name="T100" fmla="*/ 32 w 50"/>
                <a:gd name="T101" fmla="*/ 26 h 42"/>
                <a:gd name="T102" fmla="*/ 28 w 50"/>
                <a:gd name="T103" fmla="*/ 26 h 42"/>
                <a:gd name="T104" fmla="*/ 24 w 50"/>
                <a:gd name="T105" fmla="*/ 26 h 42"/>
                <a:gd name="T106" fmla="*/ 44 w 50"/>
                <a:gd name="T107" fmla="*/ 34 h 42"/>
                <a:gd name="T108" fmla="*/ 44 w 50"/>
                <a:gd name="T109" fmla="*/ 34 h 42"/>
                <a:gd name="T110" fmla="*/ 48 w 50"/>
                <a:gd name="T111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" h="42">
                  <a:moveTo>
                    <a:pt x="24" y="26"/>
                  </a:moveTo>
                  <a:lnTo>
                    <a:pt x="24" y="26"/>
                  </a:lnTo>
                  <a:lnTo>
                    <a:pt x="24" y="26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0" y="3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close/>
                  <a:moveTo>
                    <a:pt x="48" y="34"/>
                  </a:moveTo>
                  <a:lnTo>
                    <a:pt x="48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0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4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32" name="Freeform 72">
              <a:extLst>
                <a:ext uri="{FF2B5EF4-FFF2-40B4-BE49-F238E27FC236}">
                  <a16:creationId xmlns:a16="http://schemas.microsoft.com/office/drawing/2014/main" id="{2B4F05E2-FB48-2FEB-A6D0-8EEB4CC6BB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097" y="3703532"/>
              <a:ext cx="62343" cy="41481"/>
            </a:xfrm>
            <a:custGeom>
              <a:avLst/>
              <a:gdLst>
                <a:gd name="T0" fmla="*/ 32 w 32"/>
                <a:gd name="T1" fmla="*/ 16 h 22"/>
                <a:gd name="T2" fmla="*/ 32 w 32"/>
                <a:gd name="T3" fmla="*/ 16 h 22"/>
                <a:gd name="T4" fmla="*/ 32 w 32"/>
                <a:gd name="T5" fmla="*/ 18 h 22"/>
                <a:gd name="T6" fmla="*/ 32 w 32"/>
                <a:gd name="T7" fmla="*/ 18 h 22"/>
                <a:gd name="T8" fmla="*/ 32 w 32"/>
                <a:gd name="T9" fmla="*/ 18 h 22"/>
                <a:gd name="T10" fmla="*/ 32 w 32"/>
                <a:gd name="T11" fmla="*/ 22 h 22"/>
                <a:gd name="T12" fmla="*/ 28 w 32"/>
                <a:gd name="T13" fmla="*/ 22 h 22"/>
                <a:gd name="T14" fmla="*/ 28 w 32"/>
                <a:gd name="T15" fmla="*/ 22 h 22"/>
                <a:gd name="T16" fmla="*/ 22 w 32"/>
                <a:gd name="T17" fmla="*/ 22 h 22"/>
                <a:gd name="T18" fmla="*/ 22 w 32"/>
                <a:gd name="T19" fmla="*/ 18 h 22"/>
                <a:gd name="T20" fmla="*/ 22 w 32"/>
                <a:gd name="T21" fmla="*/ 18 h 22"/>
                <a:gd name="T22" fmla="*/ 22 w 32"/>
                <a:gd name="T23" fmla="*/ 22 h 22"/>
                <a:gd name="T24" fmla="*/ 18 w 32"/>
                <a:gd name="T25" fmla="*/ 22 h 22"/>
                <a:gd name="T26" fmla="*/ 18 w 32"/>
                <a:gd name="T27" fmla="*/ 18 h 22"/>
                <a:gd name="T28" fmla="*/ 14 w 32"/>
                <a:gd name="T29" fmla="*/ 18 h 22"/>
                <a:gd name="T30" fmla="*/ 14 w 32"/>
                <a:gd name="T31" fmla="*/ 18 h 22"/>
                <a:gd name="T32" fmla="*/ 10 w 32"/>
                <a:gd name="T33" fmla="*/ 16 h 22"/>
                <a:gd name="T34" fmla="*/ 8 w 32"/>
                <a:gd name="T35" fmla="*/ 16 h 22"/>
                <a:gd name="T36" fmla="*/ 4 w 32"/>
                <a:gd name="T37" fmla="*/ 16 h 22"/>
                <a:gd name="T38" fmla="*/ 4 w 32"/>
                <a:gd name="T39" fmla="*/ 16 h 22"/>
                <a:gd name="T40" fmla="*/ 4 w 32"/>
                <a:gd name="T41" fmla="*/ 16 h 22"/>
                <a:gd name="T42" fmla="*/ 0 w 32"/>
                <a:gd name="T43" fmla="*/ 12 h 22"/>
                <a:gd name="T44" fmla="*/ 0 w 32"/>
                <a:gd name="T45" fmla="*/ 8 h 22"/>
                <a:gd name="T46" fmla="*/ 4 w 32"/>
                <a:gd name="T47" fmla="*/ 8 h 22"/>
                <a:gd name="T48" fmla="*/ 8 w 32"/>
                <a:gd name="T49" fmla="*/ 4 h 22"/>
                <a:gd name="T50" fmla="*/ 8 w 32"/>
                <a:gd name="T51" fmla="*/ 4 h 22"/>
                <a:gd name="T52" fmla="*/ 8 w 32"/>
                <a:gd name="T53" fmla="*/ 4 h 22"/>
                <a:gd name="T54" fmla="*/ 8 w 32"/>
                <a:gd name="T55" fmla="*/ 4 h 22"/>
                <a:gd name="T56" fmla="*/ 8 w 32"/>
                <a:gd name="T57" fmla="*/ 0 h 22"/>
                <a:gd name="T58" fmla="*/ 10 w 32"/>
                <a:gd name="T59" fmla="*/ 0 h 22"/>
                <a:gd name="T60" fmla="*/ 10 w 32"/>
                <a:gd name="T61" fmla="*/ 0 h 22"/>
                <a:gd name="T62" fmla="*/ 14 w 32"/>
                <a:gd name="T63" fmla="*/ 0 h 22"/>
                <a:gd name="T64" fmla="*/ 14 w 32"/>
                <a:gd name="T65" fmla="*/ 4 h 22"/>
                <a:gd name="T66" fmla="*/ 14 w 32"/>
                <a:gd name="T67" fmla="*/ 4 h 22"/>
                <a:gd name="T68" fmla="*/ 18 w 32"/>
                <a:gd name="T69" fmla="*/ 4 h 22"/>
                <a:gd name="T70" fmla="*/ 18 w 32"/>
                <a:gd name="T71" fmla="*/ 4 h 22"/>
                <a:gd name="T72" fmla="*/ 18 w 32"/>
                <a:gd name="T73" fmla="*/ 8 h 22"/>
                <a:gd name="T74" fmla="*/ 18 w 32"/>
                <a:gd name="T75" fmla="*/ 8 h 22"/>
                <a:gd name="T76" fmla="*/ 22 w 32"/>
                <a:gd name="T77" fmla="*/ 8 h 22"/>
                <a:gd name="T78" fmla="*/ 22 w 32"/>
                <a:gd name="T79" fmla="*/ 8 h 22"/>
                <a:gd name="T80" fmla="*/ 22 w 32"/>
                <a:gd name="T81" fmla="*/ 12 h 22"/>
                <a:gd name="T82" fmla="*/ 24 w 32"/>
                <a:gd name="T83" fmla="*/ 12 h 22"/>
                <a:gd name="T84" fmla="*/ 24 w 32"/>
                <a:gd name="T85" fmla="*/ 12 h 22"/>
                <a:gd name="T86" fmla="*/ 24 w 32"/>
                <a:gd name="T87" fmla="*/ 8 h 22"/>
                <a:gd name="T88" fmla="*/ 28 w 32"/>
                <a:gd name="T89" fmla="*/ 8 h 22"/>
                <a:gd name="T90" fmla="*/ 28 w 32"/>
                <a:gd name="T91" fmla="*/ 12 h 22"/>
                <a:gd name="T92" fmla="*/ 28 w 32"/>
                <a:gd name="T93" fmla="*/ 12 h 22"/>
                <a:gd name="T94" fmla="*/ 32 w 32"/>
                <a:gd name="T95" fmla="*/ 12 h 22"/>
                <a:gd name="T96" fmla="*/ 32 w 32"/>
                <a:gd name="T97" fmla="*/ 1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" h="22">
                  <a:moveTo>
                    <a:pt x="32" y="12"/>
                  </a:move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18" y="18"/>
                  </a:lnTo>
                  <a:lnTo>
                    <a:pt x="22" y="22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0" y="18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33" name="Freeform 73">
              <a:extLst>
                <a:ext uri="{FF2B5EF4-FFF2-40B4-BE49-F238E27FC236}">
                  <a16:creationId xmlns:a16="http://schemas.microsoft.com/office/drawing/2014/main" id="{9E218448-0765-D301-AF44-81B9497E1A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2566" y="871501"/>
              <a:ext cx="1675469" cy="1180327"/>
            </a:xfrm>
            <a:custGeom>
              <a:avLst/>
              <a:gdLst>
                <a:gd name="T0" fmla="*/ 472 w 860"/>
                <a:gd name="T1" fmla="*/ 18 h 626"/>
                <a:gd name="T2" fmla="*/ 342 w 860"/>
                <a:gd name="T3" fmla="*/ 34 h 626"/>
                <a:gd name="T4" fmla="*/ 738 w 860"/>
                <a:gd name="T5" fmla="*/ 60 h 626"/>
                <a:gd name="T6" fmla="*/ 764 w 860"/>
                <a:gd name="T7" fmla="*/ 160 h 626"/>
                <a:gd name="T8" fmla="*/ 734 w 860"/>
                <a:gd name="T9" fmla="*/ 204 h 626"/>
                <a:gd name="T10" fmla="*/ 742 w 860"/>
                <a:gd name="T11" fmla="*/ 256 h 626"/>
                <a:gd name="T12" fmla="*/ 234 w 860"/>
                <a:gd name="T13" fmla="*/ 284 h 626"/>
                <a:gd name="T14" fmla="*/ 246 w 860"/>
                <a:gd name="T15" fmla="*/ 294 h 626"/>
                <a:gd name="T16" fmla="*/ 252 w 860"/>
                <a:gd name="T17" fmla="*/ 314 h 626"/>
                <a:gd name="T18" fmla="*/ 506 w 860"/>
                <a:gd name="T19" fmla="*/ 484 h 626"/>
                <a:gd name="T20" fmla="*/ 332 w 860"/>
                <a:gd name="T21" fmla="*/ 578 h 626"/>
                <a:gd name="T22" fmla="*/ 418 w 860"/>
                <a:gd name="T23" fmla="*/ 622 h 626"/>
                <a:gd name="T24" fmla="*/ 308 w 860"/>
                <a:gd name="T25" fmla="*/ 398 h 626"/>
                <a:gd name="T26" fmla="*/ 312 w 860"/>
                <a:gd name="T27" fmla="*/ 366 h 626"/>
                <a:gd name="T28" fmla="*/ 268 w 860"/>
                <a:gd name="T29" fmla="*/ 320 h 626"/>
                <a:gd name="T30" fmla="*/ 256 w 860"/>
                <a:gd name="T31" fmla="*/ 306 h 626"/>
                <a:gd name="T32" fmla="*/ 200 w 860"/>
                <a:gd name="T33" fmla="*/ 238 h 626"/>
                <a:gd name="T34" fmla="*/ 86 w 860"/>
                <a:gd name="T35" fmla="*/ 216 h 626"/>
                <a:gd name="T36" fmla="*/ 86 w 860"/>
                <a:gd name="T37" fmla="*/ 190 h 626"/>
                <a:gd name="T38" fmla="*/ 30 w 860"/>
                <a:gd name="T39" fmla="*/ 172 h 626"/>
                <a:gd name="T40" fmla="*/ 122 w 860"/>
                <a:gd name="T41" fmla="*/ 104 h 626"/>
                <a:gd name="T42" fmla="*/ 178 w 860"/>
                <a:gd name="T43" fmla="*/ 52 h 626"/>
                <a:gd name="T44" fmla="*/ 276 w 860"/>
                <a:gd name="T45" fmla="*/ 60 h 626"/>
                <a:gd name="T46" fmla="*/ 406 w 860"/>
                <a:gd name="T47" fmla="*/ 56 h 626"/>
                <a:gd name="T48" fmla="*/ 464 w 860"/>
                <a:gd name="T49" fmla="*/ 26 h 626"/>
                <a:gd name="T50" fmla="*/ 418 w 860"/>
                <a:gd name="T51" fmla="*/ 12 h 626"/>
                <a:gd name="T52" fmla="*/ 524 w 860"/>
                <a:gd name="T53" fmla="*/ 4 h 626"/>
                <a:gd name="T54" fmla="*/ 584 w 860"/>
                <a:gd name="T55" fmla="*/ 18 h 626"/>
                <a:gd name="T56" fmla="*/ 678 w 860"/>
                <a:gd name="T57" fmla="*/ 16 h 626"/>
                <a:gd name="T58" fmla="*/ 606 w 860"/>
                <a:gd name="T59" fmla="*/ 44 h 626"/>
                <a:gd name="T60" fmla="*/ 692 w 860"/>
                <a:gd name="T61" fmla="*/ 48 h 626"/>
                <a:gd name="T62" fmla="*/ 786 w 860"/>
                <a:gd name="T63" fmla="*/ 52 h 626"/>
                <a:gd name="T64" fmla="*/ 748 w 860"/>
                <a:gd name="T65" fmla="*/ 90 h 626"/>
                <a:gd name="T66" fmla="*/ 756 w 860"/>
                <a:gd name="T67" fmla="*/ 124 h 626"/>
                <a:gd name="T68" fmla="*/ 744 w 860"/>
                <a:gd name="T69" fmla="*/ 178 h 626"/>
                <a:gd name="T70" fmla="*/ 726 w 860"/>
                <a:gd name="T71" fmla="*/ 208 h 626"/>
                <a:gd name="T72" fmla="*/ 734 w 860"/>
                <a:gd name="T73" fmla="*/ 238 h 626"/>
                <a:gd name="T74" fmla="*/ 738 w 860"/>
                <a:gd name="T75" fmla="*/ 280 h 626"/>
                <a:gd name="T76" fmla="*/ 660 w 860"/>
                <a:gd name="T77" fmla="*/ 294 h 626"/>
                <a:gd name="T78" fmla="*/ 704 w 860"/>
                <a:gd name="T79" fmla="*/ 328 h 626"/>
                <a:gd name="T80" fmla="*/ 688 w 860"/>
                <a:gd name="T81" fmla="*/ 358 h 626"/>
                <a:gd name="T82" fmla="*/ 632 w 860"/>
                <a:gd name="T83" fmla="*/ 358 h 626"/>
                <a:gd name="T84" fmla="*/ 704 w 860"/>
                <a:gd name="T85" fmla="*/ 388 h 626"/>
                <a:gd name="T86" fmla="*/ 580 w 860"/>
                <a:gd name="T87" fmla="*/ 426 h 626"/>
                <a:gd name="T88" fmla="*/ 502 w 860"/>
                <a:gd name="T89" fmla="*/ 484 h 626"/>
                <a:gd name="T90" fmla="*/ 458 w 860"/>
                <a:gd name="T91" fmla="*/ 530 h 626"/>
                <a:gd name="T92" fmla="*/ 436 w 860"/>
                <a:gd name="T93" fmla="*/ 578 h 626"/>
                <a:gd name="T94" fmla="*/ 420 w 860"/>
                <a:gd name="T95" fmla="*/ 618 h 626"/>
                <a:gd name="T96" fmla="*/ 388 w 860"/>
                <a:gd name="T97" fmla="*/ 596 h 626"/>
                <a:gd name="T98" fmla="*/ 332 w 860"/>
                <a:gd name="T99" fmla="*/ 578 h 626"/>
                <a:gd name="T100" fmla="*/ 306 w 860"/>
                <a:gd name="T101" fmla="*/ 534 h 626"/>
                <a:gd name="T102" fmla="*/ 302 w 860"/>
                <a:gd name="T103" fmla="*/ 518 h 626"/>
                <a:gd name="T104" fmla="*/ 286 w 860"/>
                <a:gd name="T105" fmla="*/ 482 h 626"/>
                <a:gd name="T106" fmla="*/ 278 w 860"/>
                <a:gd name="T107" fmla="*/ 462 h 626"/>
                <a:gd name="T108" fmla="*/ 290 w 860"/>
                <a:gd name="T109" fmla="*/ 436 h 626"/>
                <a:gd name="T110" fmla="*/ 278 w 860"/>
                <a:gd name="T111" fmla="*/ 432 h 626"/>
                <a:gd name="T112" fmla="*/ 306 w 860"/>
                <a:gd name="T113" fmla="*/ 418 h 626"/>
                <a:gd name="T114" fmla="*/ 768 w 860"/>
                <a:gd name="T115" fmla="*/ 216 h 626"/>
                <a:gd name="T116" fmla="*/ 712 w 860"/>
                <a:gd name="T117" fmla="*/ 310 h 626"/>
                <a:gd name="T118" fmla="*/ 648 w 860"/>
                <a:gd name="T119" fmla="*/ 358 h 626"/>
                <a:gd name="T120" fmla="*/ 264 w 860"/>
                <a:gd name="T121" fmla="*/ 380 h 626"/>
                <a:gd name="T122" fmla="*/ 610 w 860"/>
                <a:gd name="T123" fmla="*/ 426 h 626"/>
                <a:gd name="T124" fmla="*/ 462 w 860"/>
                <a:gd name="T125" fmla="*/ 518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60" h="626">
                  <a:moveTo>
                    <a:pt x="472" y="8"/>
                  </a:moveTo>
                  <a:lnTo>
                    <a:pt x="476" y="8"/>
                  </a:lnTo>
                  <a:lnTo>
                    <a:pt x="480" y="8"/>
                  </a:lnTo>
                  <a:lnTo>
                    <a:pt x="480" y="12"/>
                  </a:lnTo>
                  <a:lnTo>
                    <a:pt x="476" y="12"/>
                  </a:lnTo>
                  <a:lnTo>
                    <a:pt x="472" y="8"/>
                  </a:lnTo>
                  <a:lnTo>
                    <a:pt x="472" y="8"/>
                  </a:lnTo>
                  <a:lnTo>
                    <a:pt x="472" y="8"/>
                  </a:lnTo>
                  <a:close/>
                  <a:moveTo>
                    <a:pt x="480" y="16"/>
                  </a:moveTo>
                  <a:lnTo>
                    <a:pt x="476" y="16"/>
                  </a:lnTo>
                  <a:lnTo>
                    <a:pt x="472" y="16"/>
                  </a:lnTo>
                  <a:lnTo>
                    <a:pt x="468" y="16"/>
                  </a:lnTo>
                  <a:lnTo>
                    <a:pt x="468" y="12"/>
                  </a:lnTo>
                  <a:lnTo>
                    <a:pt x="464" y="12"/>
                  </a:lnTo>
                  <a:lnTo>
                    <a:pt x="462" y="12"/>
                  </a:lnTo>
                  <a:lnTo>
                    <a:pt x="458" y="12"/>
                  </a:lnTo>
                  <a:lnTo>
                    <a:pt x="458" y="8"/>
                  </a:lnTo>
                  <a:lnTo>
                    <a:pt x="462" y="8"/>
                  </a:lnTo>
                  <a:lnTo>
                    <a:pt x="464" y="12"/>
                  </a:lnTo>
                  <a:lnTo>
                    <a:pt x="468" y="12"/>
                  </a:lnTo>
                  <a:lnTo>
                    <a:pt x="472" y="12"/>
                  </a:lnTo>
                  <a:lnTo>
                    <a:pt x="476" y="12"/>
                  </a:lnTo>
                  <a:lnTo>
                    <a:pt x="476" y="16"/>
                  </a:lnTo>
                  <a:lnTo>
                    <a:pt x="480" y="16"/>
                  </a:lnTo>
                  <a:lnTo>
                    <a:pt x="484" y="16"/>
                  </a:lnTo>
                  <a:lnTo>
                    <a:pt x="480" y="16"/>
                  </a:lnTo>
                  <a:lnTo>
                    <a:pt x="480" y="16"/>
                  </a:lnTo>
                  <a:lnTo>
                    <a:pt x="480" y="16"/>
                  </a:lnTo>
                  <a:close/>
                  <a:moveTo>
                    <a:pt x="446" y="12"/>
                  </a:moveTo>
                  <a:lnTo>
                    <a:pt x="442" y="12"/>
                  </a:lnTo>
                  <a:lnTo>
                    <a:pt x="446" y="8"/>
                  </a:lnTo>
                  <a:lnTo>
                    <a:pt x="450" y="12"/>
                  </a:lnTo>
                  <a:lnTo>
                    <a:pt x="446" y="12"/>
                  </a:lnTo>
                  <a:lnTo>
                    <a:pt x="446" y="12"/>
                  </a:lnTo>
                  <a:lnTo>
                    <a:pt x="446" y="12"/>
                  </a:lnTo>
                  <a:close/>
                  <a:moveTo>
                    <a:pt x="432" y="12"/>
                  </a:moveTo>
                  <a:lnTo>
                    <a:pt x="436" y="12"/>
                  </a:lnTo>
                  <a:lnTo>
                    <a:pt x="440" y="12"/>
                  </a:lnTo>
                  <a:lnTo>
                    <a:pt x="436" y="12"/>
                  </a:lnTo>
                  <a:lnTo>
                    <a:pt x="432" y="12"/>
                  </a:lnTo>
                  <a:lnTo>
                    <a:pt x="432" y="12"/>
                  </a:lnTo>
                  <a:lnTo>
                    <a:pt x="432" y="12"/>
                  </a:lnTo>
                  <a:close/>
                  <a:moveTo>
                    <a:pt x="442" y="12"/>
                  </a:moveTo>
                  <a:lnTo>
                    <a:pt x="446" y="12"/>
                  </a:lnTo>
                  <a:lnTo>
                    <a:pt x="450" y="12"/>
                  </a:lnTo>
                  <a:lnTo>
                    <a:pt x="446" y="12"/>
                  </a:lnTo>
                  <a:lnTo>
                    <a:pt x="442" y="12"/>
                  </a:lnTo>
                  <a:lnTo>
                    <a:pt x="442" y="12"/>
                  </a:lnTo>
                  <a:lnTo>
                    <a:pt x="442" y="12"/>
                  </a:lnTo>
                  <a:close/>
                  <a:moveTo>
                    <a:pt x="488" y="16"/>
                  </a:moveTo>
                  <a:lnTo>
                    <a:pt x="484" y="16"/>
                  </a:lnTo>
                  <a:lnTo>
                    <a:pt x="488" y="16"/>
                  </a:lnTo>
                  <a:lnTo>
                    <a:pt x="490" y="16"/>
                  </a:lnTo>
                  <a:lnTo>
                    <a:pt x="494" y="16"/>
                  </a:lnTo>
                  <a:lnTo>
                    <a:pt x="490" y="16"/>
                  </a:lnTo>
                  <a:lnTo>
                    <a:pt x="488" y="16"/>
                  </a:lnTo>
                  <a:lnTo>
                    <a:pt x="488" y="16"/>
                  </a:lnTo>
                  <a:lnTo>
                    <a:pt x="488" y="16"/>
                  </a:lnTo>
                  <a:close/>
                  <a:moveTo>
                    <a:pt x="468" y="18"/>
                  </a:moveTo>
                  <a:lnTo>
                    <a:pt x="464" y="18"/>
                  </a:lnTo>
                  <a:lnTo>
                    <a:pt x="462" y="18"/>
                  </a:lnTo>
                  <a:lnTo>
                    <a:pt x="458" y="18"/>
                  </a:lnTo>
                  <a:lnTo>
                    <a:pt x="454" y="18"/>
                  </a:lnTo>
                  <a:lnTo>
                    <a:pt x="450" y="16"/>
                  </a:lnTo>
                  <a:lnTo>
                    <a:pt x="446" y="16"/>
                  </a:lnTo>
                  <a:lnTo>
                    <a:pt x="450" y="16"/>
                  </a:lnTo>
                  <a:lnTo>
                    <a:pt x="454" y="16"/>
                  </a:lnTo>
                  <a:lnTo>
                    <a:pt x="458" y="16"/>
                  </a:lnTo>
                  <a:lnTo>
                    <a:pt x="462" y="18"/>
                  </a:lnTo>
                  <a:lnTo>
                    <a:pt x="464" y="18"/>
                  </a:lnTo>
                  <a:lnTo>
                    <a:pt x="468" y="18"/>
                  </a:lnTo>
                  <a:lnTo>
                    <a:pt x="468" y="18"/>
                  </a:lnTo>
                  <a:lnTo>
                    <a:pt x="468" y="18"/>
                  </a:lnTo>
                  <a:close/>
                  <a:moveTo>
                    <a:pt x="472" y="18"/>
                  </a:moveTo>
                  <a:lnTo>
                    <a:pt x="468" y="18"/>
                  </a:lnTo>
                  <a:lnTo>
                    <a:pt x="464" y="18"/>
                  </a:lnTo>
                  <a:lnTo>
                    <a:pt x="464" y="16"/>
                  </a:lnTo>
                  <a:lnTo>
                    <a:pt x="462" y="16"/>
                  </a:lnTo>
                  <a:lnTo>
                    <a:pt x="458" y="16"/>
                  </a:lnTo>
                  <a:lnTo>
                    <a:pt x="462" y="16"/>
                  </a:lnTo>
                  <a:lnTo>
                    <a:pt x="464" y="16"/>
                  </a:lnTo>
                  <a:lnTo>
                    <a:pt x="468" y="16"/>
                  </a:lnTo>
                  <a:lnTo>
                    <a:pt x="472" y="16"/>
                  </a:lnTo>
                  <a:lnTo>
                    <a:pt x="476" y="16"/>
                  </a:lnTo>
                  <a:lnTo>
                    <a:pt x="476" y="18"/>
                  </a:lnTo>
                  <a:lnTo>
                    <a:pt x="472" y="18"/>
                  </a:lnTo>
                  <a:lnTo>
                    <a:pt x="472" y="18"/>
                  </a:lnTo>
                  <a:lnTo>
                    <a:pt x="472" y="18"/>
                  </a:lnTo>
                  <a:close/>
                  <a:moveTo>
                    <a:pt x="368" y="22"/>
                  </a:moveTo>
                  <a:lnTo>
                    <a:pt x="364" y="22"/>
                  </a:lnTo>
                  <a:lnTo>
                    <a:pt x="368" y="22"/>
                  </a:lnTo>
                  <a:lnTo>
                    <a:pt x="372" y="22"/>
                  </a:lnTo>
                  <a:lnTo>
                    <a:pt x="376" y="22"/>
                  </a:lnTo>
                  <a:lnTo>
                    <a:pt x="372" y="22"/>
                  </a:lnTo>
                  <a:lnTo>
                    <a:pt x="368" y="22"/>
                  </a:lnTo>
                  <a:lnTo>
                    <a:pt x="368" y="22"/>
                  </a:lnTo>
                  <a:lnTo>
                    <a:pt x="368" y="22"/>
                  </a:lnTo>
                  <a:close/>
                  <a:moveTo>
                    <a:pt x="350" y="26"/>
                  </a:moveTo>
                  <a:lnTo>
                    <a:pt x="346" y="26"/>
                  </a:lnTo>
                  <a:lnTo>
                    <a:pt x="346" y="22"/>
                  </a:lnTo>
                  <a:lnTo>
                    <a:pt x="350" y="22"/>
                  </a:lnTo>
                  <a:lnTo>
                    <a:pt x="354" y="22"/>
                  </a:lnTo>
                  <a:lnTo>
                    <a:pt x="358" y="22"/>
                  </a:lnTo>
                  <a:lnTo>
                    <a:pt x="362" y="22"/>
                  </a:lnTo>
                  <a:lnTo>
                    <a:pt x="362" y="26"/>
                  </a:lnTo>
                  <a:lnTo>
                    <a:pt x="358" y="26"/>
                  </a:lnTo>
                  <a:lnTo>
                    <a:pt x="354" y="26"/>
                  </a:lnTo>
                  <a:lnTo>
                    <a:pt x="350" y="26"/>
                  </a:lnTo>
                  <a:lnTo>
                    <a:pt x="350" y="26"/>
                  </a:lnTo>
                  <a:lnTo>
                    <a:pt x="350" y="26"/>
                  </a:lnTo>
                  <a:close/>
                  <a:moveTo>
                    <a:pt x="394" y="48"/>
                  </a:moveTo>
                  <a:lnTo>
                    <a:pt x="392" y="44"/>
                  </a:lnTo>
                  <a:lnTo>
                    <a:pt x="388" y="44"/>
                  </a:lnTo>
                  <a:lnTo>
                    <a:pt x="388" y="42"/>
                  </a:lnTo>
                  <a:lnTo>
                    <a:pt x="384" y="42"/>
                  </a:lnTo>
                  <a:lnTo>
                    <a:pt x="380" y="42"/>
                  </a:lnTo>
                  <a:lnTo>
                    <a:pt x="376" y="42"/>
                  </a:lnTo>
                  <a:lnTo>
                    <a:pt x="372" y="42"/>
                  </a:lnTo>
                  <a:lnTo>
                    <a:pt x="368" y="38"/>
                  </a:lnTo>
                  <a:lnTo>
                    <a:pt x="364" y="38"/>
                  </a:lnTo>
                  <a:lnTo>
                    <a:pt x="364" y="34"/>
                  </a:lnTo>
                  <a:lnTo>
                    <a:pt x="362" y="34"/>
                  </a:lnTo>
                  <a:lnTo>
                    <a:pt x="362" y="30"/>
                  </a:lnTo>
                  <a:lnTo>
                    <a:pt x="358" y="30"/>
                  </a:lnTo>
                  <a:lnTo>
                    <a:pt x="362" y="30"/>
                  </a:lnTo>
                  <a:lnTo>
                    <a:pt x="364" y="30"/>
                  </a:lnTo>
                  <a:lnTo>
                    <a:pt x="368" y="30"/>
                  </a:lnTo>
                  <a:lnTo>
                    <a:pt x="372" y="30"/>
                  </a:lnTo>
                  <a:lnTo>
                    <a:pt x="376" y="30"/>
                  </a:lnTo>
                  <a:lnTo>
                    <a:pt x="380" y="30"/>
                  </a:lnTo>
                  <a:lnTo>
                    <a:pt x="384" y="30"/>
                  </a:lnTo>
                  <a:lnTo>
                    <a:pt x="392" y="34"/>
                  </a:lnTo>
                  <a:lnTo>
                    <a:pt x="394" y="34"/>
                  </a:lnTo>
                  <a:lnTo>
                    <a:pt x="398" y="34"/>
                  </a:lnTo>
                  <a:lnTo>
                    <a:pt x="398" y="38"/>
                  </a:lnTo>
                  <a:lnTo>
                    <a:pt x="402" y="38"/>
                  </a:lnTo>
                  <a:lnTo>
                    <a:pt x="402" y="42"/>
                  </a:lnTo>
                  <a:lnTo>
                    <a:pt x="398" y="42"/>
                  </a:lnTo>
                  <a:lnTo>
                    <a:pt x="394" y="42"/>
                  </a:lnTo>
                  <a:lnTo>
                    <a:pt x="394" y="44"/>
                  </a:lnTo>
                  <a:lnTo>
                    <a:pt x="398" y="44"/>
                  </a:lnTo>
                  <a:lnTo>
                    <a:pt x="398" y="48"/>
                  </a:lnTo>
                  <a:lnTo>
                    <a:pt x="394" y="48"/>
                  </a:lnTo>
                  <a:lnTo>
                    <a:pt x="394" y="48"/>
                  </a:lnTo>
                  <a:lnTo>
                    <a:pt x="394" y="48"/>
                  </a:lnTo>
                  <a:close/>
                  <a:moveTo>
                    <a:pt x="350" y="38"/>
                  </a:moveTo>
                  <a:lnTo>
                    <a:pt x="346" y="34"/>
                  </a:lnTo>
                  <a:lnTo>
                    <a:pt x="342" y="34"/>
                  </a:lnTo>
                  <a:lnTo>
                    <a:pt x="346" y="34"/>
                  </a:lnTo>
                  <a:lnTo>
                    <a:pt x="350" y="34"/>
                  </a:lnTo>
                  <a:lnTo>
                    <a:pt x="354" y="34"/>
                  </a:lnTo>
                  <a:lnTo>
                    <a:pt x="350" y="38"/>
                  </a:lnTo>
                  <a:lnTo>
                    <a:pt x="350" y="38"/>
                  </a:lnTo>
                  <a:lnTo>
                    <a:pt x="350" y="38"/>
                  </a:lnTo>
                  <a:close/>
                  <a:moveTo>
                    <a:pt x="308" y="48"/>
                  </a:moveTo>
                  <a:lnTo>
                    <a:pt x="306" y="48"/>
                  </a:lnTo>
                  <a:lnTo>
                    <a:pt x="302" y="48"/>
                  </a:lnTo>
                  <a:lnTo>
                    <a:pt x="298" y="48"/>
                  </a:lnTo>
                  <a:lnTo>
                    <a:pt x="294" y="48"/>
                  </a:lnTo>
                  <a:lnTo>
                    <a:pt x="290" y="48"/>
                  </a:lnTo>
                  <a:lnTo>
                    <a:pt x="286" y="48"/>
                  </a:lnTo>
                  <a:lnTo>
                    <a:pt x="282" y="48"/>
                  </a:lnTo>
                  <a:lnTo>
                    <a:pt x="282" y="44"/>
                  </a:lnTo>
                  <a:lnTo>
                    <a:pt x="278" y="44"/>
                  </a:lnTo>
                  <a:lnTo>
                    <a:pt x="278" y="42"/>
                  </a:lnTo>
                  <a:lnTo>
                    <a:pt x="282" y="42"/>
                  </a:lnTo>
                  <a:lnTo>
                    <a:pt x="286" y="42"/>
                  </a:lnTo>
                  <a:lnTo>
                    <a:pt x="290" y="42"/>
                  </a:lnTo>
                  <a:lnTo>
                    <a:pt x="286" y="42"/>
                  </a:lnTo>
                  <a:lnTo>
                    <a:pt x="290" y="42"/>
                  </a:lnTo>
                  <a:lnTo>
                    <a:pt x="290" y="44"/>
                  </a:lnTo>
                  <a:lnTo>
                    <a:pt x="294" y="44"/>
                  </a:lnTo>
                  <a:lnTo>
                    <a:pt x="298" y="44"/>
                  </a:lnTo>
                  <a:lnTo>
                    <a:pt x="306" y="48"/>
                  </a:lnTo>
                  <a:lnTo>
                    <a:pt x="308" y="48"/>
                  </a:lnTo>
                  <a:lnTo>
                    <a:pt x="308" y="48"/>
                  </a:lnTo>
                  <a:lnTo>
                    <a:pt x="308" y="48"/>
                  </a:lnTo>
                  <a:close/>
                  <a:moveTo>
                    <a:pt x="294" y="42"/>
                  </a:moveTo>
                  <a:lnTo>
                    <a:pt x="298" y="42"/>
                  </a:lnTo>
                  <a:lnTo>
                    <a:pt x="298" y="44"/>
                  </a:lnTo>
                  <a:lnTo>
                    <a:pt x="294" y="44"/>
                  </a:lnTo>
                  <a:lnTo>
                    <a:pt x="294" y="42"/>
                  </a:lnTo>
                  <a:lnTo>
                    <a:pt x="294" y="42"/>
                  </a:lnTo>
                  <a:lnTo>
                    <a:pt x="294" y="42"/>
                  </a:lnTo>
                  <a:close/>
                  <a:moveTo>
                    <a:pt x="764" y="48"/>
                  </a:moveTo>
                  <a:lnTo>
                    <a:pt x="760" y="44"/>
                  </a:lnTo>
                  <a:lnTo>
                    <a:pt x="756" y="44"/>
                  </a:lnTo>
                  <a:lnTo>
                    <a:pt x="756" y="42"/>
                  </a:lnTo>
                  <a:lnTo>
                    <a:pt x="760" y="42"/>
                  </a:lnTo>
                  <a:lnTo>
                    <a:pt x="760" y="44"/>
                  </a:lnTo>
                  <a:lnTo>
                    <a:pt x="764" y="48"/>
                  </a:lnTo>
                  <a:lnTo>
                    <a:pt x="768" y="48"/>
                  </a:lnTo>
                  <a:lnTo>
                    <a:pt x="764" y="48"/>
                  </a:lnTo>
                  <a:lnTo>
                    <a:pt x="764" y="48"/>
                  </a:lnTo>
                  <a:lnTo>
                    <a:pt x="764" y="48"/>
                  </a:lnTo>
                  <a:close/>
                  <a:moveTo>
                    <a:pt x="744" y="52"/>
                  </a:moveTo>
                  <a:lnTo>
                    <a:pt x="742" y="48"/>
                  </a:lnTo>
                  <a:lnTo>
                    <a:pt x="738" y="48"/>
                  </a:lnTo>
                  <a:lnTo>
                    <a:pt x="738" y="44"/>
                  </a:lnTo>
                  <a:lnTo>
                    <a:pt x="742" y="44"/>
                  </a:lnTo>
                  <a:lnTo>
                    <a:pt x="744" y="44"/>
                  </a:lnTo>
                  <a:lnTo>
                    <a:pt x="744" y="48"/>
                  </a:lnTo>
                  <a:lnTo>
                    <a:pt x="748" y="48"/>
                  </a:lnTo>
                  <a:lnTo>
                    <a:pt x="752" y="48"/>
                  </a:lnTo>
                  <a:lnTo>
                    <a:pt x="752" y="52"/>
                  </a:lnTo>
                  <a:lnTo>
                    <a:pt x="748" y="52"/>
                  </a:lnTo>
                  <a:lnTo>
                    <a:pt x="744" y="52"/>
                  </a:lnTo>
                  <a:lnTo>
                    <a:pt x="744" y="52"/>
                  </a:lnTo>
                  <a:lnTo>
                    <a:pt x="744" y="52"/>
                  </a:lnTo>
                  <a:close/>
                  <a:moveTo>
                    <a:pt x="768" y="60"/>
                  </a:moveTo>
                  <a:lnTo>
                    <a:pt x="764" y="60"/>
                  </a:lnTo>
                  <a:lnTo>
                    <a:pt x="760" y="56"/>
                  </a:lnTo>
                  <a:lnTo>
                    <a:pt x="764" y="56"/>
                  </a:lnTo>
                  <a:lnTo>
                    <a:pt x="768" y="56"/>
                  </a:lnTo>
                  <a:lnTo>
                    <a:pt x="770" y="56"/>
                  </a:lnTo>
                  <a:lnTo>
                    <a:pt x="770" y="60"/>
                  </a:lnTo>
                  <a:lnTo>
                    <a:pt x="774" y="60"/>
                  </a:lnTo>
                  <a:lnTo>
                    <a:pt x="770" y="60"/>
                  </a:lnTo>
                  <a:lnTo>
                    <a:pt x="768" y="60"/>
                  </a:lnTo>
                  <a:lnTo>
                    <a:pt x="768" y="60"/>
                  </a:lnTo>
                  <a:lnTo>
                    <a:pt x="768" y="60"/>
                  </a:lnTo>
                  <a:close/>
                  <a:moveTo>
                    <a:pt x="738" y="60"/>
                  </a:moveTo>
                  <a:lnTo>
                    <a:pt x="734" y="56"/>
                  </a:lnTo>
                  <a:lnTo>
                    <a:pt x="738" y="56"/>
                  </a:lnTo>
                  <a:lnTo>
                    <a:pt x="742" y="60"/>
                  </a:lnTo>
                  <a:lnTo>
                    <a:pt x="744" y="60"/>
                  </a:lnTo>
                  <a:lnTo>
                    <a:pt x="742" y="60"/>
                  </a:lnTo>
                  <a:lnTo>
                    <a:pt x="738" y="60"/>
                  </a:lnTo>
                  <a:lnTo>
                    <a:pt x="738" y="60"/>
                  </a:lnTo>
                  <a:lnTo>
                    <a:pt x="738" y="60"/>
                  </a:lnTo>
                  <a:close/>
                  <a:moveTo>
                    <a:pt x="86" y="90"/>
                  </a:moveTo>
                  <a:lnTo>
                    <a:pt x="90" y="90"/>
                  </a:lnTo>
                  <a:lnTo>
                    <a:pt x="94" y="90"/>
                  </a:lnTo>
                  <a:lnTo>
                    <a:pt x="90" y="90"/>
                  </a:lnTo>
                  <a:lnTo>
                    <a:pt x="86" y="90"/>
                  </a:lnTo>
                  <a:lnTo>
                    <a:pt x="86" y="90"/>
                  </a:lnTo>
                  <a:lnTo>
                    <a:pt x="86" y="90"/>
                  </a:lnTo>
                  <a:close/>
                  <a:moveTo>
                    <a:pt x="760" y="130"/>
                  </a:moveTo>
                  <a:lnTo>
                    <a:pt x="760" y="134"/>
                  </a:lnTo>
                  <a:lnTo>
                    <a:pt x="756" y="134"/>
                  </a:lnTo>
                  <a:lnTo>
                    <a:pt x="756" y="130"/>
                  </a:lnTo>
                  <a:lnTo>
                    <a:pt x="760" y="130"/>
                  </a:lnTo>
                  <a:lnTo>
                    <a:pt x="760" y="130"/>
                  </a:lnTo>
                  <a:lnTo>
                    <a:pt x="760" y="130"/>
                  </a:lnTo>
                  <a:close/>
                  <a:moveTo>
                    <a:pt x="782" y="130"/>
                  </a:moveTo>
                  <a:lnTo>
                    <a:pt x="782" y="134"/>
                  </a:lnTo>
                  <a:lnTo>
                    <a:pt x="778" y="134"/>
                  </a:lnTo>
                  <a:lnTo>
                    <a:pt x="778" y="138"/>
                  </a:lnTo>
                  <a:lnTo>
                    <a:pt x="774" y="138"/>
                  </a:lnTo>
                  <a:lnTo>
                    <a:pt x="774" y="134"/>
                  </a:lnTo>
                  <a:lnTo>
                    <a:pt x="778" y="130"/>
                  </a:lnTo>
                  <a:lnTo>
                    <a:pt x="782" y="130"/>
                  </a:lnTo>
                  <a:lnTo>
                    <a:pt x="782" y="130"/>
                  </a:lnTo>
                  <a:lnTo>
                    <a:pt x="782" y="130"/>
                  </a:lnTo>
                  <a:close/>
                  <a:moveTo>
                    <a:pt x="774" y="146"/>
                  </a:moveTo>
                  <a:lnTo>
                    <a:pt x="770" y="142"/>
                  </a:lnTo>
                  <a:lnTo>
                    <a:pt x="774" y="142"/>
                  </a:lnTo>
                  <a:lnTo>
                    <a:pt x="774" y="146"/>
                  </a:lnTo>
                  <a:lnTo>
                    <a:pt x="774" y="146"/>
                  </a:lnTo>
                  <a:lnTo>
                    <a:pt x="774" y="146"/>
                  </a:lnTo>
                  <a:close/>
                  <a:moveTo>
                    <a:pt x="770" y="146"/>
                  </a:moveTo>
                  <a:lnTo>
                    <a:pt x="770" y="150"/>
                  </a:lnTo>
                  <a:lnTo>
                    <a:pt x="768" y="150"/>
                  </a:lnTo>
                  <a:lnTo>
                    <a:pt x="768" y="146"/>
                  </a:lnTo>
                  <a:lnTo>
                    <a:pt x="770" y="146"/>
                  </a:lnTo>
                  <a:lnTo>
                    <a:pt x="770" y="146"/>
                  </a:lnTo>
                  <a:lnTo>
                    <a:pt x="770" y="146"/>
                  </a:lnTo>
                  <a:close/>
                  <a:moveTo>
                    <a:pt x="760" y="154"/>
                  </a:moveTo>
                  <a:lnTo>
                    <a:pt x="764" y="158"/>
                  </a:lnTo>
                  <a:lnTo>
                    <a:pt x="760" y="158"/>
                  </a:lnTo>
                  <a:lnTo>
                    <a:pt x="756" y="158"/>
                  </a:lnTo>
                  <a:lnTo>
                    <a:pt x="756" y="154"/>
                  </a:lnTo>
                  <a:lnTo>
                    <a:pt x="760" y="154"/>
                  </a:lnTo>
                  <a:lnTo>
                    <a:pt x="760" y="154"/>
                  </a:lnTo>
                  <a:lnTo>
                    <a:pt x="760" y="154"/>
                  </a:lnTo>
                  <a:close/>
                  <a:moveTo>
                    <a:pt x="756" y="158"/>
                  </a:moveTo>
                  <a:lnTo>
                    <a:pt x="752" y="158"/>
                  </a:lnTo>
                  <a:lnTo>
                    <a:pt x="752" y="154"/>
                  </a:lnTo>
                  <a:lnTo>
                    <a:pt x="756" y="154"/>
                  </a:lnTo>
                  <a:lnTo>
                    <a:pt x="756" y="158"/>
                  </a:lnTo>
                  <a:lnTo>
                    <a:pt x="756" y="158"/>
                  </a:lnTo>
                  <a:lnTo>
                    <a:pt x="756" y="158"/>
                  </a:lnTo>
                  <a:close/>
                  <a:moveTo>
                    <a:pt x="760" y="160"/>
                  </a:moveTo>
                  <a:lnTo>
                    <a:pt x="760" y="158"/>
                  </a:lnTo>
                  <a:lnTo>
                    <a:pt x="764" y="158"/>
                  </a:lnTo>
                  <a:lnTo>
                    <a:pt x="760" y="160"/>
                  </a:lnTo>
                  <a:lnTo>
                    <a:pt x="760" y="160"/>
                  </a:lnTo>
                  <a:lnTo>
                    <a:pt x="760" y="160"/>
                  </a:lnTo>
                  <a:close/>
                  <a:moveTo>
                    <a:pt x="744" y="160"/>
                  </a:moveTo>
                  <a:lnTo>
                    <a:pt x="742" y="160"/>
                  </a:lnTo>
                  <a:lnTo>
                    <a:pt x="738" y="160"/>
                  </a:lnTo>
                  <a:lnTo>
                    <a:pt x="742" y="160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4" y="160"/>
                  </a:lnTo>
                  <a:close/>
                  <a:moveTo>
                    <a:pt x="764" y="160"/>
                  </a:moveTo>
                  <a:lnTo>
                    <a:pt x="764" y="164"/>
                  </a:lnTo>
                  <a:lnTo>
                    <a:pt x="760" y="164"/>
                  </a:lnTo>
                  <a:lnTo>
                    <a:pt x="760" y="160"/>
                  </a:lnTo>
                  <a:lnTo>
                    <a:pt x="764" y="160"/>
                  </a:lnTo>
                  <a:lnTo>
                    <a:pt x="768" y="160"/>
                  </a:lnTo>
                  <a:lnTo>
                    <a:pt x="764" y="160"/>
                  </a:lnTo>
                  <a:lnTo>
                    <a:pt x="764" y="160"/>
                  </a:lnTo>
                  <a:lnTo>
                    <a:pt x="764" y="160"/>
                  </a:lnTo>
                  <a:close/>
                  <a:moveTo>
                    <a:pt x="734" y="164"/>
                  </a:moveTo>
                  <a:lnTo>
                    <a:pt x="734" y="168"/>
                  </a:lnTo>
                  <a:lnTo>
                    <a:pt x="730" y="168"/>
                  </a:lnTo>
                  <a:lnTo>
                    <a:pt x="730" y="164"/>
                  </a:lnTo>
                  <a:lnTo>
                    <a:pt x="734" y="164"/>
                  </a:lnTo>
                  <a:lnTo>
                    <a:pt x="734" y="164"/>
                  </a:lnTo>
                  <a:lnTo>
                    <a:pt x="734" y="164"/>
                  </a:lnTo>
                  <a:close/>
                  <a:moveTo>
                    <a:pt x="748" y="174"/>
                  </a:moveTo>
                  <a:lnTo>
                    <a:pt x="748" y="178"/>
                  </a:lnTo>
                  <a:lnTo>
                    <a:pt x="744" y="174"/>
                  </a:lnTo>
                  <a:lnTo>
                    <a:pt x="742" y="174"/>
                  </a:lnTo>
                  <a:lnTo>
                    <a:pt x="744" y="174"/>
                  </a:lnTo>
                  <a:lnTo>
                    <a:pt x="748" y="174"/>
                  </a:lnTo>
                  <a:lnTo>
                    <a:pt x="748" y="174"/>
                  </a:lnTo>
                  <a:lnTo>
                    <a:pt x="748" y="174"/>
                  </a:lnTo>
                  <a:close/>
                  <a:moveTo>
                    <a:pt x="752" y="178"/>
                  </a:moveTo>
                  <a:lnTo>
                    <a:pt x="748" y="178"/>
                  </a:lnTo>
                  <a:lnTo>
                    <a:pt x="752" y="178"/>
                  </a:lnTo>
                  <a:lnTo>
                    <a:pt x="752" y="178"/>
                  </a:lnTo>
                  <a:lnTo>
                    <a:pt x="752" y="178"/>
                  </a:lnTo>
                  <a:close/>
                  <a:moveTo>
                    <a:pt x="96" y="178"/>
                  </a:moveTo>
                  <a:lnTo>
                    <a:pt x="94" y="178"/>
                  </a:lnTo>
                  <a:lnTo>
                    <a:pt x="90" y="178"/>
                  </a:lnTo>
                  <a:lnTo>
                    <a:pt x="94" y="178"/>
                  </a:lnTo>
                  <a:lnTo>
                    <a:pt x="96" y="178"/>
                  </a:lnTo>
                  <a:lnTo>
                    <a:pt x="96" y="178"/>
                  </a:lnTo>
                  <a:lnTo>
                    <a:pt x="96" y="178"/>
                  </a:lnTo>
                  <a:close/>
                  <a:moveTo>
                    <a:pt x="26" y="182"/>
                  </a:moveTo>
                  <a:lnTo>
                    <a:pt x="26" y="178"/>
                  </a:lnTo>
                  <a:lnTo>
                    <a:pt x="30" y="178"/>
                  </a:lnTo>
                  <a:lnTo>
                    <a:pt x="34" y="178"/>
                  </a:lnTo>
                  <a:lnTo>
                    <a:pt x="34" y="182"/>
                  </a:lnTo>
                  <a:lnTo>
                    <a:pt x="38" y="182"/>
                  </a:lnTo>
                  <a:lnTo>
                    <a:pt x="40" y="182"/>
                  </a:lnTo>
                  <a:lnTo>
                    <a:pt x="38" y="182"/>
                  </a:lnTo>
                  <a:lnTo>
                    <a:pt x="34" y="182"/>
                  </a:lnTo>
                  <a:lnTo>
                    <a:pt x="30" y="182"/>
                  </a:lnTo>
                  <a:lnTo>
                    <a:pt x="26" y="182"/>
                  </a:lnTo>
                  <a:lnTo>
                    <a:pt x="22" y="182"/>
                  </a:lnTo>
                  <a:lnTo>
                    <a:pt x="26" y="182"/>
                  </a:lnTo>
                  <a:lnTo>
                    <a:pt x="26" y="182"/>
                  </a:lnTo>
                  <a:lnTo>
                    <a:pt x="26" y="182"/>
                  </a:lnTo>
                  <a:close/>
                  <a:moveTo>
                    <a:pt x="10" y="182"/>
                  </a:moveTo>
                  <a:lnTo>
                    <a:pt x="14" y="182"/>
                  </a:lnTo>
                  <a:lnTo>
                    <a:pt x="18" y="182"/>
                  </a:lnTo>
                  <a:lnTo>
                    <a:pt x="22" y="182"/>
                  </a:lnTo>
                  <a:lnTo>
                    <a:pt x="18" y="186"/>
                  </a:lnTo>
                  <a:lnTo>
                    <a:pt x="14" y="186"/>
                  </a:lnTo>
                  <a:lnTo>
                    <a:pt x="10" y="186"/>
                  </a:lnTo>
                  <a:lnTo>
                    <a:pt x="10" y="182"/>
                  </a:lnTo>
                  <a:lnTo>
                    <a:pt x="8" y="182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0" y="182"/>
                  </a:lnTo>
                  <a:close/>
                  <a:moveTo>
                    <a:pt x="752" y="198"/>
                  </a:moveTo>
                  <a:lnTo>
                    <a:pt x="756" y="198"/>
                  </a:lnTo>
                  <a:lnTo>
                    <a:pt x="752" y="200"/>
                  </a:lnTo>
                  <a:lnTo>
                    <a:pt x="752" y="198"/>
                  </a:lnTo>
                  <a:lnTo>
                    <a:pt x="752" y="198"/>
                  </a:lnTo>
                  <a:lnTo>
                    <a:pt x="752" y="198"/>
                  </a:lnTo>
                  <a:close/>
                  <a:moveTo>
                    <a:pt x="752" y="200"/>
                  </a:moveTo>
                  <a:lnTo>
                    <a:pt x="756" y="200"/>
                  </a:lnTo>
                  <a:lnTo>
                    <a:pt x="752" y="200"/>
                  </a:lnTo>
                  <a:lnTo>
                    <a:pt x="752" y="200"/>
                  </a:lnTo>
                  <a:lnTo>
                    <a:pt x="752" y="200"/>
                  </a:lnTo>
                  <a:close/>
                  <a:moveTo>
                    <a:pt x="734" y="204"/>
                  </a:moveTo>
                  <a:lnTo>
                    <a:pt x="730" y="204"/>
                  </a:lnTo>
                  <a:lnTo>
                    <a:pt x="726" y="204"/>
                  </a:lnTo>
                  <a:lnTo>
                    <a:pt x="730" y="204"/>
                  </a:lnTo>
                  <a:lnTo>
                    <a:pt x="734" y="204"/>
                  </a:lnTo>
                  <a:lnTo>
                    <a:pt x="734" y="204"/>
                  </a:lnTo>
                  <a:lnTo>
                    <a:pt x="734" y="204"/>
                  </a:lnTo>
                  <a:close/>
                  <a:moveTo>
                    <a:pt x="48" y="204"/>
                  </a:moveTo>
                  <a:lnTo>
                    <a:pt x="44" y="204"/>
                  </a:lnTo>
                  <a:lnTo>
                    <a:pt x="40" y="204"/>
                  </a:lnTo>
                  <a:lnTo>
                    <a:pt x="44" y="204"/>
                  </a:lnTo>
                  <a:lnTo>
                    <a:pt x="48" y="204"/>
                  </a:lnTo>
                  <a:lnTo>
                    <a:pt x="48" y="204"/>
                  </a:lnTo>
                  <a:lnTo>
                    <a:pt x="48" y="204"/>
                  </a:lnTo>
                  <a:close/>
                  <a:moveTo>
                    <a:pt x="738" y="208"/>
                  </a:moveTo>
                  <a:lnTo>
                    <a:pt x="738" y="212"/>
                  </a:lnTo>
                  <a:lnTo>
                    <a:pt x="738" y="208"/>
                  </a:lnTo>
                  <a:lnTo>
                    <a:pt x="734" y="208"/>
                  </a:lnTo>
                  <a:lnTo>
                    <a:pt x="738" y="208"/>
                  </a:lnTo>
                  <a:lnTo>
                    <a:pt x="738" y="204"/>
                  </a:lnTo>
                  <a:lnTo>
                    <a:pt x="738" y="208"/>
                  </a:lnTo>
                  <a:lnTo>
                    <a:pt x="738" y="208"/>
                  </a:lnTo>
                  <a:lnTo>
                    <a:pt x="738" y="208"/>
                  </a:lnTo>
                  <a:close/>
                  <a:moveTo>
                    <a:pt x="40" y="208"/>
                  </a:moveTo>
                  <a:lnTo>
                    <a:pt x="44" y="208"/>
                  </a:lnTo>
                  <a:lnTo>
                    <a:pt x="40" y="208"/>
                  </a:lnTo>
                  <a:lnTo>
                    <a:pt x="40" y="208"/>
                  </a:lnTo>
                  <a:lnTo>
                    <a:pt x="40" y="208"/>
                  </a:lnTo>
                  <a:close/>
                  <a:moveTo>
                    <a:pt x="744" y="208"/>
                  </a:moveTo>
                  <a:lnTo>
                    <a:pt x="748" y="208"/>
                  </a:lnTo>
                  <a:lnTo>
                    <a:pt x="748" y="212"/>
                  </a:lnTo>
                  <a:lnTo>
                    <a:pt x="744" y="212"/>
                  </a:lnTo>
                  <a:lnTo>
                    <a:pt x="744" y="208"/>
                  </a:lnTo>
                  <a:lnTo>
                    <a:pt x="742" y="212"/>
                  </a:lnTo>
                  <a:lnTo>
                    <a:pt x="742" y="208"/>
                  </a:lnTo>
                  <a:lnTo>
                    <a:pt x="744" y="208"/>
                  </a:lnTo>
                  <a:lnTo>
                    <a:pt x="744" y="208"/>
                  </a:lnTo>
                  <a:lnTo>
                    <a:pt x="744" y="208"/>
                  </a:lnTo>
                  <a:close/>
                  <a:moveTo>
                    <a:pt x="734" y="212"/>
                  </a:moveTo>
                  <a:lnTo>
                    <a:pt x="738" y="212"/>
                  </a:lnTo>
                  <a:lnTo>
                    <a:pt x="742" y="212"/>
                  </a:lnTo>
                  <a:lnTo>
                    <a:pt x="742" y="216"/>
                  </a:lnTo>
                  <a:lnTo>
                    <a:pt x="742" y="212"/>
                  </a:lnTo>
                  <a:lnTo>
                    <a:pt x="738" y="212"/>
                  </a:lnTo>
                  <a:lnTo>
                    <a:pt x="734" y="212"/>
                  </a:lnTo>
                  <a:lnTo>
                    <a:pt x="734" y="212"/>
                  </a:lnTo>
                  <a:lnTo>
                    <a:pt x="734" y="212"/>
                  </a:lnTo>
                  <a:close/>
                  <a:moveTo>
                    <a:pt x="744" y="212"/>
                  </a:moveTo>
                  <a:lnTo>
                    <a:pt x="742" y="212"/>
                  </a:lnTo>
                  <a:lnTo>
                    <a:pt x="744" y="212"/>
                  </a:lnTo>
                  <a:lnTo>
                    <a:pt x="748" y="212"/>
                  </a:lnTo>
                  <a:lnTo>
                    <a:pt x="744" y="212"/>
                  </a:lnTo>
                  <a:lnTo>
                    <a:pt x="744" y="212"/>
                  </a:lnTo>
                  <a:lnTo>
                    <a:pt x="744" y="212"/>
                  </a:lnTo>
                  <a:close/>
                  <a:moveTo>
                    <a:pt x="110" y="220"/>
                  </a:moveTo>
                  <a:lnTo>
                    <a:pt x="114" y="220"/>
                  </a:lnTo>
                  <a:lnTo>
                    <a:pt x="110" y="220"/>
                  </a:lnTo>
                  <a:lnTo>
                    <a:pt x="108" y="220"/>
                  </a:lnTo>
                  <a:lnTo>
                    <a:pt x="110" y="220"/>
                  </a:lnTo>
                  <a:lnTo>
                    <a:pt x="110" y="220"/>
                  </a:lnTo>
                  <a:lnTo>
                    <a:pt x="110" y="220"/>
                  </a:lnTo>
                  <a:close/>
                  <a:moveTo>
                    <a:pt x="748" y="224"/>
                  </a:moveTo>
                  <a:lnTo>
                    <a:pt x="744" y="224"/>
                  </a:lnTo>
                  <a:lnTo>
                    <a:pt x="748" y="220"/>
                  </a:lnTo>
                  <a:lnTo>
                    <a:pt x="748" y="224"/>
                  </a:lnTo>
                  <a:lnTo>
                    <a:pt x="748" y="224"/>
                  </a:lnTo>
                  <a:lnTo>
                    <a:pt x="748" y="224"/>
                  </a:lnTo>
                  <a:close/>
                  <a:moveTo>
                    <a:pt x="744" y="246"/>
                  </a:moveTo>
                  <a:lnTo>
                    <a:pt x="748" y="250"/>
                  </a:lnTo>
                  <a:lnTo>
                    <a:pt x="744" y="250"/>
                  </a:lnTo>
                  <a:lnTo>
                    <a:pt x="748" y="250"/>
                  </a:lnTo>
                  <a:lnTo>
                    <a:pt x="752" y="254"/>
                  </a:lnTo>
                  <a:lnTo>
                    <a:pt x="748" y="256"/>
                  </a:lnTo>
                  <a:lnTo>
                    <a:pt x="744" y="256"/>
                  </a:lnTo>
                  <a:lnTo>
                    <a:pt x="742" y="256"/>
                  </a:lnTo>
                  <a:lnTo>
                    <a:pt x="742" y="254"/>
                  </a:lnTo>
                  <a:lnTo>
                    <a:pt x="742" y="250"/>
                  </a:lnTo>
                  <a:lnTo>
                    <a:pt x="742" y="246"/>
                  </a:lnTo>
                  <a:lnTo>
                    <a:pt x="744" y="246"/>
                  </a:lnTo>
                  <a:lnTo>
                    <a:pt x="744" y="246"/>
                  </a:lnTo>
                  <a:lnTo>
                    <a:pt x="744" y="246"/>
                  </a:lnTo>
                  <a:close/>
                  <a:moveTo>
                    <a:pt x="770" y="256"/>
                  </a:moveTo>
                  <a:lnTo>
                    <a:pt x="768" y="256"/>
                  </a:lnTo>
                  <a:lnTo>
                    <a:pt x="770" y="256"/>
                  </a:lnTo>
                  <a:lnTo>
                    <a:pt x="774" y="256"/>
                  </a:lnTo>
                  <a:lnTo>
                    <a:pt x="770" y="256"/>
                  </a:lnTo>
                  <a:lnTo>
                    <a:pt x="770" y="256"/>
                  </a:lnTo>
                  <a:lnTo>
                    <a:pt x="770" y="256"/>
                  </a:lnTo>
                  <a:close/>
                  <a:moveTo>
                    <a:pt x="768" y="260"/>
                  </a:moveTo>
                  <a:lnTo>
                    <a:pt x="764" y="260"/>
                  </a:lnTo>
                  <a:lnTo>
                    <a:pt x="760" y="260"/>
                  </a:lnTo>
                  <a:lnTo>
                    <a:pt x="764" y="256"/>
                  </a:lnTo>
                  <a:lnTo>
                    <a:pt x="768" y="256"/>
                  </a:lnTo>
                  <a:lnTo>
                    <a:pt x="768" y="260"/>
                  </a:lnTo>
                  <a:lnTo>
                    <a:pt x="768" y="260"/>
                  </a:lnTo>
                  <a:lnTo>
                    <a:pt x="768" y="260"/>
                  </a:lnTo>
                  <a:close/>
                  <a:moveTo>
                    <a:pt x="226" y="260"/>
                  </a:moveTo>
                  <a:lnTo>
                    <a:pt x="222" y="260"/>
                  </a:lnTo>
                  <a:lnTo>
                    <a:pt x="226" y="260"/>
                  </a:lnTo>
                  <a:lnTo>
                    <a:pt x="226" y="260"/>
                  </a:lnTo>
                  <a:lnTo>
                    <a:pt x="226" y="260"/>
                  </a:lnTo>
                  <a:close/>
                  <a:moveTo>
                    <a:pt x="220" y="260"/>
                  </a:moveTo>
                  <a:lnTo>
                    <a:pt x="222" y="260"/>
                  </a:lnTo>
                  <a:lnTo>
                    <a:pt x="226" y="260"/>
                  </a:lnTo>
                  <a:lnTo>
                    <a:pt x="230" y="260"/>
                  </a:lnTo>
                  <a:lnTo>
                    <a:pt x="234" y="260"/>
                  </a:lnTo>
                  <a:lnTo>
                    <a:pt x="230" y="260"/>
                  </a:lnTo>
                  <a:lnTo>
                    <a:pt x="226" y="260"/>
                  </a:lnTo>
                  <a:lnTo>
                    <a:pt x="222" y="264"/>
                  </a:lnTo>
                  <a:lnTo>
                    <a:pt x="220" y="260"/>
                  </a:lnTo>
                  <a:lnTo>
                    <a:pt x="220" y="260"/>
                  </a:lnTo>
                  <a:lnTo>
                    <a:pt x="220" y="260"/>
                  </a:lnTo>
                  <a:close/>
                  <a:moveTo>
                    <a:pt x="734" y="264"/>
                  </a:moveTo>
                  <a:lnTo>
                    <a:pt x="738" y="264"/>
                  </a:lnTo>
                  <a:lnTo>
                    <a:pt x="742" y="264"/>
                  </a:lnTo>
                  <a:lnTo>
                    <a:pt x="742" y="268"/>
                  </a:lnTo>
                  <a:lnTo>
                    <a:pt x="744" y="268"/>
                  </a:lnTo>
                  <a:lnTo>
                    <a:pt x="748" y="268"/>
                  </a:lnTo>
                  <a:lnTo>
                    <a:pt x="748" y="272"/>
                  </a:lnTo>
                  <a:lnTo>
                    <a:pt x="744" y="272"/>
                  </a:lnTo>
                  <a:lnTo>
                    <a:pt x="742" y="272"/>
                  </a:lnTo>
                  <a:lnTo>
                    <a:pt x="738" y="272"/>
                  </a:lnTo>
                  <a:lnTo>
                    <a:pt x="734" y="272"/>
                  </a:lnTo>
                  <a:lnTo>
                    <a:pt x="730" y="272"/>
                  </a:lnTo>
                  <a:lnTo>
                    <a:pt x="726" y="272"/>
                  </a:lnTo>
                  <a:lnTo>
                    <a:pt x="722" y="272"/>
                  </a:lnTo>
                  <a:lnTo>
                    <a:pt x="722" y="268"/>
                  </a:lnTo>
                  <a:lnTo>
                    <a:pt x="722" y="264"/>
                  </a:lnTo>
                  <a:lnTo>
                    <a:pt x="726" y="264"/>
                  </a:lnTo>
                  <a:lnTo>
                    <a:pt x="730" y="264"/>
                  </a:lnTo>
                  <a:lnTo>
                    <a:pt x="734" y="264"/>
                  </a:lnTo>
                  <a:lnTo>
                    <a:pt x="734" y="264"/>
                  </a:lnTo>
                  <a:lnTo>
                    <a:pt x="734" y="264"/>
                  </a:lnTo>
                  <a:close/>
                  <a:moveTo>
                    <a:pt x="234" y="280"/>
                  </a:moveTo>
                  <a:lnTo>
                    <a:pt x="230" y="280"/>
                  </a:lnTo>
                  <a:lnTo>
                    <a:pt x="234" y="280"/>
                  </a:lnTo>
                  <a:lnTo>
                    <a:pt x="238" y="280"/>
                  </a:lnTo>
                  <a:lnTo>
                    <a:pt x="242" y="280"/>
                  </a:lnTo>
                  <a:lnTo>
                    <a:pt x="238" y="280"/>
                  </a:lnTo>
                  <a:lnTo>
                    <a:pt x="234" y="280"/>
                  </a:lnTo>
                  <a:lnTo>
                    <a:pt x="234" y="280"/>
                  </a:lnTo>
                  <a:lnTo>
                    <a:pt x="234" y="280"/>
                  </a:lnTo>
                  <a:close/>
                  <a:moveTo>
                    <a:pt x="234" y="284"/>
                  </a:moveTo>
                  <a:lnTo>
                    <a:pt x="230" y="286"/>
                  </a:lnTo>
                  <a:lnTo>
                    <a:pt x="226" y="286"/>
                  </a:lnTo>
                  <a:lnTo>
                    <a:pt x="226" y="284"/>
                  </a:lnTo>
                  <a:lnTo>
                    <a:pt x="230" y="284"/>
                  </a:lnTo>
                  <a:lnTo>
                    <a:pt x="234" y="284"/>
                  </a:lnTo>
                  <a:lnTo>
                    <a:pt x="234" y="284"/>
                  </a:lnTo>
                  <a:lnTo>
                    <a:pt x="234" y="284"/>
                  </a:lnTo>
                  <a:close/>
                  <a:moveTo>
                    <a:pt x="234" y="286"/>
                  </a:moveTo>
                  <a:lnTo>
                    <a:pt x="230" y="286"/>
                  </a:lnTo>
                  <a:lnTo>
                    <a:pt x="234" y="286"/>
                  </a:lnTo>
                  <a:lnTo>
                    <a:pt x="234" y="284"/>
                  </a:lnTo>
                  <a:lnTo>
                    <a:pt x="238" y="284"/>
                  </a:lnTo>
                  <a:lnTo>
                    <a:pt x="238" y="286"/>
                  </a:lnTo>
                  <a:lnTo>
                    <a:pt x="234" y="286"/>
                  </a:lnTo>
                  <a:lnTo>
                    <a:pt x="234" y="286"/>
                  </a:lnTo>
                  <a:lnTo>
                    <a:pt x="234" y="286"/>
                  </a:lnTo>
                  <a:close/>
                  <a:moveTo>
                    <a:pt x="242" y="286"/>
                  </a:moveTo>
                  <a:lnTo>
                    <a:pt x="246" y="286"/>
                  </a:lnTo>
                  <a:lnTo>
                    <a:pt x="246" y="290"/>
                  </a:lnTo>
                  <a:lnTo>
                    <a:pt x="242" y="290"/>
                  </a:lnTo>
                  <a:lnTo>
                    <a:pt x="246" y="290"/>
                  </a:lnTo>
                  <a:lnTo>
                    <a:pt x="242" y="290"/>
                  </a:lnTo>
                  <a:lnTo>
                    <a:pt x="238" y="286"/>
                  </a:lnTo>
                  <a:lnTo>
                    <a:pt x="242" y="286"/>
                  </a:lnTo>
                  <a:lnTo>
                    <a:pt x="242" y="286"/>
                  </a:lnTo>
                  <a:lnTo>
                    <a:pt x="242" y="286"/>
                  </a:lnTo>
                  <a:close/>
                  <a:moveTo>
                    <a:pt x="242" y="290"/>
                  </a:moveTo>
                  <a:lnTo>
                    <a:pt x="238" y="290"/>
                  </a:lnTo>
                  <a:lnTo>
                    <a:pt x="242" y="290"/>
                  </a:lnTo>
                  <a:lnTo>
                    <a:pt x="242" y="290"/>
                  </a:lnTo>
                  <a:lnTo>
                    <a:pt x="242" y="290"/>
                  </a:lnTo>
                  <a:close/>
                  <a:moveTo>
                    <a:pt x="686" y="290"/>
                  </a:moveTo>
                  <a:lnTo>
                    <a:pt x="688" y="290"/>
                  </a:lnTo>
                  <a:lnTo>
                    <a:pt x="692" y="294"/>
                  </a:lnTo>
                  <a:lnTo>
                    <a:pt x="696" y="294"/>
                  </a:lnTo>
                  <a:lnTo>
                    <a:pt x="700" y="294"/>
                  </a:lnTo>
                  <a:lnTo>
                    <a:pt x="704" y="294"/>
                  </a:lnTo>
                  <a:lnTo>
                    <a:pt x="704" y="298"/>
                  </a:lnTo>
                  <a:lnTo>
                    <a:pt x="696" y="298"/>
                  </a:lnTo>
                  <a:lnTo>
                    <a:pt x="696" y="294"/>
                  </a:lnTo>
                  <a:lnTo>
                    <a:pt x="692" y="294"/>
                  </a:lnTo>
                  <a:lnTo>
                    <a:pt x="688" y="294"/>
                  </a:lnTo>
                  <a:lnTo>
                    <a:pt x="686" y="294"/>
                  </a:lnTo>
                  <a:lnTo>
                    <a:pt x="682" y="294"/>
                  </a:lnTo>
                  <a:lnTo>
                    <a:pt x="678" y="294"/>
                  </a:lnTo>
                  <a:lnTo>
                    <a:pt x="682" y="294"/>
                  </a:lnTo>
                  <a:lnTo>
                    <a:pt x="686" y="294"/>
                  </a:lnTo>
                  <a:lnTo>
                    <a:pt x="688" y="294"/>
                  </a:lnTo>
                  <a:lnTo>
                    <a:pt x="692" y="294"/>
                  </a:lnTo>
                  <a:lnTo>
                    <a:pt x="692" y="298"/>
                  </a:lnTo>
                  <a:lnTo>
                    <a:pt x="696" y="298"/>
                  </a:lnTo>
                  <a:lnTo>
                    <a:pt x="700" y="298"/>
                  </a:lnTo>
                  <a:lnTo>
                    <a:pt x="704" y="298"/>
                  </a:lnTo>
                  <a:lnTo>
                    <a:pt x="708" y="298"/>
                  </a:lnTo>
                  <a:lnTo>
                    <a:pt x="704" y="298"/>
                  </a:lnTo>
                  <a:lnTo>
                    <a:pt x="700" y="298"/>
                  </a:lnTo>
                  <a:lnTo>
                    <a:pt x="700" y="302"/>
                  </a:lnTo>
                  <a:lnTo>
                    <a:pt x="696" y="302"/>
                  </a:lnTo>
                  <a:lnTo>
                    <a:pt x="692" y="302"/>
                  </a:lnTo>
                  <a:lnTo>
                    <a:pt x="688" y="302"/>
                  </a:lnTo>
                  <a:lnTo>
                    <a:pt x="686" y="302"/>
                  </a:lnTo>
                  <a:lnTo>
                    <a:pt x="682" y="302"/>
                  </a:lnTo>
                  <a:lnTo>
                    <a:pt x="678" y="298"/>
                  </a:lnTo>
                  <a:lnTo>
                    <a:pt x="674" y="298"/>
                  </a:lnTo>
                  <a:lnTo>
                    <a:pt x="670" y="298"/>
                  </a:lnTo>
                  <a:lnTo>
                    <a:pt x="666" y="298"/>
                  </a:lnTo>
                  <a:lnTo>
                    <a:pt x="670" y="294"/>
                  </a:lnTo>
                  <a:lnTo>
                    <a:pt x="674" y="294"/>
                  </a:lnTo>
                  <a:lnTo>
                    <a:pt x="674" y="290"/>
                  </a:lnTo>
                  <a:lnTo>
                    <a:pt x="678" y="290"/>
                  </a:lnTo>
                  <a:lnTo>
                    <a:pt x="682" y="290"/>
                  </a:lnTo>
                  <a:lnTo>
                    <a:pt x="686" y="290"/>
                  </a:lnTo>
                  <a:lnTo>
                    <a:pt x="686" y="290"/>
                  </a:lnTo>
                  <a:lnTo>
                    <a:pt x="686" y="290"/>
                  </a:lnTo>
                  <a:close/>
                  <a:moveTo>
                    <a:pt x="246" y="294"/>
                  </a:moveTo>
                  <a:lnTo>
                    <a:pt x="250" y="290"/>
                  </a:lnTo>
                  <a:lnTo>
                    <a:pt x="250" y="294"/>
                  </a:lnTo>
                  <a:lnTo>
                    <a:pt x="246" y="294"/>
                  </a:lnTo>
                  <a:lnTo>
                    <a:pt x="246" y="294"/>
                  </a:lnTo>
                  <a:lnTo>
                    <a:pt x="246" y="294"/>
                  </a:lnTo>
                  <a:close/>
                  <a:moveTo>
                    <a:pt x="242" y="290"/>
                  </a:moveTo>
                  <a:lnTo>
                    <a:pt x="242" y="294"/>
                  </a:lnTo>
                  <a:lnTo>
                    <a:pt x="238" y="294"/>
                  </a:lnTo>
                  <a:lnTo>
                    <a:pt x="238" y="290"/>
                  </a:lnTo>
                  <a:lnTo>
                    <a:pt x="242" y="290"/>
                  </a:lnTo>
                  <a:lnTo>
                    <a:pt x="242" y="290"/>
                  </a:lnTo>
                  <a:lnTo>
                    <a:pt x="242" y="290"/>
                  </a:lnTo>
                  <a:close/>
                  <a:moveTo>
                    <a:pt x="246" y="294"/>
                  </a:moveTo>
                  <a:lnTo>
                    <a:pt x="242" y="294"/>
                  </a:lnTo>
                  <a:lnTo>
                    <a:pt x="246" y="294"/>
                  </a:lnTo>
                  <a:lnTo>
                    <a:pt x="246" y="294"/>
                  </a:lnTo>
                  <a:lnTo>
                    <a:pt x="246" y="294"/>
                  </a:lnTo>
                  <a:close/>
                  <a:moveTo>
                    <a:pt x="242" y="294"/>
                  </a:moveTo>
                  <a:lnTo>
                    <a:pt x="242" y="298"/>
                  </a:lnTo>
                  <a:lnTo>
                    <a:pt x="238" y="298"/>
                  </a:lnTo>
                  <a:lnTo>
                    <a:pt x="238" y="294"/>
                  </a:lnTo>
                  <a:lnTo>
                    <a:pt x="242" y="294"/>
                  </a:lnTo>
                  <a:lnTo>
                    <a:pt x="242" y="294"/>
                  </a:lnTo>
                  <a:lnTo>
                    <a:pt x="242" y="294"/>
                  </a:lnTo>
                  <a:close/>
                  <a:moveTo>
                    <a:pt x="250" y="306"/>
                  </a:moveTo>
                  <a:lnTo>
                    <a:pt x="250" y="302"/>
                  </a:lnTo>
                  <a:lnTo>
                    <a:pt x="246" y="302"/>
                  </a:lnTo>
                  <a:lnTo>
                    <a:pt x="250" y="302"/>
                  </a:lnTo>
                  <a:lnTo>
                    <a:pt x="252" y="302"/>
                  </a:lnTo>
                  <a:lnTo>
                    <a:pt x="252" y="306"/>
                  </a:lnTo>
                  <a:lnTo>
                    <a:pt x="250" y="306"/>
                  </a:lnTo>
                  <a:lnTo>
                    <a:pt x="250" y="306"/>
                  </a:lnTo>
                  <a:lnTo>
                    <a:pt x="250" y="306"/>
                  </a:lnTo>
                  <a:close/>
                  <a:moveTo>
                    <a:pt x="682" y="306"/>
                  </a:moveTo>
                  <a:lnTo>
                    <a:pt x="682" y="310"/>
                  </a:lnTo>
                  <a:lnTo>
                    <a:pt x="678" y="310"/>
                  </a:lnTo>
                  <a:lnTo>
                    <a:pt x="674" y="306"/>
                  </a:lnTo>
                  <a:lnTo>
                    <a:pt x="678" y="306"/>
                  </a:lnTo>
                  <a:lnTo>
                    <a:pt x="682" y="306"/>
                  </a:lnTo>
                  <a:lnTo>
                    <a:pt x="682" y="306"/>
                  </a:lnTo>
                  <a:lnTo>
                    <a:pt x="682" y="306"/>
                  </a:lnTo>
                  <a:close/>
                  <a:moveTo>
                    <a:pt x="246" y="306"/>
                  </a:moveTo>
                  <a:lnTo>
                    <a:pt x="250" y="306"/>
                  </a:lnTo>
                  <a:lnTo>
                    <a:pt x="246" y="306"/>
                  </a:lnTo>
                  <a:lnTo>
                    <a:pt x="246" y="306"/>
                  </a:lnTo>
                  <a:lnTo>
                    <a:pt x="246" y="306"/>
                  </a:lnTo>
                  <a:close/>
                  <a:moveTo>
                    <a:pt x="252" y="306"/>
                  </a:moveTo>
                  <a:lnTo>
                    <a:pt x="252" y="310"/>
                  </a:lnTo>
                  <a:lnTo>
                    <a:pt x="250" y="310"/>
                  </a:lnTo>
                  <a:lnTo>
                    <a:pt x="250" y="314"/>
                  </a:lnTo>
                  <a:lnTo>
                    <a:pt x="246" y="314"/>
                  </a:lnTo>
                  <a:lnTo>
                    <a:pt x="242" y="314"/>
                  </a:lnTo>
                  <a:lnTo>
                    <a:pt x="246" y="310"/>
                  </a:lnTo>
                  <a:lnTo>
                    <a:pt x="250" y="310"/>
                  </a:lnTo>
                  <a:lnTo>
                    <a:pt x="250" y="306"/>
                  </a:lnTo>
                  <a:lnTo>
                    <a:pt x="252" y="306"/>
                  </a:lnTo>
                  <a:lnTo>
                    <a:pt x="252" y="306"/>
                  </a:lnTo>
                  <a:lnTo>
                    <a:pt x="252" y="306"/>
                  </a:lnTo>
                  <a:close/>
                  <a:moveTo>
                    <a:pt x="246" y="310"/>
                  </a:moveTo>
                  <a:lnTo>
                    <a:pt x="242" y="310"/>
                  </a:lnTo>
                  <a:lnTo>
                    <a:pt x="238" y="314"/>
                  </a:lnTo>
                  <a:lnTo>
                    <a:pt x="238" y="310"/>
                  </a:lnTo>
                  <a:lnTo>
                    <a:pt x="242" y="310"/>
                  </a:lnTo>
                  <a:lnTo>
                    <a:pt x="246" y="310"/>
                  </a:lnTo>
                  <a:lnTo>
                    <a:pt x="246" y="310"/>
                  </a:lnTo>
                  <a:lnTo>
                    <a:pt x="246" y="310"/>
                  </a:lnTo>
                  <a:close/>
                  <a:moveTo>
                    <a:pt x="252" y="310"/>
                  </a:moveTo>
                  <a:lnTo>
                    <a:pt x="256" y="310"/>
                  </a:lnTo>
                  <a:lnTo>
                    <a:pt x="252" y="310"/>
                  </a:lnTo>
                  <a:lnTo>
                    <a:pt x="252" y="310"/>
                  </a:lnTo>
                  <a:lnTo>
                    <a:pt x="252" y="310"/>
                  </a:lnTo>
                  <a:close/>
                  <a:moveTo>
                    <a:pt x="252" y="310"/>
                  </a:moveTo>
                  <a:lnTo>
                    <a:pt x="252" y="314"/>
                  </a:lnTo>
                  <a:lnTo>
                    <a:pt x="250" y="314"/>
                  </a:lnTo>
                  <a:lnTo>
                    <a:pt x="250" y="310"/>
                  </a:lnTo>
                  <a:lnTo>
                    <a:pt x="252" y="310"/>
                  </a:lnTo>
                  <a:lnTo>
                    <a:pt x="252" y="310"/>
                  </a:lnTo>
                  <a:lnTo>
                    <a:pt x="252" y="310"/>
                  </a:lnTo>
                  <a:close/>
                  <a:moveTo>
                    <a:pt x="252" y="314"/>
                  </a:moveTo>
                  <a:lnTo>
                    <a:pt x="250" y="314"/>
                  </a:lnTo>
                  <a:lnTo>
                    <a:pt x="252" y="314"/>
                  </a:lnTo>
                  <a:lnTo>
                    <a:pt x="252" y="314"/>
                  </a:lnTo>
                  <a:lnTo>
                    <a:pt x="252" y="314"/>
                  </a:lnTo>
                  <a:close/>
                  <a:moveTo>
                    <a:pt x="252" y="316"/>
                  </a:moveTo>
                  <a:lnTo>
                    <a:pt x="252" y="320"/>
                  </a:lnTo>
                  <a:lnTo>
                    <a:pt x="250" y="320"/>
                  </a:lnTo>
                  <a:lnTo>
                    <a:pt x="250" y="324"/>
                  </a:lnTo>
                  <a:lnTo>
                    <a:pt x="246" y="324"/>
                  </a:lnTo>
                  <a:lnTo>
                    <a:pt x="246" y="320"/>
                  </a:lnTo>
                  <a:lnTo>
                    <a:pt x="250" y="320"/>
                  </a:lnTo>
                  <a:lnTo>
                    <a:pt x="252" y="320"/>
                  </a:lnTo>
                  <a:lnTo>
                    <a:pt x="252" y="316"/>
                  </a:lnTo>
                  <a:lnTo>
                    <a:pt x="252" y="316"/>
                  </a:lnTo>
                  <a:lnTo>
                    <a:pt x="252" y="316"/>
                  </a:lnTo>
                  <a:close/>
                  <a:moveTo>
                    <a:pt x="670" y="350"/>
                  </a:moveTo>
                  <a:lnTo>
                    <a:pt x="674" y="354"/>
                  </a:lnTo>
                  <a:lnTo>
                    <a:pt x="670" y="350"/>
                  </a:lnTo>
                  <a:lnTo>
                    <a:pt x="670" y="350"/>
                  </a:lnTo>
                  <a:lnTo>
                    <a:pt x="670" y="350"/>
                  </a:lnTo>
                  <a:close/>
                  <a:moveTo>
                    <a:pt x="308" y="370"/>
                  </a:moveTo>
                  <a:lnTo>
                    <a:pt x="306" y="370"/>
                  </a:lnTo>
                  <a:lnTo>
                    <a:pt x="306" y="366"/>
                  </a:lnTo>
                  <a:lnTo>
                    <a:pt x="302" y="366"/>
                  </a:lnTo>
                  <a:lnTo>
                    <a:pt x="306" y="366"/>
                  </a:lnTo>
                  <a:lnTo>
                    <a:pt x="308" y="370"/>
                  </a:lnTo>
                  <a:lnTo>
                    <a:pt x="308" y="370"/>
                  </a:lnTo>
                  <a:lnTo>
                    <a:pt x="308" y="370"/>
                  </a:lnTo>
                  <a:close/>
                  <a:moveTo>
                    <a:pt x="704" y="388"/>
                  </a:moveTo>
                  <a:lnTo>
                    <a:pt x="700" y="388"/>
                  </a:lnTo>
                  <a:lnTo>
                    <a:pt x="696" y="388"/>
                  </a:lnTo>
                  <a:lnTo>
                    <a:pt x="700" y="388"/>
                  </a:lnTo>
                  <a:lnTo>
                    <a:pt x="704" y="388"/>
                  </a:lnTo>
                  <a:lnTo>
                    <a:pt x="704" y="388"/>
                  </a:lnTo>
                  <a:lnTo>
                    <a:pt x="704" y="388"/>
                  </a:lnTo>
                  <a:close/>
                  <a:moveTo>
                    <a:pt x="298" y="414"/>
                  </a:moveTo>
                  <a:lnTo>
                    <a:pt x="294" y="418"/>
                  </a:lnTo>
                  <a:lnTo>
                    <a:pt x="290" y="418"/>
                  </a:lnTo>
                  <a:lnTo>
                    <a:pt x="290" y="414"/>
                  </a:lnTo>
                  <a:lnTo>
                    <a:pt x="294" y="414"/>
                  </a:lnTo>
                  <a:lnTo>
                    <a:pt x="298" y="414"/>
                  </a:lnTo>
                  <a:lnTo>
                    <a:pt x="294" y="414"/>
                  </a:lnTo>
                  <a:lnTo>
                    <a:pt x="294" y="418"/>
                  </a:lnTo>
                  <a:lnTo>
                    <a:pt x="298" y="414"/>
                  </a:lnTo>
                  <a:lnTo>
                    <a:pt x="298" y="414"/>
                  </a:lnTo>
                  <a:lnTo>
                    <a:pt x="298" y="414"/>
                  </a:lnTo>
                  <a:close/>
                  <a:moveTo>
                    <a:pt x="282" y="418"/>
                  </a:moveTo>
                  <a:lnTo>
                    <a:pt x="282" y="422"/>
                  </a:lnTo>
                  <a:lnTo>
                    <a:pt x="278" y="422"/>
                  </a:lnTo>
                  <a:lnTo>
                    <a:pt x="282" y="418"/>
                  </a:lnTo>
                  <a:lnTo>
                    <a:pt x="282" y="418"/>
                  </a:lnTo>
                  <a:lnTo>
                    <a:pt x="282" y="418"/>
                  </a:lnTo>
                  <a:close/>
                  <a:moveTo>
                    <a:pt x="584" y="426"/>
                  </a:moveTo>
                  <a:lnTo>
                    <a:pt x="580" y="426"/>
                  </a:lnTo>
                  <a:lnTo>
                    <a:pt x="584" y="426"/>
                  </a:lnTo>
                  <a:lnTo>
                    <a:pt x="580" y="426"/>
                  </a:lnTo>
                  <a:lnTo>
                    <a:pt x="584" y="426"/>
                  </a:lnTo>
                  <a:lnTo>
                    <a:pt x="584" y="426"/>
                  </a:lnTo>
                  <a:lnTo>
                    <a:pt x="584" y="426"/>
                  </a:lnTo>
                  <a:close/>
                  <a:moveTo>
                    <a:pt x="282" y="458"/>
                  </a:moveTo>
                  <a:lnTo>
                    <a:pt x="278" y="458"/>
                  </a:lnTo>
                  <a:lnTo>
                    <a:pt x="276" y="458"/>
                  </a:lnTo>
                  <a:lnTo>
                    <a:pt x="278" y="458"/>
                  </a:lnTo>
                  <a:lnTo>
                    <a:pt x="282" y="458"/>
                  </a:lnTo>
                  <a:lnTo>
                    <a:pt x="282" y="458"/>
                  </a:lnTo>
                  <a:lnTo>
                    <a:pt x="282" y="458"/>
                  </a:lnTo>
                  <a:close/>
                  <a:moveTo>
                    <a:pt x="510" y="484"/>
                  </a:moveTo>
                  <a:lnTo>
                    <a:pt x="510" y="482"/>
                  </a:lnTo>
                  <a:lnTo>
                    <a:pt x="510" y="484"/>
                  </a:lnTo>
                  <a:lnTo>
                    <a:pt x="510" y="484"/>
                  </a:lnTo>
                  <a:lnTo>
                    <a:pt x="510" y="484"/>
                  </a:lnTo>
                  <a:close/>
                  <a:moveTo>
                    <a:pt x="510" y="488"/>
                  </a:moveTo>
                  <a:lnTo>
                    <a:pt x="506" y="488"/>
                  </a:lnTo>
                  <a:lnTo>
                    <a:pt x="506" y="484"/>
                  </a:lnTo>
                  <a:lnTo>
                    <a:pt x="510" y="488"/>
                  </a:lnTo>
                  <a:lnTo>
                    <a:pt x="510" y="488"/>
                  </a:lnTo>
                  <a:lnTo>
                    <a:pt x="510" y="488"/>
                  </a:lnTo>
                  <a:close/>
                  <a:moveTo>
                    <a:pt x="278" y="488"/>
                  </a:moveTo>
                  <a:lnTo>
                    <a:pt x="282" y="488"/>
                  </a:lnTo>
                  <a:lnTo>
                    <a:pt x="282" y="492"/>
                  </a:lnTo>
                  <a:lnTo>
                    <a:pt x="278" y="488"/>
                  </a:lnTo>
                  <a:lnTo>
                    <a:pt x="278" y="488"/>
                  </a:lnTo>
                  <a:lnTo>
                    <a:pt x="278" y="488"/>
                  </a:lnTo>
                  <a:close/>
                  <a:moveTo>
                    <a:pt x="450" y="522"/>
                  </a:moveTo>
                  <a:lnTo>
                    <a:pt x="454" y="522"/>
                  </a:lnTo>
                  <a:lnTo>
                    <a:pt x="458" y="522"/>
                  </a:lnTo>
                  <a:lnTo>
                    <a:pt x="454" y="522"/>
                  </a:lnTo>
                  <a:lnTo>
                    <a:pt x="450" y="522"/>
                  </a:lnTo>
                  <a:lnTo>
                    <a:pt x="450" y="522"/>
                  </a:lnTo>
                  <a:lnTo>
                    <a:pt x="450" y="522"/>
                  </a:lnTo>
                  <a:close/>
                  <a:moveTo>
                    <a:pt x="450" y="548"/>
                  </a:moveTo>
                  <a:lnTo>
                    <a:pt x="450" y="544"/>
                  </a:lnTo>
                  <a:lnTo>
                    <a:pt x="446" y="544"/>
                  </a:lnTo>
                  <a:lnTo>
                    <a:pt x="442" y="544"/>
                  </a:lnTo>
                  <a:lnTo>
                    <a:pt x="442" y="540"/>
                  </a:lnTo>
                  <a:lnTo>
                    <a:pt x="440" y="540"/>
                  </a:lnTo>
                  <a:lnTo>
                    <a:pt x="442" y="540"/>
                  </a:lnTo>
                  <a:lnTo>
                    <a:pt x="446" y="540"/>
                  </a:lnTo>
                  <a:lnTo>
                    <a:pt x="446" y="544"/>
                  </a:lnTo>
                  <a:lnTo>
                    <a:pt x="450" y="544"/>
                  </a:lnTo>
                  <a:lnTo>
                    <a:pt x="450" y="548"/>
                  </a:lnTo>
                  <a:lnTo>
                    <a:pt x="450" y="548"/>
                  </a:lnTo>
                  <a:lnTo>
                    <a:pt x="450" y="548"/>
                  </a:lnTo>
                  <a:close/>
                  <a:moveTo>
                    <a:pt x="450" y="548"/>
                  </a:moveTo>
                  <a:lnTo>
                    <a:pt x="446" y="548"/>
                  </a:lnTo>
                  <a:lnTo>
                    <a:pt x="450" y="548"/>
                  </a:lnTo>
                  <a:lnTo>
                    <a:pt x="450" y="548"/>
                  </a:lnTo>
                  <a:lnTo>
                    <a:pt x="450" y="548"/>
                  </a:lnTo>
                  <a:close/>
                  <a:moveTo>
                    <a:pt x="312" y="548"/>
                  </a:moveTo>
                  <a:lnTo>
                    <a:pt x="316" y="548"/>
                  </a:lnTo>
                  <a:lnTo>
                    <a:pt x="312" y="548"/>
                  </a:lnTo>
                  <a:lnTo>
                    <a:pt x="312" y="548"/>
                  </a:lnTo>
                  <a:lnTo>
                    <a:pt x="312" y="548"/>
                  </a:lnTo>
                  <a:close/>
                  <a:moveTo>
                    <a:pt x="446" y="548"/>
                  </a:moveTo>
                  <a:lnTo>
                    <a:pt x="442" y="548"/>
                  </a:lnTo>
                  <a:lnTo>
                    <a:pt x="446" y="548"/>
                  </a:lnTo>
                  <a:lnTo>
                    <a:pt x="446" y="552"/>
                  </a:lnTo>
                  <a:lnTo>
                    <a:pt x="446" y="548"/>
                  </a:lnTo>
                  <a:lnTo>
                    <a:pt x="446" y="548"/>
                  </a:lnTo>
                  <a:lnTo>
                    <a:pt x="446" y="548"/>
                  </a:lnTo>
                  <a:close/>
                  <a:moveTo>
                    <a:pt x="442" y="556"/>
                  </a:moveTo>
                  <a:lnTo>
                    <a:pt x="442" y="552"/>
                  </a:lnTo>
                  <a:lnTo>
                    <a:pt x="446" y="552"/>
                  </a:lnTo>
                  <a:lnTo>
                    <a:pt x="442" y="556"/>
                  </a:lnTo>
                  <a:lnTo>
                    <a:pt x="442" y="556"/>
                  </a:lnTo>
                  <a:lnTo>
                    <a:pt x="442" y="556"/>
                  </a:lnTo>
                  <a:close/>
                  <a:moveTo>
                    <a:pt x="432" y="560"/>
                  </a:moveTo>
                  <a:lnTo>
                    <a:pt x="432" y="556"/>
                  </a:lnTo>
                  <a:lnTo>
                    <a:pt x="436" y="556"/>
                  </a:lnTo>
                  <a:lnTo>
                    <a:pt x="440" y="556"/>
                  </a:lnTo>
                  <a:lnTo>
                    <a:pt x="440" y="560"/>
                  </a:lnTo>
                  <a:lnTo>
                    <a:pt x="440" y="556"/>
                  </a:lnTo>
                  <a:lnTo>
                    <a:pt x="436" y="556"/>
                  </a:lnTo>
                  <a:lnTo>
                    <a:pt x="436" y="560"/>
                  </a:lnTo>
                  <a:lnTo>
                    <a:pt x="440" y="560"/>
                  </a:lnTo>
                  <a:lnTo>
                    <a:pt x="436" y="560"/>
                  </a:lnTo>
                  <a:lnTo>
                    <a:pt x="432" y="560"/>
                  </a:lnTo>
                  <a:lnTo>
                    <a:pt x="432" y="560"/>
                  </a:lnTo>
                  <a:lnTo>
                    <a:pt x="432" y="560"/>
                  </a:lnTo>
                  <a:close/>
                  <a:moveTo>
                    <a:pt x="436" y="564"/>
                  </a:moveTo>
                  <a:lnTo>
                    <a:pt x="432" y="564"/>
                  </a:lnTo>
                  <a:lnTo>
                    <a:pt x="436" y="560"/>
                  </a:lnTo>
                  <a:lnTo>
                    <a:pt x="436" y="564"/>
                  </a:lnTo>
                  <a:lnTo>
                    <a:pt x="436" y="564"/>
                  </a:lnTo>
                  <a:lnTo>
                    <a:pt x="436" y="564"/>
                  </a:lnTo>
                  <a:close/>
                  <a:moveTo>
                    <a:pt x="332" y="578"/>
                  </a:moveTo>
                  <a:lnTo>
                    <a:pt x="332" y="574"/>
                  </a:lnTo>
                  <a:lnTo>
                    <a:pt x="332" y="578"/>
                  </a:lnTo>
                  <a:lnTo>
                    <a:pt x="332" y="578"/>
                  </a:lnTo>
                  <a:lnTo>
                    <a:pt x="332" y="578"/>
                  </a:lnTo>
                  <a:close/>
                  <a:moveTo>
                    <a:pt x="436" y="582"/>
                  </a:moveTo>
                  <a:lnTo>
                    <a:pt x="436" y="578"/>
                  </a:lnTo>
                  <a:lnTo>
                    <a:pt x="436" y="582"/>
                  </a:lnTo>
                  <a:lnTo>
                    <a:pt x="436" y="582"/>
                  </a:lnTo>
                  <a:lnTo>
                    <a:pt x="436" y="582"/>
                  </a:lnTo>
                  <a:close/>
                  <a:moveTo>
                    <a:pt x="346" y="588"/>
                  </a:moveTo>
                  <a:lnTo>
                    <a:pt x="342" y="588"/>
                  </a:lnTo>
                  <a:lnTo>
                    <a:pt x="346" y="588"/>
                  </a:lnTo>
                  <a:lnTo>
                    <a:pt x="346" y="588"/>
                  </a:lnTo>
                  <a:lnTo>
                    <a:pt x="346" y="588"/>
                  </a:lnTo>
                  <a:close/>
                  <a:moveTo>
                    <a:pt x="350" y="596"/>
                  </a:moveTo>
                  <a:lnTo>
                    <a:pt x="354" y="596"/>
                  </a:lnTo>
                  <a:lnTo>
                    <a:pt x="350" y="596"/>
                  </a:lnTo>
                  <a:lnTo>
                    <a:pt x="346" y="596"/>
                  </a:lnTo>
                  <a:lnTo>
                    <a:pt x="350" y="596"/>
                  </a:lnTo>
                  <a:lnTo>
                    <a:pt x="350" y="596"/>
                  </a:lnTo>
                  <a:lnTo>
                    <a:pt x="350" y="596"/>
                  </a:lnTo>
                  <a:close/>
                  <a:moveTo>
                    <a:pt x="380" y="600"/>
                  </a:moveTo>
                  <a:lnTo>
                    <a:pt x="376" y="600"/>
                  </a:lnTo>
                  <a:lnTo>
                    <a:pt x="376" y="604"/>
                  </a:lnTo>
                  <a:lnTo>
                    <a:pt x="372" y="604"/>
                  </a:lnTo>
                  <a:lnTo>
                    <a:pt x="368" y="604"/>
                  </a:lnTo>
                  <a:lnTo>
                    <a:pt x="372" y="604"/>
                  </a:lnTo>
                  <a:lnTo>
                    <a:pt x="372" y="600"/>
                  </a:lnTo>
                  <a:lnTo>
                    <a:pt x="376" y="600"/>
                  </a:lnTo>
                  <a:lnTo>
                    <a:pt x="380" y="600"/>
                  </a:lnTo>
                  <a:lnTo>
                    <a:pt x="380" y="600"/>
                  </a:lnTo>
                  <a:lnTo>
                    <a:pt x="380" y="600"/>
                  </a:lnTo>
                  <a:close/>
                  <a:moveTo>
                    <a:pt x="424" y="600"/>
                  </a:moveTo>
                  <a:lnTo>
                    <a:pt x="428" y="600"/>
                  </a:lnTo>
                  <a:lnTo>
                    <a:pt x="424" y="600"/>
                  </a:lnTo>
                  <a:lnTo>
                    <a:pt x="424" y="600"/>
                  </a:lnTo>
                  <a:lnTo>
                    <a:pt x="424" y="600"/>
                  </a:lnTo>
                  <a:close/>
                  <a:moveTo>
                    <a:pt x="358" y="604"/>
                  </a:moveTo>
                  <a:lnTo>
                    <a:pt x="354" y="604"/>
                  </a:lnTo>
                  <a:lnTo>
                    <a:pt x="350" y="604"/>
                  </a:lnTo>
                  <a:lnTo>
                    <a:pt x="354" y="600"/>
                  </a:lnTo>
                  <a:lnTo>
                    <a:pt x="358" y="600"/>
                  </a:lnTo>
                  <a:lnTo>
                    <a:pt x="358" y="604"/>
                  </a:lnTo>
                  <a:lnTo>
                    <a:pt x="358" y="604"/>
                  </a:lnTo>
                  <a:lnTo>
                    <a:pt x="358" y="604"/>
                  </a:lnTo>
                  <a:close/>
                  <a:moveTo>
                    <a:pt x="384" y="604"/>
                  </a:moveTo>
                  <a:lnTo>
                    <a:pt x="380" y="604"/>
                  </a:lnTo>
                  <a:lnTo>
                    <a:pt x="380" y="608"/>
                  </a:lnTo>
                  <a:lnTo>
                    <a:pt x="380" y="604"/>
                  </a:lnTo>
                  <a:lnTo>
                    <a:pt x="384" y="604"/>
                  </a:lnTo>
                  <a:lnTo>
                    <a:pt x="384" y="604"/>
                  </a:lnTo>
                  <a:lnTo>
                    <a:pt x="384" y="604"/>
                  </a:lnTo>
                  <a:close/>
                  <a:moveTo>
                    <a:pt x="384" y="604"/>
                  </a:moveTo>
                  <a:lnTo>
                    <a:pt x="384" y="608"/>
                  </a:lnTo>
                  <a:lnTo>
                    <a:pt x="380" y="608"/>
                  </a:lnTo>
                  <a:lnTo>
                    <a:pt x="384" y="604"/>
                  </a:lnTo>
                  <a:lnTo>
                    <a:pt x="384" y="604"/>
                  </a:lnTo>
                  <a:lnTo>
                    <a:pt x="384" y="604"/>
                  </a:lnTo>
                  <a:close/>
                  <a:moveTo>
                    <a:pt x="394" y="612"/>
                  </a:moveTo>
                  <a:lnTo>
                    <a:pt x="394" y="614"/>
                  </a:lnTo>
                  <a:lnTo>
                    <a:pt x="392" y="614"/>
                  </a:lnTo>
                  <a:lnTo>
                    <a:pt x="392" y="612"/>
                  </a:lnTo>
                  <a:lnTo>
                    <a:pt x="394" y="612"/>
                  </a:lnTo>
                  <a:lnTo>
                    <a:pt x="394" y="612"/>
                  </a:lnTo>
                  <a:lnTo>
                    <a:pt x="394" y="612"/>
                  </a:lnTo>
                  <a:close/>
                  <a:moveTo>
                    <a:pt x="418" y="622"/>
                  </a:moveTo>
                  <a:lnTo>
                    <a:pt x="414" y="622"/>
                  </a:lnTo>
                  <a:lnTo>
                    <a:pt x="410" y="618"/>
                  </a:lnTo>
                  <a:lnTo>
                    <a:pt x="410" y="614"/>
                  </a:lnTo>
                  <a:lnTo>
                    <a:pt x="414" y="618"/>
                  </a:lnTo>
                  <a:lnTo>
                    <a:pt x="418" y="618"/>
                  </a:lnTo>
                  <a:lnTo>
                    <a:pt x="420" y="618"/>
                  </a:lnTo>
                  <a:lnTo>
                    <a:pt x="420" y="622"/>
                  </a:lnTo>
                  <a:lnTo>
                    <a:pt x="420" y="618"/>
                  </a:lnTo>
                  <a:lnTo>
                    <a:pt x="418" y="618"/>
                  </a:lnTo>
                  <a:lnTo>
                    <a:pt x="418" y="622"/>
                  </a:lnTo>
                  <a:lnTo>
                    <a:pt x="418" y="622"/>
                  </a:lnTo>
                  <a:lnTo>
                    <a:pt x="418" y="622"/>
                  </a:lnTo>
                  <a:close/>
                  <a:moveTo>
                    <a:pt x="406" y="614"/>
                  </a:moveTo>
                  <a:lnTo>
                    <a:pt x="406" y="618"/>
                  </a:lnTo>
                  <a:lnTo>
                    <a:pt x="410" y="618"/>
                  </a:lnTo>
                  <a:lnTo>
                    <a:pt x="406" y="618"/>
                  </a:lnTo>
                  <a:lnTo>
                    <a:pt x="406" y="614"/>
                  </a:lnTo>
                  <a:lnTo>
                    <a:pt x="406" y="614"/>
                  </a:lnTo>
                  <a:lnTo>
                    <a:pt x="406" y="614"/>
                  </a:lnTo>
                  <a:close/>
                  <a:moveTo>
                    <a:pt x="406" y="618"/>
                  </a:moveTo>
                  <a:lnTo>
                    <a:pt x="406" y="622"/>
                  </a:lnTo>
                  <a:lnTo>
                    <a:pt x="402" y="622"/>
                  </a:lnTo>
                  <a:lnTo>
                    <a:pt x="402" y="618"/>
                  </a:lnTo>
                  <a:lnTo>
                    <a:pt x="406" y="618"/>
                  </a:lnTo>
                  <a:lnTo>
                    <a:pt x="406" y="618"/>
                  </a:lnTo>
                  <a:lnTo>
                    <a:pt x="406" y="618"/>
                  </a:lnTo>
                  <a:close/>
                  <a:moveTo>
                    <a:pt x="418" y="622"/>
                  </a:moveTo>
                  <a:lnTo>
                    <a:pt x="418" y="618"/>
                  </a:lnTo>
                  <a:lnTo>
                    <a:pt x="420" y="618"/>
                  </a:lnTo>
                  <a:lnTo>
                    <a:pt x="418" y="622"/>
                  </a:lnTo>
                  <a:lnTo>
                    <a:pt x="418" y="622"/>
                  </a:lnTo>
                  <a:lnTo>
                    <a:pt x="418" y="622"/>
                  </a:lnTo>
                  <a:close/>
                  <a:moveTo>
                    <a:pt x="406" y="622"/>
                  </a:moveTo>
                  <a:lnTo>
                    <a:pt x="406" y="618"/>
                  </a:lnTo>
                  <a:lnTo>
                    <a:pt x="410" y="618"/>
                  </a:lnTo>
                  <a:lnTo>
                    <a:pt x="410" y="622"/>
                  </a:lnTo>
                  <a:lnTo>
                    <a:pt x="406" y="622"/>
                  </a:lnTo>
                  <a:lnTo>
                    <a:pt x="406" y="622"/>
                  </a:lnTo>
                  <a:lnTo>
                    <a:pt x="406" y="622"/>
                  </a:lnTo>
                  <a:close/>
                  <a:moveTo>
                    <a:pt x="410" y="626"/>
                  </a:moveTo>
                  <a:lnTo>
                    <a:pt x="410" y="622"/>
                  </a:lnTo>
                  <a:lnTo>
                    <a:pt x="414" y="622"/>
                  </a:lnTo>
                  <a:lnTo>
                    <a:pt x="414" y="626"/>
                  </a:lnTo>
                  <a:lnTo>
                    <a:pt x="410" y="626"/>
                  </a:lnTo>
                  <a:lnTo>
                    <a:pt x="410" y="626"/>
                  </a:lnTo>
                  <a:lnTo>
                    <a:pt x="410" y="626"/>
                  </a:lnTo>
                  <a:close/>
                  <a:moveTo>
                    <a:pt x="312" y="414"/>
                  </a:moveTo>
                  <a:lnTo>
                    <a:pt x="312" y="410"/>
                  </a:lnTo>
                  <a:lnTo>
                    <a:pt x="316" y="410"/>
                  </a:lnTo>
                  <a:lnTo>
                    <a:pt x="312" y="410"/>
                  </a:lnTo>
                  <a:lnTo>
                    <a:pt x="308" y="410"/>
                  </a:lnTo>
                  <a:lnTo>
                    <a:pt x="308" y="414"/>
                  </a:lnTo>
                  <a:lnTo>
                    <a:pt x="308" y="410"/>
                  </a:lnTo>
                  <a:lnTo>
                    <a:pt x="306" y="410"/>
                  </a:lnTo>
                  <a:lnTo>
                    <a:pt x="308" y="410"/>
                  </a:lnTo>
                  <a:lnTo>
                    <a:pt x="312" y="406"/>
                  </a:lnTo>
                  <a:lnTo>
                    <a:pt x="308" y="406"/>
                  </a:lnTo>
                  <a:lnTo>
                    <a:pt x="308" y="402"/>
                  </a:lnTo>
                  <a:lnTo>
                    <a:pt x="312" y="402"/>
                  </a:lnTo>
                  <a:lnTo>
                    <a:pt x="312" y="406"/>
                  </a:lnTo>
                  <a:lnTo>
                    <a:pt x="312" y="402"/>
                  </a:lnTo>
                  <a:lnTo>
                    <a:pt x="316" y="402"/>
                  </a:lnTo>
                  <a:lnTo>
                    <a:pt x="316" y="406"/>
                  </a:lnTo>
                  <a:lnTo>
                    <a:pt x="320" y="406"/>
                  </a:lnTo>
                  <a:lnTo>
                    <a:pt x="316" y="406"/>
                  </a:lnTo>
                  <a:lnTo>
                    <a:pt x="320" y="406"/>
                  </a:lnTo>
                  <a:lnTo>
                    <a:pt x="320" y="402"/>
                  </a:lnTo>
                  <a:lnTo>
                    <a:pt x="320" y="406"/>
                  </a:lnTo>
                  <a:lnTo>
                    <a:pt x="324" y="406"/>
                  </a:lnTo>
                  <a:lnTo>
                    <a:pt x="324" y="402"/>
                  </a:lnTo>
                  <a:lnTo>
                    <a:pt x="320" y="402"/>
                  </a:lnTo>
                  <a:lnTo>
                    <a:pt x="316" y="402"/>
                  </a:lnTo>
                  <a:lnTo>
                    <a:pt x="320" y="402"/>
                  </a:lnTo>
                  <a:lnTo>
                    <a:pt x="324" y="402"/>
                  </a:lnTo>
                  <a:lnTo>
                    <a:pt x="324" y="398"/>
                  </a:lnTo>
                  <a:lnTo>
                    <a:pt x="320" y="398"/>
                  </a:lnTo>
                  <a:lnTo>
                    <a:pt x="316" y="398"/>
                  </a:lnTo>
                  <a:lnTo>
                    <a:pt x="320" y="398"/>
                  </a:lnTo>
                  <a:lnTo>
                    <a:pt x="320" y="396"/>
                  </a:lnTo>
                  <a:lnTo>
                    <a:pt x="316" y="396"/>
                  </a:lnTo>
                  <a:lnTo>
                    <a:pt x="316" y="398"/>
                  </a:lnTo>
                  <a:lnTo>
                    <a:pt x="312" y="402"/>
                  </a:lnTo>
                  <a:lnTo>
                    <a:pt x="308" y="402"/>
                  </a:lnTo>
                  <a:lnTo>
                    <a:pt x="308" y="398"/>
                  </a:lnTo>
                  <a:lnTo>
                    <a:pt x="312" y="398"/>
                  </a:lnTo>
                  <a:lnTo>
                    <a:pt x="312" y="396"/>
                  </a:lnTo>
                  <a:lnTo>
                    <a:pt x="316" y="392"/>
                  </a:lnTo>
                  <a:lnTo>
                    <a:pt x="320" y="392"/>
                  </a:lnTo>
                  <a:lnTo>
                    <a:pt x="316" y="392"/>
                  </a:lnTo>
                  <a:lnTo>
                    <a:pt x="312" y="392"/>
                  </a:lnTo>
                  <a:lnTo>
                    <a:pt x="312" y="388"/>
                  </a:lnTo>
                  <a:lnTo>
                    <a:pt x="316" y="388"/>
                  </a:lnTo>
                  <a:lnTo>
                    <a:pt x="316" y="392"/>
                  </a:lnTo>
                  <a:lnTo>
                    <a:pt x="320" y="392"/>
                  </a:lnTo>
                  <a:lnTo>
                    <a:pt x="320" y="388"/>
                  </a:lnTo>
                  <a:lnTo>
                    <a:pt x="316" y="388"/>
                  </a:lnTo>
                  <a:lnTo>
                    <a:pt x="312" y="388"/>
                  </a:lnTo>
                  <a:lnTo>
                    <a:pt x="316" y="388"/>
                  </a:lnTo>
                  <a:lnTo>
                    <a:pt x="316" y="384"/>
                  </a:lnTo>
                  <a:lnTo>
                    <a:pt x="320" y="388"/>
                  </a:lnTo>
                  <a:lnTo>
                    <a:pt x="324" y="388"/>
                  </a:lnTo>
                  <a:lnTo>
                    <a:pt x="320" y="384"/>
                  </a:lnTo>
                  <a:lnTo>
                    <a:pt x="316" y="384"/>
                  </a:lnTo>
                  <a:lnTo>
                    <a:pt x="316" y="380"/>
                  </a:lnTo>
                  <a:lnTo>
                    <a:pt x="320" y="380"/>
                  </a:lnTo>
                  <a:lnTo>
                    <a:pt x="316" y="380"/>
                  </a:lnTo>
                  <a:lnTo>
                    <a:pt x="312" y="380"/>
                  </a:lnTo>
                  <a:lnTo>
                    <a:pt x="308" y="380"/>
                  </a:lnTo>
                  <a:lnTo>
                    <a:pt x="306" y="380"/>
                  </a:lnTo>
                  <a:lnTo>
                    <a:pt x="308" y="380"/>
                  </a:lnTo>
                  <a:lnTo>
                    <a:pt x="312" y="380"/>
                  </a:lnTo>
                  <a:lnTo>
                    <a:pt x="308" y="376"/>
                  </a:lnTo>
                  <a:lnTo>
                    <a:pt x="306" y="376"/>
                  </a:lnTo>
                  <a:lnTo>
                    <a:pt x="306" y="380"/>
                  </a:lnTo>
                  <a:lnTo>
                    <a:pt x="302" y="380"/>
                  </a:lnTo>
                  <a:lnTo>
                    <a:pt x="298" y="380"/>
                  </a:lnTo>
                  <a:lnTo>
                    <a:pt x="294" y="380"/>
                  </a:lnTo>
                  <a:lnTo>
                    <a:pt x="290" y="380"/>
                  </a:lnTo>
                  <a:lnTo>
                    <a:pt x="290" y="376"/>
                  </a:lnTo>
                  <a:lnTo>
                    <a:pt x="286" y="376"/>
                  </a:lnTo>
                  <a:lnTo>
                    <a:pt x="286" y="372"/>
                  </a:lnTo>
                  <a:lnTo>
                    <a:pt x="282" y="372"/>
                  </a:lnTo>
                  <a:lnTo>
                    <a:pt x="278" y="372"/>
                  </a:lnTo>
                  <a:lnTo>
                    <a:pt x="276" y="370"/>
                  </a:lnTo>
                  <a:lnTo>
                    <a:pt x="272" y="370"/>
                  </a:lnTo>
                  <a:lnTo>
                    <a:pt x="268" y="370"/>
                  </a:lnTo>
                  <a:lnTo>
                    <a:pt x="264" y="370"/>
                  </a:lnTo>
                  <a:lnTo>
                    <a:pt x="264" y="366"/>
                  </a:lnTo>
                  <a:lnTo>
                    <a:pt x="260" y="362"/>
                  </a:lnTo>
                  <a:lnTo>
                    <a:pt x="264" y="362"/>
                  </a:lnTo>
                  <a:lnTo>
                    <a:pt x="264" y="358"/>
                  </a:lnTo>
                  <a:lnTo>
                    <a:pt x="268" y="358"/>
                  </a:lnTo>
                  <a:lnTo>
                    <a:pt x="272" y="358"/>
                  </a:lnTo>
                  <a:lnTo>
                    <a:pt x="276" y="362"/>
                  </a:lnTo>
                  <a:lnTo>
                    <a:pt x="278" y="362"/>
                  </a:lnTo>
                  <a:lnTo>
                    <a:pt x="282" y="362"/>
                  </a:lnTo>
                  <a:lnTo>
                    <a:pt x="286" y="362"/>
                  </a:lnTo>
                  <a:lnTo>
                    <a:pt x="290" y="362"/>
                  </a:lnTo>
                  <a:lnTo>
                    <a:pt x="294" y="366"/>
                  </a:lnTo>
                  <a:lnTo>
                    <a:pt x="298" y="366"/>
                  </a:lnTo>
                  <a:lnTo>
                    <a:pt x="302" y="370"/>
                  </a:lnTo>
                  <a:lnTo>
                    <a:pt x="306" y="370"/>
                  </a:lnTo>
                  <a:lnTo>
                    <a:pt x="308" y="370"/>
                  </a:lnTo>
                  <a:lnTo>
                    <a:pt x="312" y="370"/>
                  </a:lnTo>
                  <a:lnTo>
                    <a:pt x="312" y="372"/>
                  </a:lnTo>
                  <a:lnTo>
                    <a:pt x="316" y="372"/>
                  </a:lnTo>
                  <a:lnTo>
                    <a:pt x="316" y="370"/>
                  </a:lnTo>
                  <a:lnTo>
                    <a:pt x="316" y="366"/>
                  </a:lnTo>
                  <a:lnTo>
                    <a:pt x="316" y="370"/>
                  </a:lnTo>
                  <a:lnTo>
                    <a:pt x="312" y="370"/>
                  </a:lnTo>
                  <a:lnTo>
                    <a:pt x="308" y="370"/>
                  </a:lnTo>
                  <a:lnTo>
                    <a:pt x="312" y="370"/>
                  </a:lnTo>
                  <a:lnTo>
                    <a:pt x="308" y="366"/>
                  </a:lnTo>
                  <a:lnTo>
                    <a:pt x="306" y="366"/>
                  </a:lnTo>
                  <a:lnTo>
                    <a:pt x="308" y="366"/>
                  </a:lnTo>
                  <a:lnTo>
                    <a:pt x="312" y="366"/>
                  </a:lnTo>
                  <a:lnTo>
                    <a:pt x="312" y="362"/>
                  </a:lnTo>
                  <a:lnTo>
                    <a:pt x="312" y="366"/>
                  </a:lnTo>
                  <a:lnTo>
                    <a:pt x="316" y="366"/>
                  </a:lnTo>
                  <a:lnTo>
                    <a:pt x="312" y="362"/>
                  </a:lnTo>
                  <a:lnTo>
                    <a:pt x="308" y="362"/>
                  </a:lnTo>
                  <a:lnTo>
                    <a:pt x="306" y="362"/>
                  </a:lnTo>
                  <a:lnTo>
                    <a:pt x="306" y="358"/>
                  </a:lnTo>
                  <a:lnTo>
                    <a:pt x="308" y="358"/>
                  </a:lnTo>
                  <a:lnTo>
                    <a:pt x="312" y="362"/>
                  </a:lnTo>
                  <a:lnTo>
                    <a:pt x="316" y="362"/>
                  </a:lnTo>
                  <a:lnTo>
                    <a:pt x="312" y="362"/>
                  </a:lnTo>
                  <a:lnTo>
                    <a:pt x="312" y="358"/>
                  </a:lnTo>
                  <a:lnTo>
                    <a:pt x="308" y="358"/>
                  </a:lnTo>
                  <a:lnTo>
                    <a:pt x="306" y="358"/>
                  </a:lnTo>
                  <a:lnTo>
                    <a:pt x="302" y="358"/>
                  </a:lnTo>
                  <a:lnTo>
                    <a:pt x="302" y="354"/>
                  </a:lnTo>
                  <a:lnTo>
                    <a:pt x="298" y="354"/>
                  </a:lnTo>
                  <a:lnTo>
                    <a:pt x="302" y="354"/>
                  </a:lnTo>
                  <a:lnTo>
                    <a:pt x="306" y="354"/>
                  </a:lnTo>
                  <a:lnTo>
                    <a:pt x="308" y="354"/>
                  </a:lnTo>
                  <a:lnTo>
                    <a:pt x="312" y="354"/>
                  </a:lnTo>
                  <a:lnTo>
                    <a:pt x="308" y="354"/>
                  </a:lnTo>
                  <a:lnTo>
                    <a:pt x="306" y="354"/>
                  </a:lnTo>
                  <a:lnTo>
                    <a:pt x="306" y="350"/>
                  </a:lnTo>
                  <a:lnTo>
                    <a:pt x="308" y="350"/>
                  </a:lnTo>
                  <a:lnTo>
                    <a:pt x="306" y="350"/>
                  </a:lnTo>
                  <a:lnTo>
                    <a:pt x="302" y="350"/>
                  </a:lnTo>
                  <a:lnTo>
                    <a:pt x="298" y="350"/>
                  </a:lnTo>
                  <a:lnTo>
                    <a:pt x="294" y="350"/>
                  </a:lnTo>
                  <a:lnTo>
                    <a:pt x="298" y="350"/>
                  </a:lnTo>
                  <a:lnTo>
                    <a:pt x="298" y="346"/>
                  </a:lnTo>
                  <a:lnTo>
                    <a:pt x="302" y="346"/>
                  </a:lnTo>
                  <a:lnTo>
                    <a:pt x="298" y="346"/>
                  </a:lnTo>
                  <a:lnTo>
                    <a:pt x="294" y="346"/>
                  </a:lnTo>
                  <a:lnTo>
                    <a:pt x="294" y="350"/>
                  </a:lnTo>
                  <a:lnTo>
                    <a:pt x="290" y="350"/>
                  </a:lnTo>
                  <a:lnTo>
                    <a:pt x="290" y="346"/>
                  </a:lnTo>
                  <a:lnTo>
                    <a:pt x="294" y="346"/>
                  </a:lnTo>
                  <a:lnTo>
                    <a:pt x="294" y="342"/>
                  </a:lnTo>
                  <a:lnTo>
                    <a:pt x="298" y="342"/>
                  </a:lnTo>
                  <a:lnTo>
                    <a:pt x="302" y="342"/>
                  </a:lnTo>
                  <a:lnTo>
                    <a:pt x="306" y="342"/>
                  </a:lnTo>
                  <a:lnTo>
                    <a:pt x="302" y="342"/>
                  </a:lnTo>
                  <a:lnTo>
                    <a:pt x="298" y="342"/>
                  </a:lnTo>
                  <a:lnTo>
                    <a:pt x="294" y="342"/>
                  </a:lnTo>
                  <a:lnTo>
                    <a:pt x="290" y="342"/>
                  </a:lnTo>
                  <a:lnTo>
                    <a:pt x="286" y="342"/>
                  </a:lnTo>
                  <a:lnTo>
                    <a:pt x="282" y="342"/>
                  </a:lnTo>
                  <a:lnTo>
                    <a:pt x="286" y="342"/>
                  </a:lnTo>
                  <a:lnTo>
                    <a:pt x="286" y="340"/>
                  </a:lnTo>
                  <a:lnTo>
                    <a:pt x="290" y="340"/>
                  </a:lnTo>
                  <a:lnTo>
                    <a:pt x="294" y="340"/>
                  </a:lnTo>
                  <a:lnTo>
                    <a:pt x="298" y="340"/>
                  </a:lnTo>
                  <a:lnTo>
                    <a:pt x="302" y="340"/>
                  </a:lnTo>
                  <a:lnTo>
                    <a:pt x="302" y="336"/>
                  </a:lnTo>
                  <a:lnTo>
                    <a:pt x="298" y="336"/>
                  </a:lnTo>
                  <a:lnTo>
                    <a:pt x="298" y="340"/>
                  </a:lnTo>
                  <a:lnTo>
                    <a:pt x="294" y="340"/>
                  </a:lnTo>
                  <a:lnTo>
                    <a:pt x="290" y="340"/>
                  </a:lnTo>
                  <a:lnTo>
                    <a:pt x="286" y="340"/>
                  </a:lnTo>
                  <a:lnTo>
                    <a:pt x="286" y="336"/>
                  </a:lnTo>
                  <a:lnTo>
                    <a:pt x="282" y="336"/>
                  </a:lnTo>
                  <a:lnTo>
                    <a:pt x="278" y="336"/>
                  </a:lnTo>
                  <a:lnTo>
                    <a:pt x="282" y="336"/>
                  </a:lnTo>
                  <a:lnTo>
                    <a:pt x="282" y="332"/>
                  </a:lnTo>
                  <a:lnTo>
                    <a:pt x="286" y="328"/>
                  </a:lnTo>
                  <a:lnTo>
                    <a:pt x="282" y="332"/>
                  </a:lnTo>
                  <a:lnTo>
                    <a:pt x="278" y="332"/>
                  </a:lnTo>
                  <a:lnTo>
                    <a:pt x="276" y="332"/>
                  </a:lnTo>
                  <a:lnTo>
                    <a:pt x="276" y="328"/>
                  </a:lnTo>
                  <a:lnTo>
                    <a:pt x="276" y="324"/>
                  </a:lnTo>
                  <a:lnTo>
                    <a:pt x="272" y="324"/>
                  </a:lnTo>
                  <a:lnTo>
                    <a:pt x="272" y="320"/>
                  </a:lnTo>
                  <a:lnTo>
                    <a:pt x="276" y="320"/>
                  </a:lnTo>
                  <a:lnTo>
                    <a:pt x="272" y="320"/>
                  </a:lnTo>
                  <a:lnTo>
                    <a:pt x="268" y="320"/>
                  </a:lnTo>
                  <a:lnTo>
                    <a:pt x="272" y="324"/>
                  </a:lnTo>
                  <a:lnTo>
                    <a:pt x="272" y="328"/>
                  </a:lnTo>
                  <a:lnTo>
                    <a:pt x="276" y="328"/>
                  </a:lnTo>
                  <a:lnTo>
                    <a:pt x="276" y="332"/>
                  </a:lnTo>
                  <a:lnTo>
                    <a:pt x="276" y="336"/>
                  </a:lnTo>
                  <a:lnTo>
                    <a:pt x="272" y="336"/>
                  </a:lnTo>
                  <a:lnTo>
                    <a:pt x="268" y="336"/>
                  </a:lnTo>
                  <a:lnTo>
                    <a:pt x="272" y="336"/>
                  </a:lnTo>
                  <a:lnTo>
                    <a:pt x="272" y="340"/>
                  </a:lnTo>
                  <a:lnTo>
                    <a:pt x="268" y="340"/>
                  </a:lnTo>
                  <a:lnTo>
                    <a:pt x="268" y="336"/>
                  </a:lnTo>
                  <a:lnTo>
                    <a:pt x="268" y="340"/>
                  </a:lnTo>
                  <a:lnTo>
                    <a:pt x="272" y="340"/>
                  </a:lnTo>
                  <a:lnTo>
                    <a:pt x="272" y="342"/>
                  </a:lnTo>
                  <a:lnTo>
                    <a:pt x="268" y="342"/>
                  </a:lnTo>
                  <a:lnTo>
                    <a:pt x="264" y="342"/>
                  </a:lnTo>
                  <a:lnTo>
                    <a:pt x="264" y="346"/>
                  </a:lnTo>
                  <a:lnTo>
                    <a:pt x="260" y="346"/>
                  </a:lnTo>
                  <a:lnTo>
                    <a:pt x="256" y="346"/>
                  </a:lnTo>
                  <a:lnTo>
                    <a:pt x="252" y="342"/>
                  </a:lnTo>
                  <a:lnTo>
                    <a:pt x="250" y="342"/>
                  </a:lnTo>
                  <a:lnTo>
                    <a:pt x="252" y="342"/>
                  </a:lnTo>
                  <a:lnTo>
                    <a:pt x="250" y="342"/>
                  </a:lnTo>
                  <a:lnTo>
                    <a:pt x="246" y="342"/>
                  </a:lnTo>
                  <a:lnTo>
                    <a:pt x="246" y="340"/>
                  </a:lnTo>
                  <a:lnTo>
                    <a:pt x="242" y="336"/>
                  </a:lnTo>
                  <a:lnTo>
                    <a:pt x="246" y="336"/>
                  </a:lnTo>
                  <a:lnTo>
                    <a:pt x="250" y="336"/>
                  </a:lnTo>
                  <a:lnTo>
                    <a:pt x="250" y="332"/>
                  </a:lnTo>
                  <a:lnTo>
                    <a:pt x="252" y="332"/>
                  </a:lnTo>
                  <a:lnTo>
                    <a:pt x="256" y="332"/>
                  </a:lnTo>
                  <a:lnTo>
                    <a:pt x="260" y="328"/>
                  </a:lnTo>
                  <a:lnTo>
                    <a:pt x="260" y="324"/>
                  </a:lnTo>
                  <a:lnTo>
                    <a:pt x="264" y="324"/>
                  </a:lnTo>
                  <a:lnTo>
                    <a:pt x="260" y="324"/>
                  </a:lnTo>
                  <a:lnTo>
                    <a:pt x="260" y="328"/>
                  </a:lnTo>
                  <a:lnTo>
                    <a:pt x="256" y="328"/>
                  </a:lnTo>
                  <a:lnTo>
                    <a:pt x="256" y="332"/>
                  </a:lnTo>
                  <a:lnTo>
                    <a:pt x="252" y="332"/>
                  </a:lnTo>
                  <a:lnTo>
                    <a:pt x="250" y="332"/>
                  </a:lnTo>
                  <a:lnTo>
                    <a:pt x="250" y="328"/>
                  </a:lnTo>
                  <a:lnTo>
                    <a:pt x="246" y="328"/>
                  </a:lnTo>
                  <a:lnTo>
                    <a:pt x="250" y="328"/>
                  </a:lnTo>
                  <a:lnTo>
                    <a:pt x="250" y="324"/>
                  </a:lnTo>
                  <a:lnTo>
                    <a:pt x="256" y="320"/>
                  </a:lnTo>
                  <a:lnTo>
                    <a:pt x="252" y="320"/>
                  </a:lnTo>
                  <a:lnTo>
                    <a:pt x="256" y="320"/>
                  </a:lnTo>
                  <a:lnTo>
                    <a:pt x="256" y="316"/>
                  </a:lnTo>
                  <a:lnTo>
                    <a:pt x="252" y="316"/>
                  </a:lnTo>
                  <a:lnTo>
                    <a:pt x="256" y="316"/>
                  </a:lnTo>
                  <a:lnTo>
                    <a:pt x="252" y="316"/>
                  </a:lnTo>
                  <a:lnTo>
                    <a:pt x="250" y="320"/>
                  </a:lnTo>
                  <a:lnTo>
                    <a:pt x="250" y="316"/>
                  </a:lnTo>
                  <a:lnTo>
                    <a:pt x="246" y="316"/>
                  </a:lnTo>
                  <a:lnTo>
                    <a:pt x="246" y="314"/>
                  </a:lnTo>
                  <a:lnTo>
                    <a:pt x="250" y="314"/>
                  </a:lnTo>
                  <a:lnTo>
                    <a:pt x="250" y="316"/>
                  </a:lnTo>
                  <a:lnTo>
                    <a:pt x="252" y="316"/>
                  </a:lnTo>
                  <a:lnTo>
                    <a:pt x="260" y="316"/>
                  </a:lnTo>
                  <a:lnTo>
                    <a:pt x="264" y="316"/>
                  </a:lnTo>
                  <a:lnTo>
                    <a:pt x="260" y="316"/>
                  </a:lnTo>
                  <a:lnTo>
                    <a:pt x="256" y="316"/>
                  </a:lnTo>
                  <a:lnTo>
                    <a:pt x="256" y="314"/>
                  </a:lnTo>
                  <a:lnTo>
                    <a:pt x="252" y="316"/>
                  </a:lnTo>
                  <a:lnTo>
                    <a:pt x="252" y="314"/>
                  </a:lnTo>
                  <a:lnTo>
                    <a:pt x="256" y="314"/>
                  </a:lnTo>
                  <a:lnTo>
                    <a:pt x="260" y="314"/>
                  </a:lnTo>
                  <a:lnTo>
                    <a:pt x="256" y="314"/>
                  </a:lnTo>
                  <a:lnTo>
                    <a:pt x="256" y="310"/>
                  </a:lnTo>
                  <a:lnTo>
                    <a:pt x="260" y="310"/>
                  </a:lnTo>
                  <a:lnTo>
                    <a:pt x="256" y="310"/>
                  </a:lnTo>
                  <a:lnTo>
                    <a:pt x="256" y="306"/>
                  </a:lnTo>
                  <a:lnTo>
                    <a:pt x="260" y="306"/>
                  </a:lnTo>
                  <a:lnTo>
                    <a:pt x="256" y="306"/>
                  </a:lnTo>
                  <a:lnTo>
                    <a:pt x="256" y="302"/>
                  </a:lnTo>
                  <a:lnTo>
                    <a:pt x="252" y="302"/>
                  </a:lnTo>
                  <a:lnTo>
                    <a:pt x="250" y="302"/>
                  </a:lnTo>
                  <a:lnTo>
                    <a:pt x="246" y="302"/>
                  </a:lnTo>
                  <a:lnTo>
                    <a:pt x="246" y="298"/>
                  </a:lnTo>
                  <a:lnTo>
                    <a:pt x="250" y="298"/>
                  </a:lnTo>
                  <a:lnTo>
                    <a:pt x="252" y="298"/>
                  </a:lnTo>
                  <a:lnTo>
                    <a:pt x="250" y="294"/>
                  </a:lnTo>
                  <a:lnTo>
                    <a:pt x="250" y="290"/>
                  </a:lnTo>
                  <a:lnTo>
                    <a:pt x="252" y="290"/>
                  </a:lnTo>
                  <a:lnTo>
                    <a:pt x="252" y="294"/>
                  </a:lnTo>
                  <a:lnTo>
                    <a:pt x="252" y="290"/>
                  </a:lnTo>
                  <a:lnTo>
                    <a:pt x="250" y="290"/>
                  </a:lnTo>
                  <a:lnTo>
                    <a:pt x="246" y="290"/>
                  </a:lnTo>
                  <a:lnTo>
                    <a:pt x="246" y="286"/>
                  </a:lnTo>
                  <a:lnTo>
                    <a:pt x="242" y="286"/>
                  </a:lnTo>
                  <a:lnTo>
                    <a:pt x="238" y="286"/>
                  </a:lnTo>
                  <a:lnTo>
                    <a:pt x="238" y="284"/>
                  </a:lnTo>
                  <a:lnTo>
                    <a:pt x="242" y="284"/>
                  </a:lnTo>
                  <a:lnTo>
                    <a:pt x="238" y="284"/>
                  </a:lnTo>
                  <a:lnTo>
                    <a:pt x="242" y="284"/>
                  </a:lnTo>
                  <a:lnTo>
                    <a:pt x="246" y="284"/>
                  </a:lnTo>
                  <a:lnTo>
                    <a:pt x="242" y="284"/>
                  </a:lnTo>
                  <a:lnTo>
                    <a:pt x="242" y="280"/>
                  </a:lnTo>
                  <a:lnTo>
                    <a:pt x="246" y="280"/>
                  </a:lnTo>
                  <a:lnTo>
                    <a:pt x="242" y="280"/>
                  </a:lnTo>
                  <a:lnTo>
                    <a:pt x="242" y="276"/>
                  </a:lnTo>
                  <a:lnTo>
                    <a:pt x="238" y="276"/>
                  </a:lnTo>
                  <a:lnTo>
                    <a:pt x="242" y="276"/>
                  </a:lnTo>
                  <a:lnTo>
                    <a:pt x="238" y="276"/>
                  </a:lnTo>
                  <a:lnTo>
                    <a:pt x="234" y="276"/>
                  </a:lnTo>
                  <a:lnTo>
                    <a:pt x="234" y="272"/>
                  </a:lnTo>
                  <a:lnTo>
                    <a:pt x="238" y="272"/>
                  </a:lnTo>
                  <a:lnTo>
                    <a:pt x="238" y="268"/>
                  </a:lnTo>
                  <a:lnTo>
                    <a:pt x="234" y="268"/>
                  </a:lnTo>
                  <a:lnTo>
                    <a:pt x="230" y="272"/>
                  </a:lnTo>
                  <a:lnTo>
                    <a:pt x="226" y="272"/>
                  </a:lnTo>
                  <a:lnTo>
                    <a:pt x="222" y="272"/>
                  </a:lnTo>
                  <a:lnTo>
                    <a:pt x="220" y="272"/>
                  </a:lnTo>
                  <a:lnTo>
                    <a:pt x="222" y="272"/>
                  </a:lnTo>
                  <a:lnTo>
                    <a:pt x="226" y="272"/>
                  </a:lnTo>
                  <a:lnTo>
                    <a:pt x="230" y="272"/>
                  </a:lnTo>
                  <a:lnTo>
                    <a:pt x="230" y="268"/>
                  </a:lnTo>
                  <a:lnTo>
                    <a:pt x="234" y="268"/>
                  </a:lnTo>
                  <a:lnTo>
                    <a:pt x="230" y="268"/>
                  </a:lnTo>
                  <a:lnTo>
                    <a:pt x="230" y="264"/>
                  </a:lnTo>
                  <a:lnTo>
                    <a:pt x="234" y="264"/>
                  </a:lnTo>
                  <a:lnTo>
                    <a:pt x="238" y="264"/>
                  </a:lnTo>
                  <a:lnTo>
                    <a:pt x="234" y="264"/>
                  </a:lnTo>
                  <a:lnTo>
                    <a:pt x="230" y="264"/>
                  </a:lnTo>
                  <a:lnTo>
                    <a:pt x="226" y="264"/>
                  </a:lnTo>
                  <a:lnTo>
                    <a:pt x="230" y="264"/>
                  </a:lnTo>
                  <a:lnTo>
                    <a:pt x="234" y="264"/>
                  </a:lnTo>
                  <a:lnTo>
                    <a:pt x="238" y="260"/>
                  </a:lnTo>
                  <a:lnTo>
                    <a:pt x="234" y="260"/>
                  </a:lnTo>
                  <a:lnTo>
                    <a:pt x="230" y="260"/>
                  </a:lnTo>
                  <a:lnTo>
                    <a:pt x="230" y="256"/>
                  </a:lnTo>
                  <a:lnTo>
                    <a:pt x="226" y="256"/>
                  </a:lnTo>
                  <a:lnTo>
                    <a:pt x="222" y="256"/>
                  </a:lnTo>
                  <a:lnTo>
                    <a:pt x="222" y="254"/>
                  </a:lnTo>
                  <a:lnTo>
                    <a:pt x="226" y="254"/>
                  </a:lnTo>
                  <a:lnTo>
                    <a:pt x="226" y="250"/>
                  </a:lnTo>
                  <a:lnTo>
                    <a:pt x="222" y="250"/>
                  </a:lnTo>
                  <a:lnTo>
                    <a:pt x="220" y="250"/>
                  </a:lnTo>
                  <a:lnTo>
                    <a:pt x="216" y="250"/>
                  </a:lnTo>
                  <a:lnTo>
                    <a:pt x="212" y="250"/>
                  </a:lnTo>
                  <a:lnTo>
                    <a:pt x="212" y="246"/>
                  </a:lnTo>
                  <a:lnTo>
                    <a:pt x="208" y="246"/>
                  </a:lnTo>
                  <a:lnTo>
                    <a:pt x="212" y="246"/>
                  </a:lnTo>
                  <a:lnTo>
                    <a:pt x="212" y="242"/>
                  </a:lnTo>
                  <a:lnTo>
                    <a:pt x="208" y="242"/>
                  </a:lnTo>
                  <a:lnTo>
                    <a:pt x="208" y="238"/>
                  </a:lnTo>
                  <a:lnTo>
                    <a:pt x="204" y="238"/>
                  </a:lnTo>
                  <a:lnTo>
                    <a:pt x="200" y="238"/>
                  </a:lnTo>
                  <a:lnTo>
                    <a:pt x="204" y="238"/>
                  </a:lnTo>
                  <a:lnTo>
                    <a:pt x="208" y="238"/>
                  </a:lnTo>
                  <a:lnTo>
                    <a:pt x="208" y="234"/>
                  </a:lnTo>
                  <a:lnTo>
                    <a:pt x="204" y="234"/>
                  </a:lnTo>
                  <a:lnTo>
                    <a:pt x="204" y="230"/>
                  </a:lnTo>
                  <a:lnTo>
                    <a:pt x="208" y="230"/>
                  </a:lnTo>
                  <a:lnTo>
                    <a:pt x="204" y="230"/>
                  </a:lnTo>
                  <a:lnTo>
                    <a:pt x="204" y="228"/>
                  </a:lnTo>
                  <a:lnTo>
                    <a:pt x="200" y="228"/>
                  </a:lnTo>
                  <a:lnTo>
                    <a:pt x="200" y="230"/>
                  </a:lnTo>
                  <a:lnTo>
                    <a:pt x="196" y="230"/>
                  </a:lnTo>
                  <a:lnTo>
                    <a:pt x="194" y="228"/>
                  </a:lnTo>
                  <a:lnTo>
                    <a:pt x="196" y="228"/>
                  </a:lnTo>
                  <a:lnTo>
                    <a:pt x="196" y="224"/>
                  </a:lnTo>
                  <a:lnTo>
                    <a:pt x="194" y="224"/>
                  </a:lnTo>
                  <a:lnTo>
                    <a:pt x="190" y="224"/>
                  </a:lnTo>
                  <a:lnTo>
                    <a:pt x="190" y="228"/>
                  </a:lnTo>
                  <a:lnTo>
                    <a:pt x="186" y="228"/>
                  </a:lnTo>
                  <a:lnTo>
                    <a:pt x="186" y="224"/>
                  </a:lnTo>
                  <a:lnTo>
                    <a:pt x="190" y="224"/>
                  </a:lnTo>
                  <a:lnTo>
                    <a:pt x="186" y="224"/>
                  </a:lnTo>
                  <a:lnTo>
                    <a:pt x="182" y="224"/>
                  </a:lnTo>
                  <a:lnTo>
                    <a:pt x="182" y="220"/>
                  </a:lnTo>
                  <a:lnTo>
                    <a:pt x="178" y="220"/>
                  </a:lnTo>
                  <a:lnTo>
                    <a:pt x="174" y="220"/>
                  </a:lnTo>
                  <a:lnTo>
                    <a:pt x="170" y="220"/>
                  </a:lnTo>
                  <a:lnTo>
                    <a:pt x="170" y="216"/>
                  </a:lnTo>
                  <a:lnTo>
                    <a:pt x="164" y="216"/>
                  </a:lnTo>
                  <a:lnTo>
                    <a:pt x="160" y="216"/>
                  </a:lnTo>
                  <a:lnTo>
                    <a:pt x="156" y="216"/>
                  </a:lnTo>
                  <a:lnTo>
                    <a:pt x="152" y="216"/>
                  </a:lnTo>
                  <a:lnTo>
                    <a:pt x="152" y="212"/>
                  </a:lnTo>
                  <a:lnTo>
                    <a:pt x="148" y="212"/>
                  </a:lnTo>
                  <a:lnTo>
                    <a:pt x="148" y="216"/>
                  </a:lnTo>
                  <a:lnTo>
                    <a:pt x="148" y="212"/>
                  </a:lnTo>
                  <a:lnTo>
                    <a:pt x="144" y="212"/>
                  </a:lnTo>
                  <a:lnTo>
                    <a:pt x="144" y="216"/>
                  </a:lnTo>
                  <a:lnTo>
                    <a:pt x="140" y="216"/>
                  </a:lnTo>
                  <a:lnTo>
                    <a:pt x="144" y="212"/>
                  </a:lnTo>
                  <a:lnTo>
                    <a:pt x="140" y="212"/>
                  </a:lnTo>
                  <a:lnTo>
                    <a:pt x="136" y="212"/>
                  </a:lnTo>
                  <a:lnTo>
                    <a:pt x="134" y="212"/>
                  </a:lnTo>
                  <a:lnTo>
                    <a:pt x="130" y="216"/>
                  </a:lnTo>
                  <a:lnTo>
                    <a:pt x="126" y="216"/>
                  </a:lnTo>
                  <a:lnTo>
                    <a:pt x="122" y="216"/>
                  </a:lnTo>
                  <a:lnTo>
                    <a:pt x="122" y="212"/>
                  </a:lnTo>
                  <a:lnTo>
                    <a:pt x="118" y="216"/>
                  </a:lnTo>
                  <a:lnTo>
                    <a:pt x="118" y="212"/>
                  </a:lnTo>
                  <a:lnTo>
                    <a:pt x="118" y="216"/>
                  </a:lnTo>
                  <a:lnTo>
                    <a:pt x="114" y="216"/>
                  </a:lnTo>
                  <a:lnTo>
                    <a:pt x="118" y="216"/>
                  </a:lnTo>
                  <a:lnTo>
                    <a:pt x="118" y="220"/>
                  </a:lnTo>
                  <a:lnTo>
                    <a:pt x="114" y="220"/>
                  </a:lnTo>
                  <a:lnTo>
                    <a:pt x="114" y="216"/>
                  </a:lnTo>
                  <a:lnTo>
                    <a:pt x="110" y="216"/>
                  </a:lnTo>
                  <a:lnTo>
                    <a:pt x="110" y="220"/>
                  </a:lnTo>
                  <a:lnTo>
                    <a:pt x="110" y="216"/>
                  </a:lnTo>
                  <a:lnTo>
                    <a:pt x="108" y="216"/>
                  </a:lnTo>
                  <a:lnTo>
                    <a:pt x="110" y="216"/>
                  </a:lnTo>
                  <a:lnTo>
                    <a:pt x="108" y="216"/>
                  </a:lnTo>
                  <a:lnTo>
                    <a:pt x="108" y="220"/>
                  </a:lnTo>
                  <a:lnTo>
                    <a:pt x="104" y="220"/>
                  </a:lnTo>
                  <a:lnTo>
                    <a:pt x="100" y="220"/>
                  </a:lnTo>
                  <a:lnTo>
                    <a:pt x="100" y="216"/>
                  </a:lnTo>
                  <a:lnTo>
                    <a:pt x="104" y="216"/>
                  </a:lnTo>
                  <a:lnTo>
                    <a:pt x="100" y="216"/>
                  </a:lnTo>
                  <a:lnTo>
                    <a:pt x="104" y="216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4" y="216"/>
                  </a:lnTo>
                  <a:lnTo>
                    <a:pt x="94" y="220"/>
                  </a:lnTo>
                  <a:lnTo>
                    <a:pt x="90" y="216"/>
                  </a:lnTo>
                  <a:lnTo>
                    <a:pt x="86" y="216"/>
                  </a:lnTo>
                  <a:lnTo>
                    <a:pt x="86" y="212"/>
                  </a:lnTo>
                  <a:lnTo>
                    <a:pt x="82" y="216"/>
                  </a:lnTo>
                  <a:lnTo>
                    <a:pt x="86" y="216"/>
                  </a:lnTo>
                  <a:lnTo>
                    <a:pt x="86" y="220"/>
                  </a:lnTo>
                  <a:lnTo>
                    <a:pt x="90" y="220"/>
                  </a:lnTo>
                  <a:lnTo>
                    <a:pt x="94" y="224"/>
                  </a:lnTo>
                  <a:lnTo>
                    <a:pt x="90" y="224"/>
                  </a:lnTo>
                  <a:lnTo>
                    <a:pt x="86" y="224"/>
                  </a:lnTo>
                  <a:lnTo>
                    <a:pt x="82" y="220"/>
                  </a:lnTo>
                  <a:lnTo>
                    <a:pt x="78" y="220"/>
                  </a:lnTo>
                  <a:lnTo>
                    <a:pt x="74" y="220"/>
                  </a:lnTo>
                  <a:lnTo>
                    <a:pt x="70" y="220"/>
                  </a:lnTo>
                  <a:lnTo>
                    <a:pt x="66" y="220"/>
                  </a:lnTo>
                  <a:lnTo>
                    <a:pt x="64" y="220"/>
                  </a:lnTo>
                  <a:lnTo>
                    <a:pt x="64" y="216"/>
                  </a:lnTo>
                  <a:lnTo>
                    <a:pt x="60" y="216"/>
                  </a:lnTo>
                  <a:lnTo>
                    <a:pt x="56" y="216"/>
                  </a:lnTo>
                  <a:lnTo>
                    <a:pt x="56" y="212"/>
                  </a:lnTo>
                  <a:lnTo>
                    <a:pt x="52" y="212"/>
                  </a:lnTo>
                  <a:lnTo>
                    <a:pt x="48" y="212"/>
                  </a:lnTo>
                  <a:lnTo>
                    <a:pt x="48" y="208"/>
                  </a:lnTo>
                  <a:lnTo>
                    <a:pt x="52" y="208"/>
                  </a:lnTo>
                  <a:lnTo>
                    <a:pt x="56" y="208"/>
                  </a:lnTo>
                  <a:lnTo>
                    <a:pt x="60" y="204"/>
                  </a:lnTo>
                  <a:lnTo>
                    <a:pt x="64" y="204"/>
                  </a:lnTo>
                  <a:lnTo>
                    <a:pt x="70" y="204"/>
                  </a:lnTo>
                  <a:lnTo>
                    <a:pt x="70" y="200"/>
                  </a:lnTo>
                  <a:lnTo>
                    <a:pt x="66" y="200"/>
                  </a:lnTo>
                  <a:lnTo>
                    <a:pt x="64" y="200"/>
                  </a:lnTo>
                  <a:lnTo>
                    <a:pt x="64" y="204"/>
                  </a:lnTo>
                  <a:lnTo>
                    <a:pt x="60" y="204"/>
                  </a:lnTo>
                  <a:lnTo>
                    <a:pt x="60" y="200"/>
                  </a:lnTo>
                  <a:lnTo>
                    <a:pt x="56" y="200"/>
                  </a:lnTo>
                  <a:lnTo>
                    <a:pt x="52" y="200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0" y="200"/>
                  </a:lnTo>
                  <a:lnTo>
                    <a:pt x="40" y="198"/>
                  </a:lnTo>
                  <a:lnTo>
                    <a:pt x="44" y="198"/>
                  </a:lnTo>
                  <a:lnTo>
                    <a:pt x="44" y="194"/>
                  </a:lnTo>
                  <a:lnTo>
                    <a:pt x="48" y="194"/>
                  </a:lnTo>
                  <a:lnTo>
                    <a:pt x="44" y="194"/>
                  </a:lnTo>
                  <a:lnTo>
                    <a:pt x="40" y="198"/>
                  </a:lnTo>
                  <a:lnTo>
                    <a:pt x="38" y="198"/>
                  </a:lnTo>
                  <a:lnTo>
                    <a:pt x="38" y="200"/>
                  </a:lnTo>
                  <a:lnTo>
                    <a:pt x="34" y="200"/>
                  </a:lnTo>
                  <a:lnTo>
                    <a:pt x="34" y="198"/>
                  </a:lnTo>
                  <a:lnTo>
                    <a:pt x="30" y="198"/>
                  </a:lnTo>
                  <a:lnTo>
                    <a:pt x="34" y="194"/>
                  </a:lnTo>
                  <a:lnTo>
                    <a:pt x="30" y="198"/>
                  </a:lnTo>
                  <a:lnTo>
                    <a:pt x="30" y="194"/>
                  </a:lnTo>
                  <a:lnTo>
                    <a:pt x="26" y="194"/>
                  </a:lnTo>
                  <a:lnTo>
                    <a:pt x="22" y="194"/>
                  </a:lnTo>
                  <a:lnTo>
                    <a:pt x="22" y="190"/>
                  </a:lnTo>
                  <a:lnTo>
                    <a:pt x="26" y="190"/>
                  </a:lnTo>
                  <a:lnTo>
                    <a:pt x="30" y="190"/>
                  </a:lnTo>
                  <a:lnTo>
                    <a:pt x="34" y="186"/>
                  </a:lnTo>
                  <a:lnTo>
                    <a:pt x="38" y="186"/>
                  </a:lnTo>
                  <a:lnTo>
                    <a:pt x="40" y="186"/>
                  </a:lnTo>
                  <a:lnTo>
                    <a:pt x="44" y="186"/>
                  </a:lnTo>
                  <a:lnTo>
                    <a:pt x="48" y="186"/>
                  </a:lnTo>
                  <a:lnTo>
                    <a:pt x="52" y="186"/>
                  </a:lnTo>
                  <a:lnTo>
                    <a:pt x="56" y="186"/>
                  </a:lnTo>
                  <a:lnTo>
                    <a:pt x="56" y="190"/>
                  </a:lnTo>
                  <a:lnTo>
                    <a:pt x="60" y="190"/>
                  </a:lnTo>
                  <a:lnTo>
                    <a:pt x="64" y="190"/>
                  </a:lnTo>
                  <a:lnTo>
                    <a:pt x="66" y="190"/>
                  </a:lnTo>
                  <a:lnTo>
                    <a:pt x="70" y="190"/>
                  </a:lnTo>
                  <a:lnTo>
                    <a:pt x="70" y="186"/>
                  </a:lnTo>
                  <a:lnTo>
                    <a:pt x="74" y="186"/>
                  </a:lnTo>
                  <a:lnTo>
                    <a:pt x="74" y="190"/>
                  </a:lnTo>
                  <a:lnTo>
                    <a:pt x="78" y="190"/>
                  </a:lnTo>
                  <a:lnTo>
                    <a:pt x="82" y="190"/>
                  </a:lnTo>
                  <a:lnTo>
                    <a:pt x="86" y="190"/>
                  </a:lnTo>
                  <a:lnTo>
                    <a:pt x="90" y="190"/>
                  </a:lnTo>
                  <a:lnTo>
                    <a:pt x="94" y="190"/>
                  </a:lnTo>
                  <a:lnTo>
                    <a:pt x="96" y="190"/>
                  </a:lnTo>
                  <a:lnTo>
                    <a:pt x="96" y="186"/>
                  </a:lnTo>
                  <a:lnTo>
                    <a:pt x="94" y="190"/>
                  </a:lnTo>
                  <a:lnTo>
                    <a:pt x="90" y="190"/>
                  </a:lnTo>
                  <a:lnTo>
                    <a:pt x="86" y="190"/>
                  </a:lnTo>
                  <a:lnTo>
                    <a:pt x="82" y="190"/>
                  </a:lnTo>
                  <a:lnTo>
                    <a:pt x="78" y="190"/>
                  </a:lnTo>
                  <a:lnTo>
                    <a:pt x="78" y="186"/>
                  </a:lnTo>
                  <a:lnTo>
                    <a:pt x="74" y="186"/>
                  </a:lnTo>
                  <a:lnTo>
                    <a:pt x="70" y="186"/>
                  </a:lnTo>
                  <a:lnTo>
                    <a:pt x="66" y="186"/>
                  </a:lnTo>
                  <a:lnTo>
                    <a:pt x="64" y="186"/>
                  </a:lnTo>
                  <a:lnTo>
                    <a:pt x="60" y="186"/>
                  </a:lnTo>
                  <a:lnTo>
                    <a:pt x="56" y="186"/>
                  </a:lnTo>
                  <a:lnTo>
                    <a:pt x="60" y="186"/>
                  </a:lnTo>
                  <a:lnTo>
                    <a:pt x="64" y="182"/>
                  </a:lnTo>
                  <a:lnTo>
                    <a:pt x="66" y="182"/>
                  </a:lnTo>
                  <a:lnTo>
                    <a:pt x="70" y="182"/>
                  </a:lnTo>
                  <a:lnTo>
                    <a:pt x="74" y="182"/>
                  </a:lnTo>
                  <a:lnTo>
                    <a:pt x="78" y="182"/>
                  </a:lnTo>
                  <a:lnTo>
                    <a:pt x="82" y="182"/>
                  </a:lnTo>
                  <a:lnTo>
                    <a:pt x="86" y="182"/>
                  </a:lnTo>
                  <a:lnTo>
                    <a:pt x="90" y="182"/>
                  </a:lnTo>
                  <a:lnTo>
                    <a:pt x="90" y="186"/>
                  </a:lnTo>
                  <a:lnTo>
                    <a:pt x="94" y="186"/>
                  </a:lnTo>
                  <a:lnTo>
                    <a:pt x="96" y="186"/>
                  </a:lnTo>
                  <a:lnTo>
                    <a:pt x="94" y="186"/>
                  </a:lnTo>
                  <a:lnTo>
                    <a:pt x="90" y="182"/>
                  </a:lnTo>
                  <a:lnTo>
                    <a:pt x="94" y="182"/>
                  </a:lnTo>
                  <a:lnTo>
                    <a:pt x="96" y="182"/>
                  </a:lnTo>
                  <a:lnTo>
                    <a:pt x="96" y="178"/>
                  </a:lnTo>
                  <a:lnTo>
                    <a:pt x="96" y="174"/>
                  </a:lnTo>
                  <a:lnTo>
                    <a:pt x="94" y="174"/>
                  </a:lnTo>
                  <a:lnTo>
                    <a:pt x="90" y="174"/>
                  </a:lnTo>
                  <a:lnTo>
                    <a:pt x="86" y="174"/>
                  </a:lnTo>
                  <a:lnTo>
                    <a:pt x="82" y="174"/>
                  </a:lnTo>
                  <a:lnTo>
                    <a:pt x="82" y="178"/>
                  </a:lnTo>
                  <a:lnTo>
                    <a:pt x="78" y="178"/>
                  </a:lnTo>
                  <a:lnTo>
                    <a:pt x="74" y="178"/>
                  </a:lnTo>
                  <a:lnTo>
                    <a:pt x="70" y="178"/>
                  </a:lnTo>
                  <a:lnTo>
                    <a:pt x="66" y="178"/>
                  </a:lnTo>
                  <a:lnTo>
                    <a:pt x="64" y="178"/>
                  </a:lnTo>
                  <a:lnTo>
                    <a:pt x="66" y="178"/>
                  </a:lnTo>
                  <a:lnTo>
                    <a:pt x="64" y="178"/>
                  </a:lnTo>
                  <a:lnTo>
                    <a:pt x="64" y="174"/>
                  </a:lnTo>
                  <a:lnTo>
                    <a:pt x="60" y="174"/>
                  </a:lnTo>
                  <a:lnTo>
                    <a:pt x="60" y="178"/>
                  </a:lnTo>
                  <a:lnTo>
                    <a:pt x="64" y="178"/>
                  </a:lnTo>
                  <a:lnTo>
                    <a:pt x="60" y="178"/>
                  </a:lnTo>
                  <a:lnTo>
                    <a:pt x="56" y="178"/>
                  </a:lnTo>
                  <a:lnTo>
                    <a:pt x="56" y="182"/>
                  </a:lnTo>
                  <a:lnTo>
                    <a:pt x="52" y="182"/>
                  </a:lnTo>
                  <a:lnTo>
                    <a:pt x="52" y="178"/>
                  </a:lnTo>
                  <a:lnTo>
                    <a:pt x="48" y="178"/>
                  </a:lnTo>
                  <a:lnTo>
                    <a:pt x="44" y="178"/>
                  </a:lnTo>
                  <a:lnTo>
                    <a:pt x="40" y="178"/>
                  </a:lnTo>
                  <a:lnTo>
                    <a:pt x="38" y="178"/>
                  </a:lnTo>
                  <a:lnTo>
                    <a:pt x="40" y="174"/>
                  </a:lnTo>
                  <a:lnTo>
                    <a:pt x="44" y="174"/>
                  </a:lnTo>
                  <a:lnTo>
                    <a:pt x="48" y="174"/>
                  </a:lnTo>
                  <a:lnTo>
                    <a:pt x="48" y="172"/>
                  </a:lnTo>
                  <a:lnTo>
                    <a:pt x="48" y="174"/>
                  </a:lnTo>
                  <a:lnTo>
                    <a:pt x="44" y="174"/>
                  </a:lnTo>
                  <a:lnTo>
                    <a:pt x="40" y="174"/>
                  </a:lnTo>
                  <a:lnTo>
                    <a:pt x="38" y="174"/>
                  </a:lnTo>
                  <a:lnTo>
                    <a:pt x="34" y="174"/>
                  </a:lnTo>
                  <a:lnTo>
                    <a:pt x="34" y="172"/>
                  </a:lnTo>
                  <a:lnTo>
                    <a:pt x="38" y="172"/>
                  </a:lnTo>
                  <a:lnTo>
                    <a:pt x="40" y="172"/>
                  </a:lnTo>
                  <a:lnTo>
                    <a:pt x="38" y="172"/>
                  </a:lnTo>
                  <a:lnTo>
                    <a:pt x="34" y="172"/>
                  </a:lnTo>
                  <a:lnTo>
                    <a:pt x="30" y="172"/>
                  </a:lnTo>
                  <a:lnTo>
                    <a:pt x="26" y="172"/>
                  </a:lnTo>
                  <a:lnTo>
                    <a:pt x="22" y="172"/>
                  </a:lnTo>
                  <a:lnTo>
                    <a:pt x="26" y="172"/>
                  </a:lnTo>
                  <a:lnTo>
                    <a:pt x="26" y="168"/>
                  </a:lnTo>
                  <a:lnTo>
                    <a:pt x="22" y="168"/>
                  </a:lnTo>
                  <a:lnTo>
                    <a:pt x="22" y="172"/>
                  </a:lnTo>
                  <a:lnTo>
                    <a:pt x="18" y="172"/>
                  </a:lnTo>
                  <a:lnTo>
                    <a:pt x="18" y="168"/>
                  </a:lnTo>
                  <a:lnTo>
                    <a:pt x="14" y="168"/>
                  </a:lnTo>
                  <a:lnTo>
                    <a:pt x="10" y="168"/>
                  </a:lnTo>
                  <a:lnTo>
                    <a:pt x="8" y="164"/>
                  </a:lnTo>
                  <a:lnTo>
                    <a:pt x="10" y="164"/>
                  </a:lnTo>
                  <a:lnTo>
                    <a:pt x="8" y="164"/>
                  </a:lnTo>
                  <a:lnTo>
                    <a:pt x="4" y="164"/>
                  </a:lnTo>
                  <a:lnTo>
                    <a:pt x="0" y="160"/>
                  </a:lnTo>
                  <a:lnTo>
                    <a:pt x="4" y="160"/>
                  </a:lnTo>
                  <a:lnTo>
                    <a:pt x="4" y="158"/>
                  </a:lnTo>
                  <a:lnTo>
                    <a:pt x="8" y="158"/>
                  </a:lnTo>
                  <a:lnTo>
                    <a:pt x="4" y="158"/>
                  </a:lnTo>
                  <a:lnTo>
                    <a:pt x="4" y="154"/>
                  </a:lnTo>
                  <a:lnTo>
                    <a:pt x="8" y="154"/>
                  </a:lnTo>
                  <a:lnTo>
                    <a:pt x="4" y="154"/>
                  </a:lnTo>
                  <a:lnTo>
                    <a:pt x="8" y="150"/>
                  </a:lnTo>
                  <a:lnTo>
                    <a:pt x="10" y="150"/>
                  </a:lnTo>
                  <a:lnTo>
                    <a:pt x="14" y="150"/>
                  </a:lnTo>
                  <a:lnTo>
                    <a:pt x="18" y="150"/>
                  </a:lnTo>
                  <a:lnTo>
                    <a:pt x="22" y="150"/>
                  </a:lnTo>
                  <a:lnTo>
                    <a:pt x="26" y="150"/>
                  </a:lnTo>
                  <a:lnTo>
                    <a:pt x="30" y="150"/>
                  </a:lnTo>
                  <a:lnTo>
                    <a:pt x="30" y="146"/>
                  </a:lnTo>
                  <a:lnTo>
                    <a:pt x="34" y="146"/>
                  </a:lnTo>
                  <a:lnTo>
                    <a:pt x="38" y="146"/>
                  </a:lnTo>
                  <a:lnTo>
                    <a:pt x="40" y="146"/>
                  </a:lnTo>
                  <a:lnTo>
                    <a:pt x="44" y="146"/>
                  </a:lnTo>
                  <a:lnTo>
                    <a:pt x="40" y="146"/>
                  </a:lnTo>
                  <a:lnTo>
                    <a:pt x="40" y="142"/>
                  </a:lnTo>
                  <a:lnTo>
                    <a:pt x="44" y="142"/>
                  </a:lnTo>
                  <a:lnTo>
                    <a:pt x="48" y="142"/>
                  </a:lnTo>
                  <a:lnTo>
                    <a:pt x="52" y="142"/>
                  </a:lnTo>
                  <a:lnTo>
                    <a:pt x="56" y="142"/>
                  </a:lnTo>
                  <a:lnTo>
                    <a:pt x="60" y="142"/>
                  </a:lnTo>
                  <a:lnTo>
                    <a:pt x="56" y="142"/>
                  </a:lnTo>
                  <a:lnTo>
                    <a:pt x="56" y="138"/>
                  </a:lnTo>
                  <a:lnTo>
                    <a:pt x="60" y="138"/>
                  </a:lnTo>
                  <a:lnTo>
                    <a:pt x="66" y="134"/>
                  </a:lnTo>
                  <a:lnTo>
                    <a:pt x="70" y="134"/>
                  </a:lnTo>
                  <a:lnTo>
                    <a:pt x="74" y="138"/>
                  </a:lnTo>
                  <a:lnTo>
                    <a:pt x="74" y="134"/>
                  </a:lnTo>
                  <a:lnTo>
                    <a:pt x="78" y="134"/>
                  </a:lnTo>
                  <a:lnTo>
                    <a:pt x="82" y="134"/>
                  </a:lnTo>
                  <a:lnTo>
                    <a:pt x="86" y="134"/>
                  </a:lnTo>
                  <a:lnTo>
                    <a:pt x="90" y="134"/>
                  </a:lnTo>
                  <a:lnTo>
                    <a:pt x="94" y="134"/>
                  </a:lnTo>
                  <a:lnTo>
                    <a:pt x="96" y="134"/>
                  </a:lnTo>
                  <a:lnTo>
                    <a:pt x="100" y="134"/>
                  </a:lnTo>
                  <a:lnTo>
                    <a:pt x="104" y="130"/>
                  </a:lnTo>
                  <a:lnTo>
                    <a:pt x="108" y="128"/>
                  </a:lnTo>
                  <a:lnTo>
                    <a:pt x="110" y="128"/>
                  </a:lnTo>
                  <a:lnTo>
                    <a:pt x="110" y="124"/>
                  </a:lnTo>
                  <a:lnTo>
                    <a:pt x="114" y="124"/>
                  </a:lnTo>
                  <a:lnTo>
                    <a:pt x="114" y="120"/>
                  </a:lnTo>
                  <a:lnTo>
                    <a:pt x="110" y="120"/>
                  </a:lnTo>
                  <a:lnTo>
                    <a:pt x="110" y="116"/>
                  </a:lnTo>
                  <a:lnTo>
                    <a:pt x="110" y="112"/>
                  </a:lnTo>
                  <a:lnTo>
                    <a:pt x="110" y="108"/>
                  </a:lnTo>
                  <a:lnTo>
                    <a:pt x="114" y="108"/>
                  </a:lnTo>
                  <a:lnTo>
                    <a:pt x="122" y="108"/>
                  </a:lnTo>
                  <a:lnTo>
                    <a:pt x="122" y="104"/>
                  </a:lnTo>
                  <a:lnTo>
                    <a:pt x="126" y="104"/>
                  </a:lnTo>
                  <a:lnTo>
                    <a:pt x="130" y="104"/>
                  </a:lnTo>
                  <a:lnTo>
                    <a:pt x="126" y="104"/>
                  </a:lnTo>
                  <a:lnTo>
                    <a:pt x="122" y="104"/>
                  </a:lnTo>
                  <a:lnTo>
                    <a:pt x="122" y="100"/>
                  </a:lnTo>
                  <a:lnTo>
                    <a:pt x="122" y="104"/>
                  </a:lnTo>
                  <a:lnTo>
                    <a:pt x="118" y="104"/>
                  </a:lnTo>
                  <a:lnTo>
                    <a:pt x="114" y="104"/>
                  </a:lnTo>
                  <a:lnTo>
                    <a:pt x="114" y="108"/>
                  </a:lnTo>
                  <a:lnTo>
                    <a:pt x="110" y="108"/>
                  </a:lnTo>
                  <a:lnTo>
                    <a:pt x="110" y="104"/>
                  </a:lnTo>
                  <a:lnTo>
                    <a:pt x="108" y="104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0" y="108"/>
                  </a:lnTo>
                  <a:lnTo>
                    <a:pt x="96" y="108"/>
                  </a:lnTo>
                  <a:lnTo>
                    <a:pt x="96" y="104"/>
                  </a:lnTo>
                  <a:lnTo>
                    <a:pt x="94" y="104"/>
                  </a:lnTo>
                  <a:lnTo>
                    <a:pt x="90" y="104"/>
                  </a:lnTo>
                  <a:lnTo>
                    <a:pt x="90" y="108"/>
                  </a:lnTo>
                  <a:lnTo>
                    <a:pt x="86" y="108"/>
                  </a:lnTo>
                  <a:lnTo>
                    <a:pt x="82" y="108"/>
                  </a:lnTo>
                  <a:lnTo>
                    <a:pt x="82" y="104"/>
                  </a:lnTo>
                  <a:lnTo>
                    <a:pt x="78" y="104"/>
                  </a:lnTo>
                  <a:lnTo>
                    <a:pt x="78" y="100"/>
                  </a:lnTo>
                  <a:lnTo>
                    <a:pt x="78" y="98"/>
                  </a:lnTo>
                  <a:lnTo>
                    <a:pt x="82" y="98"/>
                  </a:lnTo>
                  <a:lnTo>
                    <a:pt x="86" y="98"/>
                  </a:lnTo>
                  <a:lnTo>
                    <a:pt x="90" y="94"/>
                  </a:lnTo>
                  <a:lnTo>
                    <a:pt x="94" y="94"/>
                  </a:lnTo>
                  <a:lnTo>
                    <a:pt x="94" y="90"/>
                  </a:lnTo>
                  <a:lnTo>
                    <a:pt x="96" y="90"/>
                  </a:lnTo>
                  <a:lnTo>
                    <a:pt x="100" y="90"/>
                  </a:lnTo>
                  <a:lnTo>
                    <a:pt x="104" y="90"/>
                  </a:lnTo>
                  <a:lnTo>
                    <a:pt x="104" y="86"/>
                  </a:lnTo>
                  <a:lnTo>
                    <a:pt x="108" y="86"/>
                  </a:lnTo>
                  <a:lnTo>
                    <a:pt x="110" y="86"/>
                  </a:lnTo>
                  <a:lnTo>
                    <a:pt x="110" y="82"/>
                  </a:lnTo>
                  <a:lnTo>
                    <a:pt x="114" y="82"/>
                  </a:lnTo>
                  <a:lnTo>
                    <a:pt x="114" y="78"/>
                  </a:lnTo>
                  <a:lnTo>
                    <a:pt x="118" y="78"/>
                  </a:lnTo>
                  <a:lnTo>
                    <a:pt x="122" y="78"/>
                  </a:lnTo>
                  <a:lnTo>
                    <a:pt x="126" y="78"/>
                  </a:lnTo>
                  <a:lnTo>
                    <a:pt x="130" y="78"/>
                  </a:lnTo>
                  <a:lnTo>
                    <a:pt x="130" y="74"/>
                  </a:lnTo>
                  <a:lnTo>
                    <a:pt x="134" y="74"/>
                  </a:lnTo>
                  <a:lnTo>
                    <a:pt x="134" y="78"/>
                  </a:lnTo>
                  <a:lnTo>
                    <a:pt x="136" y="82"/>
                  </a:lnTo>
                  <a:lnTo>
                    <a:pt x="140" y="86"/>
                  </a:lnTo>
                  <a:lnTo>
                    <a:pt x="144" y="86"/>
                  </a:lnTo>
                  <a:lnTo>
                    <a:pt x="140" y="86"/>
                  </a:lnTo>
                  <a:lnTo>
                    <a:pt x="140" y="82"/>
                  </a:lnTo>
                  <a:lnTo>
                    <a:pt x="136" y="82"/>
                  </a:lnTo>
                  <a:lnTo>
                    <a:pt x="136" y="78"/>
                  </a:lnTo>
                  <a:lnTo>
                    <a:pt x="136" y="74"/>
                  </a:lnTo>
                  <a:lnTo>
                    <a:pt x="140" y="72"/>
                  </a:lnTo>
                  <a:lnTo>
                    <a:pt x="144" y="72"/>
                  </a:lnTo>
                  <a:lnTo>
                    <a:pt x="144" y="74"/>
                  </a:lnTo>
                  <a:lnTo>
                    <a:pt x="148" y="74"/>
                  </a:lnTo>
                  <a:lnTo>
                    <a:pt x="152" y="74"/>
                  </a:lnTo>
                  <a:lnTo>
                    <a:pt x="156" y="74"/>
                  </a:lnTo>
                  <a:lnTo>
                    <a:pt x="160" y="78"/>
                  </a:lnTo>
                  <a:lnTo>
                    <a:pt x="164" y="78"/>
                  </a:lnTo>
                  <a:lnTo>
                    <a:pt x="164" y="74"/>
                  </a:lnTo>
                  <a:lnTo>
                    <a:pt x="166" y="74"/>
                  </a:lnTo>
                  <a:lnTo>
                    <a:pt x="170" y="74"/>
                  </a:lnTo>
                  <a:lnTo>
                    <a:pt x="166" y="74"/>
                  </a:lnTo>
                  <a:lnTo>
                    <a:pt x="166" y="72"/>
                  </a:lnTo>
                  <a:lnTo>
                    <a:pt x="164" y="68"/>
                  </a:lnTo>
                  <a:lnTo>
                    <a:pt x="166" y="68"/>
                  </a:lnTo>
                  <a:lnTo>
                    <a:pt x="170" y="68"/>
                  </a:lnTo>
                  <a:lnTo>
                    <a:pt x="170" y="64"/>
                  </a:lnTo>
                  <a:lnTo>
                    <a:pt x="166" y="64"/>
                  </a:lnTo>
                  <a:lnTo>
                    <a:pt x="166" y="60"/>
                  </a:lnTo>
                  <a:lnTo>
                    <a:pt x="164" y="60"/>
                  </a:lnTo>
                  <a:lnTo>
                    <a:pt x="164" y="56"/>
                  </a:lnTo>
                  <a:lnTo>
                    <a:pt x="166" y="56"/>
                  </a:lnTo>
                  <a:lnTo>
                    <a:pt x="170" y="52"/>
                  </a:lnTo>
                  <a:lnTo>
                    <a:pt x="174" y="52"/>
                  </a:lnTo>
                  <a:lnTo>
                    <a:pt x="178" y="52"/>
                  </a:lnTo>
                  <a:lnTo>
                    <a:pt x="182" y="52"/>
                  </a:lnTo>
                  <a:lnTo>
                    <a:pt x="186" y="52"/>
                  </a:lnTo>
                  <a:lnTo>
                    <a:pt x="190" y="52"/>
                  </a:lnTo>
                  <a:lnTo>
                    <a:pt x="194" y="52"/>
                  </a:lnTo>
                  <a:lnTo>
                    <a:pt x="196" y="52"/>
                  </a:lnTo>
                  <a:lnTo>
                    <a:pt x="200" y="52"/>
                  </a:lnTo>
                  <a:lnTo>
                    <a:pt x="200" y="56"/>
                  </a:lnTo>
                  <a:lnTo>
                    <a:pt x="200" y="60"/>
                  </a:lnTo>
                  <a:lnTo>
                    <a:pt x="204" y="60"/>
                  </a:lnTo>
                  <a:lnTo>
                    <a:pt x="212" y="60"/>
                  </a:lnTo>
                  <a:lnTo>
                    <a:pt x="212" y="64"/>
                  </a:lnTo>
                  <a:lnTo>
                    <a:pt x="216" y="64"/>
                  </a:lnTo>
                  <a:lnTo>
                    <a:pt x="216" y="60"/>
                  </a:lnTo>
                  <a:lnTo>
                    <a:pt x="216" y="64"/>
                  </a:lnTo>
                  <a:lnTo>
                    <a:pt x="220" y="64"/>
                  </a:lnTo>
                  <a:lnTo>
                    <a:pt x="222" y="64"/>
                  </a:lnTo>
                  <a:lnTo>
                    <a:pt x="222" y="68"/>
                  </a:lnTo>
                  <a:lnTo>
                    <a:pt x="226" y="68"/>
                  </a:lnTo>
                  <a:lnTo>
                    <a:pt x="230" y="68"/>
                  </a:lnTo>
                  <a:lnTo>
                    <a:pt x="230" y="72"/>
                  </a:lnTo>
                  <a:lnTo>
                    <a:pt x="234" y="72"/>
                  </a:lnTo>
                  <a:lnTo>
                    <a:pt x="234" y="68"/>
                  </a:lnTo>
                  <a:lnTo>
                    <a:pt x="230" y="68"/>
                  </a:lnTo>
                  <a:lnTo>
                    <a:pt x="226" y="68"/>
                  </a:lnTo>
                  <a:lnTo>
                    <a:pt x="222" y="68"/>
                  </a:lnTo>
                  <a:lnTo>
                    <a:pt x="222" y="64"/>
                  </a:lnTo>
                  <a:lnTo>
                    <a:pt x="220" y="64"/>
                  </a:lnTo>
                  <a:lnTo>
                    <a:pt x="216" y="60"/>
                  </a:lnTo>
                  <a:lnTo>
                    <a:pt x="212" y="60"/>
                  </a:lnTo>
                  <a:lnTo>
                    <a:pt x="208" y="60"/>
                  </a:lnTo>
                  <a:lnTo>
                    <a:pt x="208" y="56"/>
                  </a:lnTo>
                  <a:lnTo>
                    <a:pt x="204" y="52"/>
                  </a:lnTo>
                  <a:lnTo>
                    <a:pt x="200" y="52"/>
                  </a:lnTo>
                  <a:lnTo>
                    <a:pt x="196" y="52"/>
                  </a:lnTo>
                  <a:lnTo>
                    <a:pt x="194" y="52"/>
                  </a:lnTo>
                  <a:lnTo>
                    <a:pt x="194" y="48"/>
                  </a:lnTo>
                  <a:lnTo>
                    <a:pt x="190" y="48"/>
                  </a:lnTo>
                  <a:lnTo>
                    <a:pt x="194" y="48"/>
                  </a:lnTo>
                  <a:lnTo>
                    <a:pt x="196" y="48"/>
                  </a:lnTo>
                  <a:lnTo>
                    <a:pt x="200" y="44"/>
                  </a:lnTo>
                  <a:lnTo>
                    <a:pt x="204" y="44"/>
                  </a:lnTo>
                  <a:lnTo>
                    <a:pt x="208" y="44"/>
                  </a:lnTo>
                  <a:lnTo>
                    <a:pt x="212" y="44"/>
                  </a:lnTo>
                  <a:lnTo>
                    <a:pt x="216" y="44"/>
                  </a:lnTo>
                  <a:lnTo>
                    <a:pt x="220" y="44"/>
                  </a:lnTo>
                  <a:lnTo>
                    <a:pt x="222" y="44"/>
                  </a:lnTo>
                  <a:lnTo>
                    <a:pt x="226" y="44"/>
                  </a:lnTo>
                  <a:lnTo>
                    <a:pt x="230" y="42"/>
                  </a:lnTo>
                  <a:lnTo>
                    <a:pt x="234" y="42"/>
                  </a:lnTo>
                  <a:lnTo>
                    <a:pt x="234" y="44"/>
                  </a:lnTo>
                  <a:lnTo>
                    <a:pt x="238" y="44"/>
                  </a:lnTo>
                  <a:lnTo>
                    <a:pt x="238" y="42"/>
                  </a:lnTo>
                  <a:lnTo>
                    <a:pt x="242" y="42"/>
                  </a:lnTo>
                  <a:lnTo>
                    <a:pt x="246" y="42"/>
                  </a:lnTo>
                  <a:lnTo>
                    <a:pt x="250" y="42"/>
                  </a:lnTo>
                  <a:lnTo>
                    <a:pt x="250" y="44"/>
                  </a:lnTo>
                  <a:lnTo>
                    <a:pt x="252" y="44"/>
                  </a:lnTo>
                  <a:lnTo>
                    <a:pt x="252" y="42"/>
                  </a:lnTo>
                  <a:lnTo>
                    <a:pt x="250" y="42"/>
                  </a:lnTo>
                  <a:lnTo>
                    <a:pt x="246" y="42"/>
                  </a:lnTo>
                  <a:lnTo>
                    <a:pt x="252" y="42"/>
                  </a:lnTo>
                  <a:lnTo>
                    <a:pt x="256" y="38"/>
                  </a:lnTo>
                  <a:lnTo>
                    <a:pt x="260" y="38"/>
                  </a:lnTo>
                  <a:lnTo>
                    <a:pt x="264" y="38"/>
                  </a:lnTo>
                  <a:lnTo>
                    <a:pt x="268" y="42"/>
                  </a:lnTo>
                  <a:lnTo>
                    <a:pt x="272" y="42"/>
                  </a:lnTo>
                  <a:lnTo>
                    <a:pt x="276" y="44"/>
                  </a:lnTo>
                  <a:lnTo>
                    <a:pt x="276" y="52"/>
                  </a:lnTo>
                  <a:lnTo>
                    <a:pt x="276" y="56"/>
                  </a:lnTo>
                  <a:lnTo>
                    <a:pt x="272" y="56"/>
                  </a:lnTo>
                  <a:lnTo>
                    <a:pt x="272" y="60"/>
                  </a:lnTo>
                  <a:lnTo>
                    <a:pt x="272" y="64"/>
                  </a:lnTo>
                  <a:lnTo>
                    <a:pt x="276" y="64"/>
                  </a:lnTo>
                  <a:lnTo>
                    <a:pt x="276" y="60"/>
                  </a:lnTo>
                  <a:lnTo>
                    <a:pt x="278" y="56"/>
                  </a:lnTo>
                  <a:lnTo>
                    <a:pt x="282" y="56"/>
                  </a:lnTo>
                  <a:lnTo>
                    <a:pt x="282" y="52"/>
                  </a:lnTo>
                  <a:lnTo>
                    <a:pt x="282" y="48"/>
                  </a:lnTo>
                  <a:lnTo>
                    <a:pt x="286" y="48"/>
                  </a:lnTo>
                  <a:lnTo>
                    <a:pt x="290" y="48"/>
                  </a:lnTo>
                  <a:lnTo>
                    <a:pt x="298" y="52"/>
                  </a:lnTo>
                  <a:lnTo>
                    <a:pt x="302" y="52"/>
                  </a:lnTo>
                  <a:lnTo>
                    <a:pt x="306" y="52"/>
                  </a:lnTo>
                  <a:lnTo>
                    <a:pt x="308" y="52"/>
                  </a:lnTo>
                  <a:lnTo>
                    <a:pt x="312" y="56"/>
                  </a:lnTo>
                  <a:lnTo>
                    <a:pt x="316" y="56"/>
                  </a:lnTo>
                  <a:lnTo>
                    <a:pt x="320" y="56"/>
                  </a:lnTo>
                  <a:lnTo>
                    <a:pt x="320" y="60"/>
                  </a:lnTo>
                  <a:lnTo>
                    <a:pt x="324" y="60"/>
                  </a:lnTo>
                  <a:lnTo>
                    <a:pt x="328" y="60"/>
                  </a:lnTo>
                  <a:lnTo>
                    <a:pt x="332" y="60"/>
                  </a:lnTo>
                  <a:lnTo>
                    <a:pt x="328" y="60"/>
                  </a:lnTo>
                  <a:lnTo>
                    <a:pt x="324" y="56"/>
                  </a:lnTo>
                  <a:lnTo>
                    <a:pt x="320" y="56"/>
                  </a:lnTo>
                  <a:lnTo>
                    <a:pt x="316" y="56"/>
                  </a:lnTo>
                  <a:lnTo>
                    <a:pt x="316" y="52"/>
                  </a:lnTo>
                  <a:lnTo>
                    <a:pt x="312" y="52"/>
                  </a:lnTo>
                  <a:lnTo>
                    <a:pt x="308" y="52"/>
                  </a:lnTo>
                  <a:lnTo>
                    <a:pt x="312" y="52"/>
                  </a:lnTo>
                  <a:lnTo>
                    <a:pt x="316" y="52"/>
                  </a:lnTo>
                  <a:lnTo>
                    <a:pt x="320" y="52"/>
                  </a:lnTo>
                  <a:lnTo>
                    <a:pt x="324" y="52"/>
                  </a:lnTo>
                  <a:lnTo>
                    <a:pt x="328" y="52"/>
                  </a:lnTo>
                  <a:lnTo>
                    <a:pt x="332" y="52"/>
                  </a:lnTo>
                  <a:lnTo>
                    <a:pt x="328" y="48"/>
                  </a:lnTo>
                  <a:lnTo>
                    <a:pt x="324" y="48"/>
                  </a:lnTo>
                  <a:lnTo>
                    <a:pt x="320" y="48"/>
                  </a:lnTo>
                  <a:lnTo>
                    <a:pt x="320" y="44"/>
                  </a:lnTo>
                  <a:lnTo>
                    <a:pt x="316" y="44"/>
                  </a:lnTo>
                  <a:lnTo>
                    <a:pt x="312" y="44"/>
                  </a:lnTo>
                  <a:lnTo>
                    <a:pt x="312" y="42"/>
                  </a:lnTo>
                  <a:lnTo>
                    <a:pt x="312" y="38"/>
                  </a:lnTo>
                  <a:lnTo>
                    <a:pt x="308" y="38"/>
                  </a:lnTo>
                  <a:lnTo>
                    <a:pt x="308" y="34"/>
                  </a:lnTo>
                  <a:lnTo>
                    <a:pt x="312" y="34"/>
                  </a:lnTo>
                  <a:lnTo>
                    <a:pt x="316" y="34"/>
                  </a:lnTo>
                  <a:lnTo>
                    <a:pt x="320" y="34"/>
                  </a:lnTo>
                  <a:lnTo>
                    <a:pt x="324" y="34"/>
                  </a:lnTo>
                  <a:lnTo>
                    <a:pt x="328" y="34"/>
                  </a:lnTo>
                  <a:lnTo>
                    <a:pt x="332" y="34"/>
                  </a:lnTo>
                  <a:lnTo>
                    <a:pt x="334" y="34"/>
                  </a:lnTo>
                  <a:lnTo>
                    <a:pt x="338" y="34"/>
                  </a:lnTo>
                  <a:lnTo>
                    <a:pt x="338" y="38"/>
                  </a:lnTo>
                  <a:lnTo>
                    <a:pt x="342" y="38"/>
                  </a:lnTo>
                  <a:lnTo>
                    <a:pt x="346" y="38"/>
                  </a:lnTo>
                  <a:lnTo>
                    <a:pt x="346" y="42"/>
                  </a:lnTo>
                  <a:lnTo>
                    <a:pt x="350" y="42"/>
                  </a:lnTo>
                  <a:lnTo>
                    <a:pt x="354" y="42"/>
                  </a:lnTo>
                  <a:lnTo>
                    <a:pt x="358" y="42"/>
                  </a:lnTo>
                  <a:lnTo>
                    <a:pt x="362" y="42"/>
                  </a:lnTo>
                  <a:lnTo>
                    <a:pt x="362" y="44"/>
                  </a:lnTo>
                  <a:lnTo>
                    <a:pt x="364" y="44"/>
                  </a:lnTo>
                  <a:lnTo>
                    <a:pt x="368" y="44"/>
                  </a:lnTo>
                  <a:lnTo>
                    <a:pt x="372" y="44"/>
                  </a:lnTo>
                  <a:lnTo>
                    <a:pt x="376" y="44"/>
                  </a:lnTo>
                  <a:lnTo>
                    <a:pt x="376" y="48"/>
                  </a:lnTo>
                  <a:lnTo>
                    <a:pt x="380" y="48"/>
                  </a:lnTo>
                  <a:lnTo>
                    <a:pt x="384" y="48"/>
                  </a:lnTo>
                  <a:lnTo>
                    <a:pt x="384" y="52"/>
                  </a:lnTo>
                  <a:lnTo>
                    <a:pt x="380" y="52"/>
                  </a:lnTo>
                  <a:lnTo>
                    <a:pt x="384" y="52"/>
                  </a:lnTo>
                  <a:lnTo>
                    <a:pt x="388" y="52"/>
                  </a:lnTo>
                  <a:lnTo>
                    <a:pt x="392" y="52"/>
                  </a:lnTo>
                  <a:lnTo>
                    <a:pt x="392" y="56"/>
                  </a:lnTo>
                  <a:lnTo>
                    <a:pt x="394" y="56"/>
                  </a:lnTo>
                  <a:lnTo>
                    <a:pt x="398" y="56"/>
                  </a:lnTo>
                  <a:lnTo>
                    <a:pt x="402" y="56"/>
                  </a:lnTo>
                  <a:lnTo>
                    <a:pt x="406" y="56"/>
                  </a:lnTo>
                  <a:lnTo>
                    <a:pt x="406" y="52"/>
                  </a:lnTo>
                  <a:lnTo>
                    <a:pt x="402" y="52"/>
                  </a:lnTo>
                  <a:lnTo>
                    <a:pt x="398" y="52"/>
                  </a:lnTo>
                  <a:lnTo>
                    <a:pt x="402" y="52"/>
                  </a:lnTo>
                  <a:lnTo>
                    <a:pt x="402" y="48"/>
                  </a:lnTo>
                  <a:lnTo>
                    <a:pt x="398" y="48"/>
                  </a:lnTo>
                  <a:lnTo>
                    <a:pt x="394" y="48"/>
                  </a:lnTo>
                  <a:lnTo>
                    <a:pt x="398" y="48"/>
                  </a:lnTo>
                  <a:lnTo>
                    <a:pt x="402" y="48"/>
                  </a:lnTo>
                  <a:lnTo>
                    <a:pt x="402" y="44"/>
                  </a:lnTo>
                  <a:lnTo>
                    <a:pt x="398" y="44"/>
                  </a:lnTo>
                  <a:lnTo>
                    <a:pt x="398" y="42"/>
                  </a:lnTo>
                  <a:lnTo>
                    <a:pt x="402" y="42"/>
                  </a:lnTo>
                  <a:lnTo>
                    <a:pt x="406" y="42"/>
                  </a:lnTo>
                  <a:lnTo>
                    <a:pt x="410" y="42"/>
                  </a:lnTo>
                  <a:lnTo>
                    <a:pt x="414" y="42"/>
                  </a:lnTo>
                  <a:lnTo>
                    <a:pt x="418" y="42"/>
                  </a:lnTo>
                  <a:lnTo>
                    <a:pt x="420" y="42"/>
                  </a:lnTo>
                  <a:lnTo>
                    <a:pt x="424" y="42"/>
                  </a:lnTo>
                  <a:lnTo>
                    <a:pt x="428" y="42"/>
                  </a:lnTo>
                  <a:lnTo>
                    <a:pt x="432" y="42"/>
                  </a:lnTo>
                  <a:lnTo>
                    <a:pt x="428" y="42"/>
                  </a:lnTo>
                  <a:lnTo>
                    <a:pt x="424" y="42"/>
                  </a:lnTo>
                  <a:lnTo>
                    <a:pt x="420" y="42"/>
                  </a:lnTo>
                  <a:lnTo>
                    <a:pt x="418" y="42"/>
                  </a:lnTo>
                  <a:lnTo>
                    <a:pt x="414" y="42"/>
                  </a:lnTo>
                  <a:lnTo>
                    <a:pt x="414" y="38"/>
                  </a:lnTo>
                  <a:lnTo>
                    <a:pt x="410" y="38"/>
                  </a:lnTo>
                  <a:lnTo>
                    <a:pt x="414" y="38"/>
                  </a:lnTo>
                  <a:lnTo>
                    <a:pt x="410" y="38"/>
                  </a:lnTo>
                  <a:lnTo>
                    <a:pt x="406" y="34"/>
                  </a:lnTo>
                  <a:lnTo>
                    <a:pt x="402" y="34"/>
                  </a:lnTo>
                  <a:lnTo>
                    <a:pt x="398" y="34"/>
                  </a:lnTo>
                  <a:lnTo>
                    <a:pt x="398" y="30"/>
                  </a:lnTo>
                  <a:lnTo>
                    <a:pt x="394" y="30"/>
                  </a:lnTo>
                  <a:lnTo>
                    <a:pt x="392" y="30"/>
                  </a:lnTo>
                  <a:lnTo>
                    <a:pt x="388" y="26"/>
                  </a:lnTo>
                  <a:lnTo>
                    <a:pt x="384" y="26"/>
                  </a:lnTo>
                  <a:lnTo>
                    <a:pt x="388" y="26"/>
                  </a:lnTo>
                  <a:lnTo>
                    <a:pt x="392" y="26"/>
                  </a:lnTo>
                  <a:lnTo>
                    <a:pt x="394" y="26"/>
                  </a:lnTo>
                  <a:lnTo>
                    <a:pt x="398" y="26"/>
                  </a:lnTo>
                  <a:lnTo>
                    <a:pt x="402" y="26"/>
                  </a:lnTo>
                  <a:lnTo>
                    <a:pt x="406" y="26"/>
                  </a:lnTo>
                  <a:lnTo>
                    <a:pt x="410" y="26"/>
                  </a:lnTo>
                  <a:lnTo>
                    <a:pt x="414" y="26"/>
                  </a:lnTo>
                  <a:lnTo>
                    <a:pt x="418" y="26"/>
                  </a:lnTo>
                  <a:lnTo>
                    <a:pt x="420" y="26"/>
                  </a:lnTo>
                  <a:lnTo>
                    <a:pt x="424" y="26"/>
                  </a:lnTo>
                  <a:lnTo>
                    <a:pt x="428" y="26"/>
                  </a:lnTo>
                  <a:lnTo>
                    <a:pt x="432" y="26"/>
                  </a:lnTo>
                  <a:lnTo>
                    <a:pt x="436" y="26"/>
                  </a:lnTo>
                  <a:lnTo>
                    <a:pt x="436" y="30"/>
                  </a:lnTo>
                  <a:lnTo>
                    <a:pt x="440" y="30"/>
                  </a:lnTo>
                  <a:lnTo>
                    <a:pt x="440" y="34"/>
                  </a:lnTo>
                  <a:lnTo>
                    <a:pt x="442" y="34"/>
                  </a:lnTo>
                  <a:lnTo>
                    <a:pt x="442" y="30"/>
                  </a:lnTo>
                  <a:lnTo>
                    <a:pt x="440" y="26"/>
                  </a:lnTo>
                  <a:lnTo>
                    <a:pt x="442" y="26"/>
                  </a:lnTo>
                  <a:lnTo>
                    <a:pt x="446" y="26"/>
                  </a:lnTo>
                  <a:lnTo>
                    <a:pt x="446" y="30"/>
                  </a:lnTo>
                  <a:lnTo>
                    <a:pt x="454" y="30"/>
                  </a:lnTo>
                  <a:lnTo>
                    <a:pt x="458" y="30"/>
                  </a:lnTo>
                  <a:lnTo>
                    <a:pt x="458" y="34"/>
                  </a:lnTo>
                  <a:lnTo>
                    <a:pt x="462" y="34"/>
                  </a:lnTo>
                  <a:lnTo>
                    <a:pt x="464" y="34"/>
                  </a:lnTo>
                  <a:lnTo>
                    <a:pt x="464" y="38"/>
                  </a:lnTo>
                  <a:lnTo>
                    <a:pt x="468" y="38"/>
                  </a:lnTo>
                  <a:lnTo>
                    <a:pt x="468" y="34"/>
                  </a:lnTo>
                  <a:lnTo>
                    <a:pt x="464" y="34"/>
                  </a:lnTo>
                  <a:lnTo>
                    <a:pt x="464" y="30"/>
                  </a:lnTo>
                  <a:lnTo>
                    <a:pt x="468" y="30"/>
                  </a:lnTo>
                  <a:lnTo>
                    <a:pt x="464" y="30"/>
                  </a:lnTo>
                  <a:lnTo>
                    <a:pt x="464" y="26"/>
                  </a:lnTo>
                  <a:lnTo>
                    <a:pt x="462" y="26"/>
                  </a:lnTo>
                  <a:lnTo>
                    <a:pt x="458" y="26"/>
                  </a:lnTo>
                  <a:lnTo>
                    <a:pt x="454" y="26"/>
                  </a:lnTo>
                  <a:lnTo>
                    <a:pt x="450" y="26"/>
                  </a:lnTo>
                  <a:lnTo>
                    <a:pt x="446" y="26"/>
                  </a:lnTo>
                  <a:lnTo>
                    <a:pt x="442" y="26"/>
                  </a:lnTo>
                  <a:lnTo>
                    <a:pt x="442" y="22"/>
                  </a:lnTo>
                  <a:lnTo>
                    <a:pt x="436" y="22"/>
                  </a:lnTo>
                  <a:lnTo>
                    <a:pt x="432" y="22"/>
                  </a:lnTo>
                  <a:lnTo>
                    <a:pt x="428" y="22"/>
                  </a:lnTo>
                  <a:lnTo>
                    <a:pt x="424" y="22"/>
                  </a:lnTo>
                  <a:lnTo>
                    <a:pt x="418" y="22"/>
                  </a:lnTo>
                  <a:lnTo>
                    <a:pt x="414" y="22"/>
                  </a:lnTo>
                  <a:lnTo>
                    <a:pt x="410" y="22"/>
                  </a:lnTo>
                  <a:lnTo>
                    <a:pt x="406" y="22"/>
                  </a:lnTo>
                  <a:lnTo>
                    <a:pt x="402" y="22"/>
                  </a:lnTo>
                  <a:lnTo>
                    <a:pt x="398" y="22"/>
                  </a:lnTo>
                  <a:lnTo>
                    <a:pt x="394" y="22"/>
                  </a:lnTo>
                  <a:lnTo>
                    <a:pt x="398" y="22"/>
                  </a:lnTo>
                  <a:lnTo>
                    <a:pt x="394" y="22"/>
                  </a:lnTo>
                  <a:lnTo>
                    <a:pt x="392" y="22"/>
                  </a:lnTo>
                  <a:lnTo>
                    <a:pt x="388" y="22"/>
                  </a:lnTo>
                  <a:lnTo>
                    <a:pt x="384" y="22"/>
                  </a:lnTo>
                  <a:lnTo>
                    <a:pt x="380" y="22"/>
                  </a:lnTo>
                  <a:lnTo>
                    <a:pt x="376" y="22"/>
                  </a:lnTo>
                  <a:lnTo>
                    <a:pt x="372" y="22"/>
                  </a:lnTo>
                  <a:lnTo>
                    <a:pt x="368" y="18"/>
                  </a:lnTo>
                  <a:lnTo>
                    <a:pt x="376" y="18"/>
                  </a:lnTo>
                  <a:lnTo>
                    <a:pt x="380" y="22"/>
                  </a:lnTo>
                  <a:lnTo>
                    <a:pt x="380" y="18"/>
                  </a:lnTo>
                  <a:lnTo>
                    <a:pt x="376" y="18"/>
                  </a:lnTo>
                  <a:lnTo>
                    <a:pt x="372" y="18"/>
                  </a:lnTo>
                  <a:lnTo>
                    <a:pt x="376" y="18"/>
                  </a:lnTo>
                  <a:lnTo>
                    <a:pt x="380" y="18"/>
                  </a:lnTo>
                  <a:lnTo>
                    <a:pt x="380" y="16"/>
                  </a:lnTo>
                  <a:lnTo>
                    <a:pt x="384" y="16"/>
                  </a:lnTo>
                  <a:lnTo>
                    <a:pt x="384" y="18"/>
                  </a:lnTo>
                  <a:lnTo>
                    <a:pt x="388" y="18"/>
                  </a:lnTo>
                  <a:lnTo>
                    <a:pt x="392" y="18"/>
                  </a:lnTo>
                  <a:lnTo>
                    <a:pt x="394" y="18"/>
                  </a:lnTo>
                  <a:lnTo>
                    <a:pt x="394" y="22"/>
                  </a:lnTo>
                  <a:lnTo>
                    <a:pt x="398" y="22"/>
                  </a:lnTo>
                  <a:lnTo>
                    <a:pt x="398" y="18"/>
                  </a:lnTo>
                  <a:lnTo>
                    <a:pt x="402" y="18"/>
                  </a:lnTo>
                  <a:lnTo>
                    <a:pt x="402" y="22"/>
                  </a:lnTo>
                  <a:lnTo>
                    <a:pt x="410" y="22"/>
                  </a:lnTo>
                  <a:lnTo>
                    <a:pt x="414" y="22"/>
                  </a:lnTo>
                  <a:lnTo>
                    <a:pt x="418" y="22"/>
                  </a:lnTo>
                  <a:lnTo>
                    <a:pt x="414" y="22"/>
                  </a:lnTo>
                  <a:lnTo>
                    <a:pt x="410" y="22"/>
                  </a:lnTo>
                  <a:lnTo>
                    <a:pt x="406" y="22"/>
                  </a:lnTo>
                  <a:lnTo>
                    <a:pt x="406" y="18"/>
                  </a:lnTo>
                  <a:lnTo>
                    <a:pt x="402" y="18"/>
                  </a:lnTo>
                  <a:lnTo>
                    <a:pt x="398" y="18"/>
                  </a:lnTo>
                  <a:lnTo>
                    <a:pt x="394" y="18"/>
                  </a:lnTo>
                  <a:lnTo>
                    <a:pt x="392" y="18"/>
                  </a:lnTo>
                  <a:lnTo>
                    <a:pt x="388" y="16"/>
                  </a:lnTo>
                  <a:lnTo>
                    <a:pt x="392" y="16"/>
                  </a:lnTo>
                  <a:lnTo>
                    <a:pt x="394" y="16"/>
                  </a:lnTo>
                  <a:lnTo>
                    <a:pt x="398" y="16"/>
                  </a:lnTo>
                  <a:lnTo>
                    <a:pt x="402" y="16"/>
                  </a:lnTo>
                  <a:lnTo>
                    <a:pt x="406" y="16"/>
                  </a:lnTo>
                  <a:lnTo>
                    <a:pt x="410" y="16"/>
                  </a:lnTo>
                  <a:lnTo>
                    <a:pt x="414" y="16"/>
                  </a:lnTo>
                  <a:lnTo>
                    <a:pt x="418" y="16"/>
                  </a:lnTo>
                  <a:lnTo>
                    <a:pt x="420" y="16"/>
                  </a:lnTo>
                  <a:lnTo>
                    <a:pt x="424" y="16"/>
                  </a:lnTo>
                  <a:lnTo>
                    <a:pt x="420" y="16"/>
                  </a:lnTo>
                  <a:lnTo>
                    <a:pt x="418" y="16"/>
                  </a:lnTo>
                  <a:lnTo>
                    <a:pt x="414" y="16"/>
                  </a:lnTo>
                  <a:lnTo>
                    <a:pt x="410" y="16"/>
                  </a:lnTo>
                  <a:lnTo>
                    <a:pt x="410" y="12"/>
                  </a:lnTo>
                  <a:lnTo>
                    <a:pt x="414" y="12"/>
                  </a:lnTo>
                  <a:lnTo>
                    <a:pt x="418" y="12"/>
                  </a:lnTo>
                  <a:lnTo>
                    <a:pt x="420" y="12"/>
                  </a:lnTo>
                  <a:lnTo>
                    <a:pt x="424" y="12"/>
                  </a:lnTo>
                  <a:lnTo>
                    <a:pt x="420" y="12"/>
                  </a:lnTo>
                  <a:lnTo>
                    <a:pt x="424" y="12"/>
                  </a:lnTo>
                  <a:lnTo>
                    <a:pt x="428" y="12"/>
                  </a:lnTo>
                  <a:lnTo>
                    <a:pt x="432" y="12"/>
                  </a:lnTo>
                  <a:lnTo>
                    <a:pt x="436" y="12"/>
                  </a:lnTo>
                  <a:lnTo>
                    <a:pt x="440" y="12"/>
                  </a:lnTo>
                  <a:lnTo>
                    <a:pt x="442" y="16"/>
                  </a:lnTo>
                  <a:lnTo>
                    <a:pt x="440" y="16"/>
                  </a:lnTo>
                  <a:lnTo>
                    <a:pt x="442" y="16"/>
                  </a:lnTo>
                  <a:lnTo>
                    <a:pt x="446" y="16"/>
                  </a:lnTo>
                  <a:lnTo>
                    <a:pt x="450" y="16"/>
                  </a:lnTo>
                  <a:lnTo>
                    <a:pt x="450" y="18"/>
                  </a:lnTo>
                  <a:lnTo>
                    <a:pt x="454" y="18"/>
                  </a:lnTo>
                  <a:lnTo>
                    <a:pt x="458" y="18"/>
                  </a:lnTo>
                  <a:lnTo>
                    <a:pt x="464" y="18"/>
                  </a:lnTo>
                  <a:lnTo>
                    <a:pt x="468" y="18"/>
                  </a:lnTo>
                  <a:lnTo>
                    <a:pt x="472" y="18"/>
                  </a:lnTo>
                  <a:lnTo>
                    <a:pt x="480" y="22"/>
                  </a:lnTo>
                  <a:lnTo>
                    <a:pt x="480" y="26"/>
                  </a:lnTo>
                  <a:lnTo>
                    <a:pt x="484" y="26"/>
                  </a:lnTo>
                  <a:lnTo>
                    <a:pt x="488" y="26"/>
                  </a:lnTo>
                  <a:lnTo>
                    <a:pt x="484" y="26"/>
                  </a:lnTo>
                  <a:lnTo>
                    <a:pt x="484" y="22"/>
                  </a:lnTo>
                  <a:lnTo>
                    <a:pt x="480" y="22"/>
                  </a:lnTo>
                  <a:lnTo>
                    <a:pt x="476" y="18"/>
                  </a:lnTo>
                  <a:lnTo>
                    <a:pt x="480" y="18"/>
                  </a:lnTo>
                  <a:lnTo>
                    <a:pt x="484" y="18"/>
                  </a:lnTo>
                  <a:lnTo>
                    <a:pt x="488" y="18"/>
                  </a:lnTo>
                  <a:lnTo>
                    <a:pt x="490" y="18"/>
                  </a:lnTo>
                  <a:lnTo>
                    <a:pt x="498" y="18"/>
                  </a:lnTo>
                  <a:lnTo>
                    <a:pt x="502" y="18"/>
                  </a:lnTo>
                  <a:lnTo>
                    <a:pt x="506" y="18"/>
                  </a:lnTo>
                  <a:lnTo>
                    <a:pt x="502" y="18"/>
                  </a:lnTo>
                  <a:lnTo>
                    <a:pt x="498" y="18"/>
                  </a:lnTo>
                  <a:lnTo>
                    <a:pt x="490" y="18"/>
                  </a:lnTo>
                  <a:lnTo>
                    <a:pt x="488" y="18"/>
                  </a:lnTo>
                  <a:lnTo>
                    <a:pt x="484" y="18"/>
                  </a:lnTo>
                  <a:lnTo>
                    <a:pt x="484" y="16"/>
                  </a:lnTo>
                  <a:lnTo>
                    <a:pt x="488" y="16"/>
                  </a:lnTo>
                  <a:lnTo>
                    <a:pt x="490" y="16"/>
                  </a:lnTo>
                  <a:lnTo>
                    <a:pt x="494" y="16"/>
                  </a:lnTo>
                  <a:lnTo>
                    <a:pt x="498" y="16"/>
                  </a:lnTo>
                  <a:lnTo>
                    <a:pt x="502" y="16"/>
                  </a:lnTo>
                  <a:lnTo>
                    <a:pt x="506" y="16"/>
                  </a:lnTo>
                  <a:lnTo>
                    <a:pt x="510" y="16"/>
                  </a:lnTo>
                  <a:lnTo>
                    <a:pt x="506" y="16"/>
                  </a:lnTo>
                  <a:lnTo>
                    <a:pt x="502" y="16"/>
                  </a:lnTo>
                  <a:lnTo>
                    <a:pt x="498" y="16"/>
                  </a:lnTo>
                  <a:lnTo>
                    <a:pt x="494" y="12"/>
                  </a:lnTo>
                  <a:lnTo>
                    <a:pt x="490" y="12"/>
                  </a:lnTo>
                  <a:lnTo>
                    <a:pt x="488" y="12"/>
                  </a:lnTo>
                  <a:lnTo>
                    <a:pt x="484" y="12"/>
                  </a:lnTo>
                  <a:lnTo>
                    <a:pt x="484" y="8"/>
                  </a:lnTo>
                  <a:lnTo>
                    <a:pt x="488" y="8"/>
                  </a:lnTo>
                  <a:lnTo>
                    <a:pt x="490" y="8"/>
                  </a:lnTo>
                  <a:lnTo>
                    <a:pt x="494" y="8"/>
                  </a:lnTo>
                  <a:lnTo>
                    <a:pt x="498" y="8"/>
                  </a:lnTo>
                  <a:lnTo>
                    <a:pt x="494" y="8"/>
                  </a:lnTo>
                  <a:lnTo>
                    <a:pt x="494" y="4"/>
                  </a:lnTo>
                  <a:lnTo>
                    <a:pt x="498" y="4"/>
                  </a:lnTo>
                  <a:lnTo>
                    <a:pt x="502" y="4"/>
                  </a:lnTo>
                  <a:lnTo>
                    <a:pt x="506" y="4"/>
                  </a:lnTo>
                  <a:lnTo>
                    <a:pt x="510" y="8"/>
                  </a:lnTo>
                  <a:lnTo>
                    <a:pt x="514" y="8"/>
                  </a:lnTo>
                  <a:lnTo>
                    <a:pt x="518" y="8"/>
                  </a:lnTo>
                  <a:lnTo>
                    <a:pt x="514" y="8"/>
                  </a:lnTo>
                  <a:lnTo>
                    <a:pt x="514" y="4"/>
                  </a:lnTo>
                  <a:lnTo>
                    <a:pt x="510" y="4"/>
                  </a:lnTo>
                  <a:lnTo>
                    <a:pt x="514" y="4"/>
                  </a:lnTo>
                  <a:lnTo>
                    <a:pt x="518" y="4"/>
                  </a:lnTo>
                  <a:lnTo>
                    <a:pt x="520" y="4"/>
                  </a:lnTo>
                  <a:lnTo>
                    <a:pt x="524" y="4"/>
                  </a:lnTo>
                  <a:lnTo>
                    <a:pt x="528" y="4"/>
                  </a:lnTo>
                  <a:lnTo>
                    <a:pt x="532" y="4"/>
                  </a:lnTo>
                  <a:lnTo>
                    <a:pt x="536" y="0"/>
                  </a:lnTo>
                  <a:lnTo>
                    <a:pt x="540" y="0"/>
                  </a:lnTo>
                  <a:lnTo>
                    <a:pt x="544" y="0"/>
                  </a:lnTo>
                  <a:lnTo>
                    <a:pt x="544" y="4"/>
                  </a:lnTo>
                  <a:lnTo>
                    <a:pt x="544" y="0"/>
                  </a:lnTo>
                  <a:lnTo>
                    <a:pt x="546" y="0"/>
                  </a:lnTo>
                  <a:lnTo>
                    <a:pt x="546" y="4"/>
                  </a:lnTo>
                  <a:lnTo>
                    <a:pt x="550" y="4"/>
                  </a:lnTo>
                  <a:lnTo>
                    <a:pt x="554" y="4"/>
                  </a:lnTo>
                  <a:lnTo>
                    <a:pt x="550" y="4"/>
                  </a:lnTo>
                  <a:lnTo>
                    <a:pt x="550" y="0"/>
                  </a:lnTo>
                  <a:lnTo>
                    <a:pt x="554" y="0"/>
                  </a:lnTo>
                  <a:lnTo>
                    <a:pt x="558" y="0"/>
                  </a:lnTo>
                  <a:lnTo>
                    <a:pt x="562" y="0"/>
                  </a:lnTo>
                  <a:lnTo>
                    <a:pt x="566" y="0"/>
                  </a:lnTo>
                  <a:lnTo>
                    <a:pt x="570" y="0"/>
                  </a:lnTo>
                  <a:lnTo>
                    <a:pt x="574" y="0"/>
                  </a:lnTo>
                  <a:lnTo>
                    <a:pt x="576" y="0"/>
                  </a:lnTo>
                  <a:lnTo>
                    <a:pt x="574" y="0"/>
                  </a:lnTo>
                  <a:lnTo>
                    <a:pt x="576" y="0"/>
                  </a:lnTo>
                  <a:lnTo>
                    <a:pt x="580" y="0"/>
                  </a:lnTo>
                  <a:lnTo>
                    <a:pt x="584" y="0"/>
                  </a:lnTo>
                  <a:lnTo>
                    <a:pt x="588" y="0"/>
                  </a:lnTo>
                  <a:lnTo>
                    <a:pt x="592" y="0"/>
                  </a:lnTo>
                  <a:lnTo>
                    <a:pt x="596" y="0"/>
                  </a:lnTo>
                  <a:lnTo>
                    <a:pt x="600" y="0"/>
                  </a:lnTo>
                  <a:lnTo>
                    <a:pt x="604" y="0"/>
                  </a:lnTo>
                  <a:lnTo>
                    <a:pt x="610" y="0"/>
                  </a:lnTo>
                  <a:lnTo>
                    <a:pt x="614" y="4"/>
                  </a:lnTo>
                  <a:lnTo>
                    <a:pt x="618" y="4"/>
                  </a:lnTo>
                  <a:lnTo>
                    <a:pt x="622" y="4"/>
                  </a:lnTo>
                  <a:lnTo>
                    <a:pt x="626" y="4"/>
                  </a:lnTo>
                  <a:lnTo>
                    <a:pt x="630" y="4"/>
                  </a:lnTo>
                  <a:lnTo>
                    <a:pt x="626" y="4"/>
                  </a:lnTo>
                  <a:lnTo>
                    <a:pt x="622" y="4"/>
                  </a:lnTo>
                  <a:lnTo>
                    <a:pt x="626" y="8"/>
                  </a:lnTo>
                  <a:lnTo>
                    <a:pt x="630" y="8"/>
                  </a:lnTo>
                  <a:lnTo>
                    <a:pt x="632" y="8"/>
                  </a:lnTo>
                  <a:lnTo>
                    <a:pt x="630" y="4"/>
                  </a:lnTo>
                  <a:lnTo>
                    <a:pt x="632" y="4"/>
                  </a:lnTo>
                  <a:lnTo>
                    <a:pt x="636" y="4"/>
                  </a:lnTo>
                  <a:lnTo>
                    <a:pt x="640" y="4"/>
                  </a:lnTo>
                  <a:lnTo>
                    <a:pt x="644" y="4"/>
                  </a:lnTo>
                  <a:lnTo>
                    <a:pt x="648" y="4"/>
                  </a:lnTo>
                  <a:lnTo>
                    <a:pt x="652" y="8"/>
                  </a:lnTo>
                  <a:lnTo>
                    <a:pt x="660" y="8"/>
                  </a:lnTo>
                  <a:lnTo>
                    <a:pt x="662" y="8"/>
                  </a:lnTo>
                  <a:lnTo>
                    <a:pt x="666" y="8"/>
                  </a:lnTo>
                  <a:lnTo>
                    <a:pt x="670" y="12"/>
                  </a:lnTo>
                  <a:lnTo>
                    <a:pt x="666" y="12"/>
                  </a:lnTo>
                  <a:lnTo>
                    <a:pt x="662" y="12"/>
                  </a:lnTo>
                  <a:lnTo>
                    <a:pt x="660" y="12"/>
                  </a:lnTo>
                  <a:lnTo>
                    <a:pt x="656" y="16"/>
                  </a:lnTo>
                  <a:lnTo>
                    <a:pt x="652" y="16"/>
                  </a:lnTo>
                  <a:lnTo>
                    <a:pt x="648" y="16"/>
                  </a:lnTo>
                  <a:lnTo>
                    <a:pt x="644" y="16"/>
                  </a:lnTo>
                  <a:lnTo>
                    <a:pt x="640" y="16"/>
                  </a:lnTo>
                  <a:lnTo>
                    <a:pt x="636" y="16"/>
                  </a:lnTo>
                  <a:lnTo>
                    <a:pt x="632" y="16"/>
                  </a:lnTo>
                  <a:lnTo>
                    <a:pt x="630" y="16"/>
                  </a:lnTo>
                  <a:lnTo>
                    <a:pt x="626" y="16"/>
                  </a:lnTo>
                  <a:lnTo>
                    <a:pt x="618" y="16"/>
                  </a:lnTo>
                  <a:lnTo>
                    <a:pt x="614" y="16"/>
                  </a:lnTo>
                  <a:lnTo>
                    <a:pt x="610" y="16"/>
                  </a:lnTo>
                  <a:lnTo>
                    <a:pt x="606" y="16"/>
                  </a:lnTo>
                  <a:lnTo>
                    <a:pt x="604" y="16"/>
                  </a:lnTo>
                  <a:lnTo>
                    <a:pt x="600" y="16"/>
                  </a:lnTo>
                  <a:lnTo>
                    <a:pt x="596" y="16"/>
                  </a:lnTo>
                  <a:lnTo>
                    <a:pt x="592" y="16"/>
                  </a:lnTo>
                  <a:lnTo>
                    <a:pt x="588" y="16"/>
                  </a:lnTo>
                  <a:lnTo>
                    <a:pt x="584" y="16"/>
                  </a:lnTo>
                  <a:lnTo>
                    <a:pt x="584" y="18"/>
                  </a:lnTo>
                  <a:lnTo>
                    <a:pt x="580" y="18"/>
                  </a:lnTo>
                  <a:lnTo>
                    <a:pt x="576" y="18"/>
                  </a:lnTo>
                  <a:lnTo>
                    <a:pt x="574" y="16"/>
                  </a:lnTo>
                  <a:lnTo>
                    <a:pt x="570" y="16"/>
                  </a:lnTo>
                  <a:lnTo>
                    <a:pt x="562" y="16"/>
                  </a:lnTo>
                  <a:lnTo>
                    <a:pt x="558" y="16"/>
                  </a:lnTo>
                  <a:lnTo>
                    <a:pt x="562" y="16"/>
                  </a:lnTo>
                  <a:lnTo>
                    <a:pt x="566" y="16"/>
                  </a:lnTo>
                  <a:lnTo>
                    <a:pt x="570" y="16"/>
                  </a:lnTo>
                  <a:lnTo>
                    <a:pt x="574" y="18"/>
                  </a:lnTo>
                  <a:lnTo>
                    <a:pt x="570" y="18"/>
                  </a:lnTo>
                  <a:lnTo>
                    <a:pt x="566" y="18"/>
                  </a:lnTo>
                  <a:lnTo>
                    <a:pt x="562" y="18"/>
                  </a:lnTo>
                  <a:lnTo>
                    <a:pt x="558" y="18"/>
                  </a:lnTo>
                  <a:lnTo>
                    <a:pt x="554" y="18"/>
                  </a:lnTo>
                  <a:lnTo>
                    <a:pt x="550" y="22"/>
                  </a:lnTo>
                  <a:lnTo>
                    <a:pt x="546" y="22"/>
                  </a:lnTo>
                  <a:lnTo>
                    <a:pt x="544" y="22"/>
                  </a:lnTo>
                  <a:lnTo>
                    <a:pt x="540" y="22"/>
                  </a:lnTo>
                  <a:lnTo>
                    <a:pt x="536" y="22"/>
                  </a:lnTo>
                  <a:lnTo>
                    <a:pt x="532" y="22"/>
                  </a:lnTo>
                  <a:lnTo>
                    <a:pt x="528" y="22"/>
                  </a:lnTo>
                  <a:lnTo>
                    <a:pt x="532" y="22"/>
                  </a:lnTo>
                  <a:lnTo>
                    <a:pt x="528" y="26"/>
                  </a:lnTo>
                  <a:lnTo>
                    <a:pt x="532" y="26"/>
                  </a:lnTo>
                  <a:lnTo>
                    <a:pt x="532" y="22"/>
                  </a:lnTo>
                  <a:lnTo>
                    <a:pt x="536" y="22"/>
                  </a:lnTo>
                  <a:lnTo>
                    <a:pt x="540" y="22"/>
                  </a:lnTo>
                  <a:lnTo>
                    <a:pt x="544" y="22"/>
                  </a:lnTo>
                  <a:lnTo>
                    <a:pt x="546" y="22"/>
                  </a:lnTo>
                  <a:lnTo>
                    <a:pt x="550" y="22"/>
                  </a:lnTo>
                  <a:lnTo>
                    <a:pt x="554" y="22"/>
                  </a:lnTo>
                  <a:lnTo>
                    <a:pt x="554" y="26"/>
                  </a:lnTo>
                  <a:lnTo>
                    <a:pt x="550" y="26"/>
                  </a:lnTo>
                  <a:lnTo>
                    <a:pt x="554" y="26"/>
                  </a:lnTo>
                  <a:lnTo>
                    <a:pt x="554" y="22"/>
                  </a:lnTo>
                  <a:lnTo>
                    <a:pt x="558" y="22"/>
                  </a:lnTo>
                  <a:lnTo>
                    <a:pt x="558" y="18"/>
                  </a:lnTo>
                  <a:lnTo>
                    <a:pt x="562" y="18"/>
                  </a:lnTo>
                  <a:lnTo>
                    <a:pt x="566" y="18"/>
                  </a:lnTo>
                  <a:lnTo>
                    <a:pt x="574" y="18"/>
                  </a:lnTo>
                  <a:lnTo>
                    <a:pt x="576" y="18"/>
                  </a:lnTo>
                  <a:lnTo>
                    <a:pt x="580" y="18"/>
                  </a:lnTo>
                  <a:lnTo>
                    <a:pt x="584" y="18"/>
                  </a:lnTo>
                  <a:lnTo>
                    <a:pt x="584" y="22"/>
                  </a:lnTo>
                  <a:lnTo>
                    <a:pt x="584" y="18"/>
                  </a:lnTo>
                  <a:lnTo>
                    <a:pt x="588" y="18"/>
                  </a:lnTo>
                  <a:lnTo>
                    <a:pt x="592" y="18"/>
                  </a:lnTo>
                  <a:lnTo>
                    <a:pt x="596" y="18"/>
                  </a:lnTo>
                  <a:lnTo>
                    <a:pt x="596" y="16"/>
                  </a:lnTo>
                  <a:lnTo>
                    <a:pt x="600" y="16"/>
                  </a:lnTo>
                  <a:lnTo>
                    <a:pt x="604" y="16"/>
                  </a:lnTo>
                  <a:lnTo>
                    <a:pt x="606" y="16"/>
                  </a:lnTo>
                  <a:lnTo>
                    <a:pt x="610" y="16"/>
                  </a:lnTo>
                  <a:lnTo>
                    <a:pt x="614" y="16"/>
                  </a:lnTo>
                  <a:lnTo>
                    <a:pt x="618" y="16"/>
                  </a:lnTo>
                  <a:lnTo>
                    <a:pt x="622" y="16"/>
                  </a:lnTo>
                  <a:lnTo>
                    <a:pt x="626" y="16"/>
                  </a:lnTo>
                  <a:lnTo>
                    <a:pt x="630" y="16"/>
                  </a:lnTo>
                  <a:lnTo>
                    <a:pt x="632" y="18"/>
                  </a:lnTo>
                  <a:lnTo>
                    <a:pt x="636" y="18"/>
                  </a:lnTo>
                  <a:lnTo>
                    <a:pt x="636" y="16"/>
                  </a:lnTo>
                  <a:lnTo>
                    <a:pt x="640" y="18"/>
                  </a:lnTo>
                  <a:lnTo>
                    <a:pt x="648" y="18"/>
                  </a:lnTo>
                  <a:lnTo>
                    <a:pt x="656" y="18"/>
                  </a:lnTo>
                  <a:lnTo>
                    <a:pt x="656" y="16"/>
                  </a:lnTo>
                  <a:lnTo>
                    <a:pt x="660" y="16"/>
                  </a:lnTo>
                  <a:lnTo>
                    <a:pt x="662" y="16"/>
                  </a:lnTo>
                  <a:lnTo>
                    <a:pt x="666" y="16"/>
                  </a:lnTo>
                  <a:lnTo>
                    <a:pt x="670" y="16"/>
                  </a:lnTo>
                  <a:lnTo>
                    <a:pt x="674" y="16"/>
                  </a:lnTo>
                  <a:lnTo>
                    <a:pt x="678" y="16"/>
                  </a:lnTo>
                  <a:lnTo>
                    <a:pt x="682" y="16"/>
                  </a:lnTo>
                  <a:lnTo>
                    <a:pt x="678" y="16"/>
                  </a:lnTo>
                  <a:lnTo>
                    <a:pt x="678" y="18"/>
                  </a:lnTo>
                  <a:lnTo>
                    <a:pt x="682" y="18"/>
                  </a:lnTo>
                  <a:lnTo>
                    <a:pt x="678" y="22"/>
                  </a:lnTo>
                  <a:lnTo>
                    <a:pt x="674" y="22"/>
                  </a:lnTo>
                  <a:lnTo>
                    <a:pt x="670" y="26"/>
                  </a:lnTo>
                  <a:lnTo>
                    <a:pt x="666" y="26"/>
                  </a:lnTo>
                  <a:lnTo>
                    <a:pt x="670" y="26"/>
                  </a:lnTo>
                  <a:lnTo>
                    <a:pt x="674" y="26"/>
                  </a:lnTo>
                  <a:lnTo>
                    <a:pt x="678" y="26"/>
                  </a:lnTo>
                  <a:lnTo>
                    <a:pt x="678" y="22"/>
                  </a:lnTo>
                  <a:lnTo>
                    <a:pt x="682" y="22"/>
                  </a:lnTo>
                  <a:lnTo>
                    <a:pt x="686" y="22"/>
                  </a:lnTo>
                  <a:lnTo>
                    <a:pt x="688" y="22"/>
                  </a:lnTo>
                  <a:lnTo>
                    <a:pt x="692" y="22"/>
                  </a:lnTo>
                  <a:lnTo>
                    <a:pt x="696" y="22"/>
                  </a:lnTo>
                  <a:lnTo>
                    <a:pt x="692" y="22"/>
                  </a:lnTo>
                  <a:lnTo>
                    <a:pt x="692" y="26"/>
                  </a:lnTo>
                  <a:lnTo>
                    <a:pt x="696" y="26"/>
                  </a:lnTo>
                  <a:lnTo>
                    <a:pt x="696" y="22"/>
                  </a:lnTo>
                  <a:lnTo>
                    <a:pt x="700" y="22"/>
                  </a:lnTo>
                  <a:lnTo>
                    <a:pt x="704" y="22"/>
                  </a:lnTo>
                  <a:lnTo>
                    <a:pt x="704" y="26"/>
                  </a:lnTo>
                  <a:lnTo>
                    <a:pt x="708" y="26"/>
                  </a:lnTo>
                  <a:lnTo>
                    <a:pt x="712" y="26"/>
                  </a:lnTo>
                  <a:lnTo>
                    <a:pt x="716" y="26"/>
                  </a:lnTo>
                  <a:lnTo>
                    <a:pt x="718" y="26"/>
                  </a:lnTo>
                  <a:lnTo>
                    <a:pt x="722" y="30"/>
                  </a:lnTo>
                  <a:lnTo>
                    <a:pt x="726" y="30"/>
                  </a:lnTo>
                  <a:lnTo>
                    <a:pt x="730" y="30"/>
                  </a:lnTo>
                  <a:lnTo>
                    <a:pt x="730" y="34"/>
                  </a:lnTo>
                  <a:lnTo>
                    <a:pt x="722" y="34"/>
                  </a:lnTo>
                  <a:lnTo>
                    <a:pt x="718" y="34"/>
                  </a:lnTo>
                  <a:lnTo>
                    <a:pt x="718" y="38"/>
                  </a:lnTo>
                  <a:lnTo>
                    <a:pt x="716" y="38"/>
                  </a:lnTo>
                  <a:lnTo>
                    <a:pt x="718" y="38"/>
                  </a:lnTo>
                  <a:lnTo>
                    <a:pt x="716" y="38"/>
                  </a:lnTo>
                  <a:lnTo>
                    <a:pt x="716" y="42"/>
                  </a:lnTo>
                  <a:lnTo>
                    <a:pt x="712" y="42"/>
                  </a:lnTo>
                  <a:lnTo>
                    <a:pt x="708" y="42"/>
                  </a:lnTo>
                  <a:lnTo>
                    <a:pt x="704" y="42"/>
                  </a:lnTo>
                  <a:lnTo>
                    <a:pt x="700" y="42"/>
                  </a:lnTo>
                  <a:lnTo>
                    <a:pt x="696" y="42"/>
                  </a:lnTo>
                  <a:lnTo>
                    <a:pt x="688" y="42"/>
                  </a:lnTo>
                  <a:lnTo>
                    <a:pt x="686" y="42"/>
                  </a:lnTo>
                  <a:lnTo>
                    <a:pt x="686" y="44"/>
                  </a:lnTo>
                  <a:lnTo>
                    <a:pt x="682" y="44"/>
                  </a:lnTo>
                  <a:lnTo>
                    <a:pt x="678" y="44"/>
                  </a:lnTo>
                  <a:lnTo>
                    <a:pt x="674" y="44"/>
                  </a:lnTo>
                  <a:lnTo>
                    <a:pt x="666" y="44"/>
                  </a:lnTo>
                  <a:lnTo>
                    <a:pt x="662" y="44"/>
                  </a:lnTo>
                  <a:lnTo>
                    <a:pt x="656" y="44"/>
                  </a:lnTo>
                  <a:lnTo>
                    <a:pt x="652" y="44"/>
                  </a:lnTo>
                  <a:lnTo>
                    <a:pt x="648" y="44"/>
                  </a:lnTo>
                  <a:lnTo>
                    <a:pt x="644" y="44"/>
                  </a:lnTo>
                  <a:lnTo>
                    <a:pt x="640" y="44"/>
                  </a:lnTo>
                  <a:lnTo>
                    <a:pt x="636" y="44"/>
                  </a:lnTo>
                  <a:lnTo>
                    <a:pt x="632" y="44"/>
                  </a:lnTo>
                  <a:lnTo>
                    <a:pt x="630" y="44"/>
                  </a:lnTo>
                  <a:lnTo>
                    <a:pt x="626" y="44"/>
                  </a:lnTo>
                  <a:lnTo>
                    <a:pt x="622" y="44"/>
                  </a:lnTo>
                  <a:lnTo>
                    <a:pt x="618" y="44"/>
                  </a:lnTo>
                  <a:lnTo>
                    <a:pt x="614" y="44"/>
                  </a:lnTo>
                  <a:lnTo>
                    <a:pt x="610" y="44"/>
                  </a:lnTo>
                  <a:lnTo>
                    <a:pt x="606" y="44"/>
                  </a:lnTo>
                  <a:lnTo>
                    <a:pt x="604" y="44"/>
                  </a:lnTo>
                  <a:lnTo>
                    <a:pt x="600" y="44"/>
                  </a:lnTo>
                  <a:lnTo>
                    <a:pt x="596" y="44"/>
                  </a:lnTo>
                  <a:lnTo>
                    <a:pt x="592" y="44"/>
                  </a:lnTo>
                  <a:lnTo>
                    <a:pt x="588" y="44"/>
                  </a:lnTo>
                  <a:lnTo>
                    <a:pt x="584" y="44"/>
                  </a:lnTo>
                  <a:lnTo>
                    <a:pt x="588" y="44"/>
                  </a:lnTo>
                  <a:lnTo>
                    <a:pt x="592" y="44"/>
                  </a:lnTo>
                  <a:lnTo>
                    <a:pt x="600" y="44"/>
                  </a:lnTo>
                  <a:lnTo>
                    <a:pt x="606" y="44"/>
                  </a:lnTo>
                  <a:lnTo>
                    <a:pt x="610" y="44"/>
                  </a:lnTo>
                  <a:lnTo>
                    <a:pt x="606" y="44"/>
                  </a:lnTo>
                  <a:lnTo>
                    <a:pt x="604" y="48"/>
                  </a:lnTo>
                  <a:lnTo>
                    <a:pt x="600" y="48"/>
                  </a:lnTo>
                  <a:lnTo>
                    <a:pt x="596" y="48"/>
                  </a:lnTo>
                  <a:lnTo>
                    <a:pt x="592" y="48"/>
                  </a:lnTo>
                  <a:lnTo>
                    <a:pt x="588" y="48"/>
                  </a:lnTo>
                  <a:lnTo>
                    <a:pt x="584" y="52"/>
                  </a:lnTo>
                  <a:lnTo>
                    <a:pt x="580" y="52"/>
                  </a:lnTo>
                  <a:lnTo>
                    <a:pt x="576" y="52"/>
                  </a:lnTo>
                  <a:lnTo>
                    <a:pt x="574" y="52"/>
                  </a:lnTo>
                  <a:lnTo>
                    <a:pt x="570" y="52"/>
                  </a:lnTo>
                  <a:lnTo>
                    <a:pt x="566" y="52"/>
                  </a:lnTo>
                  <a:lnTo>
                    <a:pt x="566" y="56"/>
                  </a:lnTo>
                  <a:lnTo>
                    <a:pt x="562" y="56"/>
                  </a:lnTo>
                  <a:lnTo>
                    <a:pt x="566" y="60"/>
                  </a:lnTo>
                  <a:lnTo>
                    <a:pt x="570" y="60"/>
                  </a:lnTo>
                  <a:lnTo>
                    <a:pt x="574" y="60"/>
                  </a:lnTo>
                  <a:lnTo>
                    <a:pt x="574" y="56"/>
                  </a:lnTo>
                  <a:lnTo>
                    <a:pt x="580" y="56"/>
                  </a:lnTo>
                  <a:lnTo>
                    <a:pt x="584" y="56"/>
                  </a:lnTo>
                  <a:lnTo>
                    <a:pt x="588" y="52"/>
                  </a:lnTo>
                  <a:lnTo>
                    <a:pt x="592" y="52"/>
                  </a:lnTo>
                  <a:lnTo>
                    <a:pt x="596" y="52"/>
                  </a:lnTo>
                  <a:lnTo>
                    <a:pt x="600" y="52"/>
                  </a:lnTo>
                  <a:lnTo>
                    <a:pt x="604" y="52"/>
                  </a:lnTo>
                  <a:lnTo>
                    <a:pt x="610" y="52"/>
                  </a:lnTo>
                  <a:lnTo>
                    <a:pt x="614" y="52"/>
                  </a:lnTo>
                  <a:lnTo>
                    <a:pt x="622" y="48"/>
                  </a:lnTo>
                  <a:lnTo>
                    <a:pt x="626" y="48"/>
                  </a:lnTo>
                  <a:lnTo>
                    <a:pt x="630" y="48"/>
                  </a:lnTo>
                  <a:lnTo>
                    <a:pt x="636" y="48"/>
                  </a:lnTo>
                  <a:lnTo>
                    <a:pt x="640" y="48"/>
                  </a:lnTo>
                  <a:lnTo>
                    <a:pt x="644" y="48"/>
                  </a:lnTo>
                  <a:lnTo>
                    <a:pt x="648" y="48"/>
                  </a:lnTo>
                  <a:lnTo>
                    <a:pt x="652" y="48"/>
                  </a:lnTo>
                  <a:lnTo>
                    <a:pt x="656" y="48"/>
                  </a:lnTo>
                  <a:lnTo>
                    <a:pt x="660" y="48"/>
                  </a:lnTo>
                  <a:lnTo>
                    <a:pt x="662" y="48"/>
                  </a:lnTo>
                  <a:lnTo>
                    <a:pt x="670" y="48"/>
                  </a:lnTo>
                  <a:lnTo>
                    <a:pt x="674" y="48"/>
                  </a:lnTo>
                  <a:lnTo>
                    <a:pt x="674" y="56"/>
                  </a:lnTo>
                  <a:lnTo>
                    <a:pt x="670" y="56"/>
                  </a:lnTo>
                  <a:lnTo>
                    <a:pt x="666" y="60"/>
                  </a:lnTo>
                  <a:lnTo>
                    <a:pt x="662" y="60"/>
                  </a:lnTo>
                  <a:lnTo>
                    <a:pt x="660" y="60"/>
                  </a:lnTo>
                  <a:lnTo>
                    <a:pt x="656" y="60"/>
                  </a:lnTo>
                  <a:lnTo>
                    <a:pt x="656" y="64"/>
                  </a:lnTo>
                  <a:lnTo>
                    <a:pt x="652" y="64"/>
                  </a:lnTo>
                  <a:lnTo>
                    <a:pt x="648" y="64"/>
                  </a:lnTo>
                  <a:lnTo>
                    <a:pt x="644" y="64"/>
                  </a:lnTo>
                  <a:lnTo>
                    <a:pt x="640" y="64"/>
                  </a:lnTo>
                  <a:lnTo>
                    <a:pt x="644" y="68"/>
                  </a:lnTo>
                  <a:lnTo>
                    <a:pt x="648" y="68"/>
                  </a:lnTo>
                  <a:lnTo>
                    <a:pt x="644" y="68"/>
                  </a:lnTo>
                  <a:lnTo>
                    <a:pt x="640" y="68"/>
                  </a:lnTo>
                  <a:lnTo>
                    <a:pt x="644" y="68"/>
                  </a:lnTo>
                  <a:lnTo>
                    <a:pt x="648" y="68"/>
                  </a:lnTo>
                  <a:lnTo>
                    <a:pt x="652" y="68"/>
                  </a:lnTo>
                  <a:lnTo>
                    <a:pt x="656" y="68"/>
                  </a:lnTo>
                  <a:lnTo>
                    <a:pt x="656" y="64"/>
                  </a:lnTo>
                  <a:lnTo>
                    <a:pt x="660" y="64"/>
                  </a:lnTo>
                  <a:lnTo>
                    <a:pt x="662" y="64"/>
                  </a:lnTo>
                  <a:lnTo>
                    <a:pt x="670" y="60"/>
                  </a:lnTo>
                  <a:lnTo>
                    <a:pt x="674" y="60"/>
                  </a:lnTo>
                  <a:lnTo>
                    <a:pt x="678" y="60"/>
                  </a:lnTo>
                  <a:lnTo>
                    <a:pt x="682" y="60"/>
                  </a:lnTo>
                  <a:lnTo>
                    <a:pt x="686" y="56"/>
                  </a:lnTo>
                  <a:lnTo>
                    <a:pt x="688" y="60"/>
                  </a:lnTo>
                  <a:lnTo>
                    <a:pt x="688" y="56"/>
                  </a:lnTo>
                  <a:lnTo>
                    <a:pt x="692" y="56"/>
                  </a:lnTo>
                  <a:lnTo>
                    <a:pt x="688" y="56"/>
                  </a:lnTo>
                  <a:lnTo>
                    <a:pt x="688" y="52"/>
                  </a:lnTo>
                  <a:lnTo>
                    <a:pt x="692" y="48"/>
                  </a:lnTo>
                  <a:lnTo>
                    <a:pt x="696" y="48"/>
                  </a:lnTo>
                  <a:lnTo>
                    <a:pt x="700" y="48"/>
                  </a:lnTo>
                  <a:lnTo>
                    <a:pt x="704" y="48"/>
                  </a:lnTo>
                  <a:lnTo>
                    <a:pt x="708" y="48"/>
                  </a:lnTo>
                  <a:lnTo>
                    <a:pt x="712" y="48"/>
                  </a:lnTo>
                  <a:lnTo>
                    <a:pt x="716" y="48"/>
                  </a:lnTo>
                  <a:lnTo>
                    <a:pt x="718" y="48"/>
                  </a:lnTo>
                  <a:lnTo>
                    <a:pt x="718" y="52"/>
                  </a:lnTo>
                  <a:lnTo>
                    <a:pt x="722" y="56"/>
                  </a:lnTo>
                  <a:lnTo>
                    <a:pt x="718" y="64"/>
                  </a:lnTo>
                  <a:lnTo>
                    <a:pt x="716" y="68"/>
                  </a:lnTo>
                  <a:lnTo>
                    <a:pt x="716" y="72"/>
                  </a:lnTo>
                  <a:lnTo>
                    <a:pt x="712" y="72"/>
                  </a:lnTo>
                  <a:lnTo>
                    <a:pt x="708" y="72"/>
                  </a:lnTo>
                  <a:lnTo>
                    <a:pt x="712" y="72"/>
                  </a:lnTo>
                  <a:lnTo>
                    <a:pt x="708" y="74"/>
                  </a:lnTo>
                  <a:lnTo>
                    <a:pt x="704" y="74"/>
                  </a:lnTo>
                  <a:lnTo>
                    <a:pt x="700" y="78"/>
                  </a:lnTo>
                  <a:lnTo>
                    <a:pt x="696" y="78"/>
                  </a:lnTo>
                  <a:lnTo>
                    <a:pt x="692" y="82"/>
                  </a:lnTo>
                  <a:lnTo>
                    <a:pt x="696" y="82"/>
                  </a:lnTo>
                  <a:lnTo>
                    <a:pt x="696" y="86"/>
                  </a:lnTo>
                  <a:lnTo>
                    <a:pt x="692" y="86"/>
                  </a:lnTo>
                  <a:lnTo>
                    <a:pt x="688" y="86"/>
                  </a:lnTo>
                  <a:lnTo>
                    <a:pt x="686" y="90"/>
                  </a:lnTo>
                  <a:lnTo>
                    <a:pt x="688" y="90"/>
                  </a:lnTo>
                  <a:lnTo>
                    <a:pt x="692" y="90"/>
                  </a:lnTo>
                  <a:lnTo>
                    <a:pt x="688" y="90"/>
                  </a:lnTo>
                  <a:lnTo>
                    <a:pt x="686" y="94"/>
                  </a:lnTo>
                  <a:lnTo>
                    <a:pt x="688" y="94"/>
                  </a:lnTo>
                  <a:lnTo>
                    <a:pt x="688" y="90"/>
                  </a:lnTo>
                  <a:lnTo>
                    <a:pt x="692" y="90"/>
                  </a:lnTo>
                  <a:lnTo>
                    <a:pt x="696" y="90"/>
                  </a:lnTo>
                  <a:lnTo>
                    <a:pt x="696" y="86"/>
                  </a:lnTo>
                  <a:lnTo>
                    <a:pt x="700" y="86"/>
                  </a:lnTo>
                  <a:lnTo>
                    <a:pt x="700" y="82"/>
                  </a:lnTo>
                  <a:lnTo>
                    <a:pt x="704" y="82"/>
                  </a:lnTo>
                  <a:lnTo>
                    <a:pt x="708" y="82"/>
                  </a:lnTo>
                  <a:lnTo>
                    <a:pt x="712" y="78"/>
                  </a:lnTo>
                  <a:lnTo>
                    <a:pt x="716" y="74"/>
                  </a:lnTo>
                  <a:lnTo>
                    <a:pt x="718" y="74"/>
                  </a:lnTo>
                  <a:lnTo>
                    <a:pt x="718" y="72"/>
                  </a:lnTo>
                  <a:lnTo>
                    <a:pt x="722" y="72"/>
                  </a:lnTo>
                  <a:lnTo>
                    <a:pt x="726" y="72"/>
                  </a:lnTo>
                  <a:lnTo>
                    <a:pt x="730" y="68"/>
                  </a:lnTo>
                  <a:lnTo>
                    <a:pt x="734" y="64"/>
                  </a:lnTo>
                  <a:lnTo>
                    <a:pt x="738" y="64"/>
                  </a:lnTo>
                  <a:lnTo>
                    <a:pt x="742" y="60"/>
                  </a:lnTo>
                  <a:lnTo>
                    <a:pt x="744" y="60"/>
                  </a:lnTo>
                  <a:lnTo>
                    <a:pt x="748" y="60"/>
                  </a:lnTo>
                  <a:lnTo>
                    <a:pt x="744" y="60"/>
                  </a:lnTo>
                  <a:lnTo>
                    <a:pt x="744" y="64"/>
                  </a:lnTo>
                  <a:lnTo>
                    <a:pt x="744" y="68"/>
                  </a:lnTo>
                  <a:lnTo>
                    <a:pt x="748" y="68"/>
                  </a:lnTo>
                  <a:lnTo>
                    <a:pt x="748" y="64"/>
                  </a:lnTo>
                  <a:lnTo>
                    <a:pt x="756" y="64"/>
                  </a:lnTo>
                  <a:lnTo>
                    <a:pt x="760" y="64"/>
                  </a:lnTo>
                  <a:lnTo>
                    <a:pt x="764" y="64"/>
                  </a:lnTo>
                  <a:lnTo>
                    <a:pt x="768" y="64"/>
                  </a:lnTo>
                  <a:lnTo>
                    <a:pt x="770" y="64"/>
                  </a:lnTo>
                  <a:lnTo>
                    <a:pt x="770" y="68"/>
                  </a:lnTo>
                  <a:lnTo>
                    <a:pt x="774" y="68"/>
                  </a:lnTo>
                  <a:lnTo>
                    <a:pt x="778" y="64"/>
                  </a:lnTo>
                  <a:lnTo>
                    <a:pt x="782" y="64"/>
                  </a:lnTo>
                  <a:lnTo>
                    <a:pt x="782" y="60"/>
                  </a:lnTo>
                  <a:lnTo>
                    <a:pt x="778" y="60"/>
                  </a:lnTo>
                  <a:lnTo>
                    <a:pt x="778" y="56"/>
                  </a:lnTo>
                  <a:lnTo>
                    <a:pt x="782" y="56"/>
                  </a:lnTo>
                  <a:lnTo>
                    <a:pt x="782" y="60"/>
                  </a:lnTo>
                  <a:lnTo>
                    <a:pt x="786" y="60"/>
                  </a:lnTo>
                  <a:lnTo>
                    <a:pt x="786" y="56"/>
                  </a:lnTo>
                  <a:lnTo>
                    <a:pt x="782" y="56"/>
                  </a:lnTo>
                  <a:lnTo>
                    <a:pt x="782" y="52"/>
                  </a:lnTo>
                  <a:lnTo>
                    <a:pt x="786" y="52"/>
                  </a:lnTo>
                  <a:lnTo>
                    <a:pt x="786" y="56"/>
                  </a:lnTo>
                  <a:lnTo>
                    <a:pt x="786" y="52"/>
                  </a:lnTo>
                  <a:lnTo>
                    <a:pt x="788" y="52"/>
                  </a:lnTo>
                  <a:lnTo>
                    <a:pt x="792" y="52"/>
                  </a:lnTo>
                  <a:lnTo>
                    <a:pt x="796" y="52"/>
                  </a:lnTo>
                  <a:lnTo>
                    <a:pt x="800" y="52"/>
                  </a:lnTo>
                  <a:lnTo>
                    <a:pt x="804" y="52"/>
                  </a:lnTo>
                  <a:lnTo>
                    <a:pt x="808" y="52"/>
                  </a:lnTo>
                  <a:lnTo>
                    <a:pt x="812" y="52"/>
                  </a:lnTo>
                  <a:lnTo>
                    <a:pt x="816" y="52"/>
                  </a:lnTo>
                  <a:lnTo>
                    <a:pt x="818" y="52"/>
                  </a:lnTo>
                  <a:lnTo>
                    <a:pt x="822" y="52"/>
                  </a:lnTo>
                  <a:lnTo>
                    <a:pt x="826" y="52"/>
                  </a:lnTo>
                  <a:lnTo>
                    <a:pt x="830" y="52"/>
                  </a:lnTo>
                  <a:lnTo>
                    <a:pt x="834" y="52"/>
                  </a:lnTo>
                  <a:lnTo>
                    <a:pt x="834" y="56"/>
                  </a:lnTo>
                  <a:lnTo>
                    <a:pt x="838" y="56"/>
                  </a:lnTo>
                  <a:lnTo>
                    <a:pt x="842" y="56"/>
                  </a:lnTo>
                  <a:lnTo>
                    <a:pt x="844" y="56"/>
                  </a:lnTo>
                  <a:lnTo>
                    <a:pt x="848" y="56"/>
                  </a:lnTo>
                  <a:lnTo>
                    <a:pt x="852" y="56"/>
                  </a:lnTo>
                  <a:lnTo>
                    <a:pt x="852" y="60"/>
                  </a:lnTo>
                  <a:lnTo>
                    <a:pt x="856" y="60"/>
                  </a:lnTo>
                  <a:lnTo>
                    <a:pt x="860" y="60"/>
                  </a:lnTo>
                  <a:lnTo>
                    <a:pt x="856" y="64"/>
                  </a:lnTo>
                  <a:lnTo>
                    <a:pt x="852" y="64"/>
                  </a:lnTo>
                  <a:lnTo>
                    <a:pt x="852" y="68"/>
                  </a:lnTo>
                  <a:lnTo>
                    <a:pt x="848" y="68"/>
                  </a:lnTo>
                  <a:lnTo>
                    <a:pt x="844" y="68"/>
                  </a:lnTo>
                  <a:lnTo>
                    <a:pt x="844" y="72"/>
                  </a:lnTo>
                  <a:lnTo>
                    <a:pt x="842" y="72"/>
                  </a:lnTo>
                  <a:lnTo>
                    <a:pt x="838" y="72"/>
                  </a:lnTo>
                  <a:lnTo>
                    <a:pt x="834" y="74"/>
                  </a:lnTo>
                  <a:lnTo>
                    <a:pt x="830" y="74"/>
                  </a:lnTo>
                  <a:lnTo>
                    <a:pt x="826" y="74"/>
                  </a:lnTo>
                  <a:lnTo>
                    <a:pt x="822" y="74"/>
                  </a:lnTo>
                  <a:lnTo>
                    <a:pt x="818" y="74"/>
                  </a:lnTo>
                  <a:lnTo>
                    <a:pt x="818" y="78"/>
                  </a:lnTo>
                  <a:lnTo>
                    <a:pt x="822" y="78"/>
                  </a:lnTo>
                  <a:lnTo>
                    <a:pt x="822" y="82"/>
                  </a:lnTo>
                  <a:lnTo>
                    <a:pt x="818" y="82"/>
                  </a:lnTo>
                  <a:lnTo>
                    <a:pt x="816" y="82"/>
                  </a:lnTo>
                  <a:lnTo>
                    <a:pt x="812" y="82"/>
                  </a:lnTo>
                  <a:lnTo>
                    <a:pt x="808" y="86"/>
                  </a:lnTo>
                  <a:lnTo>
                    <a:pt x="804" y="86"/>
                  </a:lnTo>
                  <a:lnTo>
                    <a:pt x="800" y="86"/>
                  </a:lnTo>
                  <a:lnTo>
                    <a:pt x="796" y="86"/>
                  </a:lnTo>
                  <a:lnTo>
                    <a:pt x="792" y="86"/>
                  </a:lnTo>
                  <a:lnTo>
                    <a:pt x="788" y="86"/>
                  </a:lnTo>
                  <a:lnTo>
                    <a:pt x="786" y="86"/>
                  </a:lnTo>
                  <a:lnTo>
                    <a:pt x="782" y="86"/>
                  </a:lnTo>
                  <a:lnTo>
                    <a:pt x="778" y="86"/>
                  </a:lnTo>
                  <a:lnTo>
                    <a:pt x="774" y="86"/>
                  </a:lnTo>
                  <a:lnTo>
                    <a:pt x="774" y="90"/>
                  </a:lnTo>
                  <a:lnTo>
                    <a:pt x="770" y="90"/>
                  </a:lnTo>
                  <a:lnTo>
                    <a:pt x="768" y="90"/>
                  </a:lnTo>
                  <a:lnTo>
                    <a:pt x="764" y="90"/>
                  </a:lnTo>
                  <a:lnTo>
                    <a:pt x="760" y="90"/>
                  </a:lnTo>
                  <a:lnTo>
                    <a:pt x="756" y="90"/>
                  </a:lnTo>
                  <a:lnTo>
                    <a:pt x="752" y="90"/>
                  </a:lnTo>
                  <a:lnTo>
                    <a:pt x="748" y="90"/>
                  </a:lnTo>
                  <a:lnTo>
                    <a:pt x="744" y="90"/>
                  </a:lnTo>
                  <a:lnTo>
                    <a:pt x="742" y="90"/>
                  </a:lnTo>
                  <a:lnTo>
                    <a:pt x="738" y="94"/>
                  </a:lnTo>
                  <a:lnTo>
                    <a:pt x="734" y="94"/>
                  </a:lnTo>
                  <a:lnTo>
                    <a:pt x="734" y="90"/>
                  </a:lnTo>
                  <a:lnTo>
                    <a:pt x="730" y="90"/>
                  </a:lnTo>
                  <a:lnTo>
                    <a:pt x="730" y="94"/>
                  </a:lnTo>
                  <a:lnTo>
                    <a:pt x="734" y="94"/>
                  </a:lnTo>
                  <a:lnTo>
                    <a:pt x="738" y="94"/>
                  </a:lnTo>
                  <a:lnTo>
                    <a:pt x="742" y="94"/>
                  </a:lnTo>
                  <a:lnTo>
                    <a:pt x="744" y="94"/>
                  </a:lnTo>
                  <a:lnTo>
                    <a:pt x="744" y="90"/>
                  </a:lnTo>
                  <a:lnTo>
                    <a:pt x="748" y="90"/>
                  </a:lnTo>
                  <a:lnTo>
                    <a:pt x="752" y="90"/>
                  </a:lnTo>
                  <a:lnTo>
                    <a:pt x="756" y="90"/>
                  </a:lnTo>
                  <a:lnTo>
                    <a:pt x="760" y="90"/>
                  </a:lnTo>
                  <a:lnTo>
                    <a:pt x="764" y="90"/>
                  </a:lnTo>
                  <a:lnTo>
                    <a:pt x="768" y="94"/>
                  </a:lnTo>
                  <a:lnTo>
                    <a:pt x="770" y="94"/>
                  </a:lnTo>
                  <a:lnTo>
                    <a:pt x="774" y="94"/>
                  </a:lnTo>
                  <a:lnTo>
                    <a:pt x="778" y="94"/>
                  </a:lnTo>
                  <a:lnTo>
                    <a:pt x="782" y="90"/>
                  </a:lnTo>
                  <a:lnTo>
                    <a:pt x="786" y="90"/>
                  </a:lnTo>
                  <a:lnTo>
                    <a:pt x="788" y="90"/>
                  </a:lnTo>
                  <a:lnTo>
                    <a:pt x="788" y="94"/>
                  </a:lnTo>
                  <a:lnTo>
                    <a:pt x="792" y="94"/>
                  </a:lnTo>
                  <a:lnTo>
                    <a:pt x="796" y="94"/>
                  </a:lnTo>
                  <a:lnTo>
                    <a:pt x="800" y="94"/>
                  </a:lnTo>
                  <a:lnTo>
                    <a:pt x="804" y="94"/>
                  </a:lnTo>
                  <a:lnTo>
                    <a:pt x="800" y="94"/>
                  </a:lnTo>
                  <a:lnTo>
                    <a:pt x="800" y="98"/>
                  </a:lnTo>
                  <a:lnTo>
                    <a:pt x="796" y="98"/>
                  </a:lnTo>
                  <a:lnTo>
                    <a:pt x="792" y="98"/>
                  </a:lnTo>
                  <a:lnTo>
                    <a:pt x="796" y="98"/>
                  </a:lnTo>
                  <a:lnTo>
                    <a:pt x="792" y="100"/>
                  </a:lnTo>
                  <a:lnTo>
                    <a:pt x="788" y="100"/>
                  </a:lnTo>
                  <a:lnTo>
                    <a:pt x="786" y="100"/>
                  </a:lnTo>
                  <a:lnTo>
                    <a:pt x="782" y="100"/>
                  </a:lnTo>
                  <a:lnTo>
                    <a:pt x="778" y="100"/>
                  </a:lnTo>
                  <a:lnTo>
                    <a:pt x="774" y="100"/>
                  </a:lnTo>
                  <a:lnTo>
                    <a:pt x="770" y="100"/>
                  </a:lnTo>
                  <a:lnTo>
                    <a:pt x="768" y="100"/>
                  </a:lnTo>
                  <a:lnTo>
                    <a:pt x="764" y="100"/>
                  </a:lnTo>
                  <a:lnTo>
                    <a:pt x="760" y="100"/>
                  </a:lnTo>
                  <a:lnTo>
                    <a:pt x="756" y="100"/>
                  </a:lnTo>
                  <a:lnTo>
                    <a:pt x="752" y="100"/>
                  </a:lnTo>
                  <a:lnTo>
                    <a:pt x="748" y="100"/>
                  </a:lnTo>
                  <a:lnTo>
                    <a:pt x="748" y="104"/>
                  </a:lnTo>
                  <a:lnTo>
                    <a:pt x="744" y="104"/>
                  </a:lnTo>
                  <a:lnTo>
                    <a:pt x="742" y="104"/>
                  </a:lnTo>
                  <a:lnTo>
                    <a:pt x="744" y="104"/>
                  </a:lnTo>
                  <a:lnTo>
                    <a:pt x="742" y="108"/>
                  </a:lnTo>
                  <a:lnTo>
                    <a:pt x="738" y="112"/>
                  </a:lnTo>
                  <a:lnTo>
                    <a:pt x="742" y="112"/>
                  </a:lnTo>
                  <a:lnTo>
                    <a:pt x="744" y="112"/>
                  </a:lnTo>
                  <a:lnTo>
                    <a:pt x="744" y="116"/>
                  </a:lnTo>
                  <a:lnTo>
                    <a:pt x="748" y="116"/>
                  </a:lnTo>
                  <a:lnTo>
                    <a:pt x="748" y="112"/>
                  </a:lnTo>
                  <a:lnTo>
                    <a:pt x="752" y="112"/>
                  </a:lnTo>
                  <a:lnTo>
                    <a:pt x="748" y="112"/>
                  </a:lnTo>
                  <a:lnTo>
                    <a:pt x="744" y="112"/>
                  </a:lnTo>
                  <a:lnTo>
                    <a:pt x="748" y="108"/>
                  </a:lnTo>
                  <a:lnTo>
                    <a:pt x="752" y="108"/>
                  </a:lnTo>
                  <a:lnTo>
                    <a:pt x="756" y="108"/>
                  </a:lnTo>
                  <a:lnTo>
                    <a:pt x="756" y="104"/>
                  </a:lnTo>
                  <a:lnTo>
                    <a:pt x="760" y="104"/>
                  </a:lnTo>
                  <a:lnTo>
                    <a:pt x="764" y="104"/>
                  </a:lnTo>
                  <a:lnTo>
                    <a:pt x="768" y="104"/>
                  </a:lnTo>
                  <a:lnTo>
                    <a:pt x="770" y="104"/>
                  </a:lnTo>
                  <a:lnTo>
                    <a:pt x="774" y="104"/>
                  </a:lnTo>
                  <a:lnTo>
                    <a:pt x="778" y="104"/>
                  </a:lnTo>
                  <a:lnTo>
                    <a:pt x="782" y="104"/>
                  </a:lnTo>
                  <a:lnTo>
                    <a:pt x="786" y="104"/>
                  </a:lnTo>
                  <a:lnTo>
                    <a:pt x="786" y="108"/>
                  </a:lnTo>
                  <a:lnTo>
                    <a:pt x="782" y="108"/>
                  </a:lnTo>
                  <a:lnTo>
                    <a:pt x="778" y="112"/>
                  </a:lnTo>
                  <a:lnTo>
                    <a:pt x="778" y="116"/>
                  </a:lnTo>
                  <a:lnTo>
                    <a:pt x="774" y="116"/>
                  </a:lnTo>
                  <a:lnTo>
                    <a:pt x="770" y="116"/>
                  </a:lnTo>
                  <a:lnTo>
                    <a:pt x="768" y="116"/>
                  </a:lnTo>
                  <a:lnTo>
                    <a:pt x="764" y="116"/>
                  </a:lnTo>
                  <a:lnTo>
                    <a:pt x="760" y="116"/>
                  </a:lnTo>
                  <a:lnTo>
                    <a:pt x="756" y="116"/>
                  </a:lnTo>
                  <a:lnTo>
                    <a:pt x="756" y="120"/>
                  </a:lnTo>
                  <a:lnTo>
                    <a:pt x="752" y="120"/>
                  </a:lnTo>
                  <a:lnTo>
                    <a:pt x="756" y="120"/>
                  </a:lnTo>
                  <a:lnTo>
                    <a:pt x="756" y="124"/>
                  </a:lnTo>
                  <a:lnTo>
                    <a:pt x="752" y="124"/>
                  </a:lnTo>
                  <a:lnTo>
                    <a:pt x="752" y="128"/>
                  </a:lnTo>
                  <a:lnTo>
                    <a:pt x="752" y="130"/>
                  </a:lnTo>
                  <a:lnTo>
                    <a:pt x="752" y="134"/>
                  </a:lnTo>
                  <a:lnTo>
                    <a:pt x="752" y="130"/>
                  </a:lnTo>
                  <a:lnTo>
                    <a:pt x="756" y="128"/>
                  </a:lnTo>
                  <a:lnTo>
                    <a:pt x="760" y="128"/>
                  </a:lnTo>
                  <a:lnTo>
                    <a:pt x="764" y="128"/>
                  </a:lnTo>
                  <a:lnTo>
                    <a:pt x="764" y="130"/>
                  </a:lnTo>
                  <a:lnTo>
                    <a:pt x="760" y="130"/>
                  </a:lnTo>
                  <a:lnTo>
                    <a:pt x="764" y="130"/>
                  </a:lnTo>
                  <a:lnTo>
                    <a:pt x="760" y="130"/>
                  </a:lnTo>
                  <a:lnTo>
                    <a:pt x="756" y="130"/>
                  </a:lnTo>
                  <a:lnTo>
                    <a:pt x="756" y="134"/>
                  </a:lnTo>
                  <a:lnTo>
                    <a:pt x="752" y="134"/>
                  </a:lnTo>
                  <a:lnTo>
                    <a:pt x="748" y="134"/>
                  </a:lnTo>
                  <a:lnTo>
                    <a:pt x="748" y="138"/>
                  </a:lnTo>
                  <a:lnTo>
                    <a:pt x="748" y="142"/>
                  </a:lnTo>
                  <a:lnTo>
                    <a:pt x="744" y="142"/>
                  </a:lnTo>
                  <a:lnTo>
                    <a:pt x="742" y="142"/>
                  </a:lnTo>
                  <a:lnTo>
                    <a:pt x="738" y="142"/>
                  </a:lnTo>
                  <a:lnTo>
                    <a:pt x="734" y="142"/>
                  </a:lnTo>
                  <a:lnTo>
                    <a:pt x="734" y="146"/>
                  </a:lnTo>
                  <a:lnTo>
                    <a:pt x="738" y="146"/>
                  </a:lnTo>
                  <a:lnTo>
                    <a:pt x="734" y="146"/>
                  </a:lnTo>
                  <a:lnTo>
                    <a:pt x="730" y="146"/>
                  </a:lnTo>
                  <a:lnTo>
                    <a:pt x="730" y="150"/>
                  </a:lnTo>
                  <a:lnTo>
                    <a:pt x="734" y="150"/>
                  </a:lnTo>
                  <a:lnTo>
                    <a:pt x="734" y="146"/>
                  </a:lnTo>
                  <a:lnTo>
                    <a:pt x="738" y="146"/>
                  </a:lnTo>
                  <a:lnTo>
                    <a:pt x="738" y="150"/>
                  </a:lnTo>
                  <a:lnTo>
                    <a:pt x="734" y="150"/>
                  </a:lnTo>
                  <a:lnTo>
                    <a:pt x="734" y="154"/>
                  </a:lnTo>
                  <a:lnTo>
                    <a:pt x="730" y="158"/>
                  </a:lnTo>
                  <a:lnTo>
                    <a:pt x="730" y="160"/>
                  </a:lnTo>
                  <a:lnTo>
                    <a:pt x="726" y="160"/>
                  </a:lnTo>
                  <a:lnTo>
                    <a:pt x="722" y="160"/>
                  </a:lnTo>
                  <a:lnTo>
                    <a:pt x="726" y="164"/>
                  </a:lnTo>
                  <a:lnTo>
                    <a:pt x="730" y="164"/>
                  </a:lnTo>
                  <a:lnTo>
                    <a:pt x="726" y="164"/>
                  </a:lnTo>
                  <a:lnTo>
                    <a:pt x="722" y="168"/>
                  </a:lnTo>
                  <a:lnTo>
                    <a:pt x="726" y="168"/>
                  </a:lnTo>
                  <a:lnTo>
                    <a:pt x="722" y="172"/>
                  </a:lnTo>
                  <a:lnTo>
                    <a:pt x="718" y="174"/>
                  </a:lnTo>
                  <a:lnTo>
                    <a:pt x="722" y="174"/>
                  </a:lnTo>
                  <a:lnTo>
                    <a:pt x="726" y="174"/>
                  </a:lnTo>
                  <a:lnTo>
                    <a:pt x="730" y="174"/>
                  </a:lnTo>
                  <a:lnTo>
                    <a:pt x="726" y="174"/>
                  </a:lnTo>
                  <a:lnTo>
                    <a:pt x="726" y="178"/>
                  </a:lnTo>
                  <a:lnTo>
                    <a:pt x="730" y="174"/>
                  </a:lnTo>
                  <a:lnTo>
                    <a:pt x="730" y="172"/>
                  </a:lnTo>
                  <a:lnTo>
                    <a:pt x="734" y="168"/>
                  </a:lnTo>
                  <a:lnTo>
                    <a:pt x="738" y="164"/>
                  </a:lnTo>
                  <a:lnTo>
                    <a:pt x="742" y="168"/>
                  </a:lnTo>
                  <a:lnTo>
                    <a:pt x="744" y="168"/>
                  </a:lnTo>
                  <a:lnTo>
                    <a:pt x="748" y="172"/>
                  </a:lnTo>
                  <a:lnTo>
                    <a:pt x="752" y="172"/>
                  </a:lnTo>
                  <a:lnTo>
                    <a:pt x="756" y="172"/>
                  </a:lnTo>
                  <a:lnTo>
                    <a:pt x="760" y="172"/>
                  </a:lnTo>
                  <a:lnTo>
                    <a:pt x="764" y="174"/>
                  </a:lnTo>
                  <a:lnTo>
                    <a:pt x="760" y="174"/>
                  </a:lnTo>
                  <a:lnTo>
                    <a:pt x="760" y="178"/>
                  </a:lnTo>
                  <a:lnTo>
                    <a:pt x="756" y="174"/>
                  </a:lnTo>
                  <a:lnTo>
                    <a:pt x="748" y="174"/>
                  </a:lnTo>
                  <a:lnTo>
                    <a:pt x="748" y="172"/>
                  </a:lnTo>
                  <a:lnTo>
                    <a:pt x="744" y="172"/>
                  </a:lnTo>
                  <a:lnTo>
                    <a:pt x="744" y="174"/>
                  </a:lnTo>
                  <a:lnTo>
                    <a:pt x="742" y="174"/>
                  </a:lnTo>
                  <a:lnTo>
                    <a:pt x="738" y="174"/>
                  </a:lnTo>
                  <a:lnTo>
                    <a:pt x="742" y="174"/>
                  </a:lnTo>
                  <a:lnTo>
                    <a:pt x="744" y="174"/>
                  </a:lnTo>
                  <a:lnTo>
                    <a:pt x="744" y="178"/>
                  </a:lnTo>
                  <a:lnTo>
                    <a:pt x="742" y="178"/>
                  </a:lnTo>
                  <a:lnTo>
                    <a:pt x="744" y="178"/>
                  </a:lnTo>
                  <a:lnTo>
                    <a:pt x="742" y="178"/>
                  </a:lnTo>
                  <a:lnTo>
                    <a:pt x="738" y="178"/>
                  </a:lnTo>
                  <a:lnTo>
                    <a:pt x="734" y="178"/>
                  </a:lnTo>
                  <a:lnTo>
                    <a:pt x="738" y="178"/>
                  </a:lnTo>
                  <a:lnTo>
                    <a:pt x="742" y="178"/>
                  </a:lnTo>
                  <a:lnTo>
                    <a:pt x="744" y="178"/>
                  </a:lnTo>
                  <a:lnTo>
                    <a:pt x="748" y="182"/>
                  </a:lnTo>
                  <a:lnTo>
                    <a:pt x="744" y="182"/>
                  </a:lnTo>
                  <a:lnTo>
                    <a:pt x="742" y="182"/>
                  </a:lnTo>
                  <a:lnTo>
                    <a:pt x="738" y="182"/>
                  </a:lnTo>
                  <a:lnTo>
                    <a:pt x="742" y="182"/>
                  </a:lnTo>
                  <a:lnTo>
                    <a:pt x="744" y="182"/>
                  </a:lnTo>
                  <a:lnTo>
                    <a:pt x="748" y="182"/>
                  </a:lnTo>
                  <a:lnTo>
                    <a:pt x="752" y="182"/>
                  </a:lnTo>
                  <a:lnTo>
                    <a:pt x="756" y="182"/>
                  </a:lnTo>
                  <a:lnTo>
                    <a:pt x="756" y="186"/>
                  </a:lnTo>
                  <a:lnTo>
                    <a:pt x="760" y="186"/>
                  </a:lnTo>
                  <a:lnTo>
                    <a:pt x="764" y="186"/>
                  </a:lnTo>
                  <a:lnTo>
                    <a:pt x="764" y="182"/>
                  </a:lnTo>
                  <a:lnTo>
                    <a:pt x="768" y="182"/>
                  </a:lnTo>
                  <a:lnTo>
                    <a:pt x="770" y="182"/>
                  </a:lnTo>
                  <a:lnTo>
                    <a:pt x="774" y="186"/>
                  </a:lnTo>
                  <a:lnTo>
                    <a:pt x="774" y="190"/>
                  </a:lnTo>
                  <a:lnTo>
                    <a:pt x="774" y="194"/>
                  </a:lnTo>
                  <a:lnTo>
                    <a:pt x="774" y="198"/>
                  </a:lnTo>
                  <a:lnTo>
                    <a:pt x="770" y="198"/>
                  </a:lnTo>
                  <a:lnTo>
                    <a:pt x="770" y="200"/>
                  </a:lnTo>
                  <a:lnTo>
                    <a:pt x="768" y="198"/>
                  </a:lnTo>
                  <a:lnTo>
                    <a:pt x="764" y="198"/>
                  </a:lnTo>
                  <a:lnTo>
                    <a:pt x="760" y="198"/>
                  </a:lnTo>
                  <a:lnTo>
                    <a:pt x="756" y="198"/>
                  </a:lnTo>
                  <a:lnTo>
                    <a:pt x="752" y="194"/>
                  </a:lnTo>
                  <a:lnTo>
                    <a:pt x="748" y="194"/>
                  </a:lnTo>
                  <a:lnTo>
                    <a:pt x="744" y="194"/>
                  </a:lnTo>
                  <a:lnTo>
                    <a:pt x="738" y="194"/>
                  </a:lnTo>
                  <a:lnTo>
                    <a:pt x="734" y="194"/>
                  </a:lnTo>
                  <a:lnTo>
                    <a:pt x="738" y="194"/>
                  </a:lnTo>
                  <a:lnTo>
                    <a:pt x="742" y="194"/>
                  </a:lnTo>
                  <a:lnTo>
                    <a:pt x="742" y="198"/>
                  </a:lnTo>
                  <a:lnTo>
                    <a:pt x="738" y="198"/>
                  </a:lnTo>
                  <a:lnTo>
                    <a:pt x="734" y="198"/>
                  </a:lnTo>
                  <a:lnTo>
                    <a:pt x="730" y="198"/>
                  </a:lnTo>
                  <a:lnTo>
                    <a:pt x="726" y="198"/>
                  </a:lnTo>
                  <a:lnTo>
                    <a:pt x="730" y="198"/>
                  </a:lnTo>
                  <a:lnTo>
                    <a:pt x="734" y="198"/>
                  </a:lnTo>
                  <a:lnTo>
                    <a:pt x="738" y="198"/>
                  </a:lnTo>
                  <a:lnTo>
                    <a:pt x="734" y="198"/>
                  </a:lnTo>
                  <a:lnTo>
                    <a:pt x="734" y="200"/>
                  </a:lnTo>
                  <a:lnTo>
                    <a:pt x="734" y="198"/>
                  </a:lnTo>
                  <a:lnTo>
                    <a:pt x="730" y="198"/>
                  </a:lnTo>
                  <a:lnTo>
                    <a:pt x="730" y="200"/>
                  </a:lnTo>
                  <a:lnTo>
                    <a:pt x="726" y="204"/>
                  </a:lnTo>
                  <a:lnTo>
                    <a:pt x="722" y="204"/>
                  </a:lnTo>
                  <a:lnTo>
                    <a:pt x="722" y="200"/>
                  </a:lnTo>
                  <a:lnTo>
                    <a:pt x="718" y="198"/>
                  </a:lnTo>
                  <a:lnTo>
                    <a:pt x="716" y="198"/>
                  </a:lnTo>
                  <a:lnTo>
                    <a:pt x="716" y="200"/>
                  </a:lnTo>
                  <a:lnTo>
                    <a:pt x="712" y="200"/>
                  </a:lnTo>
                  <a:lnTo>
                    <a:pt x="716" y="204"/>
                  </a:lnTo>
                  <a:lnTo>
                    <a:pt x="716" y="208"/>
                  </a:lnTo>
                  <a:lnTo>
                    <a:pt x="716" y="204"/>
                  </a:lnTo>
                  <a:lnTo>
                    <a:pt x="718" y="204"/>
                  </a:lnTo>
                  <a:lnTo>
                    <a:pt x="722" y="204"/>
                  </a:lnTo>
                  <a:lnTo>
                    <a:pt x="726" y="208"/>
                  </a:lnTo>
                  <a:lnTo>
                    <a:pt x="722" y="208"/>
                  </a:lnTo>
                  <a:lnTo>
                    <a:pt x="718" y="208"/>
                  </a:lnTo>
                  <a:lnTo>
                    <a:pt x="722" y="208"/>
                  </a:lnTo>
                  <a:lnTo>
                    <a:pt x="726" y="208"/>
                  </a:lnTo>
                  <a:lnTo>
                    <a:pt x="722" y="208"/>
                  </a:lnTo>
                  <a:lnTo>
                    <a:pt x="718" y="208"/>
                  </a:lnTo>
                  <a:lnTo>
                    <a:pt x="716" y="208"/>
                  </a:lnTo>
                  <a:lnTo>
                    <a:pt x="718" y="208"/>
                  </a:lnTo>
                  <a:lnTo>
                    <a:pt x="722" y="208"/>
                  </a:lnTo>
                  <a:lnTo>
                    <a:pt x="726" y="208"/>
                  </a:lnTo>
                  <a:lnTo>
                    <a:pt x="726" y="212"/>
                  </a:lnTo>
                  <a:lnTo>
                    <a:pt x="726" y="216"/>
                  </a:lnTo>
                  <a:lnTo>
                    <a:pt x="730" y="212"/>
                  </a:lnTo>
                  <a:lnTo>
                    <a:pt x="734" y="212"/>
                  </a:lnTo>
                  <a:lnTo>
                    <a:pt x="734" y="216"/>
                  </a:lnTo>
                  <a:lnTo>
                    <a:pt x="738" y="216"/>
                  </a:lnTo>
                  <a:lnTo>
                    <a:pt x="742" y="216"/>
                  </a:lnTo>
                  <a:lnTo>
                    <a:pt x="744" y="216"/>
                  </a:lnTo>
                  <a:lnTo>
                    <a:pt x="742" y="216"/>
                  </a:lnTo>
                  <a:lnTo>
                    <a:pt x="738" y="216"/>
                  </a:lnTo>
                  <a:lnTo>
                    <a:pt x="734" y="212"/>
                  </a:lnTo>
                  <a:lnTo>
                    <a:pt x="738" y="212"/>
                  </a:lnTo>
                  <a:lnTo>
                    <a:pt x="742" y="212"/>
                  </a:lnTo>
                  <a:lnTo>
                    <a:pt x="742" y="216"/>
                  </a:lnTo>
                  <a:lnTo>
                    <a:pt x="744" y="216"/>
                  </a:lnTo>
                  <a:lnTo>
                    <a:pt x="748" y="216"/>
                  </a:lnTo>
                  <a:lnTo>
                    <a:pt x="748" y="212"/>
                  </a:lnTo>
                  <a:lnTo>
                    <a:pt x="752" y="216"/>
                  </a:lnTo>
                  <a:lnTo>
                    <a:pt x="752" y="220"/>
                  </a:lnTo>
                  <a:lnTo>
                    <a:pt x="748" y="220"/>
                  </a:lnTo>
                  <a:lnTo>
                    <a:pt x="744" y="220"/>
                  </a:lnTo>
                  <a:lnTo>
                    <a:pt x="744" y="224"/>
                  </a:lnTo>
                  <a:lnTo>
                    <a:pt x="742" y="224"/>
                  </a:lnTo>
                  <a:lnTo>
                    <a:pt x="738" y="220"/>
                  </a:lnTo>
                  <a:lnTo>
                    <a:pt x="730" y="220"/>
                  </a:lnTo>
                  <a:lnTo>
                    <a:pt x="730" y="224"/>
                  </a:lnTo>
                  <a:lnTo>
                    <a:pt x="726" y="224"/>
                  </a:lnTo>
                  <a:lnTo>
                    <a:pt x="722" y="224"/>
                  </a:lnTo>
                  <a:lnTo>
                    <a:pt x="722" y="220"/>
                  </a:lnTo>
                  <a:lnTo>
                    <a:pt x="722" y="224"/>
                  </a:lnTo>
                  <a:lnTo>
                    <a:pt x="726" y="224"/>
                  </a:lnTo>
                  <a:lnTo>
                    <a:pt x="730" y="224"/>
                  </a:lnTo>
                  <a:lnTo>
                    <a:pt x="734" y="224"/>
                  </a:lnTo>
                  <a:lnTo>
                    <a:pt x="738" y="224"/>
                  </a:lnTo>
                  <a:lnTo>
                    <a:pt x="742" y="224"/>
                  </a:lnTo>
                  <a:lnTo>
                    <a:pt x="744" y="224"/>
                  </a:lnTo>
                  <a:lnTo>
                    <a:pt x="748" y="224"/>
                  </a:lnTo>
                  <a:lnTo>
                    <a:pt x="752" y="224"/>
                  </a:lnTo>
                  <a:lnTo>
                    <a:pt x="756" y="228"/>
                  </a:lnTo>
                  <a:lnTo>
                    <a:pt x="756" y="230"/>
                  </a:lnTo>
                  <a:lnTo>
                    <a:pt x="756" y="234"/>
                  </a:lnTo>
                  <a:lnTo>
                    <a:pt x="760" y="238"/>
                  </a:lnTo>
                  <a:lnTo>
                    <a:pt x="756" y="238"/>
                  </a:lnTo>
                  <a:lnTo>
                    <a:pt x="756" y="242"/>
                  </a:lnTo>
                  <a:lnTo>
                    <a:pt x="756" y="246"/>
                  </a:lnTo>
                  <a:lnTo>
                    <a:pt x="752" y="246"/>
                  </a:lnTo>
                  <a:lnTo>
                    <a:pt x="748" y="246"/>
                  </a:lnTo>
                  <a:lnTo>
                    <a:pt x="748" y="242"/>
                  </a:lnTo>
                  <a:lnTo>
                    <a:pt x="748" y="238"/>
                  </a:lnTo>
                  <a:lnTo>
                    <a:pt x="744" y="238"/>
                  </a:lnTo>
                  <a:lnTo>
                    <a:pt x="742" y="238"/>
                  </a:lnTo>
                  <a:lnTo>
                    <a:pt x="742" y="242"/>
                  </a:lnTo>
                  <a:lnTo>
                    <a:pt x="738" y="242"/>
                  </a:lnTo>
                  <a:lnTo>
                    <a:pt x="734" y="238"/>
                  </a:lnTo>
                  <a:lnTo>
                    <a:pt x="730" y="234"/>
                  </a:lnTo>
                  <a:lnTo>
                    <a:pt x="726" y="234"/>
                  </a:lnTo>
                  <a:lnTo>
                    <a:pt x="726" y="230"/>
                  </a:lnTo>
                  <a:lnTo>
                    <a:pt x="722" y="230"/>
                  </a:lnTo>
                  <a:lnTo>
                    <a:pt x="718" y="230"/>
                  </a:lnTo>
                  <a:lnTo>
                    <a:pt x="716" y="230"/>
                  </a:lnTo>
                  <a:lnTo>
                    <a:pt x="718" y="230"/>
                  </a:lnTo>
                  <a:lnTo>
                    <a:pt x="722" y="230"/>
                  </a:lnTo>
                  <a:lnTo>
                    <a:pt x="722" y="234"/>
                  </a:lnTo>
                  <a:lnTo>
                    <a:pt x="726" y="234"/>
                  </a:lnTo>
                  <a:lnTo>
                    <a:pt x="730" y="234"/>
                  </a:lnTo>
                  <a:lnTo>
                    <a:pt x="726" y="234"/>
                  </a:lnTo>
                  <a:lnTo>
                    <a:pt x="722" y="234"/>
                  </a:lnTo>
                  <a:lnTo>
                    <a:pt x="718" y="234"/>
                  </a:lnTo>
                  <a:lnTo>
                    <a:pt x="716" y="234"/>
                  </a:lnTo>
                  <a:lnTo>
                    <a:pt x="718" y="234"/>
                  </a:lnTo>
                  <a:lnTo>
                    <a:pt x="722" y="234"/>
                  </a:lnTo>
                  <a:lnTo>
                    <a:pt x="726" y="234"/>
                  </a:lnTo>
                  <a:lnTo>
                    <a:pt x="730" y="238"/>
                  </a:lnTo>
                  <a:lnTo>
                    <a:pt x="734" y="238"/>
                  </a:lnTo>
                  <a:lnTo>
                    <a:pt x="738" y="242"/>
                  </a:lnTo>
                  <a:lnTo>
                    <a:pt x="742" y="242"/>
                  </a:lnTo>
                  <a:lnTo>
                    <a:pt x="742" y="246"/>
                  </a:lnTo>
                  <a:lnTo>
                    <a:pt x="738" y="246"/>
                  </a:lnTo>
                  <a:lnTo>
                    <a:pt x="734" y="246"/>
                  </a:lnTo>
                  <a:lnTo>
                    <a:pt x="730" y="246"/>
                  </a:lnTo>
                  <a:lnTo>
                    <a:pt x="730" y="250"/>
                  </a:lnTo>
                  <a:lnTo>
                    <a:pt x="726" y="250"/>
                  </a:lnTo>
                  <a:lnTo>
                    <a:pt x="722" y="250"/>
                  </a:lnTo>
                  <a:lnTo>
                    <a:pt x="722" y="246"/>
                  </a:lnTo>
                  <a:lnTo>
                    <a:pt x="718" y="246"/>
                  </a:lnTo>
                  <a:lnTo>
                    <a:pt x="716" y="246"/>
                  </a:lnTo>
                  <a:lnTo>
                    <a:pt x="716" y="242"/>
                  </a:lnTo>
                  <a:lnTo>
                    <a:pt x="716" y="246"/>
                  </a:lnTo>
                  <a:lnTo>
                    <a:pt x="718" y="246"/>
                  </a:lnTo>
                  <a:lnTo>
                    <a:pt x="722" y="246"/>
                  </a:lnTo>
                  <a:lnTo>
                    <a:pt x="722" y="250"/>
                  </a:lnTo>
                  <a:lnTo>
                    <a:pt x="726" y="250"/>
                  </a:lnTo>
                  <a:lnTo>
                    <a:pt x="730" y="250"/>
                  </a:lnTo>
                  <a:lnTo>
                    <a:pt x="730" y="246"/>
                  </a:lnTo>
                  <a:lnTo>
                    <a:pt x="734" y="246"/>
                  </a:lnTo>
                  <a:lnTo>
                    <a:pt x="738" y="246"/>
                  </a:lnTo>
                  <a:lnTo>
                    <a:pt x="742" y="246"/>
                  </a:lnTo>
                  <a:lnTo>
                    <a:pt x="742" y="250"/>
                  </a:lnTo>
                  <a:lnTo>
                    <a:pt x="738" y="254"/>
                  </a:lnTo>
                  <a:lnTo>
                    <a:pt x="742" y="254"/>
                  </a:lnTo>
                  <a:lnTo>
                    <a:pt x="742" y="256"/>
                  </a:lnTo>
                  <a:lnTo>
                    <a:pt x="738" y="256"/>
                  </a:lnTo>
                  <a:lnTo>
                    <a:pt x="734" y="256"/>
                  </a:lnTo>
                  <a:lnTo>
                    <a:pt x="738" y="256"/>
                  </a:lnTo>
                  <a:lnTo>
                    <a:pt x="742" y="256"/>
                  </a:lnTo>
                  <a:lnTo>
                    <a:pt x="744" y="256"/>
                  </a:lnTo>
                  <a:lnTo>
                    <a:pt x="748" y="256"/>
                  </a:lnTo>
                  <a:lnTo>
                    <a:pt x="752" y="260"/>
                  </a:lnTo>
                  <a:lnTo>
                    <a:pt x="756" y="256"/>
                  </a:lnTo>
                  <a:lnTo>
                    <a:pt x="760" y="256"/>
                  </a:lnTo>
                  <a:lnTo>
                    <a:pt x="760" y="260"/>
                  </a:lnTo>
                  <a:lnTo>
                    <a:pt x="764" y="260"/>
                  </a:lnTo>
                  <a:lnTo>
                    <a:pt x="764" y="264"/>
                  </a:lnTo>
                  <a:lnTo>
                    <a:pt x="760" y="264"/>
                  </a:lnTo>
                  <a:lnTo>
                    <a:pt x="760" y="268"/>
                  </a:lnTo>
                  <a:lnTo>
                    <a:pt x="756" y="268"/>
                  </a:lnTo>
                  <a:lnTo>
                    <a:pt x="752" y="268"/>
                  </a:lnTo>
                  <a:lnTo>
                    <a:pt x="748" y="268"/>
                  </a:lnTo>
                  <a:lnTo>
                    <a:pt x="744" y="268"/>
                  </a:lnTo>
                  <a:lnTo>
                    <a:pt x="744" y="264"/>
                  </a:lnTo>
                  <a:lnTo>
                    <a:pt x="742" y="264"/>
                  </a:lnTo>
                  <a:lnTo>
                    <a:pt x="738" y="264"/>
                  </a:lnTo>
                  <a:lnTo>
                    <a:pt x="734" y="264"/>
                  </a:lnTo>
                  <a:lnTo>
                    <a:pt x="730" y="264"/>
                  </a:lnTo>
                  <a:lnTo>
                    <a:pt x="726" y="264"/>
                  </a:lnTo>
                  <a:lnTo>
                    <a:pt x="722" y="264"/>
                  </a:lnTo>
                  <a:lnTo>
                    <a:pt x="722" y="260"/>
                  </a:lnTo>
                  <a:lnTo>
                    <a:pt x="718" y="260"/>
                  </a:lnTo>
                  <a:lnTo>
                    <a:pt x="722" y="260"/>
                  </a:lnTo>
                  <a:lnTo>
                    <a:pt x="722" y="264"/>
                  </a:lnTo>
                  <a:lnTo>
                    <a:pt x="722" y="268"/>
                  </a:lnTo>
                  <a:lnTo>
                    <a:pt x="718" y="268"/>
                  </a:lnTo>
                  <a:lnTo>
                    <a:pt x="716" y="268"/>
                  </a:lnTo>
                  <a:lnTo>
                    <a:pt x="718" y="268"/>
                  </a:lnTo>
                  <a:lnTo>
                    <a:pt x="718" y="272"/>
                  </a:lnTo>
                  <a:lnTo>
                    <a:pt x="716" y="272"/>
                  </a:lnTo>
                  <a:lnTo>
                    <a:pt x="718" y="276"/>
                  </a:lnTo>
                  <a:lnTo>
                    <a:pt x="722" y="276"/>
                  </a:lnTo>
                  <a:lnTo>
                    <a:pt x="722" y="280"/>
                  </a:lnTo>
                  <a:lnTo>
                    <a:pt x="722" y="284"/>
                  </a:lnTo>
                  <a:lnTo>
                    <a:pt x="726" y="284"/>
                  </a:lnTo>
                  <a:lnTo>
                    <a:pt x="722" y="280"/>
                  </a:lnTo>
                  <a:lnTo>
                    <a:pt x="722" y="276"/>
                  </a:lnTo>
                  <a:lnTo>
                    <a:pt x="726" y="272"/>
                  </a:lnTo>
                  <a:lnTo>
                    <a:pt x="726" y="276"/>
                  </a:lnTo>
                  <a:lnTo>
                    <a:pt x="730" y="276"/>
                  </a:lnTo>
                  <a:lnTo>
                    <a:pt x="734" y="276"/>
                  </a:lnTo>
                  <a:lnTo>
                    <a:pt x="738" y="280"/>
                  </a:lnTo>
                  <a:lnTo>
                    <a:pt x="742" y="280"/>
                  </a:lnTo>
                  <a:lnTo>
                    <a:pt x="744" y="280"/>
                  </a:lnTo>
                  <a:lnTo>
                    <a:pt x="744" y="284"/>
                  </a:lnTo>
                  <a:lnTo>
                    <a:pt x="742" y="284"/>
                  </a:lnTo>
                  <a:lnTo>
                    <a:pt x="742" y="286"/>
                  </a:lnTo>
                  <a:lnTo>
                    <a:pt x="744" y="286"/>
                  </a:lnTo>
                  <a:lnTo>
                    <a:pt x="742" y="290"/>
                  </a:lnTo>
                  <a:lnTo>
                    <a:pt x="738" y="290"/>
                  </a:lnTo>
                  <a:lnTo>
                    <a:pt x="734" y="290"/>
                  </a:lnTo>
                  <a:lnTo>
                    <a:pt x="730" y="290"/>
                  </a:lnTo>
                  <a:lnTo>
                    <a:pt x="726" y="290"/>
                  </a:lnTo>
                  <a:lnTo>
                    <a:pt x="722" y="290"/>
                  </a:lnTo>
                  <a:lnTo>
                    <a:pt x="722" y="294"/>
                  </a:lnTo>
                  <a:lnTo>
                    <a:pt x="718" y="294"/>
                  </a:lnTo>
                  <a:lnTo>
                    <a:pt x="716" y="294"/>
                  </a:lnTo>
                  <a:lnTo>
                    <a:pt x="712" y="294"/>
                  </a:lnTo>
                  <a:lnTo>
                    <a:pt x="708" y="294"/>
                  </a:lnTo>
                  <a:lnTo>
                    <a:pt x="704" y="294"/>
                  </a:lnTo>
                  <a:lnTo>
                    <a:pt x="704" y="290"/>
                  </a:lnTo>
                  <a:lnTo>
                    <a:pt x="700" y="290"/>
                  </a:lnTo>
                  <a:lnTo>
                    <a:pt x="696" y="290"/>
                  </a:lnTo>
                  <a:lnTo>
                    <a:pt x="696" y="286"/>
                  </a:lnTo>
                  <a:lnTo>
                    <a:pt x="692" y="286"/>
                  </a:lnTo>
                  <a:lnTo>
                    <a:pt x="692" y="284"/>
                  </a:lnTo>
                  <a:lnTo>
                    <a:pt x="696" y="284"/>
                  </a:lnTo>
                  <a:lnTo>
                    <a:pt x="700" y="284"/>
                  </a:lnTo>
                  <a:lnTo>
                    <a:pt x="704" y="286"/>
                  </a:lnTo>
                  <a:lnTo>
                    <a:pt x="708" y="286"/>
                  </a:lnTo>
                  <a:lnTo>
                    <a:pt x="712" y="286"/>
                  </a:lnTo>
                  <a:lnTo>
                    <a:pt x="716" y="286"/>
                  </a:lnTo>
                  <a:lnTo>
                    <a:pt x="718" y="286"/>
                  </a:lnTo>
                  <a:lnTo>
                    <a:pt x="716" y="286"/>
                  </a:lnTo>
                  <a:lnTo>
                    <a:pt x="712" y="286"/>
                  </a:lnTo>
                  <a:lnTo>
                    <a:pt x="708" y="286"/>
                  </a:lnTo>
                  <a:lnTo>
                    <a:pt x="704" y="284"/>
                  </a:lnTo>
                  <a:lnTo>
                    <a:pt x="700" y="284"/>
                  </a:lnTo>
                  <a:lnTo>
                    <a:pt x="696" y="284"/>
                  </a:lnTo>
                  <a:lnTo>
                    <a:pt x="692" y="284"/>
                  </a:lnTo>
                  <a:lnTo>
                    <a:pt x="692" y="280"/>
                  </a:lnTo>
                  <a:lnTo>
                    <a:pt x="688" y="280"/>
                  </a:lnTo>
                  <a:lnTo>
                    <a:pt x="688" y="284"/>
                  </a:lnTo>
                  <a:lnTo>
                    <a:pt x="686" y="284"/>
                  </a:lnTo>
                  <a:lnTo>
                    <a:pt x="686" y="286"/>
                  </a:lnTo>
                  <a:lnTo>
                    <a:pt x="682" y="286"/>
                  </a:lnTo>
                  <a:lnTo>
                    <a:pt x="678" y="286"/>
                  </a:lnTo>
                  <a:lnTo>
                    <a:pt x="678" y="284"/>
                  </a:lnTo>
                  <a:lnTo>
                    <a:pt x="674" y="284"/>
                  </a:lnTo>
                  <a:lnTo>
                    <a:pt x="674" y="280"/>
                  </a:lnTo>
                  <a:lnTo>
                    <a:pt x="670" y="280"/>
                  </a:lnTo>
                  <a:lnTo>
                    <a:pt x="670" y="276"/>
                  </a:lnTo>
                  <a:lnTo>
                    <a:pt x="666" y="276"/>
                  </a:lnTo>
                  <a:lnTo>
                    <a:pt x="666" y="280"/>
                  </a:lnTo>
                  <a:lnTo>
                    <a:pt x="670" y="280"/>
                  </a:lnTo>
                  <a:lnTo>
                    <a:pt x="674" y="284"/>
                  </a:lnTo>
                  <a:lnTo>
                    <a:pt x="678" y="284"/>
                  </a:lnTo>
                  <a:lnTo>
                    <a:pt x="678" y="286"/>
                  </a:lnTo>
                  <a:lnTo>
                    <a:pt x="682" y="286"/>
                  </a:lnTo>
                  <a:lnTo>
                    <a:pt x="682" y="290"/>
                  </a:lnTo>
                  <a:lnTo>
                    <a:pt x="678" y="290"/>
                  </a:lnTo>
                  <a:lnTo>
                    <a:pt x="674" y="290"/>
                  </a:lnTo>
                  <a:lnTo>
                    <a:pt x="670" y="290"/>
                  </a:lnTo>
                  <a:lnTo>
                    <a:pt x="670" y="294"/>
                  </a:lnTo>
                  <a:lnTo>
                    <a:pt x="666" y="294"/>
                  </a:lnTo>
                  <a:lnTo>
                    <a:pt x="662" y="294"/>
                  </a:lnTo>
                  <a:lnTo>
                    <a:pt x="660" y="294"/>
                  </a:lnTo>
                  <a:lnTo>
                    <a:pt x="656" y="294"/>
                  </a:lnTo>
                  <a:lnTo>
                    <a:pt x="652" y="294"/>
                  </a:lnTo>
                  <a:lnTo>
                    <a:pt x="652" y="290"/>
                  </a:lnTo>
                  <a:lnTo>
                    <a:pt x="648" y="290"/>
                  </a:lnTo>
                  <a:lnTo>
                    <a:pt x="644" y="290"/>
                  </a:lnTo>
                  <a:lnTo>
                    <a:pt x="648" y="294"/>
                  </a:lnTo>
                  <a:lnTo>
                    <a:pt x="652" y="294"/>
                  </a:lnTo>
                  <a:lnTo>
                    <a:pt x="656" y="294"/>
                  </a:lnTo>
                  <a:lnTo>
                    <a:pt x="660" y="294"/>
                  </a:lnTo>
                  <a:lnTo>
                    <a:pt x="656" y="294"/>
                  </a:lnTo>
                  <a:lnTo>
                    <a:pt x="656" y="298"/>
                  </a:lnTo>
                  <a:lnTo>
                    <a:pt x="652" y="298"/>
                  </a:lnTo>
                  <a:lnTo>
                    <a:pt x="648" y="298"/>
                  </a:lnTo>
                  <a:lnTo>
                    <a:pt x="644" y="298"/>
                  </a:lnTo>
                  <a:lnTo>
                    <a:pt x="640" y="298"/>
                  </a:lnTo>
                  <a:lnTo>
                    <a:pt x="644" y="298"/>
                  </a:lnTo>
                  <a:lnTo>
                    <a:pt x="644" y="302"/>
                  </a:lnTo>
                  <a:lnTo>
                    <a:pt x="644" y="306"/>
                  </a:lnTo>
                  <a:lnTo>
                    <a:pt x="644" y="302"/>
                  </a:lnTo>
                  <a:lnTo>
                    <a:pt x="644" y="298"/>
                  </a:lnTo>
                  <a:lnTo>
                    <a:pt x="648" y="298"/>
                  </a:lnTo>
                  <a:lnTo>
                    <a:pt x="652" y="298"/>
                  </a:lnTo>
                  <a:lnTo>
                    <a:pt x="656" y="298"/>
                  </a:lnTo>
                  <a:lnTo>
                    <a:pt x="660" y="298"/>
                  </a:lnTo>
                  <a:lnTo>
                    <a:pt x="662" y="298"/>
                  </a:lnTo>
                  <a:lnTo>
                    <a:pt x="666" y="298"/>
                  </a:lnTo>
                  <a:lnTo>
                    <a:pt x="670" y="298"/>
                  </a:lnTo>
                  <a:lnTo>
                    <a:pt x="674" y="298"/>
                  </a:lnTo>
                  <a:lnTo>
                    <a:pt x="674" y="302"/>
                  </a:lnTo>
                  <a:lnTo>
                    <a:pt x="678" y="298"/>
                  </a:lnTo>
                  <a:lnTo>
                    <a:pt x="678" y="302"/>
                  </a:lnTo>
                  <a:lnTo>
                    <a:pt x="678" y="306"/>
                  </a:lnTo>
                  <a:lnTo>
                    <a:pt x="674" y="306"/>
                  </a:lnTo>
                  <a:lnTo>
                    <a:pt x="670" y="306"/>
                  </a:lnTo>
                  <a:lnTo>
                    <a:pt x="666" y="306"/>
                  </a:lnTo>
                  <a:lnTo>
                    <a:pt x="662" y="310"/>
                  </a:lnTo>
                  <a:lnTo>
                    <a:pt x="660" y="310"/>
                  </a:lnTo>
                  <a:lnTo>
                    <a:pt x="656" y="306"/>
                  </a:lnTo>
                  <a:lnTo>
                    <a:pt x="652" y="306"/>
                  </a:lnTo>
                  <a:lnTo>
                    <a:pt x="648" y="306"/>
                  </a:lnTo>
                  <a:lnTo>
                    <a:pt x="644" y="306"/>
                  </a:lnTo>
                  <a:lnTo>
                    <a:pt x="648" y="306"/>
                  </a:lnTo>
                  <a:lnTo>
                    <a:pt x="652" y="306"/>
                  </a:lnTo>
                  <a:lnTo>
                    <a:pt x="656" y="306"/>
                  </a:lnTo>
                  <a:lnTo>
                    <a:pt x="660" y="310"/>
                  </a:lnTo>
                  <a:lnTo>
                    <a:pt x="656" y="310"/>
                  </a:lnTo>
                  <a:lnTo>
                    <a:pt x="652" y="310"/>
                  </a:lnTo>
                  <a:lnTo>
                    <a:pt x="656" y="310"/>
                  </a:lnTo>
                  <a:lnTo>
                    <a:pt x="660" y="310"/>
                  </a:lnTo>
                  <a:lnTo>
                    <a:pt x="660" y="314"/>
                  </a:lnTo>
                  <a:lnTo>
                    <a:pt x="660" y="310"/>
                  </a:lnTo>
                  <a:lnTo>
                    <a:pt x="662" y="310"/>
                  </a:lnTo>
                  <a:lnTo>
                    <a:pt x="666" y="310"/>
                  </a:lnTo>
                  <a:lnTo>
                    <a:pt x="670" y="306"/>
                  </a:lnTo>
                  <a:lnTo>
                    <a:pt x="674" y="310"/>
                  </a:lnTo>
                  <a:lnTo>
                    <a:pt x="678" y="310"/>
                  </a:lnTo>
                  <a:lnTo>
                    <a:pt x="682" y="310"/>
                  </a:lnTo>
                  <a:lnTo>
                    <a:pt x="682" y="314"/>
                  </a:lnTo>
                  <a:lnTo>
                    <a:pt x="686" y="314"/>
                  </a:lnTo>
                  <a:lnTo>
                    <a:pt x="682" y="316"/>
                  </a:lnTo>
                  <a:lnTo>
                    <a:pt x="678" y="316"/>
                  </a:lnTo>
                  <a:lnTo>
                    <a:pt x="674" y="316"/>
                  </a:lnTo>
                  <a:lnTo>
                    <a:pt x="670" y="316"/>
                  </a:lnTo>
                  <a:lnTo>
                    <a:pt x="666" y="316"/>
                  </a:lnTo>
                  <a:lnTo>
                    <a:pt x="670" y="316"/>
                  </a:lnTo>
                  <a:lnTo>
                    <a:pt x="674" y="316"/>
                  </a:lnTo>
                  <a:lnTo>
                    <a:pt x="674" y="320"/>
                  </a:lnTo>
                  <a:lnTo>
                    <a:pt x="670" y="320"/>
                  </a:lnTo>
                  <a:lnTo>
                    <a:pt x="670" y="324"/>
                  </a:lnTo>
                  <a:lnTo>
                    <a:pt x="674" y="324"/>
                  </a:lnTo>
                  <a:lnTo>
                    <a:pt x="674" y="320"/>
                  </a:lnTo>
                  <a:lnTo>
                    <a:pt x="678" y="320"/>
                  </a:lnTo>
                  <a:lnTo>
                    <a:pt x="678" y="316"/>
                  </a:lnTo>
                  <a:lnTo>
                    <a:pt x="682" y="316"/>
                  </a:lnTo>
                  <a:lnTo>
                    <a:pt x="686" y="316"/>
                  </a:lnTo>
                  <a:lnTo>
                    <a:pt x="686" y="320"/>
                  </a:lnTo>
                  <a:lnTo>
                    <a:pt x="688" y="320"/>
                  </a:lnTo>
                  <a:lnTo>
                    <a:pt x="692" y="320"/>
                  </a:lnTo>
                  <a:lnTo>
                    <a:pt x="696" y="320"/>
                  </a:lnTo>
                  <a:lnTo>
                    <a:pt x="696" y="324"/>
                  </a:lnTo>
                  <a:lnTo>
                    <a:pt x="700" y="324"/>
                  </a:lnTo>
                  <a:lnTo>
                    <a:pt x="704" y="324"/>
                  </a:lnTo>
                  <a:lnTo>
                    <a:pt x="704" y="328"/>
                  </a:lnTo>
                  <a:lnTo>
                    <a:pt x="708" y="328"/>
                  </a:lnTo>
                  <a:lnTo>
                    <a:pt x="712" y="328"/>
                  </a:lnTo>
                  <a:lnTo>
                    <a:pt x="712" y="332"/>
                  </a:lnTo>
                  <a:lnTo>
                    <a:pt x="716" y="332"/>
                  </a:lnTo>
                  <a:lnTo>
                    <a:pt x="712" y="332"/>
                  </a:lnTo>
                  <a:lnTo>
                    <a:pt x="712" y="336"/>
                  </a:lnTo>
                  <a:lnTo>
                    <a:pt x="708" y="336"/>
                  </a:lnTo>
                  <a:lnTo>
                    <a:pt x="704" y="336"/>
                  </a:lnTo>
                  <a:lnTo>
                    <a:pt x="704" y="340"/>
                  </a:lnTo>
                  <a:lnTo>
                    <a:pt x="708" y="340"/>
                  </a:lnTo>
                  <a:lnTo>
                    <a:pt x="708" y="336"/>
                  </a:lnTo>
                  <a:lnTo>
                    <a:pt x="712" y="336"/>
                  </a:lnTo>
                  <a:lnTo>
                    <a:pt x="716" y="336"/>
                  </a:lnTo>
                  <a:lnTo>
                    <a:pt x="712" y="336"/>
                  </a:lnTo>
                  <a:lnTo>
                    <a:pt x="712" y="340"/>
                  </a:lnTo>
                  <a:lnTo>
                    <a:pt x="716" y="340"/>
                  </a:lnTo>
                  <a:lnTo>
                    <a:pt x="716" y="336"/>
                  </a:lnTo>
                  <a:lnTo>
                    <a:pt x="718" y="336"/>
                  </a:lnTo>
                  <a:lnTo>
                    <a:pt x="722" y="336"/>
                  </a:lnTo>
                  <a:lnTo>
                    <a:pt x="718" y="336"/>
                  </a:lnTo>
                  <a:lnTo>
                    <a:pt x="718" y="340"/>
                  </a:lnTo>
                  <a:lnTo>
                    <a:pt x="716" y="340"/>
                  </a:lnTo>
                  <a:lnTo>
                    <a:pt x="712" y="342"/>
                  </a:lnTo>
                  <a:lnTo>
                    <a:pt x="716" y="342"/>
                  </a:lnTo>
                  <a:lnTo>
                    <a:pt x="716" y="346"/>
                  </a:lnTo>
                  <a:lnTo>
                    <a:pt x="716" y="342"/>
                  </a:lnTo>
                  <a:lnTo>
                    <a:pt x="718" y="342"/>
                  </a:lnTo>
                  <a:lnTo>
                    <a:pt x="722" y="342"/>
                  </a:lnTo>
                  <a:lnTo>
                    <a:pt x="726" y="342"/>
                  </a:lnTo>
                  <a:lnTo>
                    <a:pt x="722" y="342"/>
                  </a:lnTo>
                  <a:lnTo>
                    <a:pt x="722" y="346"/>
                  </a:lnTo>
                  <a:lnTo>
                    <a:pt x="726" y="346"/>
                  </a:lnTo>
                  <a:lnTo>
                    <a:pt x="722" y="346"/>
                  </a:lnTo>
                  <a:lnTo>
                    <a:pt x="726" y="346"/>
                  </a:lnTo>
                  <a:lnTo>
                    <a:pt x="726" y="350"/>
                  </a:lnTo>
                  <a:lnTo>
                    <a:pt x="722" y="350"/>
                  </a:lnTo>
                  <a:lnTo>
                    <a:pt x="722" y="354"/>
                  </a:lnTo>
                  <a:lnTo>
                    <a:pt x="718" y="354"/>
                  </a:lnTo>
                  <a:lnTo>
                    <a:pt x="716" y="354"/>
                  </a:lnTo>
                  <a:lnTo>
                    <a:pt x="718" y="354"/>
                  </a:lnTo>
                  <a:lnTo>
                    <a:pt x="722" y="354"/>
                  </a:lnTo>
                  <a:lnTo>
                    <a:pt x="726" y="354"/>
                  </a:lnTo>
                  <a:lnTo>
                    <a:pt x="726" y="358"/>
                  </a:lnTo>
                  <a:lnTo>
                    <a:pt x="722" y="358"/>
                  </a:lnTo>
                  <a:lnTo>
                    <a:pt x="722" y="362"/>
                  </a:lnTo>
                  <a:lnTo>
                    <a:pt x="722" y="358"/>
                  </a:lnTo>
                  <a:lnTo>
                    <a:pt x="722" y="362"/>
                  </a:lnTo>
                  <a:lnTo>
                    <a:pt x="726" y="362"/>
                  </a:lnTo>
                  <a:lnTo>
                    <a:pt x="726" y="358"/>
                  </a:lnTo>
                  <a:lnTo>
                    <a:pt x="726" y="362"/>
                  </a:lnTo>
                  <a:lnTo>
                    <a:pt x="722" y="362"/>
                  </a:lnTo>
                  <a:lnTo>
                    <a:pt x="726" y="362"/>
                  </a:lnTo>
                  <a:lnTo>
                    <a:pt x="722" y="366"/>
                  </a:lnTo>
                  <a:lnTo>
                    <a:pt x="726" y="366"/>
                  </a:lnTo>
                  <a:lnTo>
                    <a:pt x="730" y="366"/>
                  </a:lnTo>
                  <a:lnTo>
                    <a:pt x="726" y="370"/>
                  </a:lnTo>
                  <a:lnTo>
                    <a:pt x="722" y="370"/>
                  </a:lnTo>
                  <a:lnTo>
                    <a:pt x="718" y="370"/>
                  </a:lnTo>
                  <a:lnTo>
                    <a:pt x="716" y="370"/>
                  </a:lnTo>
                  <a:lnTo>
                    <a:pt x="716" y="366"/>
                  </a:lnTo>
                  <a:lnTo>
                    <a:pt x="716" y="362"/>
                  </a:lnTo>
                  <a:lnTo>
                    <a:pt x="716" y="358"/>
                  </a:lnTo>
                  <a:lnTo>
                    <a:pt x="712" y="358"/>
                  </a:lnTo>
                  <a:lnTo>
                    <a:pt x="712" y="362"/>
                  </a:lnTo>
                  <a:lnTo>
                    <a:pt x="712" y="366"/>
                  </a:lnTo>
                  <a:lnTo>
                    <a:pt x="712" y="370"/>
                  </a:lnTo>
                  <a:lnTo>
                    <a:pt x="708" y="370"/>
                  </a:lnTo>
                  <a:lnTo>
                    <a:pt x="704" y="370"/>
                  </a:lnTo>
                  <a:lnTo>
                    <a:pt x="700" y="370"/>
                  </a:lnTo>
                  <a:lnTo>
                    <a:pt x="696" y="366"/>
                  </a:lnTo>
                  <a:lnTo>
                    <a:pt x="692" y="366"/>
                  </a:lnTo>
                  <a:lnTo>
                    <a:pt x="692" y="362"/>
                  </a:lnTo>
                  <a:lnTo>
                    <a:pt x="688" y="362"/>
                  </a:lnTo>
                  <a:lnTo>
                    <a:pt x="688" y="358"/>
                  </a:lnTo>
                  <a:lnTo>
                    <a:pt x="688" y="354"/>
                  </a:lnTo>
                  <a:lnTo>
                    <a:pt x="688" y="350"/>
                  </a:lnTo>
                  <a:lnTo>
                    <a:pt x="686" y="350"/>
                  </a:lnTo>
                  <a:lnTo>
                    <a:pt x="682" y="346"/>
                  </a:lnTo>
                  <a:lnTo>
                    <a:pt x="678" y="346"/>
                  </a:lnTo>
                  <a:lnTo>
                    <a:pt x="674" y="346"/>
                  </a:lnTo>
                  <a:lnTo>
                    <a:pt x="674" y="342"/>
                  </a:lnTo>
                  <a:lnTo>
                    <a:pt x="670" y="342"/>
                  </a:lnTo>
                  <a:lnTo>
                    <a:pt x="670" y="340"/>
                  </a:lnTo>
                  <a:lnTo>
                    <a:pt x="666" y="340"/>
                  </a:lnTo>
                  <a:lnTo>
                    <a:pt x="660" y="340"/>
                  </a:lnTo>
                  <a:lnTo>
                    <a:pt x="656" y="340"/>
                  </a:lnTo>
                  <a:lnTo>
                    <a:pt x="652" y="340"/>
                  </a:lnTo>
                  <a:lnTo>
                    <a:pt x="648" y="336"/>
                  </a:lnTo>
                  <a:lnTo>
                    <a:pt x="644" y="336"/>
                  </a:lnTo>
                  <a:lnTo>
                    <a:pt x="644" y="332"/>
                  </a:lnTo>
                  <a:lnTo>
                    <a:pt x="640" y="332"/>
                  </a:lnTo>
                  <a:lnTo>
                    <a:pt x="640" y="328"/>
                  </a:lnTo>
                  <a:lnTo>
                    <a:pt x="636" y="328"/>
                  </a:lnTo>
                  <a:lnTo>
                    <a:pt x="632" y="328"/>
                  </a:lnTo>
                  <a:lnTo>
                    <a:pt x="630" y="324"/>
                  </a:lnTo>
                  <a:lnTo>
                    <a:pt x="626" y="324"/>
                  </a:lnTo>
                  <a:lnTo>
                    <a:pt x="626" y="328"/>
                  </a:lnTo>
                  <a:lnTo>
                    <a:pt x="630" y="328"/>
                  </a:lnTo>
                  <a:lnTo>
                    <a:pt x="630" y="332"/>
                  </a:lnTo>
                  <a:lnTo>
                    <a:pt x="632" y="332"/>
                  </a:lnTo>
                  <a:lnTo>
                    <a:pt x="636" y="332"/>
                  </a:lnTo>
                  <a:lnTo>
                    <a:pt x="640" y="336"/>
                  </a:lnTo>
                  <a:lnTo>
                    <a:pt x="644" y="336"/>
                  </a:lnTo>
                  <a:lnTo>
                    <a:pt x="644" y="340"/>
                  </a:lnTo>
                  <a:lnTo>
                    <a:pt x="640" y="340"/>
                  </a:lnTo>
                  <a:lnTo>
                    <a:pt x="636" y="340"/>
                  </a:lnTo>
                  <a:lnTo>
                    <a:pt x="632" y="340"/>
                  </a:lnTo>
                  <a:lnTo>
                    <a:pt x="630" y="340"/>
                  </a:lnTo>
                  <a:lnTo>
                    <a:pt x="632" y="340"/>
                  </a:lnTo>
                  <a:lnTo>
                    <a:pt x="636" y="340"/>
                  </a:lnTo>
                  <a:lnTo>
                    <a:pt x="640" y="340"/>
                  </a:lnTo>
                  <a:lnTo>
                    <a:pt x="644" y="340"/>
                  </a:lnTo>
                  <a:lnTo>
                    <a:pt x="648" y="340"/>
                  </a:lnTo>
                  <a:lnTo>
                    <a:pt x="644" y="340"/>
                  </a:lnTo>
                  <a:lnTo>
                    <a:pt x="644" y="342"/>
                  </a:lnTo>
                  <a:lnTo>
                    <a:pt x="648" y="342"/>
                  </a:lnTo>
                  <a:lnTo>
                    <a:pt x="648" y="340"/>
                  </a:lnTo>
                  <a:lnTo>
                    <a:pt x="652" y="340"/>
                  </a:lnTo>
                  <a:lnTo>
                    <a:pt x="652" y="342"/>
                  </a:lnTo>
                  <a:lnTo>
                    <a:pt x="656" y="342"/>
                  </a:lnTo>
                  <a:lnTo>
                    <a:pt x="660" y="342"/>
                  </a:lnTo>
                  <a:lnTo>
                    <a:pt x="662" y="342"/>
                  </a:lnTo>
                  <a:lnTo>
                    <a:pt x="666" y="342"/>
                  </a:lnTo>
                  <a:lnTo>
                    <a:pt x="670" y="342"/>
                  </a:lnTo>
                  <a:lnTo>
                    <a:pt x="674" y="346"/>
                  </a:lnTo>
                  <a:lnTo>
                    <a:pt x="670" y="350"/>
                  </a:lnTo>
                  <a:lnTo>
                    <a:pt x="670" y="346"/>
                  </a:lnTo>
                  <a:lnTo>
                    <a:pt x="666" y="346"/>
                  </a:lnTo>
                  <a:lnTo>
                    <a:pt x="670" y="350"/>
                  </a:lnTo>
                  <a:lnTo>
                    <a:pt x="662" y="354"/>
                  </a:lnTo>
                  <a:lnTo>
                    <a:pt x="660" y="354"/>
                  </a:lnTo>
                  <a:lnTo>
                    <a:pt x="652" y="358"/>
                  </a:lnTo>
                  <a:lnTo>
                    <a:pt x="652" y="354"/>
                  </a:lnTo>
                  <a:lnTo>
                    <a:pt x="648" y="358"/>
                  </a:lnTo>
                  <a:lnTo>
                    <a:pt x="644" y="358"/>
                  </a:lnTo>
                  <a:lnTo>
                    <a:pt x="644" y="354"/>
                  </a:lnTo>
                  <a:lnTo>
                    <a:pt x="640" y="354"/>
                  </a:lnTo>
                  <a:lnTo>
                    <a:pt x="640" y="350"/>
                  </a:lnTo>
                  <a:lnTo>
                    <a:pt x="636" y="350"/>
                  </a:lnTo>
                  <a:lnTo>
                    <a:pt x="636" y="354"/>
                  </a:lnTo>
                  <a:lnTo>
                    <a:pt x="640" y="354"/>
                  </a:lnTo>
                  <a:lnTo>
                    <a:pt x="640" y="358"/>
                  </a:lnTo>
                  <a:lnTo>
                    <a:pt x="640" y="354"/>
                  </a:lnTo>
                  <a:lnTo>
                    <a:pt x="636" y="354"/>
                  </a:lnTo>
                  <a:lnTo>
                    <a:pt x="632" y="354"/>
                  </a:lnTo>
                  <a:lnTo>
                    <a:pt x="630" y="354"/>
                  </a:lnTo>
                  <a:lnTo>
                    <a:pt x="632" y="354"/>
                  </a:lnTo>
                  <a:lnTo>
                    <a:pt x="632" y="358"/>
                  </a:lnTo>
                  <a:lnTo>
                    <a:pt x="636" y="358"/>
                  </a:lnTo>
                  <a:lnTo>
                    <a:pt x="636" y="362"/>
                  </a:lnTo>
                  <a:lnTo>
                    <a:pt x="632" y="366"/>
                  </a:lnTo>
                  <a:lnTo>
                    <a:pt x="630" y="366"/>
                  </a:lnTo>
                  <a:lnTo>
                    <a:pt x="626" y="366"/>
                  </a:lnTo>
                  <a:lnTo>
                    <a:pt x="622" y="370"/>
                  </a:lnTo>
                  <a:lnTo>
                    <a:pt x="618" y="370"/>
                  </a:lnTo>
                  <a:lnTo>
                    <a:pt x="622" y="370"/>
                  </a:lnTo>
                  <a:lnTo>
                    <a:pt x="626" y="370"/>
                  </a:lnTo>
                  <a:lnTo>
                    <a:pt x="630" y="370"/>
                  </a:lnTo>
                  <a:lnTo>
                    <a:pt x="632" y="366"/>
                  </a:lnTo>
                  <a:lnTo>
                    <a:pt x="632" y="370"/>
                  </a:lnTo>
                  <a:lnTo>
                    <a:pt x="630" y="370"/>
                  </a:lnTo>
                  <a:lnTo>
                    <a:pt x="632" y="370"/>
                  </a:lnTo>
                  <a:lnTo>
                    <a:pt x="636" y="370"/>
                  </a:lnTo>
                  <a:lnTo>
                    <a:pt x="640" y="370"/>
                  </a:lnTo>
                  <a:lnTo>
                    <a:pt x="648" y="370"/>
                  </a:lnTo>
                  <a:lnTo>
                    <a:pt x="652" y="370"/>
                  </a:lnTo>
                  <a:lnTo>
                    <a:pt x="656" y="370"/>
                  </a:lnTo>
                  <a:lnTo>
                    <a:pt x="660" y="370"/>
                  </a:lnTo>
                  <a:lnTo>
                    <a:pt x="660" y="372"/>
                  </a:lnTo>
                  <a:lnTo>
                    <a:pt x="656" y="372"/>
                  </a:lnTo>
                  <a:lnTo>
                    <a:pt x="652" y="372"/>
                  </a:lnTo>
                  <a:lnTo>
                    <a:pt x="648" y="372"/>
                  </a:lnTo>
                  <a:lnTo>
                    <a:pt x="644" y="372"/>
                  </a:lnTo>
                  <a:lnTo>
                    <a:pt x="644" y="376"/>
                  </a:lnTo>
                  <a:lnTo>
                    <a:pt x="640" y="376"/>
                  </a:lnTo>
                  <a:lnTo>
                    <a:pt x="636" y="376"/>
                  </a:lnTo>
                  <a:lnTo>
                    <a:pt x="632" y="376"/>
                  </a:lnTo>
                  <a:lnTo>
                    <a:pt x="630" y="376"/>
                  </a:lnTo>
                  <a:lnTo>
                    <a:pt x="630" y="380"/>
                  </a:lnTo>
                  <a:lnTo>
                    <a:pt x="632" y="376"/>
                  </a:lnTo>
                  <a:lnTo>
                    <a:pt x="632" y="380"/>
                  </a:lnTo>
                  <a:lnTo>
                    <a:pt x="636" y="380"/>
                  </a:lnTo>
                  <a:lnTo>
                    <a:pt x="640" y="380"/>
                  </a:lnTo>
                  <a:lnTo>
                    <a:pt x="644" y="380"/>
                  </a:lnTo>
                  <a:lnTo>
                    <a:pt x="648" y="376"/>
                  </a:lnTo>
                  <a:lnTo>
                    <a:pt x="652" y="372"/>
                  </a:lnTo>
                  <a:lnTo>
                    <a:pt x="656" y="372"/>
                  </a:lnTo>
                  <a:lnTo>
                    <a:pt x="656" y="376"/>
                  </a:lnTo>
                  <a:lnTo>
                    <a:pt x="660" y="376"/>
                  </a:lnTo>
                  <a:lnTo>
                    <a:pt x="662" y="372"/>
                  </a:lnTo>
                  <a:lnTo>
                    <a:pt x="666" y="372"/>
                  </a:lnTo>
                  <a:lnTo>
                    <a:pt x="670" y="372"/>
                  </a:lnTo>
                  <a:lnTo>
                    <a:pt x="674" y="370"/>
                  </a:lnTo>
                  <a:lnTo>
                    <a:pt x="674" y="372"/>
                  </a:lnTo>
                  <a:lnTo>
                    <a:pt x="678" y="372"/>
                  </a:lnTo>
                  <a:lnTo>
                    <a:pt x="678" y="370"/>
                  </a:lnTo>
                  <a:lnTo>
                    <a:pt x="678" y="372"/>
                  </a:lnTo>
                  <a:lnTo>
                    <a:pt x="682" y="372"/>
                  </a:lnTo>
                  <a:lnTo>
                    <a:pt x="686" y="372"/>
                  </a:lnTo>
                  <a:lnTo>
                    <a:pt x="692" y="376"/>
                  </a:lnTo>
                  <a:lnTo>
                    <a:pt x="696" y="376"/>
                  </a:lnTo>
                  <a:lnTo>
                    <a:pt x="700" y="376"/>
                  </a:lnTo>
                  <a:lnTo>
                    <a:pt x="704" y="376"/>
                  </a:lnTo>
                  <a:lnTo>
                    <a:pt x="708" y="376"/>
                  </a:lnTo>
                  <a:lnTo>
                    <a:pt x="712" y="376"/>
                  </a:lnTo>
                  <a:lnTo>
                    <a:pt x="716" y="376"/>
                  </a:lnTo>
                  <a:lnTo>
                    <a:pt x="718" y="376"/>
                  </a:lnTo>
                  <a:lnTo>
                    <a:pt x="718" y="380"/>
                  </a:lnTo>
                  <a:lnTo>
                    <a:pt x="716" y="380"/>
                  </a:lnTo>
                  <a:lnTo>
                    <a:pt x="712" y="380"/>
                  </a:lnTo>
                  <a:lnTo>
                    <a:pt x="708" y="380"/>
                  </a:lnTo>
                  <a:lnTo>
                    <a:pt x="708" y="384"/>
                  </a:lnTo>
                  <a:lnTo>
                    <a:pt x="712" y="384"/>
                  </a:lnTo>
                  <a:lnTo>
                    <a:pt x="708" y="384"/>
                  </a:lnTo>
                  <a:lnTo>
                    <a:pt x="708" y="380"/>
                  </a:lnTo>
                  <a:lnTo>
                    <a:pt x="704" y="380"/>
                  </a:lnTo>
                  <a:lnTo>
                    <a:pt x="704" y="384"/>
                  </a:lnTo>
                  <a:lnTo>
                    <a:pt x="708" y="384"/>
                  </a:lnTo>
                  <a:lnTo>
                    <a:pt x="704" y="384"/>
                  </a:lnTo>
                  <a:lnTo>
                    <a:pt x="708" y="384"/>
                  </a:lnTo>
                  <a:lnTo>
                    <a:pt x="708" y="388"/>
                  </a:lnTo>
                  <a:lnTo>
                    <a:pt x="704" y="388"/>
                  </a:lnTo>
                  <a:lnTo>
                    <a:pt x="704" y="384"/>
                  </a:lnTo>
                  <a:lnTo>
                    <a:pt x="700" y="384"/>
                  </a:lnTo>
                  <a:lnTo>
                    <a:pt x="704" y="384"/>
                  </a:lnTo>
                  <a:lnTo>
                    <a:pt x="704" y="388"/>
                  </a:lnTo>
                  <a:lnTo>
                    <a:pt x="700" y="388"/>
                  </a:lnTo>
                  <a:lnTo>
                    <a:pt x="696" y="388"/>
                  </a:lnTo>
                  <a:lnTo>
                    <a:pt x="692" y="388"/>
                  </a:lnTo>
                  <a:lnTo>
                    <a:pt x="696" y="388"/>
                  </a:lnTo>
                  <a:lnTo>
                    <a:pt x="700" y="388"/>
                  </a:lnTo>
                  <a:lnTo>
                    <a:pt x="696" y="392"/>
                  </a:lnTo>
                  <a:lnTo>
                    <a:pt x="692" y="392"/>
                  </a:lnTo>
                  <a:lnTo>
                    <a:pt x="688" y="392"/>
                  </a:lnTo>
                  <a:lnTo>
                    <a:pt x="692" y="392"/>
                  </a:lnTo>
                  <a:lnTo>
                    <a:pt x="688" y="396"/>
                  </a:lnTo>
                  <a:lnTo>
                    <a:pt x="686" y="396"/>
                  </a:lnTo>
                  <a:lnTo>
                    <a:pt x="682" y="396"/>
                  </a:lnTo>
                  <a:lnTo>
                    <a:pt x="686" y="398"/>
                  </a:lnTo>
                  <a:lnTo>
                    <a:pt x="682" y="398"/>
                  </a:lnTo>
                  <a:lnTo>
                    <a:pt x="678" y="398"/>
                  </a:lnTo>
                  <a:lnTo>
                    <a:pt x="674" y="398"/>
                  </a:lnTo>
                  <a:lnTo>
                    <a:pt x="678" y="398"/>
                  </a:lnTo>
                  <a:lnTo>
                    <a:pt x="678" y="402"/>
                  </a:lnTo>
                  <a:lnTo>
                    <a:pt x="674" y="402"/>
                  </a:lnTo>
                  <a:lnTo>
                    <a:pt x="674" y="406"/>
                  </a:lnTo>
                  <a:lnTo>
                    <a:pt x="670" y="402"/>
                  </a:lnTo>
                  <a:lnTo>
                    <a:pt x="670" y="406"/>
                  </a:lnTo>
                  <a:lnTo>
                    <a:pt x="666" y="406"/>
                  </a:lnTo>
                  <a:lnTo>
                    <a:pt x="670" y="406"/>
                  </a:lnTo>
                  <a:lnTo>
                    <a:pt x="670" y="410"/>
                  </a:lnTo>
                  <a:lnTo>
                    <a:pt x="666" y="410"/>
                  </a:lnTo>
                  <a:lnTo>
                    <a:pt x="662" y="410"/>
                  </a:lnTo>
                  <a:lnTo>
                    <a:pt x="660" y="414"/>
                  </a:lnTo>
                  <a:lnTo>
                    <a:pt x="656" y="414"/>
                  </a:lnTo>
                  <a:lnTo>
                    <a:pt x="652" y="414"/>
                  </a:lnTo>
                  <a:lnTo>
                    <a:pt x="648" y="418"/>
                  </a:lnTo>
                  <a:lnTo>
                    <a:pt x="648" y="414"/>
                  </a:lnTo>
                  <a:lnTo>
                    <a:pt x="644" y="414"/>
                  </a:lnTo>
                  <a:lnTo>
                    <a:pt x="644" y="418"/>
                  </a:lnTo>
                  <a:lnTo>
                    <a:pt x="648" y="418"/>
                  </a:lnTo>
                  <a:lnTo>
                    <a:pt x="644" y="418"/>
                  </a:lnTo>
                  <a:lnTo>
                    <a:pt x="640" y="418"/>
                  </a:lnTo>
                  <a:lnTo>
                    <a:pt x="636" y="418"/>
                  </a:lnTo>
                  <a:lnTo>
                    <a:pt x="632" y="422"/>
                  </a:lnTo>
                  <a:lnTo>
                    <a:pt x="630" y="418"/>
                  </a:lnTo>
                  <a:lnTo>
                    <a:pt x="626" y="422"/>
                  </a:lnTo>
                  <a:lnTo>
                    <a:pt x="622" y="422"/>
                  </a:lnTo>
                  <a:lnTo>
                    <a:pt x="618" y="422"/>
                  </a:lnTo>
                  <a:lnTo>
                    <a:pt x="622" y="422"/>
                  </a:lnTo>
                  <a:lnTo>
                    <a:pt x="622" y="426"/>
                  </a:lnTo>
                  <a:lnTo>
                    <a:pt x="618" y="426"/>
                  </a:lnTo>
                  <a:lnTo>
                    <a:pt x="618" y="422"/>
                  </a:lnTo>
                  <a:lnTo>
                    <a:pt x="618" y="426"/>
                  </a:lnTo>
                  <a:lnTo>
                    <a:pt x="614" y="426"/>
                  </a:lnTo>
                  <a:lnTo>
                    <a:pt x="610" y="422"/>
                  </a:lnTo>
                  <a:lnTo>
                    <a:pt x="606" y="422"/>
                  </a:lnTo>
                  <a:lnTo>
                    <a:pt x="604" y="426"/>
                  </a:lnTo>
                  <a:lnTo>
                    <a:pt x="606" y="426"/>
                  </a:lnTo>
                  <a:lnTo>
                    <a:pt x="606" y="428"/>
                  </a:lnTo>
                  <a:lnTo>
                    <a:pt x="604" y="428"/>
                  </a:lnTo>
                  <a:lnTo>
                    <a:pt x="604" y="426"/>
                  </a:lnTo>
                  <a:lnTo>
                    <a:pt x="600" y="426"/>
                  </a:lnTo>
                  <a:lnTo>
                    <a:pt x="596" y="426"/>
                  </a:lnTo>
                  <a:lnTo>
                    <a:pt x="600" y="426"/>
                  </a:lnTo>
                  <a:lnTo>
                    <a:pt x="604" y="428"/>
                  </a:lnTo>
                  <a:lnTo>
                    <a:pt x="600" y="428"/>
                  </a:lnTo>
                  <a:lnTo>
                    <a:pt x="596" y="428"/>
                  </a:lnTo>
                  <a:lnTo>
                    <a:pt x="592" y="428"/>
                  </a:lnTo>
                  <a:lnTo>
                    <a:pt x="588" y="428"/>
                  </a:lnTo>
                  <a:lnTo>
                    <a:pt x="588" y="426"/>
                  </a:lnTo>
                  <a:lnTo>
                    <a:pt x="584" y="428"/>
                  </a:lnTo>
                  <a:lnTo>
                    <a:pt x="588" y="428"/>
                  </a:lnTo>
                  <a:lnTo>
                    <a:pt x="584" y="428"/>
                  </a:lnTo>
                  <a:lnTo>
                    <a:pt x="584" y="426"/>
                  </a:lnTo>
                  <a:lnTo>
                    <a:pt x="580" y="426"/>
                  </a:lnTo>
                  <a:lnTo>
                    <a:pt x="576" y="426"/>
                  </a:lnTo>
                  <a:lnTo>
                    <a:pt x="576" y="422"/>
                  </a:lnTo>
                  <a:lnTo>
                    <a:pt x="574" y="422"/>
                  </a:lnTo>
                  <a:lnTo>
                    <a:pt x="574" y="418"/>
                  </a:lnTo>
                  <a:lnTo>
                    <a:pt x="574" y="414"/>
                  </a:lnTo>
                  <a:lnTo>
                    <a:pt x="574" y="418"/>
                  </a:lnTo>
                  <a:lnTo>
                    <a:pt x="570" y="418"/>
                  </a:lnTo>
                  <a:lnTo>
                    <a:pt x="574" y="418"/>
                  </a:lnTo>
                  <a:lnTo>
                    <a:pt x="574" y="422"/>
                  </a:lnTo>
                  <a:lnTo>
                    <a:pt x="576" y="422"/>
                  </a:lnTo>
                  <a:lnTo>
                    <a:pt x="576" y="426"/>
                  </a:lnTo>
                  <a:lnTo>
                    <a:pt x="574" y="426"/>
                  </a:lnTo>
                  <a:lnTo>
                    <a:pt x="576" y="426"/>
                  </a:lnTo>
                  <a:lnTo>
                    <a:pt x="580" y="428"/>
                  </a:lnTo>
                  <a:lnTo>
                    <a:pt x="576" y="428"/>
                  </a:lnTo>
                  <a:lnTo>
                    <a:pt x="576" y="432"/>
                  </a:lnTo>
                  <a:lnTo>
                    <a:pt x="574" y="432"/>
                  </a:lnTo>
                  <a:lnTo>
                    <a:pt x="570" y="432"/>
                  </a:lnTo>
                  <a:lnTo>
                    <a:pt x="574" y="432"/>
                  </a:lnTo>
                  <a:lnTo>
                    <a:pt x="574" y="436"/>
                  </a:lnTo>
                  <a:lnTo>
                    <a:pt x="570" y="436"/>
                  </a:lnTo>
                  <a:lnTo>
                    <a:pt x="566" y="436"/>
                  </a:lnTo>
                  <a:lnTo>
                    <a:pt x="566" y="440"/>
                  </a:lnTo>
                  <a:lnTo>
                    <a:pt x="562" y="440"/>
                  </a:lnTo>
                  <a:lnTo>
                    <a:pt x="562" y="436"/>
                  </a:lnTo>
                  <a:lnTo>
                    <a:pt x="562" y="440"/>
                  </a:lnTo>
                  <a:lnTo>
                    <a:pt x="566" y="440"/>
                  </a:lnTo>
                  <a:lnTo>
                    <a:pt x="562" y="440"/>
                  </a:lnTo>
                  <a:lnTo>
                    <a:pt x="562" y="444"/>
                  </a:lnTo>
                  <a:lnTo>
                    <a:pt x="562" y="448"/>
                  </a:lnTo>
                  <a:lnTo>
                    <a:pt x="558" y="448"/>
                  </a:lnTo>
                  <a:lnTo>
                    <a:pt x="558" y="452"/>
                  </a:lnTo>
                  <a:lnTo>
                    <a:pt x="554" y="452"/>
                  </a:lnTo>
                  <a:lnTo>
                    <a:pt x="554" y="456"/>
                  </a:lnTo>
                  <a:lnTo>
                    <a:pt x="550" y="456"/>
                  </a:lnTo>
                  <a:lnTo>
                    <a:pt x="550" y="458"/>
                  </a:lnTo>
                  <a:lnTo>
                    <a:pt x="550" y="462"/>
                  </a:lnTo>
                  <a:lnTo>
                    <a:pt x="546" y="466"/>
                  </a:lnTo>
                  <a:lnTo>
                    <a:pt x="546" y="462"/>
                  </a:lnTo>
                  <a:lnTo>
                    <a:pt x="546" y="466"/>
                  </a:lnTo>
                  <a:lnTo>
                    <a:pt x="544" y="466"/>
                  </a:lnTo>
                  <a:lnTo>
                    <a:pt x="544" y="462"/>
                  </a:lnTo>
                  <a:lnTo>
                    <a:pt x="546" y="462"/>
                  </a:lnTo>
                  <a:lnTo>
                    <a:pt x="544" y="462"/>
                  </a:lnTo>
                  <a:lnTo>
                    <a:pt x="544" y="466"/>
                  </a:lnTo>
                  <a:lnTo>
                    <a:pt x="544" y="470"/>
                  </a:lnTo>
                  <a:lnTo>
                    <a:pt x="540" y="470"/>
                  </a:lnTo>
                  <a:lnTo>
                    <a:pt x="540" y="474"/>
                  </a:lnTo>
                  <a:lnTo>
                    <a:pt x="536" y="474"/>
                  </a:lnTo>
                  <a:lnTo>
                    <a:pt x="536" y="470"/>
                  </a:lnTo>
                  <a:lnTo>
                    <a:pt x="532" y="470"/>
                  </a:lnTo>
                  <a:lnTo>
                    <a:pt x="532" y="474"/>
                  </a:lnTo>
                  <a:lnTo>
                    <a:pt x="536" y="474"/>
                  </a:lnTo>
                  <a:lnTo>
                    <a:pt x="532" y="474"/>
                  </a:lnTo>
                  <a:lnTo>
                    <a:pt x="528" y="474"/>
                  </a:lnTo>
                  <a:lnTo>
                    <a:pt x="524" y="470"/>
                  </a:lnTo>
                  <a:lnTo>
                    <a:pt x="528" y="474"/>
                  </a:lnTo>
                  <a:lnTo>
                    <a:pt x="528" y="478"/>
                  </a:lnTo>
                  <a:lnTo>
                    <a:pt x="524" y="478"/>
                  </a:lnTo>
                  <a:lnTo>
                    <a:pt x="524" y="482"/>
                  </a:lnTo>
                  <a:lnTo>
                    <a:pt x="520" y="482"/>
                  </a:lnTo>
                  <a:lnTo>
                    <a:pt x="518" y="482"/>
                  </a:lnTo>
                  <a:lnTo>
                    <a:pt x="518" y="478"/>
                  </a:lnTo>
                  <a:lnTo>
                    <a:pt x="514" y="478"/>
                  </a:lnTo>
                  <a:lnTo>
                    <a:pt x="518" y="478"/>
                  </a:lnTo>
                  <a:lnTo>
                    <a:pt x="514" y="482"/>
                  </a:lnTo>
                  <a:lnTo>
                    <a:pt x="510" y="482"/>
                  </a:lnTo>
                  <a:lnTo>
                    <a:pt x="510" y="484"/>
                  </a:lnTo>
                  <a:lnTo>
                    <a:pt x="506" y="484"/>
                  </a:lnTo>
                  <a:lnTo>
                    <a:pt x="506" y="482"/>
                  </a:lnTo>
                  <a:lnTo>
                    <a:pt x="506" y="478"/>
                  </a:lnTo>
                  <a:lnTo>
                    <a:pt x="506" y="482"/>
                  </a:lnTo>
                  <a:lnTo>
                    <a:pt x="506" y="484"/>
                  </a:lnTo>
                  <a:lnTo>
                    <a:pt x="502" y="484"/>
                  </a:lnTo>
                  <a:lnTo>
                    <a:pt x="502" y="482"/>
                  </a:lnTo>
                  <a:lnTo>
                    <a:pt x="498" y="482"/>
                  </a:lnTo>
                  <a:lnTo>
                    <a:pt x="498" y="478"/>
                  </a:lnTo>
                  <a:lnTo>
                    <a:pt x="502" y="474"/>
                  </a:lnTo>
                  <a:lnTo>
                    <a:pt x="506" y="474"/>
                  </a:lnTo>
                  <a:lnTo>
                    <a:pt x="506" y="470"/>
                  </a:lnTo>
                  <a:lnTo>
                    <a:pt x="502" y="470"/>
                  </a:lnTo>
                  <a:lnTo>
                    <a:pt x="502" y="474"/>
                  </a:lnTo>
                  <a:lnTo>
                    <a:pt x="498" y="474"/>
                  </a:lnTo>
                  <a:lnTo>
                    <a:pt x="498" y="470"/>
                  </a:lnTo>
                  <a:lnTo>
                    <a:pt x="494" y="470"/>
                  </a:lnTo>
                  <a:lnTo>
                    <a:pt x="490" y="470"/>
                  </a:lnTo>
                  <a:lnTo>
                    <a:pt x="494" y="470"/>
                  </a:lnTo>
                  <a:lnTo>
                    <a:pt x="494" y="474"/>
                  </a:lnTo>
                  <a:lnTo>
                    <a:pt x="498" y="474"/>
                  </a:lnTo>
                  <a:lnTo>
                    <a:pt x="494" y="474"/>
                  </a:lnTo>
                  <a:lnTo>
                    <a:pt x="494" y="478"/>
                  </a:lnTo>
                  <a:lnTo>
                    <a:pt x="494" y="482"/>
                  </a:lnTo>
                  <a:lnTo>
                    <a:pt x="490" y="482"/>
                  </a:lnTo>
                  <a:lnTo>
                    <a:pt x="488" y="482"/>
                  </a:lnTo>
                  <a:lnTo>
                    <a:pt x="488" y="478"/>
                  </a:lnTo>
                  <a:lnTo>
                    <a:pt x="488" y="482"/>
                  </a:lnTo>
                  <a:lnTo>
                    <a:pt x="490" y="484"/>
                  </a:lnTo>
                  <a:lnTo>
                    <a:pt x="490" y="488"/>
                  </a:lnTo>
                  <a:lnTo>
                    <a:pt x="488" y="488"/>
                  </a:lnTo>
                  <a:lnTo>
                    <a:pt x="484" y="488"/>
                  </a:lnTo>
                  <a:lnTo>
                    <a:pt x="488" y="488"/>
                  </a:lnTo>
                  <a:lnTo>
                    <a:pt x="484" y="488"/>
                  </a:lnTo>
                  <a:lnTo>
                    <a:pt x="480" y="488"/>
                  </a:lnTo>
                  <a:lnTo>
                    <a:pt x="476" y="488"/>
                  </a:lnTo>
                  <a:lnTo>
                    <a:pt x="476" y="484"/>
                  </a:lnTo>
                  <a:lnTo>
                    <a:pt x="476" y="488"/>
                  </a:lnTo>
                  <a:lnTo>
                    <a:pt x="476" y="492"/>
                  </a:lnTo>
                  <a:lnTo>
                    <a:pt x="472" y="492"/>
                  </a:lnTo>
                  <a:lnTo>
                    <a:pt x="472" y="488"/>
                  </a:lnTo>
                  <a:lnTo>
                    <a:pt x="468" y="488"/>
                  </a:lnTo>
                  <a:lnTo>
                    <a:pt x="468" y="492"/>
                  </a:lnTo>
                  <a:lnTo>
                    <a:pt x="464" y="492"/>
                  </a:lnTo>
                  <a:lnTo>
                    <a:pt x="464" y="488"/>
                  </a:lnTo>
                  <a:lnTo>
                    <a:pt x="462" y="492"/>
                  </a:lnTo>
                  <a:lnTo>
                    <a:pt x="464" y="492"/>
                  </a:lnTo>
                  <a:lnTo>
                    <a:pt x="468" y="492"/>
                  </a:lnTo>
                  <a:lnTo>
                    <a:pt x="468" y="496"/>
                  </a:lnTo>
                  <a:lnTo>
                    <a:pt x="468" y="492"/>
                  </a:lnTo>
                  <a:lnTo>
                    <a:pt x="464" y="496"/>
                  </a:lnTo>
                  <a:lnTo>
                    <a:pt x="468" y="496"/>
                  </a:lnTo>
                  <a:lnTo>
                    <a:pt x="468" y="500"/>
                  </a:lnTo>
                  <a:lnTo>
                    <a:pt x="464" y="500"/>
                  </a:lnTo>
                  <a:lnTo>
                    <a:pt x="464" y="504"/>
                  </a:lnTo>
                  <a:lnTo>
                    <a:pt x="462" y="504"/>
                  </a:lnTo>
                  <a:lnTo>
                    <a:pt x="458" y="504"/>
                  </a:lnTo>
                  <a:lnTo>
                    <a:pt x="458" y="500"/>
                  </a:lnTo>
                  <a:lnTo>
                    <a:pt x="458" y="504"/>
                  </a:lnTo>
                  <a:lnTo>
                    <a:pt x="450" y="504"/>
                  </a:lnTo>
                  <a:lnTo>
                    <a:pt x="450" y="508"/>
                  </a:lnTo>
                  <a:lnTo>
                    <a:pt x="454" y="508"/>
                  </a:lnTo>
                  <a:lnTo>
                    <a:pt x="454" y="512"/>
                  </a:lnTo>
                  <a:lnTo>
                    <a:pt x="458" y="512"/>
                  </a:lnTo>
                  <a:lnTo>
                    <a:pt x="458" y="514"/>
                  </a:lnTo>
                  <a:lnTo>
                    <a:pt x="458" y="518"/>
                  </a:lnTo>
                  <a:lnTo>
                    <a:pt x="462" y="518"/>
                  </a:lnTo>
                  <a:lnTo>
                    <a:pt x="458" y="518"/>
                  </a:lnTo>
                  <a:lnTo>
                    <a:pt x="454" y="518"/>
                  </a:lnTo>
                  <a:lnTo>
                    <a:pt x="450" y="522"/>
                  </a:lnTo>
                  <a:lnTo>
                    <a:pt x="446" y="518"/>
                  </a:lnTo>
                  <a:lnTo>
                    <a:pt x="442" y="518"/>
                  </a:lnTo>
                  <a:lnTo>
                    <a:pt x="442" y="522"/>
                  </a:lnTo>
                  <a:lnTo>
                    <a:pt x="446" y="522"/>
                  </a:lnTo>
                  <a:lnTo>
                    <a:pt x="450" y="526"/>
                  </a:lnTo>
                  <a:lnTo>
                    <a:pt x="454" y="526"/>
                  </a:lnTo>
                  <a:lnTo>
                    <a:pt x="454" y="522"/>
                  </a:lnTo>
                  <a:lnTo>
                    <a:pt x="458" y="526"/>
                  </a:lnTo>
                  <a:lnTo>
                    <a:pt x="454" y="530"/>
                  </a:lnTo>
                  <a:lnTo>
                    <a:pt x="458" y="530"/>
                  </a:lnTo>
                  <a:lnTo>
                    <a:pt x="458" y="534"/>
                  </a:lnTo>
                  <a:lnTo>
                    <a:pt x="458" y="538"/>
                  </a:lnTo>
                  <a:lnTo>
                    <a:pt x="454" y="538"/>
                  </a:lnTo>
                  <a:lnTo>
                    <a:pt x="454" y="534"/>
                  </a:lnTo>
                  <a:lnTo>
                    <a:pt x="450" y="534"/>
                  </a:lnTo>
                  <a:lnTo>
                    <a:pt x="446" y="534"/>
                  </a:lnTo>
                  <a:lnTo>
                    <a:pt x="442" y="534"/>
                  </a:lnTo>
                  <a:lnTo>
                    <a:pt x="446" y="534"/>
                  </a:lnTo>
                  <a:lnTo>
                    <a:pt x="450" y="534"/>
                  </a:lnTo>
                  <a:lnTo>
                    <a:pt x="450" y="538"/>
                  </a:lnTo>
                  <a:lnTo>
                    <a:pt x="454" y="538"/>
                  </a:lnTo>
                  <a:lnTo>
                    <a:pt x="454" y="540"/>
                  </a:lnTo>
                  <a:lnTo>
                    <a:pt x="454" y="538"/>
                  </a:lnTo>
                  <a:lnTo>
                    <a:pt x="450" y="538"/>
                  </a:lnTo>
                  <a:lnTo>
                    <a:pt x="450" y="540"/>
                  </a:lnTo>
                  <a:lnTo>
                    <a:pt x="446" y="540"/>
                  </a:lnTo>
                  <a:lnTo>
                    <a:pt x="446" y="538"/>
                  </a:lnTo>
                  <a:lnTo>
                    <a:pt x="446" y="540"/>
                  </a:lnTo>
                  <a:lnTo>
                    <a:pt x="450" y="540"/>
                  </a:lnTo>
                  <a:lnTo>
                    <a:pt x="446" y="540"/>
                  </a:lnTo>
                  <a:lnTo>
                    <a:pt x="442" y="540"/>
                  </a:lnTo>
                  <a:lnTo>
                    <a:pt x="446" y="540"/>
                  </a:lnTo>
                  <a:lnTo>
                    <a:pt x="450" y="544"/>
                  </a:lnTo>
                  <a:lnTo>
                    <a:pt x="446" y="544"/>
                  </a:lnTo>
                  <a:lnTo>
                    <a:pt x="446" y="540"/>
                  </a:lnTo>
                  <a:lnTo>
                    <a:pt x="442" y="540"/>
                  </a:lnTo>
                  <a:lnTo>
                    <a:pt x="440" y="540"/>
                  </a:lnTo>
                  <a:lnTo>
                    <a:pt x="442" y="544"/>
                  </a:lnTo>
                  <a:lnTo>
                    <a:pt x="446" y="544"/>
                  </a:lnTo>
                  <a:lnTo>
                    <a:pt x="446" y="548"/>
                  </a:lnTo>
                  <a:lnTo>
                    <a:pt x="442" y="548"/>
                  </a:lnTo>
                  <a:lnTo>
                    <a:pt x="440" y="548"/>
                  </a:lnTo>
                  <a:lnTo>
                    <a:pt x="440" y="544"/>
                  </a:lnTo>
                  <a:lnTo>
                    <a:pt x="440" y="548"/>
                  </a:lnTo>
                  <a:lnTo>
                    <a:pt x="442" y="548"/>
                  </a:lnTo>
                  <a:lnTo>
                    <a:pt x="442" y="552"/>
                  </a:lnTo>
                  <a:lnTo>
                    <a:pt x="440" y="552"/>
                  </a:lnTo>
                  <a:lnTo>
                    <a:pt x="440" y="548"/>
                  </a:lnTo>
                  <a:lnTo>
                    <a:pt x="436" y="548"/>
                  </a:lnTo>
                  <a:lnTo>
                    <a:pt x="440" y="552"/>
                  </a:lnTo>
                  <a:lnTo>
                    <a:pt x="442" y="552"/>
                  </a:lnTo>
                  <a:lnTo>
                    <a:pt x="442" y="556"/>
                  </a:lnTo>
                  <a:lnTo>
                    <a:pt x="440" y="556"/>
                  </a:lnTo>
                  <a:lnTo>
                    <a:pt x="436" y="556"/>
                  </a:lnTo>
                  <a:lnTo>
                    <a:pt x="432" y="556"/>
                  </a:lnTo>
                  <a:lnTo>
                    <a:pt x="432" y="552"/>
                  </a:lnTo>
                  <a:lnTo>
                    <a:pt x="436" y="552"/>
                  </a:lnTo>
                  <a:lnTo>
                    <a:pt x="432" y="552"/>
                  </a:lnTo>
                  <a:lnTo>
                    <a:pt x="432" y="556"/>
                  </a:lnTo>
                  <a:lnTo>
                    <a:pt x="432" y="560"/>
                  </a:lnTo>
                  <a:lnTo>
                    <a:pt x="428" y="556"/>
                  </a:lnTo>
                  <a:lnTo>
                    <a:pt x="428" y="560"/>
                  </a:lnTo>
                  <a:lnTo>
                    <a:pt x="424" y="560"/>
                  </a:lnTo>
                  <a:lnTo>
                    <a:pt x="420" y="556"/>
                  </a:lnTo>
                  <a:lnTo>
                    <a:pt x="420" y="560"/>
                  </a:lnTo>
                  <a:lnTo>
                    <a:pt x="424" y="560"/>
                  </a:lnTo>
                  <a:lnTo>
                    <a:pt x="428" y="560"/>
                  </a:lnTo>
                  <a:lnTo>
                    <a:pt x="432" y="564"/>
                  </a:lnTo>
                  <a:lnTo>
                    <a:pt x="436" y="564"/>
                  </a:lnTo>
                  <a:lnTo>
                    <a:pt x="436" y="568"/>
                  </a:lnTo>
                  <a:lnTo>
                    <a:pt x="432" y="568"/>
                  </a:lnTo>
                  <a:lnTo>
                    <a:pt x="432" y="564"/>
                  </a:lnTo>
                  <a:lnTo>
                    <a:pt x="428" y="564"/>
                  </a:lnTo>
                  <a:lnTo>
                    <a:pt x="424" y="564"/>
                  </a:lnTo>
                  <a:lnTo>
                    <a:pt x="428" y="564"/>
                  </a:lnTo>
                  <a:lnTo>
                    <a:pt x="428" y="568"/>
                  </a:lnTo>
                  <a:lnTo>
                    <a:pt x="432" y="568"/>
                  </a:lnTo>
                  <a:lnTo>
                    <a:pt x="436" y="570"/>
                  </a:lnTo>
                  <a:lnTo>
                    <a:pt x="432" y="570"/>
                  </a:lnTo>
                  <a:lnTo>
                    <a:pt x="432" y="574"/>
                  </a:lnTo>
                  <a:lnTo>
                    <a:pt x="436" y="574"/>
                  </a:lnTo>
                  <a:lnTo>
                    <a:pt x="436" y="578"/>
                  </a:lnTo>
                  <a:lnTo>
                    <a:pt x="432" y="578"/>
                  </a:lnTo>
                  <a:lnTo>
                    <a:pt x="436" y="578"/>
                  </a:lnTo>
                  <a:lnTo>
                    <a:pt x="432" y="582"/>
                  </a:lnTo>
                  <a:lnTo>
                    <a:pt x="428" y="582"/>
                  </a:lnTo>
                  <a:lnTo>
                    <a:pt x="428" y="578"/>
                  </a:lnTo>
                  <a:lnTo>
                    <a:pt x="424" y="578"/>
                  </a:lnTo>
                  <a:lnTo>
                    <a:pt x="424" y="582"/>
                  </a:lnTo>
                  <a:lnTo>
                    <a:pt x="428" y="578"/>
                  </a:lnTo>
                  <a:lnTo>
                    <a:pt x="428" y="582"/>
                  </a:lnTo>
                  <a:lnTo>
                    <a:pt x="432" y="582"/>
                  </a:lnTo>
                  <a:lnTo>
                    <a:pt x="432" y="584"/>
                  </a:lnTo>
                  <a:lnTo>
                    <a:pt x="428" y="584"/>
                  </a:lnTo>
                  <a:lnTo>
                    <a:pt x="424" y="584"/>
                  </a:lnTo>
                  <a:lnTo>
                    <a:pt x="428" y="584"/>
                  </a:lnTo>
                  <a:lnTo>
                    <a:pt x="432" y="584"/>
                  </a:lnTo>
                  <a:lnTo>
                    <a:pt x="432" y="588"/>
                  </a:lnTo>
                  <a:lnTo>
                    <a:pt x="428" y="588"/>
                  </a:lnTo>
                  <a:lnTo>
                    <a:pt x="428" y="592"/>
                  </a:lnTo>
                  <a:lnTo>
                    <a:pt x="428" y="588"/>
                  </a:lnTo>
                  <a:lnTo>
                    <a:pt x="424" y="588"/>
                  </a:lnTo>
                  <a:lnTo>
                    <a:pt x="420" y="588"/>
                  </a:lnTo>
                  <a:lnTo>
                    <a:pt x="424" y="588"/>
                  </a:lnTo>
                  <a:lnTo>
                    <a:pt x="428" y="592"/>
                  </a:lnTo>
                  <a:lnTo>
                    <a:pt x="424" y="592"/>
                  </a:lnTo>
                  <a:lnTo>
                    <a:pt x="428" y="592"/>
                  </a:lnTo>
                  <a:lnTo>
                    <a:pt x="424" y="592"/>
                  </a:lnTo>
                  <a:lnTo>
                    <a:pt x="420" y="592"/>
                  </a:lnTo>
                  <a:lnTo>
                    <a:pt x="424" y="592"/>
                  </a:lnTo>
                  <a:lnTo>
                    <a:pt x="428" y="592"/>
                  </a:lnTo>
                  <a:lnTo>
                    <a:pt x="428" y="596"/>
                  </a:lnTo>
                  <a:lnTo>
                    <a:pt x="424" y="596"/>
                  </a:lnTo>
                  <a:lnTo>
                    <a:pt x="420" y="596"/>
                  </a:lnTo>
                  <a:lnTo>
                    <a:pt x="418" y="592"/>
                  </a:lnTo>
                  <a:lnTo>
                    <a:pt x="418" y="596"/>
                  </a:lnTo>
                  <a:lnTo>
                    <a:pt x="420" y="596"/>
                  </a:lnTo>
                  <a:lnTo>
                    <a:pt x="424" y="596"/>
                  </a:lnTo>
                  <a:lnTo>
                    <a:pt x="428" y="596"/>
                  </a:lnTo>
                  <a:lnTo>
                    <a:pt x="428" y="600"/>
                  </a:lnTo>
                  <a:lnTo>
                    <a:pt x="424" y="600"/>
                  </a:lnTo>
                  <a:lnTo>
                    <a:pt x="420" y="600"/>
                  </a:lnTo>
                  <a:lnTo>
                    <a:pt x="418" y="600"/>
                  </a:lnTo>
                  <a:lnTo>
                    <a:pt x="420" y="600"/>
                  </a:lnTo>
                  <a:lnTo>
                    <a:pt x="424" y="600"/>
                  </a:lnTo>
                  <a:lnTo>
                    <a:pt x="428" y="600"/>
                  </a:lnTo>
                  <a:lnTo>
                    <a:pt x="428" y="604"/>
                  </a:lnTo>
                  <a:lnTo>
                    <a:pt x="424" y="604"/>
                  </a:lnTo>
                  <a:lnTo>
                    <a:pt x="424" y="600"/>
                  </a:lnTo>
                  <a:lnTo>
                    <a:pt x="420" y="600"/>
                  </a:lnTo>
                  <a:lnTo>
                    <a:pt x="418" y="600"/>
                  </a:lnTo>
                  <a:lnTo>
                    <a:pt x="420" y="604"/>
                  </a:lnTo>
                  <a:lnTo>
                    <a:pt x="424" y="604"/>
                  </a:lnTo>
                  <a:lnTo>
                    <a:pt x="428" y="604"/>
                  </a:lnTo>
                  <a:lnTo>
                    <a:pt x="424" y="604"/>
                  </a:lnTo>
                  <a:lnTo>
                    <a:pt x="420" y="604"/>
                  </a:lnTo>
                  <a:lnTo>
                    <a:pt x="424" y="604"/>
                  </a:lnTo>
                  <a:lnTo>
                    <a:pt x="424" y="608"/>
                  </a:lnTo>
                  <a:lnTo>
                    <a:pt x="424" y="604"/>
                  </a:lnTo>
                  <a:lnTo>
                    <a:pt x="428" y="604"/>
                  </a:lnTo>
                  <a:lnTo>
                    <a:pt x="424" y="608"/>
                  </a:lnTo>
                  <a:lnTo>
                    <a:pt x="420" y="608"/>
                  </a:lnTo>
                  <a:lnTo>
                    <a:pt x="420" y="612"/>
                  </a:lnTo>
                  <a:lnTo>
                    <a:pt x="418" y="608"/>
                  </a:lnTo>
                  <a:lnTo>
                    <a:pt x="414" y="608"/>
                  </a:lnTo>
                  <a:lnTo>
                    <a:pt x="414" y="604"/>
                  </a:lnTo>
                  <a:lnTo>
                    <a:pt x="414" y="608"/>
                  </a:lnTo>
                  <a:lnTo>
                    <a:pt x="410" y="608"/>
                  </a:lnTo>
                  <a:lnTo>
                    <a:pt x="406" y="608"/>
                  </a:lnTo>
                  <a:lnTo>
                    <a:pt x="410" y="608"/>
                  </a:lnTo>
                  <a:lnTo>
                    <a:pt x="418" y="608"/>
                  </a:lnTo>
                  <a:lnTo>
                    <a:pt x="420" y="612"/>
                  </a:lnTo>
                  <a:lnTo>
                    <a:pt x="418" y="612"/>
                  </a:lnTo>
                  <a:lnTo>
                    <a:pt x="418" y="614"/>
                  </a:lnTo>
                  <a:lnTo>
                    <a:pt x="418" y="612"/>
                  </a:lnTo>
                  <a:lnTo>
                    <a:pt x="420" y="612"/>
                  </a:lnTo>
                  <a:lnTo>
                    <a:pt x="420" y="614"/>
                  </a:lnTo>
                  <a:lnTo>
                    <a:pt x="420" y="618"/>
                  </a:lnTo>
                  <a:lnTo>
                    <a:pt x="418" y="618"/>
                  </a:lnTo>
                  <a:lnTo>
                    <a:pt x="414" y="618"/>
                  </a:lnTo>
                  <a:lnTo>
                    <a:pt x="414" y="614"/>
                  </a:lnTo>
                  <a:lnTo>
                    <a:pt x="410" y="614"/>
                  </a:lnTo>
                  <a:lnTo>
                    <a:pt x="410" y="612"/>
                  </a:lnTo>
                  <a:lnTo>
                    <a:pt x="410" y="614"/>
                  </a:lnTo>
                  <a:lnTo>
                    <a:pt x="406" y="614"/>
                  </a:lnTo>
                  <a:lnTo>
                    <a:pt x="406" y="618"/>
                  </a:lnTo>
                  <a:lnTo>
                    <a:pt x="402" y="614"/>
                  </a:lnTo>
                  <a:lnTo>
                    <a:pt x="402" y="618"/>
                  </a:lnTo>
                  <a:lnTo>
                    <a:pt x="402" y="622"/>
                  </a:lnTo>
                  <a:lnTo>
                    <a:pt x="398" y="618"/>
                  </a:lnTo>
                  <a:lnTo>
                    <a:pt x="394" y="618"/>
                  </a:lnTo>
                  <a:lnTo>
                    <a:pt x="394" y="614"/>
                  </a:lnTo>
                  <a:lnTo>
                    <a:pt x="398" y="614"/>
                  </a:lnTo>
                  <a:lnTo>
                    <a:pt x="398" y="612"/>
                  </a:lnTo>
                  <a:lnTo>
                    <a:pt x="402" y="612"/>
                  </a:lnTo>
                  <a:lnTo>
                    <a:pt x="402" y="608"/>
                  </a:lnTo>
                  <a:lnTo>
                    <a:pt x="398" y="614"/>
                  </a:lnTo>
                  <a:lnTo>
                    <a:pt x="394" y="614"/>
                  </a:lnTo>
                  <a:lnTo>
                    <a:pt x="394" y="618"/>
                  </a:lnTo>
                  <a:lnTo>
                    <a:pt x="392" y="618"/>
                  </a:lnTo>
                  <a:lnTo>
                    <a:pt x="394" y="614"/>
                  </a:lnTo>
                  <a:lnTo>
                    <a:pt x="392" y="614"/>
                  </a:lnTo>
                  <a:lnTo>
                    <a:pt x="394" y="614"/>
                  </a:lnTo>
                  <a:lnTo>
                    <a:pt x="394" y="612"/>
                  </a:lnTo>
                  <a:lnTo>
                    <a:pt x="398" y="612"/>
                  </a:lnTo>
                  <a:lnTo>
                    <a:pt x="398" y="604"/>
                  </a:lnTo>
                  <a:lnTo>
                    <a:pt x="402" y="604"/>
                  </a:lnTo>
                  <a:lnTo>
                    <a:pt x="398" y="604"/>
                  </a:lnTo>
                  <a:lnTo>
                    <a:pt x="398" y="608"/>
                  </a:lnTo>
                  <a:lnTo>
                    <a:pt x="394" y="608"/>
                  </a:lnTo>
                  <a:lnTo>
                    <a:pt x="394" y="612"/>
                  </a:lnTo>
                  <a:lnTo>
                    <a:pt x="392" y="612"/>
                  </a:lnTo>
                  <a:lnTo>
                    <a:pt x="392" y="608"/>
                  </a:lnTo>
                  <a:lnTo>
                    <a:pt x="394" y="608"/>
                  </a:lnTo>
                  <a:lnTo>
                    <a:pt x="394" y="604"/>
                  </a:lnTo>
                  <a:lnTo>
                    <a:pt x="394" y="608"/>
                  </a:lnTo>
                  <a:lnTo>
                    <a:pt x="392" y="608"/>
                  </a:lnTo>
                  <a:lnTo>
                    <a:pt x="388" y="608"/>
                  </a:lnTo>
                  <a:lnTo>
                    <a:pt x="392" y="608"/>
                  </a:lnTo>
                  <a:lnTo>
                    <a:pt x="392" y="604"/>
                  </a:lnTo>
                  <a:lnTo>
                    <a:pt x="392" y="608"/>
                  </a:lnTo>
                  <a:lnTo>
                    <a:pt x="388" y="608"/>
                  </a:lnTo>
                  <a:lnTo>
                    <a:pt x="388" y="612"/>
                  </a:lnTo>
                  <a:lnTo>
                    <a:pt x="384" y="608"/>
                  </a:lnTo>
                  <a:lnTo>
                    <a:pt x="388" y="608"/>
                  </a:lnTo>
                  <a:lnTo>
                    <a:pt x="384" y="608"/>
                  </a:lnTo>
                  <a:lnTo>
                    <a:pt x="388" y="604"/>
                  </a:lnTo>
                  <a:lnTo>
                    <a:pt x="384" y="604"/>
                  </a:lnTo>
                  <a:lnTo>
                    <a:pt x="388" y="604"/>
                  </a:lnTo>
                  <a:lnTo>
                    <a:pt x="392" y="600"/>
                  </a:lnTo>
                  <a:lnTo>
                    <a:pt x="392" y="596"/>
                  </a:lnTo>
                  <a:lnTo>
                    <a:pt x="392" y="600"/>
                  </a:lnTo>
                  <a:lnTo>
                    <a:pt x="388" y="600"/>
                  </a:lnTo>
                  <a:lnTo>
                    <a:pt x="388" y="604"/>
                  </a:lnTo>
                  <a:lnTo>
                    <a:pt x="384" y="604"/>
                  </a:lnTo>
                  <a:lnTo>
                    <a:pt x="384" y="600"/>
                  </a:lnTo>
                  <a:lnTo>
                    <a:pt x="384" y="604"/>
                  </a:lnTo>
                  <a:lnTo>
                    <a:pt x="380" y="604"/>
                  </a:lnTo>
                  <a:lnTo>
                    <a:pt x="380" y="600"/>
                  </a:lnTo>
                  <a:lnTo>
                    <a:pt x="384" y="600"/>
                  </a:lnTo>
                  <a:lnTo>
                    <a:pt x="380" y="600"/>
                  </a:lnTo>
                  <a:lnTo>
                    <a:pt x="380" y="604"/>
                  </a:lnTo>
                  <a:lnTo>
                    <a:pt x="380" y="600"/>
                  </a:lnTo>
                  <a:lnTo>
                    <a:pt x="384" y="600"/>
                  </a:lnTo>
                  <a:lnTo>
                    <a:pt x="388" y="600"/>
                  </a:lnTo>
                  <a:lnTo>
                    <a:pt x="388" y="596"/>
                  </a:lnTo>
                  <a:lnTo>
                    <a:pt x="392" y="596"/>
                  </a:lnTo>
                  <a:lnTo>
                    <a:pt x="392" y="592"/>
                  </a:lnTo>
                  <a:lnTo>
                    <a:pt x="392" y="596"/>
                  </a:lnTo>
                  <a:lnTo>
                    <a:pt x="392" y="592"/>
                  </a:lnTo>
                  <a:lnTo>
                    <a:pt x="388" y="592"/>
                  </a:lnTo>
                  <a:lnTo>
                    <a:pt x="388" y="596"/>
                  </a:lnTo>
                  <a:lnTo>
                    <a:pt x="384" y="600"/>
                  </a:lnTo>
                  <a:lnTo>
                    <a:pt x="384" y="596"/>
                  </a:lnTo>
                  <a:lnTo>
                    <a:pt x="384" y="600"/>
                  </a:lnTo>
                  <a:lnTo>
                    <a:pt x="380" y="600"/>
                  </a:lnTo>
                  <a:lnTo>
                    <a:pt x="380" y="596"/>
                  </a:lnTo>
                  <a:lnTo>
                    <a:pt x="384" y="596"/>
                  </a:lnTo>
                  <a:lnTo>
                    <a:pt x="388" y="592"/>
                  </a:lnTo>
                  <a:lnTo>
                    <a:pt x="384" y="592"/>
                  </a:lnTo>
                  <a:lnTo>
                    <a:pt x="384" y="588"/>
                  </a:lnTo>
                  <a:lnTo>
                    <a:pt x="388" y="588"/>
                  </a:lnTo>
                  <a:lnTo>
                    <a:pt x="384" y="588"/>
                  </a:lnTo>
                  <a:lnTo>
                    <a:pt x="380" y="592"/>
                  </a:lnTo>
                  <a:lnTo>
                    <a:pt x="384" y="592"/>
                  </a:lnTo>
                  <a:lnTo>
                    <a:pt x="384" y="596"/>
                  </a:lnTo>
                  <a:lnTo>
                    <a:pt x="380" y="596"/>
                  </a:lnTo>
                  <a:lnTo>
                    <a:pt x="376" y="596"/>
                  </a:lnTo>
                  <a:lnTo>
                    <a:pt x="372" y="596"/>
                  </a:lnTo>
                  <a:lnTo>
                    <a:pt x="372" y="600"/>
                  </a:lnTo>
                  <a:lnTo>
                    <a:pt x="368" y="600"/>
                  </a:lnTo>
                  <a:lnTo>
                    <a:pt x="372" y="600"/>
                  </a:lnTo>
                  <a:lnTo>
                    <a:pt x="368" y="604"/>
                  </a:lnTo>
                  <a:lnTo>
                    <a:pt x="368" y="600"/>
                  </a:lnTo>
                  <a:lnTo>
                    <a:pt x="368" y="596"/>
                  </a:lnTo>
                  <a:lnTo>
                    <a:pt x="364" y="600"/>
                  </a:lnTo>
                  <a:lnTo>
                    <a:pt x="362" y="600"/>
                  </a:lnTo>
                  <a:lnTo>
                    <a:pt x="358" y="600"/>
                  </a:lnTo>
                  <a:lnTo>
                    <a:pt x="362" y="600"/>
                  </a:lnTo>
                  <a:lnTo>
                    <a:pt x="358" y="600"/>
                  </a:lnTo>
                  <a:lnTo>
                    <a:pt x="354" y="600"/>
                  </a:lnTo>
                  <a:lnTo>
                    <a:pt x="350" y="600"/>
                  </a:lnTo>
                  <a:lnTo>
                    <a:pt x="354" y="600"/>
                  </a:lnTo>
                  <a:lnTo>
                    <a:pt x="358" y="596"/>
                  </a:lnTo>
                  <a:lnTo>
                    <a:pt x="354" y="596"/>
                  </a:lnTo>
                  <a:lnTo>
                    <a:pt x="350" y="600"/>
                  </a:lnTo>
                  <a:lnTo>
                    <a:pt x="350" y="596"/>
                  </a:lnTo>
                  <a:lnTo>
                    <a:pt x="346" y="596"/>
                  </a:lnTo>
                  <a:lnTo>
                    <a:pt x="350" y="596"/>
                  </a:lnTo>
                  <a:lnTo>
                    <a:pt x="354" y="596"/>
                  </a:lnTo>
                  <a:lnTo>
                    <a:pt x="350" y="596"/>
                  </a:lnTo>
                  <a:lnTo>
                    <a:pt x="350" y="592"/>
                  </a:lnTo>
                  <a:lnTo>
                    <a:pt x="354" y="588"/>
                  </a:lnTo>
                  <a:lnTo>
                    <a:pt x="350" y="588"/>
                  </a:lnTo>
                  <a:lnTo>
                    <a:pt x="350" y="592"/>
                  </a:lnTo>
                  <a:lnTo>
                    <a:pt x="350" y="596"/>
                  </a:lnTo>
                  <a:lnTo>
                    <a:pt x="346" y="592"/>
                  </a:lnTo>
                  <a:lnTo>
                    <a:pt x="350" y="592"/>
                  </a:lnTo>
                  <a:lnTo>
                    <a:pt x="346" y="592"/>
                  </a:lnTo>
                  <a:lnTo>
                    <a:pt x="342" y="592"/>
                  </a:lnTo>
                  <a:lnTo>
                    <a:pt x="346" y="592"/>
                  </a:lnTo>
                  <a:lnTo>
                    <a:pt x="346" y="588"/>
                  </a:lnTo>
                  <a:lnTo>
                    <a:pt x="342" y="588"/>
                  </a:lnTo>
                  <a:lnTo>
                    <a:pt x="338" y="588"/>
                  </a:lnTo>
                  <a:lnTo>
                    <a:pt x="342" y="584"/>
                  </a:lnTo>
                  <a:lnTo>
                    <a:pt x="346" y="584"/>
                  </a:lnTo>
                  <a:lnTo>
                    <a:pt x="350" y="584"/>
                  </a:lnTo>
                  <a:lnTo>
                    <a:pt x="346" y="584"/>
                  </a:lnTo>
                  <a:lnTo>
                    <a:pt x="342" y="584"/>
                  </a:lnTo>
                  <a:lnTo>
                    <a:pt x="338" y="584"/>
                  </a:lnTo>
                  <a:lnTo>
                    <a:pt x="334" y="584"/>
                  </a:lnTo>
                  <a:lnTo>
                    <a:pt x="338" y="584"/>
                  </a:lnTo>
                  <a:lnTo>
                    <a:pt x="342" y="584"/>
                  </a:lnTo>
                  <a:lnTo>
                    <a:pt x="346" y="582"/>
                  </a:lnTo>
                  <a:lnTo>
                    <a:pt x="342" y="582"/>
                  </a:lnTo>
                  <a:lnTo>
                    <a:pt x="338" y="584"/>
                  </a:lnTo>
                  <a:lnTo>
                    <a:pt x="338" y="582"/>
                  </a:lnTo>
                  <a:lnTo>
                    <a:pt x="334" y="582"/>
                  </a:lnTo>
                  <a:lnTo>
                    <a:pt x="338" y="578"/>
                  </a:lnTo>
                  <a:lnTo>
                    <a:pt x="338" y="574"/>
                  </a:lnTo>
                  <a:lnTo>
                    <a:pt x="342" y="574"/>
                  </a:lnTo>
                  <a:lnTo>
                    <a:pt x="338" y="574"/>
                  </a:lnTo>
                  <a:lnTo>
                    <a:pt x="334" y="578"/>
                  </a:lnTo>
                  <a:lnTo>
                    <a:pt x="334" y="582"/>
                  </a:lnTo>
                  <a:lnTo>
                    <a:pt x="334" y="578"/>
                  </a:lnTo>
                  <a:lnTo>
                    <a:pt x="332" y="578"/>
                  </a:lnTo>
                  <a:lnTo>
                    <a:pt x="334" y="574"/>
                  </a:lnTo>
                  <a:lnTo>
                    <a:pt x="338" y="574"/>
                  </a:lnTo>
                  <a:lnTo>
                    <a:pt x="342" y="574"/>
                  </a:lnTo>
                  <a:lnTo>
                    <a:pt x="338" y="574"/>
                  </a:lnTo>
                  <a:lnTo>
                    <a:pt x="338" y="570"/>
                  </a:lnTo>
                  <a:lnTo>
                    <a:pt x="334" y="570"/>
                  </a:lnTo>
                  <a:lnTo>
                    <a:pt x="334" y="574"/>
                  </a:lnTo>
                  <a:lnTo>
                    <a:pt x="332" y="574"/>
                  </a:lnTo>
                  <a:lnTo>
                    <a:pt x="328" y="574"/>
                  </a:lnTo>
                  <a:lnTo>
                    <a:pt x="328" y="570"/>
                  </a:lnTo>
                  <a:lnTo>
                    <a:pt x="332" y="570"/>
                  </a:lnTo>
                  <a:lnTo>
                    <a:pt x="332" y="574"/>
                  </a:lnTo>
                  <a:lnTo>
                    <a:pt x="334" y="570"/>
                  </a:lnTo>
                  <a:lnTo>
                    <a:pt x="332" y="570"/>
                  </a:lnTo>
                  <a:lnTo>
                    <a:pt x="334" y="570"/>
                  </a:lnTo>
                  <a:lnTo>
                    <a:pt x="334" y="568"/>
                  </a:lnTo>
                  <a:lnTo>
                    <a:pt x="332" y="570"/>
                  </a:lnTo>
                  <a:lnTo>
                    <a:pt x="328" y="568"/>
                  </a:lnTo>
                  <a:lnTo>
                    <a:pt x="328" y="570"/>
                  </a:lnTo>
                  <a:lnTo>
                    <a:pt x="328" y="568"/>
                  </a:lnTo>
                  <a:lnTo>
                    <a:pt x="324" y="568"/>
                  </a:lnTo>
                  <a:lnTo>
                    <a:pt x="320" y="564"/>
                  </a:lnTo>
                  <a:lnTo>
                    <a:pt x="320" y="560"/>
                  </a:lnTo>
                  <a:lnTo>
                    <a:pt x="324" y="556"/>
                  </a:lnTo>
                  <a:lnTo>
                    <a:pt x="320" y="560"/>
                  </a:lnTo>
                  <a:lnTo>
                    <a:pt x="320" y="556"/>
                  </a:lnTo>
                  <a:lnTo>
                    <a:pt x="324" y="552"/>
                  </a:lnTo>
                  <a:lnTo>
                    <a:pt x="328" y="552"/>
                  </a:lnTo>
                  <a:lnTo>
                    <a:pt x="328" y="548"/>
                  </a:lnTo>
                  <a:lnTo>
                    <a:pt x="328" y="552"/>
                  </a:lnTo>
                  <a:lnTo>
                    <a:pt x="324" y="552"/>
                  </a:lnTo>
                  <a:lnTo>
                    <a:pt x="320" y="556"/>
                  </a:lnTo>
                  <a:lnTo>
                    <a:pt x="320" y="552"/>
                  </a:lnTo>
                  <a:lnTo>
                    <a:pt x="324" y="552"/>
                  </a:lnTo>
                  <a:lnTo>
                    <a:pt x="320" y="552"/>
                  </a:lnTo>
                  <a:lnTo>
                    <a:pt x="316" y="552"/>
                  </a:lnTo>
                  <a:lnTo>
                    <a:pt x="316" y="548"/>
                  </a:lnTo>
                  <a:lnTo>
                    <a:pt x="320" y="548"/>
                  </a:lnTo>
                  <a:lnTo>
                    <a:pt x="324" y="544"/>
                  </a:lnTo>
                  <a:lnTo>
                    <a:pt x="320" y="544"/>
                  </a:lnTo>
                  <a:lnTo>
                    <a:pt x="320" y="548"/>
                  </a:lnTo>
                  <a:lnTo>
                    <a:pt x="316" y="548"/>
                  </a:lnTo>
                  <a:lnTo>
                    <a:pt x="316" y="544"/>
                  </a:lnTo>
                  <a:lnTo>
                    <a:pt x="312" y="548"/>
                  </a:lnTo>
                  <a:lnTo>
                    <a:pt x="312" y="544"/>
                  </a:lnTo>
                  <a:lnTo>
                    <a:pt x="312" y="548"/>
                  </a:lnTo>
                  <a:lnTo>
                    <a:pt x="308" y="548"/>
                  </a:lnTo>
                  <a:lnTo>
                    <a:pt x="308" y="544"/>
                  </a:lnTo>
                  <a:lnTo>
                    <a:pt x="312" y="544"/>
                  </a:lnTo>
                  <a:lnTo>
                    <a:pt x="316" y="544"/>
                  </a:lnTo>
                  <a:lnTo>
                    <a:pt x="320" y="540"/>
                  </a:lnTo>
                  <a:lnTo>
                    <a:pt x="316" y="540"/>
                  </a:lnTo>
                  <a:lnTo>
                    <a:pt x="312" y="540"/>
                  </a:lnTo>
                  <a:lnTo>
                    <a:pt x="308" y="540"/>
                  </a:lnTo>
                  <a:lnTo>
                    <a:pt x="312" y="540"/>
                  </a:lnTo>
                  <a:lnTo>
                    <a:pt x="312" y="538"/>
                  </a:lnTo>
                  <a:lnTo>
                    <a:pt x="308" y="538"/>
                  </a:lnTo>
                  <a:lnTo>
                    <a:pt x="308" y="540"/>
                  </a:lnTo>
                  <a:lnTo>
                    <a:pt x="308" y="538"/>
                  </a:lnTo>
                  <a:lnTo>
                    <a:pt x="312" y="538"/>
                  </a:lnTo>
                  <a:lnTo>
                    <a:pt x="316" y="538"/>
                  </a:lnTo>
                  <a:lnTo>
                    <a:pt x="312" y="538"/>
                  </a:lnTo>
                  <a:lnTo>
                    <a:pt x="308" y="538"/>
                  </a:lnTo>
                  <a:lnTo>
                    <a:pt x="308" y="540"/>
                  </a:lnTo>
                  <a:lnTo>
                    <a:pt x="306" y="538"/>
                  </a:lnTo>
                  <a:lnTo>
                    <a:pt x="302" y="538"/>
                  </a:lnTo>
                  <a:lnTo>
                    <a:pt x="302" y="534"/>
                  </a:lnTo>
                  <a:lnTo>
                    <a:pt x="306" y="534"/>
                  </a:lnTo>
                  <a:lnTo>
                    <a:pt x="308" y="534"/>
                  </a:lnTo>
                  <a:lnTo>
                    <a:pt x="308" y="530"/>
                  </a:lnTo>
                  <a:lnTo>
                    <a:pt x="312" y="530"/>
                  </a:lnTo>
                  <a:lnTo>
                    <a:pt x="308" y="530"/>
                  </a:lnTo>
                  <a:lnTo>
                    <a:pt x="306" y="530"/>
                  </a:lnTo>
                  <a:lnTo>
                    <a:pt x="306" y="534"/>
                  </a:lnTo>
                  <a:lnTo>
                    <a:pt x="306" y="530"/>
                  </a:lnTo>
                  <a:lnTo>
                    <a:pt x="302" y="530"/>
                  </a:lnTo>
                  <a:lnTo>
                    <a:pt x="302" y="526"/>
                  </a:lnTo>
                  <a:lnTo>
                    <a:pt x="306" y="526"/>
                  </a:lnTo>
                  <a:lnTo>
                    <a:pt x="312" y="526"/>
                  </a:lnTo>
                  <a:lnTo>
                    <a:pt x="316" y="526"/>
                  </a:lnTo>
                  <a:lnTo>
                    <a:pt x="316" y="522"/>
                  </a:lnTo>
                  <a:lnTo>
                    <a:pt x="316" y="526"/>
                  </a:lnTo>
                  <a:lnTo>
                    <a:pt x="320" y="522"/>
                  </a:lnTo>
                  <a:lnTo>
                    <a:pt x="324" y="522"/>
                  </a:lnTo>
                  <a:lnTo>
                    <a:pt x="320" y="522"/>
                  </a:lnTo>
                  <a:lnTo>
                    <a:pt x="316" y="522"/>
                  </a:lnTo>
                  <a:lnTo>
                    <a:pt x="312" y="522"/>
                  </a:lnTo>
                  <a:lnTo>
                    <a:pt x="312" y="526"/>
                  </a:lnTo>
                  <a:lnTo>
                    <a:pt x="308" y="526"/>
                  </a:lnTo>
                  <a:lnTo>
                    <a:pt x="306" y="526"/>
                  </a:lnTo>
                  <a:lnTo>
                    <a:pt x="302" y="526"/>
                  </a:lnTo>
                  <a:lnTo>
                    <a:pt x="302" y="522"/>
                  </a:lnTo>
                  <a:lnTo>
                    <a:pt x="306" y="522"/>
                  </a:lnTo>
                  <a:lnTo>
                    <a:pt x="306" y="526"/>
                  </a:lnTo>
                  <a:lnTo>
                    <a:pt x="306" y="522"/>
                  </a:lnTo>
                  <a:lnTo>
                    <a:pt x="302" y="522"/>
                  </a:lnTo>
                  <a:lnTo>
                    <a:pt x="302" y="526"/>
                  </a:lnTo>
                  <a:lnTo>
                    <a:pt x="302" y="522"/>
                  </a:lnTo>
                  <a:lnTo>
                    <a:pt x="306" y="522"/>
                  </a:lnTo>
                  <a:lnTo>
                    <a:pt x="308" y="522"/>
                  </a:lnTo>
                  <a:lnTo>
                    <a:pt x="312" y="522"/>
                  </a:lnTo>
                  <a:lnTo>
                    <a:pt x="308" y="522"/>
                  </a:lnTo>
                  <a:lnTo>
                    <a:pt x="312" y="518"/>
                  </a:lnTo>
                  <a:lnTo>
                    <a:pt x="316" y="518"/>
                  </a:lnTo>
                  <a:lnTo>
                    <a:pt x="320" y="518"/>
                  </a:lnTo>
                  <a:lnTo>
                    <a:pt x="324" y="518"/>
                  </a:lnTo>
                  <a:lnTo>
                    <a:pt x="324" y="514"/>
                  </a:lnTo>
                  <a:lnTo>
                    <a:pt x="320" y="514"/>
                  </a:lnTo>
                  <a:lnTo>
                    <a:pt x="320" y="518"/>
                  </a:lnTo>
                  <a:lnTo>
                    <a:pt x="316" y="518"/>
                  </a:lnTo>
                  <a:lnTo>
                    <a:pt x="316" y="514"/>
                  </a:lnTo>
                  <a:lnTo>
                    <a:pt x="320" y="514"/>
                  </a:lnTo>
                  <a:lnTo>
                    <a:pt x="316" y="514"/>
                  </a:lnTo>
                  <a:lnTo>
                    <a:pt x="312" y="514"/>
                  </a:lnTo>
                  <a:lnTo>
                    <a:pt x="312" y="512"/>
                  </a:lnTo>
                  <a:lnTo>
                    <a:pt x="316" y="512"/>
                  </a:lnTo>
                  <a:lnTo>
                    <a:pt x="320" y="512"/>
                  </a:lnTo>
                  <a:lnTo>
                    <a:pt x="316" y="512"/>
                  </a:lnTo>
                  <a:lnTo>
                    <a:pt x="320" y="512"/>
                  </a:lnTo>
                  <a:lnTo>
                    <a:pt x="320" y="514"/>
                  </a:lnTo>
                  <a:lnTo>
                    <a:pt x="324" y="514"/>
                  </a:lnTo>
                  <a:lnTo>
                    <a:pt x="324" y="518"/>
                  </a:lnTo>
                  <a:lnTo>
                    <a:pt x="328" y="518"/>
                  </a:lnTo>
                  <a:lnTo>
                    <a:pt x="332" y="518"/>
                  </a:lnTo>
                  <a:lnTo>
                    <a:pt x="328" y="518"/>
                  </a:lnTo>
                  <a:lnTo>
                    <a:pt x="324" y="514"/>
                  </a:lnTo>
                  <a:lnTo>
                    <a:pt x="324" y="512"/>
                  </a:lnTo>
                  <a:lnTo>
                    <a:pt x="320" y="512"/>
                  </a:lnTo>
                  <a:lnTo>
                    <a:pt x="324" y="508"/>
                  </a:lnTo>
                  <a:lnTo>
                    <a:pt x="320" y="508"/>
                  </a:lnTo>
                  <a:lnTo>
                    <a:pt x="320" y="512"/>
                  </a:lnTo>
                  <a:lnTo>
                    <a:pt x="316" y="512"/>
                  </a:lnTo>
                  <a:lnTo>
                    <a:pt x="316" y="508"/>
                  </a:lnTo>
                  <a:lnTo>
                    <a:pt x="316" y="504"/>
                  </a:lnTo>
                  <a:lnTo>
                    <a:pt x="312" y="504"/>
                  </a:lnTo>
                  <a:lnTo>
                    <a:pt x="312" y="500"/>
                  </a:lnTo>
                  <a:lnTo>
                    <a:pt x="312" y="504"/>
                  </a:lnTo>
                  <a:lnTo>
                    <a:pt x="316" y="508"/>
                  </a:lnTo>
                  <a:lnTo>
                    <a:pt x="316" y="512"/>
                  </a:lnTo>
                  <a:lnTo>
                    <a:pt x="312" y="512"/>
                  </a:lnTo>
                  <a:lnTo>
                    <a:pt x="308" y="512"/>
                  </a:lnTo>
                  <a:lnTo>
                    <a:pt x="308" y="514"/>
                  </a:lnTo>
                  <a:lnTo>
                    <a:pt x="308" y="512"/>
                  </a:lnTo>
                  <a:lnTo>
                    <a:pt x="308" y="508"/>
                  </a:lnTo>
                  <a:lnTo>
                    <a:pt x="308" y="512"/>
                  </a:lnTo>
                  <a:lnTo>
                    <a:pt x="306" y="512"/>
                  </a:lnTo>
                  <a:lnTo>
                    <a:pt x="306" y="514"/>
                  </a:lnTo>
                  <a:lnTo>
                    <a:pt x="302" y="518"/>
                  </a:lnTo>
                  <a:lnTo>
                    <a:pt x="302" y="522"/>
                  </a:lnTo>
                  <a:lnTo>
                    <a:pt x="298" y="522"/>
                  </a:lnTo>
                  <a:lnTo>
                    <a:pt x="298" y="518"/>
                  </a:lnTo>
                  <a:lnTo>
                    <a:pt x="294" y="518"/>
                  </a:lnTo>
                  <a:lnTo>
                    <a:pt x="294" y="514"/>
                  </a:lnTo>
                  <a:lnTo>
                    <a:pt x="294" y="512"/>
                  </a:lnTo>
                  <a:lnTo>
                    <a:pt x="298" y="508"/>
                  </a:lnTo>
                  <a:lnTo>
                    <a:pt x="302" y="508"/>
                  </a:lnTo>
                  <a:lnTo>
                    <a:pt x="306" y="508"/>
                  </a:lnTo>
                  <a:lnTo>
                    <a:pt x="306" y="504"/>
                  </a:lnTo>
                  <a:lnTo>
                    <a:pt x="308" y="504"/>
                  </a:lnTo>
                  <a:lnTo>
                    <a:pt x="306" y="504"/>
                  </a:lnTo>
                  <a:lnTo>
                    <a:pt x="302" y="508"/>
                  </a:lnTo>
                  <a:lnTo>
                    <a:pt x="302" y="504"/>
                  </a:lnTo>
                  <a:lnTo>
                    <a:pt x="298" y="508"/>
                  </a:lnTo>
                  <a:lnTo>
                    <a:pt x="294" y="508"/>
                  </a:lnTo>
                  <a:lnTo>
                    <a:pt x="298" y="508"/>
                  </a:lnTo>
                  <a:lnTo>
                    <a:pt x="294" y="508"/>
                  </a:lnTo>
                  <a:lnTo>
                    <a:pt x="294" y="504"/>
                  </a:lnTo>
                  <a:lnTo>
                    <a:pt x="298" y="504"/>
                  </a:lnTo>
                  <a:lnTo>
                    <a:pt x="294" y="504"/>
                  </a:lnTo>
                  <a:lnTo>
                    <a:pt x="294" y="500"/>
                  </a:lnTo>
                  <a:lnTo>
                    <a:pt x="294" y="496"/>
                  </a:lnTo>
                  <a:lnTo>
                    <a:pt x="294" y="500"/>
                  </a:lnTo>
                  <a:lnTo>
                    <a:pt x="290" y="500"/>
                  </a:lnTo>
                  <a:lnTo>
                    <a:pt x="294" y="500"/>
                  </a:lnTo>
                  <a:lnTo>
                    <a:pt x="294" y="496"/>
                  </a:lnTo>
                  <a:lnTo>
                    <a:pt x="290" y="496"/>
                  </a:lnTo>
                  <a:lnTo>
                    <a:pt x="290" y="500"/>
                  </a:lnTo>
                  <a:lnTo>
                    <a:pt x="290" y="496"/>
                  </a:lnTo>
                  <a:lnTo>
                    <a:pt x="294" y="492"/>
                  </a:lnTo>
                  <a:lnTo>
                    <a:pt x="298" y="492"/>
                  </a:lnTo>
                  <a:lnTo>
                    <a:pt x="298" y="488"/>
                  </a:lnTo>
                  <a:lnTo>
                    <a:pt x="302" y="488"/>
                  </a:lnTo>
                  <a:lnTo>
                    <a:pt x="298" y="488"/>
                  </a:lnTo>
                  <a:lnTo>
                    <a:pt x="302" y="488"/>
                  </a:lnTo>
                  <a:lnTo>
                    <a:pt x="302" y="484"/>
                  </a:lnTo>
                  <a:lnTo>
                    <a:pt x="306" y="484"/>
                  </a:lnTo>
                  <a:lnTo>
                    <a:pt x="308" y="484"/>
                  </a:lnTo>
                  <a:lnTo>
                    <a:pt x="312" y="484"/>
                  </a:lnTo>
                  <a:lnTo>
                    <a:pt x="312" y="488"/>
                  </a:lnTo>
                  <a:lnTo>
                    <a:pt x="316" y="488"/>
                  </a:lnTo>
                  <a:lnTo>
                    <a:pt x="316" y="484"/>
                  </a:lnTo>
                  <a:lnTo>
                    <a:pt x="312" y="484"/>
                  </a:lnTo>
                  <a:lnTo>
                    <a:pt x="308" y="484"/>
                  </a:lnTo>
                  <a:lnTo>
                    <a:pt x="306" y="484"/>
                  </a:lnTo>
                  <a:lnTo>
                    <a:pt x="302" y="484"/>
                  </a:lnTo>
                  <a:lnTo>
                    <a:pt x="298" y="488"/>
                  </a:lnTo>
                  <a:lnTo>
                    <a:pt x="298" y="492"/>
                  </a:lnTo>
                  <a:lnTo>
                    <a:pt x="294" y="492"/>
                  </a:lnTo>
                  <a:lnTo>
                    <a:pt x="290" y="492"/>
                  </a:lnTo>
                  <a:lnTo>
                    <a:pt x="290" y="496"/>
                  </a:lnTo>
                  <a:lnTo>
                    <a:pt x="286" y="492"/>
                  </a:lnTo>
                  <a:lnTo>
                    <a:pt x="290" y="488"/>
                  </a:lnTo>
                  <a:lnTo>
                    <a:pt x="286" y="488"/>
                  </a:lnTo>
                  <a:lnTo>
                    <a:pt x="286" y="492"/>
                  </a:lnTo>
                  <a:lnTo>
                    <a:pt x="286" y="488"/>
                  </a:lnTo>
                  <a:lnTo>
                    <a:pt x="286" y="484"/>
                  </a:lnTo>
                  <a:lnTo>
                    <a:pt x="286" y="488"/>
                  </a:lnTo>
                  <a:lnTo>
                    <a:pt x="282" y="488"/>
                  </a:lnTo>
                  <a:lnTo>
                    <a:pt x="278" y="488"/>
                  </a:lnTo>
                  <a:lnTo>
                    <a:pt x="278" y="484"/>
                  </a:lnTo>
                  <a:lnTo>
                    <a:pt x="282" y="484"/>
                  </a:lnTo>
                  <a:lnTo>
                    <a:pt x="278" y="484"/>
                  </a:lnTo>
                  <a:lnTo>
                    <a:pt x="282" y="484"/>
                  </a:lnTo>
                  <a:lnTo>
                    <a:pt x="282" y="482"/>
                  </a:lnTo>
                  <a:lnTo>
                    <a:pt x="286" y="482"/>
                  </a:lnTo>
                  <a:lnTo>
                    <a:pt x="290" y="482"/>
                  </a:lnTo>
                  <a:lnTo>
                    <a:pt x="294" y="482"/>
                  </a:lnTo>
                  <a:lnTo>
                    <a:pt x="298" y="482"/>
                  </a:lnTo>
                  <a:lnTo>
                    <a:pt x="298" y="478"/>
                  </a:lnTo>
                  <a:lnTo>
                    <a:pt x="294" y="482"/>
                  </a:lnTo>
                  <a:lnTo>
                    <a:pt x="290" y="482"/>
                  </a:lnTo>
                  <a:lnTo>
                    <a:pt x="286" y="482"/>
                  </a:lnTo>
                  <a:lnTo>
                    <a:pt x="282" y="482"/>
                  </a:lnTo>
                  <a:lnTo>
                    <a:pt x="278" y="484"/>
                  </a:lnTo>
                  <a:lnTo>
                    <a:pt x="278" y="482"/>
                  </a:lnTo>
                  <a:lnTo>
                    <a:pt x="282" y="482"/>
                  </a:lnTo>
                  <a:lnTo>
                    <a:pt x="282" y="478"/>
                  </a:lnTo>
                  <a:lnTo>
                    <a:pt x="282" y="482"/>
                  </a:lnTo>
                  <a:lnTo>
                    <a:pt x="278" y="482"/>
                  </a:lnTo>
                  <a:lnTo>
                    <a:pt x="276" y="482"/>
                  </a:lnTo>
                  <a:lnTo>
                    <a:pt x="278" y="482"/>
                  </a:lnTo>
                  <a:lnTo>
                    <a:pt x="278" y="478"/>
                  </a:lnTo>
                  <a:lnTo>
                    <a:pt x="278" y="482"/>
                  </a:lnTo>
                  <a:lnTo>
                    <a:pt x="278" y="478"/>
                  </a:lnTo>
                  <a:lnTo>
                    <a:pt x="276" y="478"/>
                  </a:lnTo>
                  <a:lnTo>
                    <a:pt x="278" y="478"/>
                  </a:lnTo>
                  <a:lnTo>
                    <a:pt x="282" y="478"/>
                  </a:lnTo>
                  <a:lnTo>
                    <a:pt x="282" y="474"/>
                  </a:lnTo>
                  <a:lnTo>
                    <a:pt x="286" y="474"/>
                  </a:lnTo>
                  <a:lnTo>
                    <a:pt x="286" y="470"/>
                  </a:lnTo>
                  <a:lnTo>
                    <a:pt x="290" y="470"/>
                  </a:lnTo>
                  <a:lnTo>
                    <a:pt x="294" y="470"/>
                  </a:lnTo>
                  <a:lnTo>
                    <a:pt x="294" y="466"/>
                  </a:lnTo>
                  <a:lnTo>
                    <a:pt x="298" y="466"/>
                  </a:lnTo>
                  <a:lnTo>
                    <a:pt x="298" y="462"/>
                  </a:lnTo>
                  <a:lnTo>
                    <a:pt x="302" y="462"/>
                  </a:lnTo>
                  <a:lnTo>
                    <a:pt x="306" y="462"/>
                  </a:lnTo>
                  <a:lnTo>
                    <a:pt x="306" y="458"/>
                  </a:lnTo>
                  <a:lnTo>
                    <a:pt x="308" y="458"/>
                  </a:lnTo>
                  <a:lnTo>
                    <a:pt x="312" y="458"/>
                  </a:lnTo>
                  <a:lnTo>
                    <a:pt x="316" y="458"/>
                  </a:lnTo>
                  <a:lnTo>
                    <a:pt x="320" y="458"/>
                  </a:lnTo>
                  <a:lnTo>
                    <a:pt x="316" y="458"/>
                  </a:lnTo>
                  <a:lnTo>
                    <a:pt x="312" y="458"/>
                  </a:lnTo>
                  <a:lnTo>
                    <a:pt x="308" y="458"/>
                  </a:lnTo>
                  <a:lnTo>
                    <a:pt x="312" y="458"/>
                  </a:lnTo>
                  <a:lnTo>
                    <a:pt x="312" y="456"/>
                  </a:lnTo>
                  <a:lnTo>
                    <a:pt x="316" y="456"/>
                  </a:lnTo>
                  <a:lnTo>
                    <a:pt x="320" y="456"/>
                  </a:lnTo>
                  <a:lnTo>
                    <a:pt x="324" y="456"/>
                  </a:lnTo>
                  <a:lnTo>
                    <a:pt x="320" y="456"/>
                  </a:lnTo>
                  <a:lnTo>
                    <a:pt x="316" y="456"/>
                  </a:lnTo>
                  <a:lnTo>
                    <a:pt x="320" y="456"/>
                  </a:lnTo>
                  <a:lnTo>
                    <a:pt x="316" y="456"/>
                  </a:lnTo>
                  <a:lnTo>
                    <a:pt x="312" y="456"/>
                  </a:lnTo>
                  <a:lnTo>
                    <a:pt x="308" y="456"/>
                  </a:lnTo>
                  <a:lnTo>
                    <a:pt x="308" y="458"/>
                  </a:lnTo>
                  <a:lnTo>
                    <a:pt x="306" y="458"/>
                  </a:lnTo>
                  <a:lnTo>
                    <a:pt x="302" y="458"/>
                  </a:lnTo>
                  <a:lnTo>
                    <a:pt x="302" y="462"/>
                  </a:lnTo>
                  <a:lnTo>
                    <a:pt x="298" y="462"/>
                  </a:lnTo>
                  <a:lnTo>
                    <a:pt x="298" y="466"/>
                  </a:lnTo>
                  <a:lnTo>
                    <a:pt x="294" y="466"/>
                  </a:lnTo>
                  <a:lnTo>
                    <a:pt x="290" y="470"/>
                  </a:lnTo>
                  <a:lnTo>
                    <a:pt x="286" y="470"/>
                  </a:lnTo>
                  <a:lnTo>
                    <a:pt x="286" y="474"/>
                  </a:lnTo>
                  <a:lnTo>
                    <a:pt x="282" y="474"/>
                  </a:lnTo>
                  <a:lnTo>
                    <a:pt x="278" y="478"/>
                  </a:lnTo>
                  <a:lnTo>
                    <a:pt x="276" y="478"/>
                  </a:lnTo>
                  <a:lnTo>
                    <a:pt x="276" y="474"/>
                  </a:lnTo>
                  <a:lnTo>
                    <a:pt x="278" y="474"/>
                  </a:lnTo>
                  <a:lnTo>
                    <a:pt x="276" y="474"/>
                  </a:lnTo>
                  <a:lnTo>
                    <a:pt x="272" y="474"/>
                  </a:lnTo>
                  <a:lnTo>
                    <a:pt x="272" y="470"/>
                  </a:lnTo>
                  <a:lnTo>
                    <a:pt x="272" y="466"/>
                  </a:lnTo>
                  <a:lnTo>
                    <a:pt x="276" y="466"/>
                  </a:lnTo>
                  <a:lnTo>
                    <a:pt x="278" y="466"/>
                  </a:lnTo>
                  <a:lnTo>
                    <a:pt x="282" y="466"/>
                  </a:lnTo>
                  <a:lnTo>
                    <a:pt x="286" y="466"/>
                  </a:lnTo>
                  <a:lnTo>
                    <a:pt x="290" y="466"/>
                  </a:lnTo>
                  <a:lnTo>
                    <a:pt x="286" y="466"/>
                  </a:lnTo>
                  <a:lnTo>
                    <a:pt x="282" y="466"/>
                  </a:lnTo>
                  <a:lnTo>
                    <a:pt x="278" y="466"/>
                  </a:lnTo>
                  <a:lnTo>
                    <a:pt x="276" y="466"/>
                  </a:lnTo>
                  <a:lnTo>
                    <a:pt x="276" y="462"/>
                  </a:lnTo>
                  <a:lnTo>
                    <a:pt x="278" y="462"/>
                  </a:lnTo>
                  <a:lnTo>
                    <a:pt x="282" y="462"/>
                  </a:lnTo>
                  <a:lnTo>
                    <a:pt x="286" y="462"/>
                  </a:lnTo>
                  <a:lnTo>
                    <a:pt x="282" y="462"/>
                  </a:lnTo>
                  <a:lnTo>
                    <a:pt x="278" y="462"/>
                  </a:lnTo>
                  <a:lnTo>
                    <a:pt x="282" y="462"/>
                  </a:lnTo>
                  <a:lnTo>
                    <a:pt x="282" y="458"/>
                  </a:lnTo>
                  <a:lnTo>
                    <a:pt x="282" y="462"/>
                  </a:lnTo>
                  <a:lnTo>
                    <a:pt x="278" y="462"/>
                  </a:lnTo>
                  <a:lnTo>
                    <a:pt x="282" y="462"/>
                  </a:lnTo>
                  <a:lnTo>
                    <a:pt x="282" y="458"/>
                  </a:lnTo>
                  <a:lnTo>
                    <a:pt x="286" y="458"/>
                  </a:lnTo>
                  <a:lnTo>
                    <a:pt x="290" y="458"/>
                  </a:lnTo>
                  <a:lnTo>
                    <a:pt x="294" y="458"/>
                  </a:lnTo>
                  <a:lnTo>
                    <a:pt x="290" y="458"/>
                  </a:lnTo>
                  <a:lnTo>
                    <a:pt x="286" y="458"/>
                  </a:lnTo>
                  <a:lnTo>
                    <a:pt x="282" y="458"/>
                  </a:lnTo>
                  <a:lnTo>
                    <a:pt x="278" y="458"/>
                  </a:lnTo>
                  <a:lnTo>
                    <a:pt x="276" y="458"/>
                  </a:lnTo>
                  <a:lnTo>
                    <a:pt x="272" y="458"/>
                  </a:lnTo>
                  <a:lnTo>
                    <a:pt x="272" y="456"/>
                  </a:lnTo>
                  <a:lnTo>
                    <a:pt x="276" y="456"/>
                  </a:lnTo>
                  <a:lnTo>
                    <a:pt x="278" y="456"/>
                  </a:lnTo>
                  <a:lnTo>
                    <a:pt x="276" y="456"/>
                  </a:lnTo>
                  <a:lnTo>
                    <a:pt x="272" y="456"/>
                  </a:lnTo>
                  <a:lnTo>
                    <a:pt x="276" y="456"/>
                  </a:lnTo>
                  <a:lnTo>
                    <a:pt x="276" y="452"/>
                  </a:lnTo>
                  <a:lnTo>
                    <a:pt x="272" y="456"/>
                  </a:lnTo>
                  <a:lnTo>
                    <a:pt x="268" y="456"/>
                  </a:lnTo>
                  <a:lnTo>
                    <a:pt x="268" y="452"/>
                  </a:lnTo>
                  <a:lnTo>
                    <a:pt x="272" y="452"/>
                  </a:lnTo>
                  <a:lnTo>
                    <a:pt x="276" y="452"/>
                  </a:lnTo>
                  <a:lnTo>
                    <a:pt x="276" y="448"/>
                  </a:lnTo>
                  <a:lnTo>
                    <a:pt x="278" y="448"/>
                  </a:lnTo>
                  <a:lnTo>
                    <a:pt x="282" y="448"/>
                  </a:lnTo>
                  <a:lnTo>
                    <a:pt x="286" y="448"/>
                  </a:lnTo>
                  <a:lnTo>
                    <a:pt x="290" y="448"/>
                  </a:lnTo>
                  <a:lnTo>
                    <a:pt x="294" y="448"/>
                  </a:lnTo>
                  <a:lnTo>
                    <a:pt x="298" y="448"/>
                  </a:lnTo>
                  <a:lnTo>
                    <a:pt x="302" y="448"/>
                  </a:lnTo>
                  <a:lnTo>
                    <a:pt x="306" y="448"/>
                  </a:lnTo>
                  <a:lnTo>
                    <a:pt x="306" y="452"/>
                  </a:lnTo>
                  <a:lnTo>
                    <a:pt x="308" y="452"/>
                  </a:lnTo>
                  <a:lnTo>
                    <a:pt x="312" y="452"/>
                  </a:lnTo>
                  <a:lnTo>
                    <a:pt x="316" y="452"/>
                  </a:lnTo>
                  <a:lnTo>
                    <a:pt x="320" y="452"/>
                  </a:lnTo>
                  <a:lnTo>
                    <a:pt x="316" y="452"/>
                  </a:lnTo>
                  <a:lnTo>
                    <a:pt x="312" y="452"/>
                  </a:lnTo>
                  <a:lnTo>
                    <a:pt x="308" y="452"/>
                  </a:lnTo>
                  <a:lnTo>
                    <a:pt x="306" y="448"/>
                  </a:lnTo>
                  <a:lnTo>
                    <a:pt x="302" y="448"/>
                  </a:lnTo>
                  <a:lnTo>
                    <a:pt x="306" y="448"/>
                  </a:lnTo>
                  <a:lnTo>
                    <a:pt x="308" y="444"/>
                  </a:lnTo>
                  <a:lnTo>
                    <a:pt x="306" y="444"/>
                  </a:lnTo>
                  <a:lnTo>
                    <a:pt x="302" y="448"/>
                  </a:lnTo>
                  <a:lnTo>
                    <a:pt x="298" y="448"/>
                  </a:lnTo>
                  <a:lnTo>
                    <a:pt x="294" y="448"/>
                  </a:lnTo>
                  <a:lnTo>
                    <a:pt x="294" y="444"/>
                  </a:lnTo>
                  <a:lnTo>
                    <a:pt x="286" y="448"/>
                  </a:lnTo>
                  <a:lnTo>
                    <a:pt x="282" y="448"/>
                  </a:lnTo>
                  <a:lnTo>
                    <a:pt x="278" y="448"/>
                  </a:lnTo>
                  <a:lnTo>
                    <a:pt x="276" y="448"/>
                  </a:lnTo>
                  <a:lnTo>
                    <a:pt x="272" y="452"/>
                  </a:lnTo>
                  <a:lnTo>
                    <a:pt x="272" y="448"/>
                  </a:lnTo>
                  <a:lnTo>
                    <a:pt x="272" y="444"/>
                  </a:lnTo>
                  <a:lnTo>
                    <a:pt x="276" y="444"/>
                  </a:lnTo>
                  <a:lnTo>
                    <a:pt x="278" y="440"/>
                  </a:lnTo>
                  <a:lnTo>
                    <a:pt x="282" y="440"/>
                  </a:lnTo>
                  <a:lnTo>
                    <a:pt x="278" y="440"/>
                  </a:lnTo>
                  <a:lnTo>
                    <a:pt x="282" y="440"/>
                  </a:lnTo>
                  <a:lnTo>
                    <a:pt x="282" y="436"/>
                  </a:lnTo>
                  <a:lnTo>
                    <a:pt x="286" y="436"/>
                  </a:lnTo>
                  <a:lnTo>
                    <a:pt x="290" y="436"/>
                  </a:lnTo>
                  <a:lnTo>
                    <a:pt x="286" y="436"/>
                  </a:lnTo>
                  <a:lnTo>
                    <a:pt x="290" y="436"/>
                  </a:lnTo>
                  <a:lnTo>
                    <a:pt x="294" y="436"/>
                  </a:lnTo>
                  <a:lnTo>
                    <a:pt x="298" y="436"/>
                  </a:lnTo>
                  <a:lnTo>
                    <a:pt x="298" y="440"/>
                  </a:lnTo>
                  <a:lnTo>
                    <a:pt x="302" y="440"/>
                  </a:lnTo>
                  <a:lnTo>
                    <a:pt x="306" y="440"/>
                  </a:lnTo>
                  <a:lnTo>
                    <a:pt x="308" y="440"/>
                  </a:lnTo>
                  <a:lnTo>
                    <a:pt x="312" y="440"/>
                  </a:lnTo>
                  <a:lnTo>
                    <a:pt x="312" y="444"/>
                  </a:lnTo>
                  <a:lnTo>
                    <a:pt x="316" y="444"/>
                  </a:lnTo>
                  <a:lnTo>
                    <a:pt x="320" y="444"/>
                  </a:lnTo>
                  <a:lnTo>
                    <a:pt x="324" y="444"/>
                  </a:lnTo>
                  <a:lnTo>
                    <a:pt x="320" y="444"/>
                  </a:lnTo>
                  <a:lnTo>
                    <a:pt x="316" y="444"/>
                  </a:lnTo>
                  <a:lnTo>
                    <a:pt x="316" y="440"/>
                  </a:lnTo>
                  <a:lnTo>
                    <a:pt x="312" y="440"/>
                  </a:lnTo>
                  <a:lnTo>
                    <a:pt x="316" y="440"/>
                  </a:lnTo>
                  <a:lnTo>
                    <a:pt x="320" y="440"/>
                  </a:lnTo>
                  <a:lnTo>
                    <a:pt x="320" y="436"/>
                  </a:lnTo>
                  <a:lnTo>
                    <a:pt x="324" y="436"/>
                  </a:lnTo>
                  <a:lnTo>
                    <a:pt x="324" y="440"/>
                  </a:lnTo>
                  <a:lnTo>
                    <a:pt x="324" y="436"/>
                  </a:lnTo>
                  <a:lnTo>
                    <a:pt x="320" y="436"/>
                  </a:lnTo>
                  <a:lnTo>
                    <a:pt x="316" y="436"/>
                  </a:lnTo>
                  <a:lnTo>
                    <a:pt x="316" y="440"/>
                  </a:lnTo>
                  <a:lnTo>
                    <a:pt x="312" y="440"/>
                  </a:lnTo>
                  <a:lnTo>
                    <a:pt x="308" y="440"/>
                  </a:lnTo>
                  <a:lnTo>
                    <a:pt x="308" y="436"/>
                  </a:lnTo>
                  <a:lnTo>
                    <a:pt x="312" y="436"/>
                  </a:lnTo>
                  <a:lnTo>
                    <a:pt x="316" y="436"/>
                  </a:lnTo>
                  <a:lnTo>
                    <a:pt x="320" y="436"/>
                  </a:lnTo>
                  <a:lnTo>
                    <a:pt x="320" y="432"/>
                  </a:lnTo>
                  <a:lnTo>
                    <a:pt x="312" y="432"/>
                  </a:lnTo>
                  <a:lnTo>
                    <a:pt x="316" y="432"/>
                  </a:lnTo>
                  <a:lnTo>
                    <a:pt x="316" y="436"/>
                  </a:lnTo>
                  <a:lnTo>
                    <a:pt x="312" y="436"/>
                  </a:lnTo>
                  <a:lnTo>
                    <a:pt x="308" y="436"/>
                  </a:lnTo>
                  <a:lnTo>
                    <a:pt x="306" y="432"/>
                  </a:lnTo>
                  <a:lnTo>
                    <a:pt x="308" y="432"/>
                  </a:lnTo>
                  <a:lnTo>
                    <a:pt x="312" y="432"/>
                  </a:lnTo>
                  <a:lnTo>
                    <a:pt x="308" y="432"/>
                  </a:lnTo>
                  <a:lnTo>
                    <a:pt x="306" y="432"/>
                  </a:lnTo>
                  <a:lnTo>
                    <a:pt x="302" y="432"/>
                  </a:lnTo>
                  <a:lnTo>
                    <a:pt x="306" y="432"/>
                  </a:lnTo>
                  <a:lnTo>
                    <a:pt x="306" y="436"/>
                  </a:lnTo>
                  <a:lnTo>
                    <a:pt x="302" y="436"/>
                  </a:lnTo>
                  <a:lnTo>
                    <a:pt x="306" y="436"/>
                  </a:lnTo>
                  <a:lnTo>
                    <a:pt x="302" y="436"/>
                  </a:lnTo>
                  <a:lnTo>
                    <a:pt x="298" y="436"/>
                  </a:lnTo>
                  <a:lnTo>
                    <a:pt x="302" y="436"/>
                  </a:lnTo>
                  <a:lnTo>
                    <a:pt x="298" y="436"/>
                  </a:lnTo>
                  <a:lnTo>
                    <a:pt x="294" y="436"/>
                  </a:lnTo>
                  <a:lnTo>
                    <a:pt x="290" y="436"/>
                  </a:lnTo>
                  <a:lnTo>
                    <a:pt x="294" y="432"/>
                  </a:lnTo>
                  <a:lnTo>
                    <a:pt x="298" y="432"/>
                  </a:lnTo>
                  <a:lnTo>
                    <a:pt x="302" y="432"/>
                  </a:lnTo>
                  <a:lnTo>
                    <a:pt x="298" y="432"/>
                  </a:lnTo>
                  <a:lnTo>
                    <a:pt x="294" y="432"/>
                  </a:lnTo>
                  <a:lnTo>
                    <a:pt x="290" y="432"/>
                  </a:lnTo>
                  <a:lnTo>
                    <a:pt x="290" y="436"/>
                  </a:lnTo>
                  <a:lnTo>
                    <a:pt x="286" y="436"/>
                  </a:lnTo>
                  <a:lnTo>
                    <a:pt x="282" y="436"/>
                  </a:lnTo>
                  <a:lnTo>
                    <a:pt x="278" y="440"/>
                  </a:lnTo>
                  <a:lnTo>
                    <a:pt x="276" y="444"/>
                  </a:lnTo>
                  <a:lnTo>
                    <a:pt x="272" y="444"/>
                  </a:lnTo>
                  <a:lnTo>
                    <a:pt x="272" y="440"/>
                  </a:lnTo>
                  <a:lnTo>
                    <a:pt x="276" y="440"/>
                  </a:lnTo>
                  <a:lnTo>
                    <a:pt x="276" y="436"/>
                  </a:lnTo>
                  <a:lnTo>
                    <a:pt x="272" y="436"/>
                  </a:lnTo>
                  <a:lnTo>
                    <a:pt x="276" y="432"/>
                  </a:lnTo>
                  <a:lnTo>
                    <a:pt x="276" y="436"/>
                  </a:lnTo>
                  <a:lnTo>
                    <a:pt x="278" y="436"/>
                  </a:lnTo>
                  <a:lnTo>
                    <a:pt x="276" y="436"/>
                  </a:lnTo>
                  <a:lnTo>
                    <a:pt x="276" y="432"/>
                  </a:lnTo>
                  <a:lnTo>
                    <a:pt x="278" y="432"/>
                  </a:lnTo>
                  <a:lnTo>
                    <a:pt x="278" y="436"/>
                  </a:lnTo>
                  <a:lnTo>
                    <a:pt x="278" y="432"/>
                  </a:lnTo>
                  <a:lnTo>
                    <a:pt x="282" y="432"/>
                  </a:lnTo>
                  <a:lnTo>
                    <a:pt x="278" y="432"/>
                  </a:lnTo>
                  <a:lnTo>
                    <a:pt x="282" y="432"/>
                  </a:lnTo>
                  <a:lnTo>
                    <a:pt x="282" y="428"/>
                  </a:lnTo>
                  <a:lnTo>
                    <a:pt x="278" y="432"/>
                  </a:lnTo>
                  <a:lnTo>
                    <a:pt x="278" y="428"/>
                  </a:lnTo>
                  <a:lnTo>
                    <a:pt x="282" y="428"/>
                  </a:lnTo>
                  <a:lnTo>
                    <a:pt x="286" y="432"/>
                  </a:lnTo>
                  <a:lnTo>
                    <a:pt x="290" y="432"/>
                  </a:lnTo>
                  <a:lnTo>
                    <a:pt x="294" y="432"/>
                  </a:lnTo>
                  <a:lnTo>
                    <a:pt x="290" y="432"/>
                  </a:lnTo>
                  <a:lnTo>
                    <a:pt x="286" y="432"/>
                  </a:lnTo>
                  <a:lnTo>
                    <a:pt x="286" y="428"/>
                  </a:lnTo>
                  <a:lnTo>
                    <a:pt x="282" y="428"/>
                  </a:lnTo>
                  <a:lnTo>
                    <a:pt x="278" y="428"/>
                  </a:lnTo>
                  <a:lnTo>
                    <a:pt x="276" y="426"/>
                  </a:lnTo>
                  <a:lnTo>
                    <a:pt x="278" y="426"/>
                  </a:lnTo>
                  <a:lnTo>
                    <a:pt x="282" y="426"/>
                  </a:lnTo>
                  <a:lnTo>
                    <a:pt x="286" y="428"/>
                  </a:lnTo>
                  <a:lnTo>
                    <a:pt x="290" y="428"/>
                  </a:lnTo>
                  <a:lnTo>
                    <a:pt x="286" y="428"/>
                  </a:lnTo>
                  <a:lnTo>
                    <a:pt x="286" y="426"/>
                  </a:lnTo>
                  <a:lnTo>
                    <a:pt x="290" y="426"/>
                  </a:lnTo>
                  <a:lnTo>
                    <a:pt x="290" y="428"/>
                  </a:lnTo>
                  <a:lnTo>
                    <a:pt x="294" y="428"/>
                  </a:lnTo>
                  <a:lnTo>
                    <a:pt x="298" y="428"/>
                  </a:lnTo>
                  <a:lnTo>
                    <a:pt x="302" y="428"/>
                  </a:lnTo>
                  <a:lnTo>
                    <a:pt x="306" y="428"/>
                  </a:lnTo>
                  <a:lnTo>
                    <a:pt x="308" y="428"/>
                  </a:lnTo>
                  <a:lnTo>
                    <a:pt x="316" y="432"/>
                  </a:lnTo>
                  <a:lnTo>
                    <a:pt x="320" y="432"/>
                  </a:lnTo>
                  <a:lnTo>
                    <a:pt x="324" y="432"/>
                  </a:lnTo>
                  <a:lnTo>
                    <a:pt x="320" y="432"/>
                  </a:lnTo>
                  <a:lnTo>
                    <a:pt x="316" y="432"/>
                  </a:lnTo>
                  <a:lnTo>
                    <a:pt x="316" y="428"/>
                  </a:lnTo>
                  <a:lnTo>
                    <a:pt x="312" y="428"/>
                  </a:lnTo>
                  <a:lnTo>
                    <a:pt x="308" y="428"/>
                  </a:lnTo>
                  <a:lnTo>
                    <a:pt x="306" y="426"/>
                  </a:lnTo>
                  <a:lnTo>
                    <a:pt x="308" y="426"/>
                  </a:lnTo>
                  <a:lnTo>
                    <a:pt x="312" y="426"/>
                  </a:lnTo>
                  <a:lnTo>
                    <a:pt x="308" y="426"/>
                  </a:lnTo>
                  <a:lnTo>
                    <a:pt x="308" y="422"/>
                  </a:lnTo>
                  <a:lnTo>
                    <a:pt x="312" y="418"/>
                  </a:lnTo>
                  <a:lnTo>
                    <a:pt x="308" y="422"/>
                  </a:lnTo>
                  <a:lnTo>
                    <a:pt x="306" y="422"/>
                  </a:lnTo>
                  <a:lnTo>
                    <a:pt x="302" y="422"/>
                  </a:lnTo>
                  <a:lnTo>
                    <a:pt x="306" y="422"/>
                  </a:lnTo>
                  <a:lnTo>
                    <a:pt x="308" y="422"/>
                  </a:lnTo>
                  <a:lnTo>
                    <a:pt x="306" y="426"/>
                  </a:lnTo>
                  <a:lnTo>
                    <a:pt x="302" y="426"/>
                  </a:lnTo>
                  <a:lnTo>
                    <a:pt x="298" y="426"/>
                  </a:lnTo>
                  <a:lnTo>
                    <a:pt x="294" y="426"/>
                  </a:lnTo>
                  <a:lnTo>
                    <a:pt x="290" y="426"/>
                  </a:lnTo>
                  <a:lnTo>
                    <a:pt x="286" y="426"/>
                  </a:lnTo>
                  <a:lnTo>
                    <a:pt x="282" y="426"/>
                  </a:lnTo>
                  <a:lnTo>
                    <a:pt x="282" y="422"/>
                  </a:lnTo>
                  <a:lnTo>
                    <a:pt x="286" y="422"/>
                  </a:lnTo>
                  <a:lnTo>
                    <a:pt x="282" y="422"/>
                  </a:lnTo>
                  <a:lnTo>
                    <a:pt x="282" y="426"/>
                  </a:lnTo>
                  <a:lnTo>
                    <a:pt x="278" y="426"/>
                  </a:lnTo>
                  <a:lnTo>
                    <a:pt x="278" y="422"/>
                  </a:lnTo>
                  <a:lnTo>
                    <a:pt x="278" y="426"/>
                  </a:lnTo>
                  <a:lnTo>
                    <a:pt x="276" y="426"/>
                  </a:lnTo>
                  <a:lnTo>
                    <a:pt x="276" y="422"/>
                  </a:lnTo>
                  <a:lnTo>
                    <a:pt x="278" y="422"/>
                  </a:lnTo>
                  <a:lnTo>
                    <a:pt x="282" y="422"/>
                  </a:lnTo>
                  <a:lnTo>
                    <a:pt x="286" y="418"/>
                  </a:lnTo>
                  <a:lnTo>
                    <a:pt x="290" y="418"/>
                  </a:lnTo>
                  <a:lnTo>
                    <a:pt x="294" y="418"/>
                  </a:lnTo>
                  <a:lnTo>
                    <a:pt x="298" y="418"/>
                  </a:lnTo>
                  <a:lnTo>
                    <a:pt x="302" y="418"/>
                  </a:lnTo>
                  <a:lnTo>
                    <a:pt x="306" y="418"/>
                  </a:lnTo>
                  <a:lnTo>
                    <a:pt x="308" y="418"/>
                  </a:lnTo>
                  <a:lnTo>
                    <a:pt x="308" y="414"/>
                  </a:lnTo>
                  <a:lnTo>
                    <a:pt x="312" y="414"/>
                  </a:lnTo>
                  <a:lnTo>
                    <a:pt x="312" y="414"/>
                  </a:lnTo>
                  <a:lnTo>
                    <a:pt x="312" y="414"/>
                  </a:lnTo>
                  <a:close/>
                  <a:moveTo>
                    <a:pt x="764" y="104"/>
                  </a:moveTo>
                  <a:lnTo>
                    <a:pt x="760" y="104"/>
                  </a:lnTo>
                  <a:lnTo>
                    <a:pt x="756" y="104"/>
                  </a:lnTo>
                  <a:lnTo>
                    <a:pt x="752" y="104"/>
                  </a:lnTo>
                  <a:lnTo>
                    <a:pt x="748" y="108"/>
                  </a:lnTo>
                  <a:lnTo>
                    <a:pt x="748" y="104"/>
                  </a:lnTo>
                  <a:lnTo>
                    <a:pt x="752" y="100"/>
                  </a:lnTo>
                  <a:lnTo>
                    <a:pt x="756" y="100"/>
                  </a:lnTo>
                  <a:lnTo>
                    <a:pt x="764" y="104"/>
                  </a:lnTo>
                  <a:lnTo>
                    <a:pt x="764" y="104"/>
                  </a:lnTo>
                  <a:lnTo>
                    <a:pt x="764" y="104"/>
                  </a:lnTo>
                  <a:close/>
                  <a:moveTo>
                    <a:pt x="756" y="146"/>
                  </a:moveTo>
                  <a:lnTo>
                    <a:pt x="752" y="146"/>
                  </a:lnTo>
                  <a:lnTo>
                    <a:pt x="752" y="142"/>
                  </a:lnTo>
                  <a:lnTo>
                    <a:pt x="756" y="138"/>
                  </a:lnTo>
                  <a:lnTo>
                    <a:pt x="760" y="138"/>
                  </a:lnTo>
                  <a:lnTo>
                    <a:pt x="760" y="142"/>
                  </a:lnTo>
                  <a:lnTo>
                    <a:pt x="756" y="142"/>
                  </a:lnTo>
                  <a:lnTo>
                    <a:pt x="760" y="142"/>
                  </a:lnTo>
                  <a:lnTo>
                    <a:pt x="760" y="146"/>
                  </a:lnTo>
                  <a:lnTo>
                    <a:pt x="756" y="146"/>
                  </a:lnTo>
                  <a:lnTo>
                    <a:pt x="756" y="146"/>
                  </a:lnTo>
                  <a:lnTo>
                    <a:pt x="756" y="146"/>
                  </a:lnTo>
                  <a:close/>
                  <a:moveTo>
                    <a:pt x="752" y="168"/>
                  </a:moveTo>
                  <a:lnTo>
                    <a:pt x="756" y="168"/>
                  </a:lnTo>
                  <a:lnTo>
                    <a:pt x="760" y="168"/>
                  </a:lnTo>
                  <a:lnTo>
                    <a:pt x="760" y="172"/>
                  </a:lnTo>
                  <a:lnTo>
                    <a:pt x="756" y="172"/>
                  </a:lnTo>
                  <a:lnTo>
                    <a:pt x="752" y="172"/>
                  </a:lnTo>
                  <a:lnTo>
                    <a:pt x="748" y="168"/>
                  </a:lnTo>
                  <a:lnTo>
                    <a:pt x="744" y="168"/>
                  </a:lnTo>
                  <a:lnTo>
                    <a:pt x="742" y="168"/>
                  </a:lnTo>
                  <a:lnTo>
                    <a:pt x="744" y="168"/>
                  </a:lnTo>
                  <a:lnTo>
                    <a:pt x="748" y="168"/>
                  </a:lnTo>
                  <a:lnTo>
                    <a:pt x="752" y="168"/>
                  </a:lnTo>
                  <a:lnTo>
                    <a:pt x="752" y="168"/>
                  </a:lnTo>
                  <a:lnTo>
                    <a:pt x="752" y="168"/>
                  </a:lnTo>
                  <a:close/>
                  <a:moveTo>
                    <a:pt x="782" y="168"/>
                  </a:moveTo>
                  <a:lnTo>
                    <a:pt x="782" y="172"/>
                  </a:lnTo>
                  <a:lnTo>
                    <a:pt x="782" y="174"/>
                  </a:lnTo>
                  <a:lnTo>
                    <a:pt x="778" y="174"/>
                  </a:lnTo>
                  <a:lnTo>
                    <a:pt x="774" y="174"/>
                  </a:lnTo>
                  <a:lnTo>
                    <a:pt x="774" y="172"/>
                  </a:lnTo>
                  <a:lnTo>
                    <a:pt x="778" y="172"/>
                  </a:lnTo>
                  <a:lnTo>
                    <a:pt x="778" y="168"/>
                  </a:lnTo>
                  <a:lnTo>
                    <a:pt x="782" y="168"/>
                  </a:lnTo>
                  <a:lnTo>
                    <a:pt x="782" y="168"/>
                  </a:lnTo>
                  <a:lnTo>
                    <a:pt x="782" y="168"/>
                  </a:lnTo>
                  <a:close/>
                  <a:moveTo>
                    <a:pt x="768" y="216"/>
                  </a:moveTo>
                  <a:lnTo>
                    <a:pt x="770" y="220"/>
                  </a:lnTo>
                  <a:lnTo>
                    <a:pt x="770" y="224"/>
                  </a:lnTo>
                  <a:lnTo>
                    <a:pt x="768" y="224"/>
                  </a:lnTo>
                  <a:lnTo>
                    <a:pt x="768" y="220"/>
                  </a:lnTo>
                  <a:lnTo>
                    <a:pt x="768" y="216"/>
                  </a:lnTo>
                  <a:lnTo>
                    <a:pt x="764" y="216"/>
                  </a:lnTo>
                  <a:lnTo>
                    <a:pt x="764" y="212"/>
                  </a:lnTo>
                  <a:lnTo>
                    <a:pt x="764" y="208"/>
                  </a:lnTo>
                  <a:lnTo>
                    <a:pt x="760" y="208"/>
                  </a:lnTo>
                  <a:lnTo>
                    <a:pt x="760" y="204"/>
                  </a:lnTo>
                  <a:lnTo>
                    <a:pt x="764" y="204"/>
                  </a:lnTo>
                  <a:lnTo>
                    <a:pt x="768" y="204"/>
                  </a:lnTo>
                  <a:lnTo>
                    <a:pt x="764" y="204"/>
                  </a:lnTo>
                  <a:lnTo>
                    <a:pt x="764" y="200"/>
                  </a:lnTo>
                  <a:lnTo>
                    <a:pt x="768" y="200"/>
                  </a:lnTo>
                  <a:lnTo>
                    <a:pt x="768" y="204"/>
                  </a:lnTo>
                  <a:lnTo>
                    <a:pt x="768" y="208"/>
                  </a:lnTo>
                  <a:lnTo>
                    <a:pt x="768" y="212"/>
                  </a:lnTo>
                  <a:lnTo>
                    <a:pt x="768" y="216"/>
                  </a:lnTo>
                  <a:lnTo>
                    <a:pt x="768" y="216"/>
                  </a:lnTo>
                  <a:lnTo>
                    <a:pt x="768" y="216"/>
                  </a:lnTo>
                  <a:close/>
                  <a:moveTo>
                    <a:pt x="778" y="238"/>
                  </a:moveTo>
                  <a:lnTo>
                    <a:pt x="778" y="242"/>
                  </a:lnTo>
                  <a:lnTo>
                    <a:pt x="774" y="242"/>
                  </a:lnTo>
                  <a:lnTo>
                    <a:pt x="778" y="246"/>
                  </a:lnTo>
                  <a:lnTo>
                    <a:pt x="782" y="246"/>
                  </a:lnTo>
                  <a:lnTo>
                    <a:pt x="786" y="246"/>
                  </a:lnTo>
                  <a:lnTo>
                    <a:pt x="786" y="250"/>
                  </a:lnTo>
                  <a:lnTo>
                    <a:pt x="782" y="250"/>
                  </a:lnTo>
                  <a:lnTo>
                    <a:pt x="778" y="250"/>
                  </a:lnTo>
                  <a:lnTo>
                    <a:pt x="778" y="246"/>
                  </a:lnTo>
                  <a:lnTo>
                    <a:pt x="774" y="246"/>
                  </a:lnTo>
                  <a:lnTo>
                    <a:pt x="774" y="250"/>
                  </a:lnTo>
                  <a:lnTo>
                    <a:pt x="770" y="250"/>
                  </a:lnTo>
                  <a:lnTo>
                    <a:pt x="768" y="250"/>
                  </a:lnTo>
                  <a:lnTo>
                    <a:pt x="764" y="250"/>
                  </a:lnTo>
                  <a:lnTo>
                    <a:pt x="764" y="246"/>
                  </a:lnTo>
                  <a:lnTo>
                    <a:pt x="768" y="246"/>
                  </a:lnTo>
                  <a:lnTo>
                    <a:pt x="768" y="242"/>
                  </a:lnTo>
                  <a:lnTo>
                    <a:pt x="764" y="242"/>
                  </a:lnTo>
                  <a:lnTo>
                    <a:pt x="768" y="238"/>
                  </a:lnTo>
                  <a:lnTo>
                    <a:pt x="770" y="238"/>
                  </a:lnTo>
                  <a:lnTo>
                    <a:pt x="770" y="242"/>
                  </a:lnTo>
                  <a:lnTo>
                    <a:pt x="774" y="242"/>
                  </a:lnTo>
                  <a:lnTo>
                    <a:pt x="774" y="238"/>
                  </a:lnTo>
                  <a:lnTo>
                    <a:pt x="778" y="238"/>
                  </a:lnTo>
                  <a:lnTo>
                    <a:pt x="778" y="238"/>
                  </a:lnTo>
                  <a:lnTo>
                    <a:pt x="778" y="238"/>
                  </a:lnTo>
                  <a:close/>
                  <a:moveTo>
                    <a:pt x="722" y="310"/>
                  </a:moveTo>
                  <a:lnTo>
                    <a:pt x="718" y="310"/>
                  </a:lnTo>
                  <a:lnTo>
                    <a:pt x="716" y="310"/>
                  </a:lnTo>
                  <a:lnTo>
                    <a:pt x="712" y="310"/>
                  </a:lnTo>
                  <a:lnTo>
                    <a:pt x="712" y="306"/>
                  </a:lnTo>
                  <a:lnTo>
                    <a:pt x="708" y="306"/>
                  </a:lnTo>
                  <a:lnTo>
                    <a:pt x="704" y="306"/>
                  </a:lnTo>
                  <a:lnTo>
                    <a:pt x="700" y="306"/>
                  </a:lnTo>
                  <a:lnTo>
                    <a:pt x="696" y="306"/>
                  </a:lnTo>
                  <a:lnTo>
                    <a:pt x="692" y="306"/>
                  </a:lnTo>
                  <a:lnTo>
                    <a:pt x="688" y="306"/>
                  </a:lnTo>
                  <a:lnTo>
                    <a:pt x="686" y="306"/>
                  </a:lnTo>
                  <a:lnTo>
                    <a:pt x="686" y="302"/>
                  </a:lnTo>
                  <a:lnTo>
                    <a:pt x="688" y="302"/>
                  </a:lnTo>
                  <a:lnTo>
                    <a:pt x="692" y="302"/>
                  </a:lnTo>
                  <a:lnTo>
                    <a:pt x="696" y="302"/>
                  </a:lnTo>
                  <a:lnTo>
                    <a:pt x="700" y="302"/>
                  </a:lnTo>
                  <a:lnTo>
                    <a:pt x="704" y="302"/>
                  </a:lnTo>
                  <a:lnTo>
                    <a:pt x="708" y="302"/>
                  </a:lnTo>
                  <a:lnTo>
                    <a:pt x="712" y="302"/>
                  </a:lnTo>
                  <a:lnTo>
                    <a:pt x="716" y="302"/>
                  </a:lnTo>
                  <a:lnTo>
                    <a:pt x="718" y="302"/>
                  </a:lnTo>
                  <a:lnTo>
                    <a:pt x="718" y="306"/>
                  </a:lnTo>
                  <a:lnTo>
                    <a:pt x="722" y="306"/>
                  </a:lnTo>
                  <a:lnTo>
                    <a:pt x="718" y="306"/>
                  </a:lnTo>
                  <a:lnTo>
                    <a:pt x="718" y="310"/>
                  </a:lnTo>
                  <a:lnTo>
                    <a:pt x="722" y="310"/>
                  </a:lnTo>
                  <a:lnTo>
                    <a:pt x="722" y="310"/>
                  </a:lnTo>
                  <a:lnTo>
                    <a:pt x="722" y="310"/>
                  </a:lnTo>
                  <a:close/>
                  <a:moveTo>
                    <a:pt x="716" y="324"/>
                  </a:moveTo>
                  <a:lnTo>
                    <a:pt x="712" y="324"/>
                  </a:lnTo>
                  <a:lnTo>
                    <a:pt x="708" y="320"/>
                  </a:lnTo>
                  <a:lnTo>
                    <a:pt x="704" y="320"/>
                  </a:lnTo>
                  <a:lnTo>
                    <a:pt x="700" y="316"/>
                  </a:lnTo>
                  <a:lnTo>
                    <a:pt x="692" y="316"/>
                  </a:lnTo>
                  <a:lnTo>
                    <a:pt x="692" y="314"/>
                  </a:lnTo>
                  <a:lnTo>
                    <a:pt x="688" y="314"/>
                  </a:lnTo>
                  <a:lnTo>
                    <a:pt x="686" y="306"/>
                  </a:lnTo>
                  <a:lnTo>
                    <a:pt x="688" y="306"/>
                  </a:lnTo>
                  <a:lnTo>
                    <a:pt x="692" y="306"/>
                  </a:lnTo>
                  <a:lnTo>
                    <a:pt x="696" y="306"/>
                  </a:lnTo>
                  <a:lnTo>
                    <a:pt x="700" y="306"/>
                  </a:lnTo>
                  <a:lnTo>
                    <a:pt x="704" y="306"/>
                  </a:lnTo>
                  <a:lnTo>
                    <a:pt x="704" y="310"/>
                  </a:lnTo>
                  <a:lnTo>
                    <a:pt x="708" y="310"/>
                  </a:lnTo>
                  <a:lnTo>
                    <a:pt x="712" y="310"/>
                  </a:lnTo>
                  <a:lnTo>
                    <a:pt x="712" y="314"/>
                  </a:lnTo>
                  <a:lnTo>
                    <a:pt x="716" y="314"/>
                  </a:lnTo>
                  <a:lnTo>
                    <a:pt x="718" y="314"/>
                  </a:lnTo>
                  <a:lnTo>
                    <a:pt x="722" y="316"/>
                  </a:lnTo>
                  <a:lnTo>
                    <a:pt x="718" y="316"/>
                  </a:lnTo>
                  <a:lnTo>
                    <a:pt x="716" y="316"/>
                  </a:lnTo>
                  <a:lnTo>
                    <a:pt x="712" y="316"/>
                  </a:lnTo>
                  <a:lnTo>
                    <a:pt x="712" y="320"/>
                  </a:lnTo>
                  <a:lnTo>
                    <a:pt x="716" y="320"/>
                  </a:lnTo>
                  <a:lnTo>
                    <a:pt x="718" y="320"/>
                  </a:lnTo>
                  <a:lnTo>
                    <a:pt x="718" y="324"/>
                  </a:lnTo>
                  <a:lnTo>
                    <a:pt x="716" y="324"/>
                  </a:lnTo>
                  <a:lnTo>
                    <a:pt x="716" y="324"/>
                  </a:lnTo>
                  <a:lnTo>
                    <a:pt x="716" y="324"/>
                  </a:lnTo>
                  <a:close/>
                  <a:moveTo>
                    <a:pt x="246" y="332"/>
                  </a:moveTo>
                  <a:lnTo>
                    <a:pt x="250" y="332"/>
                  </a:lnTo>
                  <a:lnTo>
                    <a:pt x="246" y="332"/>
                  </a:lnTo>
                  <a:lnTo>
                    <a:pt x="242" y="332"/>
                  </a:lnTo>
                  <a:lnTo>
                    <a:pt x="246" y="332"/>
                  </a:lnTo>
                  <a:lnTo>
                    <a:pt x="246" y="332"/>
                  </a:lnTo>
                  <a:lnTo>
                    <a:pt x="246" y="332"/>
                  </a:lnTo>
                  <a:close/>
                  <a:moveTo>
                    <a:pt x="278" y="340"/>
                  </a:moveTo>
                  <a:lnTo>
                    <a:pt x="276" y="340"/>
                  </a:lnTo>
                  <a:lnTo>
                    <a:pt x="276" y="336"/>
                  </a:lnTo>
                  <a:lnTo>
                    <a:pt x="278" y="336"/>
                  </a:lnTo>
                  <a:lnTo>
                    <a:pt x="282" y="340"/>
                  </a:lnTo>
                  <a:lnTo>
                    <a:pt x="286" y="340"/>
                  </a:lnTo>
                  <a:lnTo>
                    <a:pt x="286" y="336"/>
                  </a:lnTo>
                  <a:lnTo>
                    <a:pt x="286" y="340"/>
                  </a:lnTo>
                  <a:lnTo>
                    <a:pt x="282" y="340"/>
                  </a:lnTo>
                  <a:lnTo>
                    <a:pt x="278" y="340"/>
                  </a:lnTo>
                  <a:lnTo>
                    <a:pt x="278" y="340"/>
                  </a:lnTo>
                  <a:lnTo>
                    <a:pt x="278" y="340"/>
                  </a:lnTo>
                  <a:close/>
                  <a:moveTo>
                    <a:pt x="278" y="346"/>
                  </a:moveTo>
                  <a:lnTo>
                    <a:pt x="282" y="346"/>
                  </a:lnTo>
                  <a:lnTo>
                    <a:pt x="282" y="342"/>
                  </a:lnTo>
                  <a:lnTo>
                    <a:pt x="286" y="346"/>
                  </a:lnTo>
                  <a:lnTo>
                    <a:pt x="290" y="346"/>
                  </a:lnTo>
                  <a:lnTo>
                    <a:pt x="286" y="346"/>
                  </a:lnTo>
                  <a:lnTo>
                    <a:pt x="286" y="350"/>
                  </a:lnTo>
                  <a:lnTo>
                    <a:pt x="282" y="350"/>
                  </a:lnTo>
                  <a:lnTo>
                    <a:pt x="278" y="350"/>
                  </a:lnTo>
                  <a:lnTo>
                    <a:pt x="278" y="346"/>
                  </a:lnTo>
                  <a:lnTo>
                    <a:pt x="278" y="346"/>
                  </a:lnTo>
                  <a:lnTo>
                    <a:pt x="278" y="346"/>
                  </a:lnTo>
                  <a:close/>
                  <a:moveTo>
                    <a:pt x="276" y="346"/>
                  </a:moveTo>
                  <a:lnTo>
                    <a:pt x="276" y="350"/>
                  </a:lnTo>
                  <a:lnTo>
                    <a:pt x="276" y="354"/>
                  </a:lnTo>
                  <a:lnTo>
                    <a:pt x="272" y="354"/>
                  </a:lnTo>
                  <a:lnTo>
                    <a:pt x="268" y="350"/>
                  </a:lnTo>
                  <a:lnTo>
                    <a:pt x="272" y="350"/>
                  </a:lnTo>
                  <a:lnTo>
                    <a:pt x="272" y="346"/>
                  </a:lnTo>
                  <a:lnTo>
                    <a:pt x="276" y="346"/>
                  </a:lnTo>
                  <a:lnTo>
                    <a:pt x="276" y="346"/>
                  </a:lnTo>
                  <a:lnTo>
                    <a:pt x="276" y="346"/>
                  </a:lnTo>
                  <a:close/>
                  <a:moveTo>
                    <a:pt x="670" y="354"/>
                  </a:moveTo>
                  <a:lnTo>
                    <a:pt x="674" y="358"/>
                  </a:lnTo>
                  <a:lnTo>
                    <a:pt x="674" y="362"/>
                  </a:lnTo>
                  <a:lnTo>
                    <a:pt x="670" y="366"/>
                  </a:lnTo>
                  <a:lnTo>
                    <a:pt x="666" y="366"/>
                  </a:lnTo>
                  <a:lnTo>
                    <a:pt x="662" y="366"/>
                  </a:lnTo>
                  <a:lnTo>
                    <a:pt x="660" y="366"/>
                  </a:lnTo>
                  <a:lnTo>
                    <a:pt x="656" y="366"/>
                  </a:lnTo>
                  <a:lnTo>
                    <a:pt x="652" y="366"/>
                  </a:lnTo>
                  <a:lnTo>
                    <a:pt x="648" y="370"/>
                  </a:lnTo>
                  <a:lnTo>
                    <a:pt x="640" y="370"/>
                  </a:lnTo>
                  <a:lnTo>
                    <a:pt x="636" y="370"/>
                  </a:lnTo>
                  <a:lnTo>
                    <a:pt x="632" y="370"/>
                  </a:lnTo>
                  <a:lnTo>
                    <a:pt x="632" y="366"/>
                  </a:lnTo>
                  <a:lnTo>
                    <a:pt x="636" y="366"/>
                  </a:lnTo>
                  <a:lnTo>
                    <a:pt x="640" y="366"/>
                  </a:lnTo>
                  <a:lnTo>
                    <a:pt x="640" y="362"/>
                  </a:lnTo>
                  <a:lnTo>
                    <a:pt x="644" y="362"/>
                  </a:lnTo>
                  <a:lnTo>
                    <a:pt x="648" y="358"/>
                  </a:lnTo>
                  <a:lnTo>
                    <a:pt x="652" y="358"/>
                  </a:lnTo>
                  <a:lnTo>
                    <a:pt x="656" y="358"/>
                  </a:lnTo>
                  <a:lnTo>
                    <a:pt x="660" y="358"/>
                  </a:lnTo>
                  <a:lnTo>
                    <a:pt x="660" y="354"/>
                  </a:lnTo>
                  <a:lnTo>
                    <a:pt x="662" y="354"/>
                  </a:lnTo>
                  <a:lnTo>
                    <a:pt x="666" y="354"/>
                  </a:lnTo>
                  <a:lnTo>
                    <a:pt x="670" y="354"/>
                  </a:lnTo>
                  <a:lnTo>
                    <a:pt x="670" y="354"/>
                  </a:lnTo>
                  <a:lnTo>
                    <a:pt x="670" y="354"/>
                  </a:lnTo>
                  <a:close/>
                  <a:moveTo>
                    <a:pt x="298" y="354"/>
                  </a:moveTo>
                  <a:lnTo>
                    <a:pt x="302" y="358"/>
                  </a:lnTo>
                  <a:lnTo>
                    <a:pt x="298" y="358"/>
                  </a:lnTo>
                  <a:lnTo>
                    <a:pt x="294" y="358"/>
                  </a:lnTo>
                  <a:lnTo>
                    <a:pt x="294" y="354"/>
                  </a:lnTo>
                  <a:lnTo>
                    <a:pt x="298" y="354"/>
                  </a:lnTo>
                  <a:lnTo>
                    <a:pt x="298" y="354"/>
                  </a:lnTo>
                  <a:lnTo>
                    <a:pt x="298" y="354"/>
                  </a:lnTo>
                  <a:close/>
                  <a:moveTo>
                    <a:pt x="648" y="358"/>
                  </a:moveTo>
                  <a:lnTo>
                    <a:pt x="644" y="358"/>
                  </a:lnTo>
                  <a:lnTo>
                    <a:pt x="640" y="362"/>
                  </a:lnTo>
                  <a:lnTo>
                    <a:pt x="640" y="358"/>
                  </a:lnTo>
                  <a:lnTo>
                    <a:pt x="644" y="358"/>
                  </a:lnTo>
                  <a:lnTo>
                    <a:pt x="648" y="358"/>
                  </a:lnTo>
                  <a:lnTo>
                    <a:pt x="648" y="358"/>
                  </a:lnTo>
                  <a:lnTo>
                    <a:pt x="648" y="358"/>
                  </a:lnTo>
                  <a:close/>
                  <a:moveTo>
                    <a:pt x="302" y="366"/>
                  </a:moveTo>
                  <a:lnTo>
                    <a:pt x="302" y="362"/>
                  </a:lnTo>
                  <a:lnTo>
                    <a:pt x="298" y="362"/>
                  </a:lnTo>
                  <a:lnTo>
                    <a:pt x="302" y="362"/>
                  </a:lnTo>
                  <a:lnTo>
                    <a:pt x="306" y="362"/>
                  </a:lnTo>
                  <a:lnTo>
                    <a:pt x="302" y="366"/>
                  </a:lnTo>
                  <a:lnTo>
                    <a:pt x="302" y="366"/>
                  </a:lnTo>
                  <a:lnTo>
                    <a:pt x="302" y="366"/>
                  </a:lnTo>
                  <a:close/>
                  <a:moveTo>
                    <a:pt x="662" y="366"/>
                  </a:moveTo>
                  <a:lnTo>
                    <a:pt x="662" y="370"/>
                  </a:lnTo>
                  <a:lnTo>
                    <a:pt x="660" y="370"/>
                  </a:lnTo>
                  <a:lnTo>
                    <a:pt x="660" y="366"/>
                  </a:lnTo>
                  <a:lnTo>
                    <a:pt x="662" y="366"/>
                  </a:lnTo>
                  <a:lnTo>
                    <a:pt x="662" y="366"/>
                  </a:lnTo>
                  <a:lnTo>
                    <a:pt x="662" y="366"/>
                  </a:lnTo>
                  <a:close/>
                  <a:moveTo>
                    <a:pt x="252" y="370"/>
                  </a:moveTo>
                  <a:lnTo>
                    <a:pt x="256" y="370"/>
                  </a:lnTo>
                  <a:lnTo>
                    <a:pt x="260" y="370"/>
                  </a:lnTo>
                  <a:lnTo>
                    <a:pt x="256" y="370"/>
                  </a:lnTo>
                  <a:lnTo>
                    <a:pt x="252" y="370"/>
                  </a:lnTo>
                  <a:lnTo>
                    <a:pt x="252" y="370"/>
                  </a:lnTo>
                  <a:lnTo>
                    <a:pt x="252" y="370"/>
                  </a:lnTo>
                  <a:close/>
                  <a:moveTo>
                    <a:pt x="264" y="396"/>
                  </a:moveTo>
                  <a:lnTo>
                    <a:pt x="268" y="396"/>
                  </a:lnTo>
                  <a:lnTo>
                    <a:pt x="272" y="396"/>
                  </a:lnTo>
                  <a:lnTo>
                    <a:pt x="276" y="396"/>
                  </a:lnTo>
                  <a:lnTo>
                    <a:pt x="276" y="392"/>
                  </a:lnTo>
                  <a:lnTo>
                    <a:pt x="278" y="392"/>
                  </a:lnTo>
                  <a:lnTo>
                    <a:pt x="276" y="392"/>
                  </a:lnTo>
                  <a:lnTo>
                    <a:pt x="272" y="392"/>
                  </a:lnTo>
                  <a:lnTo>
                    <a:pt x="272" y="396"/>
                  </a:lnTo>
                  <a:lnTo>
                    <a:pt x="272" y="392"/>
                  </a:lnTo>
                  <a:lnTo>
                    <a:pt x="268" y="392"/>
                  </a:lnTo>
                  <a:lnTo>
                    <a:pt x="272" y="392"/>
                  </a:lnTo>
                  <a:lnTo>
                    <a:pt x="268" y="392"/>
                  </a:lnTo>
                  <a:lnTo>
                    <a:pt x="260" y="392"/>
                  </a:lnTo>
                  <a:lnTo>
                    <a:pt x="256" y="392"/>
                  </a:lnTo>
                  <a:lnTo>
                    <a:pt x="252" y="388"/>
                  </a:lnTo>
                  <a:lnTo>
                    <a:pt x="256" y="388"/>
                  </a:lnTo>
                  <a:lnTo>
                    <a:pt x="260" y="388"/>
                  </a:lnTo>
                  <a:lnTo>
                    <a:pt x="264" y="388"/>
                  </a:lnTo>
                  <a:lnTo>
                    <a:pt x="260" y="388"/>
                  </a:lnTo>
                  <a:lnTo>
                    <a:pt x="260" y="384"/>
                  </a:lnTo>
                  <a:lnTo>
                    <a:pt x="256" y="384"/>
                  </a:lnTo>
                  <a:lnTo>
                    <a:pt x="256" y="380"/>
                  </a:lnTo>
                  <a:lnTo>
                    <a:pt x="260" y="380"/>
                  </a:lnTo>
                  <a:lnTo>
                    <a:pt x="264" y="380"/>
                  </a:lnTo>
                  <a:lnTo>
                    <a:pt x="264" y="384"/>
                  </a:lnTo>
                  <a:lnTo>
                    <a:pt x="264" y="380"/>
                  </a:lnTo>
                  <a:lnTo>
                    <a:pt x="260" y="380"/>
                  </a:lnTo>
                  <a:lnTo>
                    <a:pt x="256" y="380"/>
                  </a:lnTo>
                  <a:lnTo>
                    <a:pt x="256" y="376"/>
                  </a:lnTo>
                  <a:lnTo>
                    <a:pt x="256" y="372"/>
                  </a:lnTo>
                  <a:lnTo>
                    <a:pt x="260" y="372"/>
                  </a:lnTo>
                  <a:lnTo>
                    <a:pt x="264" y="372"/>
                  </a:lnTo>
                  <a:lnTo>
                    <a:pt x="268" y="372"/>
                  </a:lnTo>
                  <a:lnTo>
                    <a:pt x="272" y="372"/>
                  </a:lnTo>
                  <a:lnTo>
                    <a:pt x="276" y="372"/>
                  </a:lnTo>
                  <a:lnTo>
                    <a:pt x="278" y="376"/>
                  </a:lnTo>
                  <a:lnTo>
                    <a:pt x="282" y="376"/>
                  </a:lnTo>
                  <a:lnTo>
                    <a:pt x="282" y="380"/>
                  </a:lnTo>
                  <a:lnTo>
                    <a:pt x="286" y="380"/>
                  </a:lnTo>
                  <a:lnTo>
                    <a:pt x="286" y="384"/>
                  </a:lnTo>
                  <a:lnTo>
                    <a:pt x="290" y="384"/>
                  </a:lnTo>
                  <a:lnTo>
                    <a:pt x="294" y="384"/>
                  </a:lnTo>
                  <a:lnTo>
                    <a:pt x="298" y="384"/>
                  </a:lnTo>
                  <a:lnTo>
                    <a:pt x="298" y="388"/>
                  </a:lnTo>
                  <a:lnTo>
                    <a:pt x="298" y="392"/>
                  </a:lnTo>
                  <a:lnTo>
                    <a:pt x="294" y="392"/>
                  </a:lnTo>
                  <a:lnTo>
                    <a:pt x="294" y="396"/>
                  </a:lnTo>
                  <a:lnTo>
                    <a:pt x="290" y="396"/>
                  </a:lnTo>
                  <a:lnTo>
                    <a:pt x="286" y="396"/>
                  </a:lnTo>
                  <a:lnTo>
                    <a:pt x="282" y="396"/>
                  </a:lnTo>
                  <a:lnTo>
                    <a:pt x="278" y="398"/>
                  </a:lnTo>
                  <a:lnTo>
                    <a:pt x="276" y="398"/>
                  </a:lnTo>
                  <a:lnTo>
                    <a:pt x="272" y="398"/>
                  </a:lnTo>
                  <a:lnTo>
                    <a:pt x="268" y="398"/>
                  </a:lnTo>
                  <a:lnTo>
                    <a:pt x="268" y="396"/>
                  </a:lnTo>
                  <a:lnTo>
                    <a:pt x="264" y="396"/>
                  </a:lnTo>
                  <a:lnTo>
                    <a:pt x="264" y="396"/>
                  </a:lnTo>
                  <a:lnTo>
                    <a:pt x="264" y="396"/>
                  </a:lnTo>
                  <a:close/>
                  <a:moveTo>
                    <a:pt x="308" y="384"/>
                  </a:moveTo>
                  <a:lnTo>
                    <a:pt x="312" y="384"/>
                  </a:lnTo>
                  <a:lnTo>
                    <a:pt x="316" y="384"/>
                  </a:lnTo>
                  <a:lnTo>
                    <a:pt x="312" y="388"/>
                  </a:lnTo>
                  <a:lnTo>
                    <a:pt x="312" y="392"/>
                  </a:lnTo>
                  <a:lnTo>
                    <a:pt x="308" y="392"/>
                  </a:lnTo>
                  <a:lnTo>
                    <a:pt x="306" y="388"/>
                  </a:lnTo>
                  <a:lnTo>
                    <a:pt x="306" y="384"/>
                  </a:lnTo>
                  <a:lnTo>
                    <a:pt x="308" y="384"/>
                  </a:lnTo>
                  <a:lnTo>
                    <a:pt x="306" y="384"/>
                  </a:lnTo>
                  <a:lnTo>
                    <a:pt x="308" y="384"/>
                  </a:lnTo>
                  <a:lnTo>
                    <a:pt x="308" y="380"/>
                  </a:lnTo>
                  <a:lnTo>
                    <a:pt x="308" y="384"/>
                  </a:lnTo>
                  <a:lnTo>
                    <a:pt x="308" y="384"/>
                  </a:lnTo>
                  <a:lnTo>
                    <a:pt x="308" y="384"/>
                  </a:lnTo>
                  <a:close/>
                  <a:moveTo>
                    <a:pt x="294" y="414"/>
                  </a:moveTo>
                  <a:lnTo>
                    <a:pt x="290" y="414"/>
                  </a:lnTo>
                  <a:lnTo>
                    <a:pt x="286" y="414"/>
                  </a:lnTo>
                  <a:lnTo>
                    <a:pt x="282" y="414"/>
                  </a:lnTo>
                  <a:lnTo>
                    <a:pt x="282" y="418"/>
                  </a:lnTo>
                  <a:lnTo>
                    <a:pt x="278" y="418"/>
                  </a:lnTo>
                  <a:lnTo>
                    <a:pt x="282" y="414"/>
                  </a:lnTo>
                  <a:lnTo>
                    <a:pt x="286" y="414"/>
                  </a:lnTo>
                  <a:lnTo>
                    <a:pt x="282" y="414"/>
                  </a:lnTo>
                  <a:lnTo>
                    <a:pt x="286" y="414"/>
                  </a:lnTo>
                  <a:lnTo>
                    <a:pt x="290" y="414"/>
                  </a:lnTo>
                  <a:lnTo>
                    <a:pt x="294" y="414"/>
                  </a:lnTo>
                  <a:lnTo>
                    <a:pt x="294" y="414"/>
                  </a:lnTo>
                  <a:lnTo>
                    <a:pt x="294" y="414"/>
                  </a:lnTo>
                  <a:close/>
                  <a:moveTo>
                    <a:pt x="294" y="426"/>
                  </a:moveTo>
                  <a:lnTo>
                    <a:pt x="298" y="426"/>
                  </a:lnTo>
                  <a:lnTo>
                    <a:pt x="302" y="426"/>
                  </a:lnTo>
                  <a:lnTo>
                    <a:pt x="306" y="426"/>
                  </a:lnTo>
                  <a:lnTo>
                    <a:pt x="302" y="426"/>
                  </a:lnTo>
                  <a:lnTo>
                    <a:pt x="298" y="426"/>
                  </a:lnTo>
                  <a:lnTo>
                    <a:pt x="298" y="428"/>
                  </a:lnTo>
                  <a:lnTo>
                    <a:pt x="294" y="428"/>
                  </a:lnTo>
                  <a:lnTo>
                    <a:pt x="290" y="426"/>
                  </a:lnTo>
                  <a:lnTo>
                    <a:pt x="294" y="426"/>
                  </a:lnTo>
                  <a:lnTo>
                    <a:pt x="294" y="426"/>
                  </a:lnTo>
                  <a:lnTo>
                    <a:pt x="294" y="426"/>
                  </a:lnTo>
                  <a:close/>
                  <a:moveTo>
                    <a:pt x="610" y="426"/>
                  </a:moveTo>
                  <a:lnTo>
                    <a:pt x="610" y="428"/>
                  </a:lnTo>
                  <a:lnTo>
                    <a:pt x="610" y="426"/>
                  </a:lnTo>
                  <a:lnTo>
                    <a:pt x="606" y="426"/>
                  </a:lnTo>
                  <a:lnTo>
                    <a:pt x="610" y="426"/>
                  </a:lnTo>
                  <a:lnTo>
                    <a:pt x="610" y="426"/>
                  </a:lnTo>
                  <a:lnTo>
                    <a:pt x="610" y="426"/>
                  </a:lnTo>
                  <a:close/>
                  <a:moveTo>
                    <a:pt x="298" y="428"/>
                  </a:moveTo>
                  <a:lnTo>
                    <a:pt x="306" y="426"/>
                  </a:lnTo>
                  <a:lnTo>
                    <a:pt x="308" y="428"/>
                  </a:lnTo>
                  <a:lnTo>
                    <a:pt x="306" y="428"/>
                  </a:lnTo>
                  <a:lnTo>
                    <a:pt x="302" y="428"/>
                  </a:lnTo>
                  <a:lnTo>
                    <a:pt x="298" y="428"/>
                  </a:lnTo>
                  <a:lnTo>
                    <a:pt x="298" y="428"/>
                  </a:lnTo>
                  <a:lnTo>
                    <a:pt x="298" y="428"/>
                  </a:lnTo>
                  <a:close/>
                  <a:moveTo>
                    <a:pt x="276" y="428"/>
                  </a:moveTo>
                  <a:lnTo>
                    <a:pt x="278" y="428"/>
                  </a:lnTo>
                  <a:lnTo>
                    <a:pt x="276" y="428"/>
                  </a:lnTo>
                  <a:lnTo>
                    <a:pt x="276" y="428"/>
                  </a:lnTo>
                  <a:lnTo>
                    <a:pt x="276" y="428"/>
                  </a:lnTo>
                  <a:close/>
                  <a:moveTo>
                    <a:pt x="272" y="440"/>
                  </a:moveTo>
                  <a:lnTo>
                    <a:pt x="272" y="436"/>
                  </a:lnTo>
                  <a:lnTo>
                    <a:pt x="276" y="436"/>
                  </a:lnTo>
                  <a:lnTo>
                    <a:pt x="272" y="440"/>
                  </a:lnTo>
                  <a:lnTo>
                    <a:pt x="272" y="440"/>
                  </a:lnTo>
                  <a:lnTo>
                    <a:pt x="272" y="440"/>
                  </a:lnTo>
                  <a:close/>
                  <a:moveTo>
                    <a:pt x="272" y="478"/>
                  </a:moveTo>
                  <a:lnTo>
                    <a:pt x="276" y="478"/>
                  </a:lnTo>
                  <a:lnTo>
                    <a:pt x="272" y="478"/>
                  </a:lnTo>
                  <a:lnTo>
                    <a:pt x="272" y="478"/>
                  </a:lnTo>
                  <a:lnTo>
                    <a:pt x="272" y="478"/>
                  </a:lnTo>
                  <a:close/>
                  <a:moveTo>
                    <a:pt x="514" y="484"/>
                  </a:moveTo>
                  <a:lnTo>
                    <a:pt x="514" y="482"/>
                  </a:lnTo>
                  <a:lnTo>
                    <a:pt x="514" y="484"/>
                  </a:lnTo>
                  <a:lnTo>
                    <a:pt x="514" y="484"/>
                  </a:lnTo>
                  <a:lnTo>
                    <a:pt x="514" y="484"/>
                  </a:lnTo>
                  <a:close/>
                  <a:moveTo>
                    <a:pt x="518" y="484"/>
                  </a:moveTo>
                  <a:lnTo>
                    <a:pt x="518" y="482"/>
                  </a:lnTo>
                  <a:lnTo>
                    <a:pt x="520" y="482"/>
                  </a:lnTo>
                  <a:lnTo>
                    <a:pt x="520" y="484"/>
                  </a:lnTo>
                  <a:lnTo>
                    <a:pt x="518" y="484"/>
                  </a:lnTo>
                  <a:lnTo>
                    <a:pt x="518" y="484"/>
                  </a:lnTo>
                  <a:lnTo>
                    <a:pt x="518" y="484"/>
                  </a:lnTo>
                  <a:close/>
                  <a:moveTo>
                    <a:pt x="498" y="488"/>
                  </a:moveTo>
                  <a:lnTo>
                    <a:pt x="494" y="488"/>
                  </a:lnTo>
                  <a:lnTo>
                    <a:pt x="494" y="484"/>
                  </a:lnTo>
                  <a:lnTo>
                    <a:pt x="494" y="482"/>
                  </a:lnTo>
                  <a:lnTo>
                    <a:pt x="498" y="482"/>
                  </a:lnTo>
                  <a:lnTo>
                    <a:pt x="502" y="482"/>
                  </a:lnTo>
                  <a:lnTo>
                    <a:pt x="502" y="484"/>
                  </a:lnTo>
                  <a:lnTo>
                    <a:pt x="506" y="484"/>
                  </a:lnTo>
                  <a:lnTo>
                    <a:pt x="502" y="484"/>
                  </a:lnTo>
                  <a:lnTo>
                    <a:pt x="502" y="488"/>
                  </a:lnTo>
                  <a:lnTo>
                    <a:pt x="498" y="488"/>
                  </a:lnTo>
                  <a:lnTo>
                    <a:pt x="498" y="488"/>
                  </a:lnTo>
                  <a:lnTo>
                    <a:pt x="498" y="488"/>
                  </a:lnTo>
                  <a:close/>
                  <a:moveTo>
                    <a:pt x="472" y="496"/>
                  </a:moveTo>
                  <a:lnTo>
                    <a:pt x="468" y="496"/>
                  </a:lnTo>
                  <a:lnTo>
                    <a:pt x="472" y="496"/>
                  </a:lnTo>
                  <a:lnTo>
                    <a:pt x="472" y="496"/>
                  </a:lnTo>
                  <a:lnTo>
                    <a:pt x="472" y="496"/>
                  </a:lnTo>
                  <a:close/>
                  <a:moveTo>
                    <a:pt x="462" y="518"/>
                  </a:moveTo>
                  <a:lnTo>
                    <a:pt x="462" y="514"/>
                  </a:lnTo>
                  <a:lnTo>
                    <a:pt x="458" y="514"/>
                  </a:lnTo>
                  <a:lnTo>
                    <a:pt x="458" y="512"/>
                  </a:lnTo>
                  <a:lnTo>
                    <a:pt x="454" y="508"/>
                  </a:lnTo>
                  <a:lnTo>
                    <a:pt x="458" y="508"/>
                  </a:lnTo>
                  <a:lnTo>
                    <a:pt x="462" y="512"/>
                  </a:lnTo>
                  <a:lnTo>
                    <a:pt x="458" y="512"/>
                  </a:lnTo>
                  <a:lnTo>
                    <a:pt x="462" y="514"/>
                  </a:lnTo>
                  <a:lnTo>
                    <a:pt x="464" y="514"/>
                  </a:lnTo>
                  <a:lnTo>
                    <a:pt x="464" y="518"/>
                  </a:lnTo>
                  <a:lnTo>
                    <a:pt x="462" y="518"/>
                  </a:lnTo>
                  <a:lnTo>
                    <a:pt x="462" y="518"/>
                  </a:lnTo>
                  <a:lnTo>
                    <a:pt x="462" y="518"/>
                  </a:lnTo>
                  <a:close/>
                  <a:moveTo>
                    <a:pt x="308" y="514"/>
                  </a:moveTo>
                  <a:lnTo>
                    <a:pt x="308" y="518"/>
                  </a:lnTo>
                  <a:lnTo>
                    <a:pt x="306" y="518"/>
                  </a:lnTo>
                  <a:lnTo>
                    <a:pt x="306" y="514"/>
                  </a:lnTo>
                  <a:lnTo>
                    <a:pt x="308" y="514"/>
                  </a:lnTo>
                  <a:lnTo>
                    <a:pt x="308" y="514"/>
                  </a:lnTo>
                  <a:lnTo>
                    <a:pt x="308" y="514"/>
                  </a:lnTo>
                  <a:close/>
                  <a:moveTo>
                    <a:pt x="312" y="514"/>
                  </a:moveTo>
                  <a:lnTo>
                    <a:pt x="312" y="518"/>
                  </a:lnTo>
                  <a:lnTo>
                    <a:pt x="308" y="518"/>
                  </a:lnTo>
                  <a:lnTo>
                    <a:pt x="308" y="522"/>
                  </a:lnTo>
                  <a:lnTo>
                    <a:pt x="306" y="522"/>
                  </a:lnTo>
                  <a:lnTo>
                    <a:pt x="308" y="518"/>
                  </a:lnTo>
                  <a:lnTo>
                    <a:pt x="308" y="514"/>
                  </a:lnTo>
                  <a:lnTo>
                    <a:pt x="312" y="514"/>
                  </a:lnTo>
                  <a:lnTo>
                    <a:pt x="312" y="514"/>
                  </a:lnTo>
                  <a:lnTo>
                    <a:pt x="312" y="514"/>
                  </a:lnTo>
                  <a:close/>
                  <a:moveTo>
                    <a:pt x="306" y="518"/>
                  </a:moveTo>
                  <a:lnTo>
                    <a:pt x="306" y="522"/>
                  </a:lnTo>
                  <a:lnTo>
                    <a:pt x="302" y="522"/>
                  </a:lnTo>
                  <a:lnTo>
                    <a:pt x="306" y="518"/>
                  </a:lnTo>
                  <a:lnTo>
                    <a:pt x="306" y="518"/>
                  </a:lnTo>
                  <a:lnTo>
                    <a:pt x="306" y="518"/>
                  </a:lnTo>
                  <a:close/>
                  <a:moveTo>
                    <a:pt x="450" y="522"/>
                  </a:moveTo>
                  <a:lnTo>
                    <a:pt x="446" y="522"/>
                  </a:lnTo>
                  <a:lnTo>
                    <a:pt x="446" y="518"/>
                  </a:lnTo>
                  <a:lnTo>
                    <a:pt x="450" y="522"/>
                  </a:lnTo>
                  <a:lnTo>
                    <a:pt x="450" y="522"/>
                  </a:lnTo>
                  <a:lnTo>
                    <a:pt x="450" y="522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34" name="Freeform 74">
              <a:extLst>
                <a:ext uri="{FF2B5EF4-FFF2-40B4-BE49-F238E27FC236}">
                  <a16:creationId xmlns:a16="http://schemas.microsoft.com/office/drawing/2014/main" id="{DFEAD173-B86C-58A3-E23F-081FCD329F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2651" y="3590402"/>
              <a:ext cx="109100" cy="135756"/>
            </a:xfrm>
            <a:custGeom>
              <a:avLst/>
              <a:gdLst>
                <a:gd name="T0" fmla="*/ 38 w 56"/>
                <a:gd name="T1" fmla="*/ 60 h 72"/>
                <a:gd name="T2" fmla="*/ 38 w 56"/>
                <a:gd name="T3" fmla="*/ 64 h 72"/>
                <a:gd name="T4" fmla="*/ 38 w 56"/>
                <a:gd name="T5" fmla="*/ 64 h 72"/>
                <a:gd name="T6" fmla="*/ 38 w 56"/>
                <a:gd name="T7" fmla="*/ 64 h 72"/>
                <a:gd name="T8" fmla="*/ 34 w 56"/>
                <a:gd name="T9" fmla="*/ 68 h 72"/>
                <a:gd name="T10" fmla="*/ 30 w 56"/>
                <a:gd name="T11" fmla="*/ 72 h 72"/>
                <a:gd name="T12" fmla="*/ 30 w 56"/>
                <a:gd name="T13" fmla="*/ 72 h 72"/>
                <a:gd name="T14" fmla="*/ 26 w 56"/>
                <a:gd name="T15" fmla="*/ 72 h 72"/>
                <a:gd name="T16" fmla="*/ 22 w 56"/>
                <a:gd name="T17" fmla="*/ 68 h 72"/>
                <a:gd name="T18" fmla="*/ 22 w 56"/>
                <a:gd name="T19" fmla="*/ 68 h 72"/>
                <a:gd name="T20" fmla="*/ 16 w 56"/>
                <a:gd name="T21" fmla="*/ 68 h 72"/>
                <a:gd name="T22" fmla="*/ 12 w 56"/>
                <a:gd name="T23" fmla="*/ 68 h 72"/>
                <a:gd name="T24" fmla="*/ 8 w 56"/>
                <a:gd name="T25" fmla="*/ 68 h 72"/>
                <a:gd name="T26" fmla="*/ 8 w 56"/>
                <a:gd name="T27" fmla="*/ 64 h 72"/>
                <a:gd name="T28" fmla="*/ 4 w 56"/>
                <a:gd name="T29" fmla="*/ 64 h 72"/>
                <a:gd name="T30" fmla="*/ 0 w 56"/>
                <a:gd name="T31" fmla="*/ 60 h 72"/>
                <a:gd name="T32" fmla="*/ 0 w 56"/>
                <a:gd name="T33" fmla="*/ 56 h 72"/>
                <a:gd name="T34" fmla="*/ 0 w 56"/>
                <a:gd name="T35" fmla="*/ 56 h 72"/>
                <a:gd name="T36" fmla="*/ 0 w 56"/>
                <a:gd name="T37" fmla="*/ 52 h 72"/>
                <a:gd name="T38" fmla="*/ 0 w 56"/>
                <a:gd name="T39" fmla="*/ 44 h 72"/>
                <a:gd name="T40" fmla="*/ 8 w 56"/>
                <a:gd name="T41" fmla="*/ 30 h 72"/>
                <a:gd name="T42" fmla="*/ 18 w 56"/>
                <a:gd name="T43" fmla="*/ 30 h 72"/>
                <a:gd name="T44" fmla="*/ 26 w 56"/>
                <a:gd name="T45" fmla="*/ 30 h 72"/>
                <a:gd name="T46" fmla="*/ 26 w 56"/>
                <a:gd name="T47" fmla="*/ 30 h 72"/>
                <a:gd name="T48" fmla="*/ 26 w 56"/>
                <a:gd name="T49" fmla="*/ 26 h 72"/>
                <a:gd name="T50" fmla="*/ 22 w 56"/>
                <a:gd name="T51" fmla="*/ 26 h 72"/>
                <a:gd name="T52" fmla="*/ 22 w 56"/>
                <a:gd name="T53" fmla="*/ 22 h 72"/>
                <a:gd name="T54" fmla="*/ 22 w 56"/>
                <a:gd name="T55" fmla="*/ 18 h 72"/>
                <a:gd name="T56" fmla="*/ 18 w 56"/>
                <a:gd name="T57" fmla="*/ 18 h 72"/>
                <a:gd name="T58" fmla="*/ 16 w 56"/>
                <a:gd name="T59" fmla="*/ 14 h 72"/>
                <a:gd name="T60" fmla="*/ 12 w 56"/>
                <a:gd name="T61" fmla="*/ 12 h 72"/>
                <a:gd name="T62" fmla="*/ 18 w 56"/>
                <a:gd name="T63" fmla="*/ 0 h 72"/>
                <a:gd name="T64" fmla="*/ 22 w 56"/>
                <a:gd name="T65" fmla="*/ 0 h 72"/>
                <a:gd name="T66" fmla="*/ 42 w 56"/>
                <a:gd name="T67" fmla="*/ 0 h 72"/>
                <a:gd name="T68" fmla="*/ 46 w 56"/>
                <a:gd name="T69" fmla="*/ 14 h 72"/>
                <a:gd name="T70" fmla="*/ 42 w 56"/>
                <a:gd name="T71" fmla="*/ 34 h 72"/>
                <a:gd name="T72" fmla="*/ 50 w 56"/>
                <a:gd name="T73" fmla="*/ 34 h 72"/>
                <a:gd name="T74" fmla="*/ 50 w 56"/>
                <a:gd name="T75" fmla="*/ 34 h 72"/>
                <a:gd name="T76" fmla="*/ 52 w 56"/>
                <a:gd name="T77" fmla="*/ 38 h 72"/>
                <a:gd name="T78" fmla="*/ 52 w 56"/>
                <a:gd name="T79" fmla="*/ 34 h 72"/>
                <a:gd name="T80" fmla="*/ 56 w 56"/>
                <a:gd name="T81" fmla="*/ 38 h 72"/>
                <a:gd name="T82" fmla="*/ 56 w 56"/>
                <a:gd name="T83" fmla="*/ 38 h 72"/>
                <a:gd name="T84" fmla="*/ 52 w 56"/>
                <a:gd name="T85" fmla="*/ 44 h 72"/>
                <a:gd name="T86" fmla="*/ 46 w 56"/>
                <a:gd name="T87" fmla="*/ 48 h 72"/>
                <a:gd name="T88" fmla="*/ 46 w 56"/>
                <a:gd name="T89" fmla="*/ 48 h 72"/>
                <a:gd name="T90" fmla="*/ 42 w 56"/>
                <a:gd name="T91" fmla="*/ 52 h 72"/>
                <a:gd name="T92" fmla="*/ 46 w 56"/>
                <a:gd name="T93" fmla="*/ 56 h 72"/>
                <a:gd name="T94" fmla="*/ 42 w 56"/>
                <a:gd name="T95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6" h="72">
                  <a:moveTo>
                    <a:pt x="42" y="60"/>
                  </a:moveTo>
                  <a:lnTo>
                    <a:pt x="42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0" y="68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4"/>
                  </a:lnTo>
                  <a:lnTo>
                    <a:pt x="0" y="42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12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22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18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6" y="0"/>
                  </a:lnTo>
                  <a:lnTo>
                    <a:pt x="46" y="4"/>
                  </a:lnTo>
                  <a:lnTo>
                    <a:pt x="46" y="8"/>
                  </a:lnTo>
                  <a:lnTo>
                    <a:pt x="46" y="14"/>
                  </a:lnTo>
                  <a:lnTo>
                    <a:pt x="46" y="26"/>
                  </a:lnTo>
                  <a:lnTo>
                    <a:pt x="42" y="30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6" y="34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46" y="48"/>
                  </a:lnTo>
                  <a:lnTo>
                    <a:pt x="46" y="48"/>
                  </a:lnTo>
                  <a:lnTo>
                    <a:pt x="46" y="48"/>
                  </a:lnTo>
                  <a:lnTo>
                    <a:pt x="46" y="48"/>
                  </a:lnTo>
                  <a:lnTo>
                    <a:pt x="46" y="48"/>
                  </a:lnTo>
                  <a:lnTo>
                    <a:pt x="46" y="48"/>
                  </a:lnTo>
                  <a:lnTo>
                    <a:pt x="46" y="48"/>
                  </a:lnTo>
                  <a:lnTo>
                    <a:pt x="46" y="52"/>
                  </a:lnTo>
                  <a:lnTo>
                    <a:pt x="46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2" y="56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35" name="Freeform 75">
              <a:extLst>
                <a:ext uri="{FF2B5EF4-FFF2-40B4-BE49-F238E27FC236}">
                  <a16:creationId xmlns:a16="http://schemas.microsoft.com/office/drawing/2014/main" id="{921ADF42-4021-0449-9A55-A35F57952E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9706" y="3518753"/>
              <a:ext cx="77929" cy="64107"/>
            </a:xfrm>
            <a:custGeom>
              <a:avLst/>
              <a:gdLst>
                <a:gd name="T0" fmla="*/ 22 w 40"/>
                <a:gd name="T1" fmla="*/ 0 h 34"/>
                <a:gd name="T2" fmla="*/ 26 w 40"/>
                <a:gd name="T3" fmla="*/ 0 h 34"/>
                <a:gd name="T4" fmla="*/ 26 w 40"/>
                <a:gd name="T5" fmla="*/ 0 h 34"/>
                <a:gd name="T6" fmla="*/ 18 w 40"/>
                <a:gd name="T7" fmla="*/ 8 h 34"/>
                <a:gd name="T8" fmla="*/ 14 w 40"/>
                <a:gd name="T9" fmla="*/ 8 h 34"/>
                <a:gd name="T10" fmla="*/ 14 w 40"/>
                <a:gd name="T11" fmla="*/ 4 h 34"/>
                <a:gd name="T12" fmla="*/ 18 w 40"/>
                <a:gd name="T13" fmla="*/ 4 h 34"/>
                <a:gd name="T14" fmla="*/ 22 w 40"/>
                <a:gd name="T15" fmla="*/ 0 h 34"/>
                <a:gd name="T16" fmla="*/ 26 w 40"/>
                <a:gd name="T17" fmla="*/ 0 h 34"/>
                <a:gd name="T18" fmla="*/ 30 w 40"/>
                <a:gd name="T19" fmla="*/ 4 h 34"/>
                <a:gd name="T20" fmla="*/ 34 w 40"/>
                <a:gd name="T21" fmla="*/ 4 h 34"/>
                <a:gd name="T22" fmla="*/ 40 w 40"/>
                <a:gd name="T23" fmla="*/ 4 h 34"/>
                <a:gd name="T24" fmla="*/ 40 w 40"/>
                <a:gd name="T25" fmla="*/ 8 h 34"/>
                <a:gd name="T26" fmla="*/ 40 w 40"/>
                <a:gd name="T27" fmla="*/ 8 h 34"/>
                <a:gd name="T28" fmla="*/ 40 w 40"/>
                <a:gd name="T29" fmla="*/ 12 h 34"/>
                <a:gd name="T30" fmla="*/ 40 w 40"/>
                <a:gd name="T31" fmla="*/ 16 h 34"/>
                <a:gd name="T32" fmla="*/ 40 w 40"/>
                <a:gd name="T33" fmla="*/ 16 h 34"/>
                <a:gd name="T34" fmla="*/ 40 w 40"/>
                <a:gd name="T35" fmla="*/ 22 h 34"/>
                <a:gd name="T36" fmla="*/ 40 w 40"/>
                <a:gd name="T37" fmla="*/ 22 h 34"/>
                <a:gd name="T38" fmla="*/ 38 w 40"/>
                <a:gd name="T39" fmla="*/ 22 h 34"/>
                <a:gd name="T40" fmla="*/ 38 w 40"/>
                <a:gd name="T41" fmla="*/ 22 h 34"/>
                <a:gd name="T42" fmla="*/ 38 w 40"/>
                <a:gd name="T43" fmla="*/ 26 h 34"/>
                <a:gd name="T44" fmla="*/ 38 w 40"/>
                <a:gd name="T45" fmla="*/ 26 h 34"/>
                <a:gd name="T46" fmla="*/ 40 w 40"/>
                <a:gd name="T47" fmla="*/ 30 h 34"/>
                <a:gd name="T48" fmla="*/ 40 w 40"/>
                <a:gd name="T49" fmla="*/ 34 h 34"/>
                <a:gd name="T50" fmla="*/ 38 w 40"/>
                <a:gd name="T51" fmla="*/ 34 h 34"/>
                <a:gd name="T52" fmla="*/ 34 w 40"/>
                <a:gd name="T53" fmla="*/ 30 h 34"/>
                <a:gd name="T54" fmla="*/ 34 w 40"/>
                <a:gd name="T55" fmla="*/ 30 h 34"/>
                <a:gd name="T56" fmla="*/ 30 w 40"/>
                <a:gd name="T57" fmla="*/ 34 h 34"/>
                <a:gd name="T58" fmla="*/ 26 w 40"/>
                <a:gd name="T59" fmla="*/ 34 h 34"/>
                <a:gd name="T60" fmla="*/ 22 w 40"/>
                <a:gd name="T61" fmla="*/ 34 h 34"/>
                <a:gd name="T62" fmla="*/ 18 w 40"/>
                <a:gd name="T63" fmla="*/ 30 h 34"/>
                <a:gd name="T64" fmla="*/ 10 w 40"/>
                <a:gd name="T65" fmla="*/ 34 h 34"/>
                <a:gd name="T66" fmla="*/ 10 w 40"/>
                <a:gd name="T67" fmla="*/ 34 h 34"/>
                <a:gd name="T68" fmla="*/ 10 w 40"/>
                <a:gd name="T69" fmla="*/ 34 h 34"/>
                <a:gd name="T70" fmla="*/ 10 w 40"/>
                <a:gd name="T71" fmla="*/ 34 h 34"/>
                <a:gd name="T72" fmla="*/ 8 w 40"/>
                <a:gd name="T73" fmla="*/ 34 h 34"/>
                <a:gd name="T74" fmla="*/ 4 w 40"/>
                <a:gd name="T75" fmla="*/ 30 h 34"/>
                <a:gd name="T76" fmla="*/ 4 w 40"/>
                <a:gd name="T77" fmla="*/ 30 h 34"/>
                <a:gd name="T78" fmla="*/ 4 w 40"/>
                <a:gd name="T79" fmla="*/ 22 h 34"/>
                <a:gd name="T80" fmla="*/ 8 w 40"/>
                <a:gd name="T81" fmla="*/ 22 h 34"/>
                <a:gd name="T82" fmla="*/ 10 w 40"/>
                <a:gd name="T83" fmla="*/ 26 h 34"/>
                <a:gd name="T84" fmla="*/ 10 w 40"/>
                <a:gd name="T85" fmla="*/ 26 h 34"/>
                <a:gd name="T86" fmla="*/ 14 w 40"/>
                <a:gd name="T87" fmla="*/ 26 h 34"/>
                <a:gd name="T88" fmla="*/ 10 w 40"/>
                <a:gd name="T89" fmla="*/ 26 h 34"/>
                <a:gd name="T90" fmla="*/ 14 w 40"/>
                <a:gd name="T91" fmla="*/ 26 h 34"/>
                <a:gd name="T92" fmla="*/ 22 w 40"/>
                <a:gd name="T93" fmla="*/ 26 h 34"/>
                <a:gd name="T94" fmla="*/ 22 w 40"/>
                <a:gd name="T95" fmla="*/ 26 h 34"/>
                <a:gd name="T96" fmla="*/ 26 w 40"/>
                <a:gd name="T97" fmla="*/ 26 h 34"/>
                <a:gd name="T98" fmla="*/ 26 w 40"/>
                <a:gd name="T99" fmla="*/ 26 h 34"/>
                <a:gd name="T100" fmla="*/ 30 w 40"/>
                <a:gd name="T101" fmla="*/ 26 h 34"/>
                <a:gd name="T102" fmla="*/ 30 w 40"/>
                <a:gd name="T103" fmla="*/ 22 h 34"/>
                <a:gd name="T104" fmla="*/ 30 w 40"/>
                <a:gd name="T105" fmla="*/ 22 h 34"/>
                <a:gd name="T106" fmla="*/ 26 w 40"/>
                <a:gd name="T107" fmla="*/ 20 h 34"/>
                <a:gd name="T108" fmla="*/ 26 w 40"/>
                <a:gd name="T109" fmla="*/ 16 h 34"/>
                <a:gd name="T110" fmla="*/ 22 w 40"/>
                <a:gd name="T111" fmla="*/ 8 h 34"/>
                <a:gd name="T112" fmla="*/ 22 w 40"/>
                <a:gd name="T113" fmla="*/ 8 h 34"/>
                <a:gd name="T114" fmla="*/ 18 w 40"/>
                <a:gd name="T115" fmla="*/ 20 h 34"/>
                <a:gd name="T116" fmla="*/ 18 w 40"/>
                <a:gd name="T117" fmla="*/ 20 h 34"/>
                <a:gd name="T118" fmla="*/ 22 w 40"/>
                <a:gd name="T119" fmla="*/ 20 h 34"/>
                <a:gd name="T120" fmla="*/ 26 w 40"/>
                <a:gd name="T121" fmla="*/ 22 h 34"/>
                <a:gd name="T122" fmla="*/ 26 w 40"/>
                <a:gd name="T123" fmla="*/ 2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0" h="34">
                  <a:moveTo>
                    <a:pt x="26" y="0"/>
                  </a:moveTo>
                  <a:lnTo>
                    <a:pt x="26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close/>
                  <a:moveTo>
                    <a:pt x="22" y="8"/>
                  </a:move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6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6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close/>
                  <a:moveTo>
                    <a:pt x="26" y="22"/>
                  </a:moveTo>
                  <a:lnTo>
                    <a:pt x="26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36" name="Freeform 76">
              <a:extLst>
                <a:ext uri="{FF2B5EF4-FFF2-40B4-BE49-F238E27FC236}">
                  <a16:creationId xmlns:a16="http://schemas.microsoft.com/office/drawing/2014/main" id="{7BB031E6-582A-93C3-7A46-FDF2ED3F33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4476" y="3639425"/>
              <a:ext cx="171443" cy="113130"/>
            </a:xfrm>
            <a:custGeom>
              <a:avLst/>
              <a:gdLst>
                <a:gd name="T0" fmla="*/ 36 w 88"/>
                <a:gd name="T1" fmla="*/ 52 h 60"/>
                <a:gd name="T2" fmla="*/ 32 w 88"/>
                <a:gd name="T3" fmla="*/ 56 h 60"/>
                <a:gd name="T4" fmla="*/ 32 w 88"/>
                <a:gd name="T5" fmla="*/ 60 h 60"/>
                <a:gd name="T6" fmla="*/ 24 w 88"/>
                <a:gd name="T7" fmla="*/ 56 h 60"/>
                <a:gd name="T8" fmla="*/ 24 w 88"/>
                <a:gd name="T9" fmla="*/ 52 h 60"/>
                <a:gd name="T10" fmla="*/ 24 w 88"/>
                <a:gd name="T11" fmla="*/ 52 h 60"/>
                <a:gd name="T12" fmla="*/ 20 w 88"/>
                <a:gd name="T13" fmla="*/ 52 h 60"/>
                <a:gd name="T14" fmla="*/ 20 w 88"/>
                <a:gd name="T15" fmla="*/ 52 h 60"/>
                <a:gd name="T16" fmla="*/ 20 w 88"/>
                <a:gd name="T17" fmla="*/ 46 h 60"/>
                <a:gd name="T18" fmla="*/ 16 w 88"/>
                <a:gd name="T19" fmla="*/ 46 h 60"/>
                <a:gd name="T20" fmla="*/ 16 w 88"/>
                <a:gd name="T21" fmla="*/ 42 h 60"/>
                <a:gd name="T22" fmla="*/ 14 w 88"/>
                <a:gd name="T23" fmla="*/ 46 h 60"/>
                <a:gd name="T24" fmla="*/ 10 w 88"/>
                <a:gd name="T25" fmla="*/ 46 h 60"/>
                <a:gd name="T26" fmla="*/ 10 w 88"/>
                <a:gd name="T27" fmla="*/ 42 h 60"/>
                <a:gd name="T28" fmla="*/ 6 w 88"/>
                <a:gd name="T29" fmla="*/ 42 h 60"/>
                <a:gd name="T30" fmla="*/ 6 w 88"/>
                <a:gd name="T31" fmla="*/ 38 h 60"/>
                <a:gd name="T32" fmla="*/ 4 w 88"/>
                <a:gd name="T33" fmla="*/ 38 h 60"/>
                <a:gd name="T34" fmla="*/ 0 w 88"/>
                <a:gd name="T35" fmla="*/ 34 h 60"/>
                <a:gd name="T36" fmla="*/ 4 w 88"/>
                <a:gd name="T37" fmla="*/ 30 h 60"/>
                <a:gd name="T38" fmla="*/ 4 w 88"/>
                <a:gd name="T39" fmla="*/ 26 h 60"/>
                <a:gd name="T40" fmla="*/ 4 w 88"/>
                <a:gd name="T41" fmla="*/ 22 h 60"/>
                <a:gd name="T42" fmla="*/ 10 w 88"/>
                <a:gd name="T43" fmla="*/ 16 h 60"/>
                <a:gd name="T44" fmla="*/ 14 w 88"/>
                <a:gd name="T45" fmla="*/ 12 h 60"/>
                <a:gd name="T46" fmla="*/ 16 w 88"/>
                <a:gd name="T47" fmla="*/ 8 h 60"/>
                <a:gd name="T48" fmla="*/ 20 w 88"/>
                <a:gd name="T49" fmla="*/ 8 h 60"/>
                <a:gd name="T50" fmla="*/ 28 w 88"/>
                <a:gd name="T51" fmla="*/ 8 h 60"/>
                <a:gd name="T52" fmla="*/ 36 w 88"/>
                <a:gd name="T53" fmla="*/ 12 h 60"/>
                <a:gd name="T54" fmla="*/ 40 w 88"/>
                <a:gd name="T55" fmla="*/ 12 h 60"/>
                <a:gd name="T56" fmla="*/ 42 w 88"/>
                <a:gd name="T57" fmla="*/ 8 h 60"/>
                <a:gd name="T58" fmla="*/ 46 w 88"/>
                <a:gd name="T59" fmla="*/ 8 h 60"/>
                <a:gd name="T60" fmla="*/ 46 w 88"/>
                <a:gd name="T61" fmla="*/ 8 h 60"/>
                <a:gd name="T62" fmla="*/ 50 w 88"/>
                <a:gd name="T63" fmla="*/ 8 h 60"/>
                <a:gd name="T64" fmla="*/ 58 w 88"/>
                <a:gd name="T65" fmla="*/ 8 h 60"/>
                <a:gd name="T66" fmla="*/ 66 w 88"/>
                <a:gd name="T67" fmla="*/ 8 h 60"/>
                <a:gd name="T68" fmla="*/ 66 w 88"/>
                <a:gd name="T69" fmla="*/ 8 h 60"/>
                <a:gd name="T70" fmla="*/ 76 w 88"/>
                <a:gd name="T71" fmla="*/ 16 h 60"/>
                <a:gd name="T72" fmla="*/ 72 w 88"/>
                <a:gd name="T73" fmla="*/ 18 h 60"/>
                <a:gd name="T74" fmla="*/ 72 w 88"/>
                <a:gd name="T75" fmla="*/ 18 h 60"/>
                <a:gd name="T76" fmla="*/ 76 w 88"/>
                <a:gd name="T77" fmla="*/ 18 h 60"/>
                <a:gd name="T78" fmla="*/ 80 w 88"/>
                <a:gd name="T79" fmla="*/ 18 h 60"/>
                <a:gd name="T80" fmla="*/ 80 w 88"/>
                <a:gd name="T81" fmla="*/ 22 h 60"/>
                <a:gd name="T82" fmla="*/ 80 w 88"/>
                <a:gd name="T83" fmla="*/ 18 h 60"/>
                <a:gd name="T84" fmla="*/ 84 w 88"/>
                <a:gd name="T85" fmla="*/ 18 h 60"/>
                <a:gd name="T86" fmla="*/ 84 w 88"/>
                <a:gd name="T87" fmla="*/ 22 h 60"/>
                <a:gd name="T88" fmla="*/ 84 w 88"/>
                <a:gd name="T89" fmla="*/ 22 h 60"/>
                <a:gd name="T90" fmla="*/ 76 w 88"/>
                <a:gd name="T91" fmla="*/ 26 h 60"/>
                <a:gd name="T92" fmla="*/ 66 w 88"/>
                <a:gd name="T93" fmla="*/ 30 h 60"/>
                <a:gd name="T94" fmla="*/ 58 w 88"/>
                <a:gd name="T95" fmla="*/ 30 h 60"/>
                <a:gd name="T96" fmla="*/ 58 w 88"/>
                <a:gd name="T97" fmla="*/ 34 h 60"/>
                <a:gd name="T98" fmla="*/ 58 w 88"/>
                <a:gd name="T99" fmla="*/ 38 h 60"/>
                <a:gd name="T100" fmla="*/ 54 w 88"/>
                <a:gd name="T101" fmla="*/ 38 h 60"/>
                <a:gd name="T102" fmla="*/ 50 w 88"/>
                <a:gd name="T103" fmla="*/ 46 h 60"/>
                <a:gd name="T104" fmla="*/ 46 w 88"/>
                <a:gd name="T105" fmla="*/ 42 h 60"/>
                <a:gd name="T106" fmla="*/ 42 w 88"/>
                <a:gd name="T107" fmla="*/ 42 h 60"/>
                <a:gd name="T108" fmla="*/ 36 w 88"/>
                <a:gd name="T109" fmla="*/ 46 h 60"/>
                <a:gd name="T110" fmla="*/ 36 w 88"/>
                <a:gd name="T111" fmla="*/ 0 h 60"/>
                <a:gd name="T112" fmla="*/ 40 w 88"/>
                <a:gd name="T113" fmla="*/ 0 h 60"/>
                <a:gd name="T114" fmla="*/ 40 w 88"/>
                <a:gd name="T115" fmla="*/ 0 h 60"/>
                <a:gd name="T116" fmla="*/ 36 w 88"/>
                <a:gd name="T11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8" h="60">
                  <a:moveTo>
                    <a:pt x="36" y="46"/>
                  </a:moveTo>
                  <a:lnTo>
                    <a:pt x="36" y="50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4"/>
                  </a:lnTo>
                  <a:lnTo>
                    <a:pt x="4" y="38"/>
                  </a:lnTo>
                  <a:lnTo>
                    <a:pt x="4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18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62" y="8"/>
                  </a:lnTo>
                  <a:lnTo>
                    <a:pt x="66" y="8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70" y="12"/>
                  </a:lnTo>
                  <a:lnTo>
                    <a:pt x="66" y="8"/>
                  </a:lnTo>
                  <a:lnTo>
                    <a:pt x="66" y="8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8" y="22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0" y="22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76" y="26"/>
                  </a:lnTo>
                  <a:lnTo>
                    <a:pt x="76" y="26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58" y="30"/>
                  </a:lnTo>
                  <a:lnTo>
                    <a:pt x="58" y="30"/>
                  </a:lnTo>
                  <a:lnTo>
                    <a:pt x="58" y="30"/>
                  </a:lnTo>
                  <a:lnTo>
                    <a:pt x="58" y="30"/>
                  </a:lnTo>
                  <a:lnTo>
                    <a:pt x="58" y="30"/>
                  </a:lnTo>
                  <a:lnTo>
                    <a:pt x="58" y="30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6" y="46"/>
                  </a:lnTo>
                  <a:close/>
                  <a:moveTo>
                    <a:pt x="36" y="0"/>
                  </a:move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008BE5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37" name="Freeform 77">
              <a:extLst>
                <a:ext uri="{FF2B5EF4-FFF2-40B4-BE49-F238E27FC236}">
                  <a16:creationId xmlns:a16="http://schemas.microsoft.com/office/drawing/2014/main" id="{67F883CF-2E88-17E1-9AD5-43D9582CF9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4502" y="3571547"/>
              <a:ext cx="62343" cy="26397"/>
            </a:xfrm>
            <a:custGeom>
              <a:avLst/>
              <a:gdLst>
                <a:gd name="T0" fmla="*/ 24 w 32"/>
                <a:gd name="T1" fmla="*/ 10 h 14"/>
                <a:gd name="T2" fmla="*/ 24 w 32"/>
                <a:gd name="T3" fmla="*/ 10 h 14"/>
                <a:gd name="T4" fmla="*/ 20 w 32"/>
                <a:gd name="T5" fmla="*/ 6 h 14"/>
                <a:gd name="T6" fmla="*/ 20 w 32"/>
                <a:gd name="T7" fmla="*/ 10 h 14"/>
                <a:gd name="T8" fmla="*/ 20 w 32"/>
                <a:gd name="T9" fmla="*/ 10 h 14"/>
                <a:gd name="T10" fmla="*/ 20 w 32"/>
                <a:gd name="T11" fmla="*/ 10 h 14"/>
                <a:gd name="T12" fmla="*/ 16 w 32"/>
                <a:gd name="T13" fmla="*/ 10 h 14"/>
                <a:gd name="T14" fmla="*/ 16 w 32"/>
                <a:gd name="T15" fmla="*/ 10 h 14"/>
                <a:gd name="T16" fmla="*/ 16 w 32"/>
                <a:gd name="T17" fmla="*/ 14 h 14"/>
                <a:gd name="T18" fmla="*/ 16 w 32"/>
                <a:gd name="T19" fmla="*/ 14 h 14"/>
                <a:gd name="T20" fmla="*/ 16 w 32"/>
                <a:gd name="T21" fmla="*/ 14 h 14"/>
                <a:gd name="T22" fmla="*/ 12 w 32"/>
                <a:gd name="T23" fmla="*/ 10 h 14"/>
                <a:gd name="T24" fmla="*/ 12 w 32"/>
                <a:gd name="T25" fmla="*/ 10 h 14"/>
                <a:gd name="T26" fmla="*/ 12 w 32"/>
                <a:gd name="T27" fmla="*/ 10 h 14"/>
                <a:gd name="T28" fmla="*/ 8 w 32"/>
                <a:gd name="T29" fmla="*/ 10 h 14"/>
                <a:gd name="T30" fmla="*/ 8 w 32"/>
                <a:gd name="T31" fmla="*/ 6 h 14"/>
                <a:gd name="T32" fmla="*/ 4 w 32"/>
                <a:gd name="T33" fmla="*/ 6 h 14"/>
                <a:gd name="T34" fmla="*/ 4 w 32"/>
                <a:gd name="T35" fmla="*/ 6 h 14"/>
                <a:gd name="T36" fmla="*/ 4 w 32"/>
                <a:gd name="T37" fmla="*/ 6 h 14"/>
                <a:gd name="T38" fmla="*/ 4 w 32"/>
                <a:gd name="T39" fmla="*/ 4 h 14"/>
                <a:gd name="T40" fmla="*/ 0 w 32"/>
                <a:gd name="T41" fmla="*/ 4 h 14"/>
                <a:gd name="T42" fmla="*/ 0 w 32"/>
                <a:gd name="T43" fmla="*/ 4 h 14"/>
                <a:gd name="T44" fmla="*/ 0 w 32"/>
                <a:gd name="T45" fmla="*/ 4 h 14"/>
                <a:gd name="T46" fmla="*/ 0 w 32"/>
                <a:gd name="T47" fmla="*/ 4 h 14"/>
                <a:gd name="T48" fmla="*/ 0 w 32"/>
                <a:gd name="T49" fmla="*/ 4 h 14"/>
                <a:gd name="T50" fmla="*/ 4 w 32"/>
                <a:gd name="T51" fmla="*/ 0 h 14"/>
                <a:gd name="T52" fmla="*/ 4 w 32"/>
                <a:gd name="T53" fmla="*/ 0 h 14"/>
                <a:gd name="T54" fmla="*/ 8 w 32"/>
                <a:gd name="T55" fmla="*/ 0 h 14"/>
                <a:gd name="T56" fmla="*/ 8 w 32"/>
                <a:gd name="T57" fmla="*/ 0 h 14"/>
                <a:gd name="T58" fmla="*/ 12 w 32"/>
                <a:gd name="T59" fmla="*/ 0 h 14"/>
                <a:gd name="T60" fmla="*/ 12 w 32"/>
                <a:gd name="T61" fmla="*/ 0 h 14"/>
                <a:gd name="T62" fmla="*/ 16 w 32"/>
                <a:gd name="T63" fmla="*/ 0 h 14"/>
                <a:gd name="T64" fmla="*/ 16 w 32"/>
                <a:gd name="T65" fmla="*/ 0 h 14"/>
                <a:gd name="T66" fmla="*/ 20 w 32"/>
                <a:gd name="T67" fmla="*/ 0 h 14"/>
                <a:gd name="T68" fmla="*/ 20 w 32"/>
                <a:gd name="T69" fmla="*/ 4 h 14"/>
                <a:gd name="T70" fmla="*/ 20 w 32"/>
                <a:gd name="T71" fmla="*/ 4 h 14"/>
                <a:gd name="T72" fmla="*/ 24 w 32"/>
                <a:gd name="T73" fmla="*/ 4 h 14"/>
                <a:gd name="T74" fmla="*/ 24 w 32"/>
                <a:gd name="T75" fmla="*/ 4 h 14"/>
                <a:gd name="T76" fmla="*/ 28 w 32"/>
                <a:gd name="T77" fmla="*/ 6 h 14"/>
                <a:gd name="T78" fmla="*/ 28 w 32"/>
                <a:gd name="T79" fmla="*/ 6 h 14"/>
                <a:gd name="T80" fmla="*/ 32 w 32"/>
                <a:gd name="T81" fmla="*/ 6 h 14"/>
                <a:gd name="T82" fmla="*/ 32 w 32"/>
                <a:gd name="T83" fmla="*/ 10 h 14"/>
                <a:gd name="T84" fmla="*/ 28 w 32"/>
                <a:gd name="T85" fmla="*/ 10 h 14"/>
                <a:gd name="T86" fmla="*/ 24 w 32"/>
                <a:gd name="T87" fmla="*/ 10 h 14"/>
                <a:gd name="T88" fmla="*/ 24 w 32"/>
                <a:gd name="T89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2" h="14">
                  <a:moveTo>
                    <a:pt x="24" y="10"/>
                  </a:move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38" name="Freeform 78">
              <a:extLst>
                <a:ext uri="{FF2B5EF4-FFF2-40B4-BE49-F238E27FC236}">
                  <a16:creationId xmlns:a16="http://schemas.microsoft.com/office/drawing/2014/main" id="{A9C4900E-B04A-3D1E-B5EE-3DE15D51D2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5706" y="3085086"/>
              <a:ext cx="868906" cy="610904"/>
            </a:xfrm>
            <a:custGeom>
              <a:avLst/>
              <a:gdLst>
                <a:gd name="T0" fmla="*/ 90 w 446"/>
                <a:gd name="T1" fmla="*/ 134 h 324"/>
                <a:gd name="T2" fmla="*/ 74 w 446"/>
                <a:gd name="T3" fmla="*/ 112 h 324"/>
                <a:gd name="T4" fmla="*/ 60 w 446"/>
                <a:gd name="T5" fmla="*/ 104 h 324"/>
                <a:gd name="T6" fmla="*/ 56 w 446"/>
                <a:gd name="T7" fmla="*/ 90 h 324"/>
                <a:gd name="T8" fmla="*/ 48 w 446"/>
                <a:gd name="T9" fmla="*/ 64 h 324"/>
                <a:gd name="T10" fmla="*/ 32 w 446"/>
                <a:gd name="T11" fmla="*/ 38 h 324"/>
                <a:gd name="T12" fmla="*/ 18 w 446"/>
                <a:gd name="T13" fmla="*/ 4 h 324"/>
                <a:gd name="T14" fmla="*/ 52 w 446"/>
                <a:gd name="T15" fmla="*/ 8 h 324"/>
                <a:gd name="T16" fmla="*/ 104 w 446"/>
                <a:gd name="T17" fmla="*/ 26 h 324"/>
                <a:gd name="T18" fmla="*/ 156 w 446"/>
                <a:gd name="T19" fmla="*/ 18 h 324"/>
                <a:gd name="T20" fmla="*/ 182 w 446"/>
                <a:gd name="T21" fmla="*/ 38 h 324"/>
                <a:gd name="T22" fmla="*/ 208 w 446"/>
                <a:gd name="T23" fmla="*/ 68 h 324"/>
                <a:gd name="T24" fmla="*/ 230 w 446"/>
                <a:gd name="T25" fmla="*/ 56 h 324"/>
                <a:gd name="T26" fmla="*/ 256 w 446"/>
                <a:gd name="T27" fmla="*/ 82 h 324"/>
                <a:gd name="T28" fmla="*/ 274 w 446"/>
                <a:gd name="T29" fmla="*/ 116 h 324"/>
                <a:gd name="T30" fmla="*/ 298 w 446"/>
                <a:gd name="T31" fmla="*/ 132 h 324"/>
                <a:gd name="T32" fmla="*/ 290 w 446"/>
                <a:gd name="T33" fmla="*/ 172 h 324"/>
                <a:gd name="T34" fmla="*/ 294 w 446"/>
                <a:gd name="T35" fmla="*/ 210 h 324"/>
                <a:gd name="T36" fmla="*/ 294 w 446"/>
                <a:gd name="T37" fmla="*/ 214 h 324"/>
                <a:gd name="T38" fmla="*/ 316 w 446"/>
                <a:gd name="T39" fmla="*/ 250 h 324"/>
                <a:gd name="T40" fmla="*/ 350 w 446"/>
                <a:gd name="T41" fmla="*/ 262 h 324"/>
                <a:gd name="T42" fmla="*/ 372 w 446"/>
                <a:gd name="T43" fmla="*/ 258 h 324"/>
                <a:gd name="T44" fmla="*/ 390 w 446"/>
                <a:gd name="T45" fmla="*/ 238 h 324"/>
                <a:gd name="T46" fmla="*/ 402 w 446"/>
                <a:gd name="T47" fmla="*/ 210 h 324"/>
                <a:gd name="T48" fmla="*/ 430 w 446"/>
                <a:gd name="T49" fmla="*/ 206 h 324"/>
                <a:gd name="T50" fmla="*/ 442 w 446"/>
                <a:gd name="T51" fmla="*/ 220 h 324"/>
                <a:gd name="T52" fmla="*/ 430 w 446"/>
                <a:gd name="T53" fmla="*/ 242 h 324"/>
                <a:gd name="T54" fmla="*/ 428 w 446"/>
                <a:gd name="T55" fmla="*/ 250 h 324"/>
                <a:gd name="T56" fmla="*/ 410 w 446"/>
                <a:gd name="T57" fmla="*/ 268 h 324"/>
                <a:gd name="T58" fmla="*/ 390 w 446"/>
                <a:gd name="T59" fmla="*/ 290 h 324"/>
                <a:gd name="T60" fmla="*/ 368 w 446"/>
                <a:gd name="T61" fmla="*/ 320 h 324"/>
                <a:gd name="T62" fmla="*/ 346 w 446"/>
                <a:gd name="T63" fmla="*/ 302 h 324"/>
                <a:gd name="T64" fmla="*/ 330 w 446"/>
                <a:gd name="T65" fmla="*/ 294 h 324"/>
                <a:gd name="T66" fmla="*/ 298 w 446"/>
                <a:gd name="T67" fmla="*/ 302 h 324"/>
                <a:gd name="T68" fmla="*/ 264 w 446"/>
                <a:gd name="T69" fmla="*/ 288 h 324"/>
                <a:gd name="T70" fmla="*/ 230 w 446"/>
                <a:gd name="T71" fmla="*/ 268 h 324"/>
                <a:gd name="T72" fmla="*/ 204 w 446"/>
                <a:gd name="T73" fmla="*/ 250 h 324"/>
                <a:gd name="T74" fmla="*/ 178 w 446"/>
                <a:gd name="T75" fmla="*/ 228 h 324"/>
                <a:gd name="T76" fmla="*/ 182 w 446"/>
                <a:gd name="T77" fmla="*/ 198 h 324"/>
                <a:gd name="T78" fmla="*/ 162 w 446"/>
                <a:gd name="T79" fmla="*/ 164 h 324"/>
                <a:gd name="T80" fmla="*/ 144 w 446"/>
                <a:gd name="T81" fmla="*/ 150 h 324"/>
                <a:gd name="T82" fmla="*/ 130 w 446"/>
                <a:gd name="T83" fmla="*/ 134 h 324"/>
                <a:gd name="T84" fmla="*/ 130 w 446"/>
                <a:gd name="T85" fmla="*/ 120 h 324"/>
                <a:gd name="T86" fmla="*/ 106 w 446"/>
                <a:gd name="T87" fmla="*/ 90 h 324"/>
                <a:gd name="T88" fmla="*/ 86 w 446"/>
                <a:gd name="T89" fmla="*/ 72 h 324"/>
                <a:gd name="T90" fmla="*/ 74 w 446"/>
                <a:gd name="T91" fmla="*/ 34 h 324"/>
                <a:gd name="T92" fmla="*/ 48 w 446"/>
                <a:gd name="T93" fmla="*/ 18 h 324"/>
                <a:gd name="T94" fmla="*/ 52 w 446"/>
                <a:gd name="T95" fmla="*/ 46 h 324"/>
                <a:gd name="T96" fmla="*/ 70 w 446"/>
                <a:gd name="T97" fmla="*/ 72 h 324"/>
                <a:gd name="T98" fmla="*/ 90 w 446"/>
                <a:gd name="T99" fmla="*/ 108 h 324"/>
                <a:gd name="T100" fmla="*/ 100 w 446"/>
                <a:gd name="T101" fmla="*/ 128 h 324"/>
                <a:gd name="T102" fmla="*/ 110 w 446"/>
                <a:gd name="T103" fmla="*/ 158 h 324"/>
                <a:gd name="T104" fmla="*/ 122 w 446"/>
                <a:gd name="T105" fmla="*/ 176 h 324"/>
                <a:gd name="T106" fmla="*/ 96 w 446"/>
                <a:gd name="T107" fmla="*/ 154 h 324"/>
                <a:gd name="T108" fmla="*/ 86 w 446"/>
                <a:gd name="T109" fmla="*/ 146 h 324"/>
                <a:gd name="T110" fmla="*/ 104 w 446"/>
                <a:gd name="T111" fmla="*/ 254 h 324"/>
                <a:gd name="T112" fmla="*/ 74 w 446"/>
                <a:gd name="T113" fmla="*/ 72 h 324"/>
                <a:gd name="T114" fmla="*/ 0 w 446"/>
                <a:gd name="T115" fmla="*/ 72 h 324"/>
                <a:gd name="T116" fmla="*/ 44 w 446"/>
                <a:gd name="T117" fmla="*/ 90 h 324"/>
                <a:gd name="T118" fmla="*/ 92 w 446"/>
                <a:gd name="T119" fmla="*/ 154 h 324"/>
                <a:gd name="T120" fmla="*/ 162 w 446"/>
                <a:gd name="T121" fmla="*/ 206 h 324"/>
                <a:gd name="T122" fmla="*/ 442 w 446"/>
                <a:gd name="T123" fmla="*/ 228 h 324"/>
                <a:gd name="T124" fmla="*/ 380 w 446"/>
                <a:gd name="T125" fmla="*/ 25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46" h="324">
                  <a:moveTo>
                    <a:pt x="96" y="154"/>
                  </a:moveTo>
                  <a:lnTo>
                    <a:pt x="92" y="154"/>
                  </a:lnTo>
                  <a:lnTo>
                    <a:pt x="92" y="150"/>
                  </a:lnTo>
                  <a:lnTo>
                    <a:pt x="90" y="150"/>
                  </a:lnTo>
                  <a:lnTo>
                    <a:pt x="90" y="146"/>
                  </a:lnTo>
                  <a:lnTo>
                    <a:pt x="90" y="142"/>
                  </a:lnTo>
                  <a:lnTo>
                    <a:pt x="86" y="142"/>
                  </a:lnTo>
                  <a:lnTo>
                    <a:pt x="86" y="146"/>
                  </a:lnTo>
                  <a:lnTo>
                    <a:pt x="86" y="142"/>
                  </a:lnTo>
                  <a:lnTo>
                    <a:pt x="86" y="138"/>
                  </a:lnTo>
                  <a:lnTo>
                    <a:pt x="90" y="138"/>
                  </a:lnTo>
                  <a:lnTo>
                    <a:pt x="90" y="134"/>
                  </a:lnTo>
                  <a:lnTo>
                    <a:pt x="90" y="132"/>
                  </a:lnTo>
                  <a:lnTo>
                    <a:pt x="90" y="134"/>
                  </a:lnTo>
                  <a:lnTo>
                    <a:pt x="90" y="132"/>
                  </a:lnTo>
                  <a:lnTo>
                    <a:pt x="90" y="128"/>
                  </a:lnTo>
                  <a:lnTo>
                    <a:pt x="86" y="128"/>
                  </a:lnTo>
                  <a:lnTo>
                    <a:pt x="86" y="124"/>
                  </a:lnTo>
                  <a:lnTo>
                    <a:pt x="86" y="120"/>
                  </a:lnTo>
                  <a:lnTo>
                    <a:pt x="82" y="120"/>
                  </a:lnTo>
                  <a:lnTo>
                    <a:pt x="78" y="120"/>
                  </a:lnTo>
                  <a:lnTo>
                    <a:pt x="78" y="116"/>
                  </a:lnTo>
                  <a:lnTo>
                    <a:pt x="74" y="116"/>
                  </a:lnTo>
                  <a:lnTo>
                    <a:pt x="74" y="112"/>
                  </a:lnTo>
                  <a:lnTo>
                    <a:pt x="70" y="112"/>
                  </a:lnTo>
                  <a:lnTo>
                    <a:pt x="70" y="108"/>
                  </a:lnTo>
                  <a:lnTo>
                    <a:pt x="74" y="108"/>
                  </a:lnTo>
                  <a:lnTo>
                    <a:pt x="70" y="108"/>
                  </a:lnTo>
                  <a:lnTo>
                    <a:pt x="70" y="112"/>
                  </a:lnTo>
                  <a:lnTo>
                    <a:pt x="70" y="108"/>
                  </a:lnTo>
                  <a:lnTo>
                    <a:pt x="66" y="108"/>
                  </a:lnTo>
                  <a:lnTo>
                    <a:pt x="66" y="112"/>
                  </a:lnTo>
                  <a:lnTo>
                    <a:pt x="62" y="108"/>
                  </a:lnTo>
                  <a:lnTo>
                    <a:pt x="62" y="104"/>
                  </a:lnTo>
                  <a:lnTo>
                    <a:pt x="60" y="108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2"/>
                  </a:lnTo>
                  <a:lnTo>
                    <a:pt x="52" y="98"/>
                  </a:lnTo>
                  <a:lnTo>
                    <a:pt x="48" y="98"/>
                  </a:lnTo>
                  <a:lnTo>
                    <a:pt x="48" y="94"/>
                  </a:lnTo>
                  <a:lnTo>
                    <a:pt x="44" y="94"/>
                  </a:lnTo>
                  <a:lnTo>
                    <a:pt x="48" y="90"/>
                  </a:lnTo>
                  <a:lnTo>
                    <a:pt x="48" y="94"/>
                  </a:lnTo>
                  <a:lnTo>
                    <a:pt x="52" y="94"/>
                  </a:lnTo>
                  <a:lnTo>
                    <a:pt x="56" y="94"/>
                  </a:lnTo>
                  <a:lnTo>
                    <a:pt x="60" y="94"/>
                  </a:lnTo>
                  <a:lnTo>
                    <a:pt x="56" y="90"/>
                  </a:lnTo>
                  <a:lnTo>
                    <a:pt x="60" y="90"/>
                  </a:lnTo>
                  <a:lnTo>
                    <a:pt x="60" y="86"/>
                  </a:lnTo>
                  <a:lnTo>
                    <a:pt x="60" y="90"/>
                  </a:lnTo>
                  <a:lnTo>
                    <a:pt x="60" y="86"/>
                  </a:lnTo>
                  <a:lnTo>
                    <a:pt x="60" y="82"/>
                  </a:lnTo>
                  <a:lnTo>
                    <a:pt x="60" y="78"/>
                  </a:lnTo>
                  <a:lnTo>
                    <a:pt x="60" y="74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2" y="46"/>
                  </a:lnTo>
                  <a:lnTo>
                    <a:pt x="32" y="42"/>
                  </a:lnTo>
                  <a:lnTo>
                    <a:pt x="32" y="46"/>
                  </a:lnTo>
                  <a:lnTo>
                    <a:pt x="32" y="42"/>
                  </a:lnTo>
                  <a:lnTo>
                    <a:pt x="32" y="38"/>
                  </a:lnTo>
                  <a:lnTo>
                    <a:pt x="30" y="34"/>
                  </a:lnTo>
                  <a:lnTo>
                    <a:pt x="30" y="30"/>
                  </a:lnTo>
                  <a:lnTo>
                    <a:pt x="26" y="30"/>
                  </a:lnTo>
                  <a:lnTo>
                    <a:pt x="26" y="26"/>
                  </a:lnTo>
                  <a:lnTo>
                    <a:pt x="22" y="22"/>
                  </a:lnTo>
                  <a:lnTo>
                    <a:pt x="26" y="18"/>
                  </a:lnTo>
                  <a:lnTo>
                    <a:pt x="22" y="18"/>
                  </a:lnTo>
                  <a:lnTo>
                    <a:pt x="22" y="16"/>
                  </a:lnTo>
                  <a:lnTo>
                    <a:pt x="18" y="16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8" y="4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48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12"/>
                  </a:lnTo>
                  <a:lnTo>
                    <a:pt x="62" y="12"/>
                  </a:lnTo>
                  <a:lnTo>
                    <a:pt x="66" y="12"/>
                  </a:lnTo>
                  <a:lnTo>
                    <a:pt x="70" y="16"/>
                  </a:lnTo>
                  <a:lnTo>
                    <a:pt x="74" y="16"/>
                  </a:lnTo>
                  <a:lnTo>
                    <a:pt x="78" y="16"/>
                  </a:lnTo>
                  <a:lnTo>
                    <a:pt x="82" y="18"/>
                  </a:lnTo>
                  <a:lnTo>
                    <a:pt x="86" y="18"/>
                  </a:lnTo>
                  <a:lnTo>
                    <a:pt x="90" y="22"/>
                  </a:lnTo>
                  <a:lnTo>
                    <a:pt x="96" y="26"/>
                  </a:lnTo>
                  <a:lnTo>
                    <a:pt x="104" y="26"/>
                  </a:lnTo>
                  <a:lnTo>
                    <a:pt x="110" y="26"/>
                  </a:lnTo>
                  <a:lnTo>
                    <a:pt x="114" y="26"/>
                  </a:lnTo>
                  <a:lnTo>
                    <a:pt x="118" y="26"/>
                  </a:lnTo>
                  <a:lnTo>
                    <a:pt x="122" y="26"/>
                  </a:lnTo>
                  <a:lnTo>
                    <a:pt x="130" y="26"/>
                  </a:lnTo>
                  <a:lnTo>
                    <a:pt x="132" y="26"/>
                  </a:lnTo>
                  <a:lnTo>
                    <a:pt x="140" y="26"/>
                  </a:lnTo>
                  <a:lnTo>
                    <a:pt x="140" y="22"/>
                  </a:lnTo>
                  <a:lnTo>
                    <a:pt x="140" y="18"/>
                  </a:lnTo>
                  <a:lnTo>
                    <a:pt x="148" y="18"/>
                  </a:lnTo>
                  <a:lnTo>
                    <a:pt x="152" y="18"/>
                  </a:lnTo>
                  <a:lnTo>
                    <a:pt x="156" y="18"/>
                  </a:lnTo>
                  <a:lnTo>
                    <a:pt x="160" y="18"/>
                  </a:lnTo>
                  <a:lnTo>
                    <a:pt x="162" y="18"/>
                  </a:lnTo>
                  <a:lnTo>
                    <a:pt x="166" y="18"/>
                  </a:lnTo>
                  <a:lnTo>
                    <a:pt x="166" y="22"/>
                  </a:lnTo>
                  <a:lnTo>
                    <a:pt x="170" y="22"/>
                  </a:lnTo>
                  <a:lnTo>
                    <a:pt x="170" y="26"/>
                  </a:lnTo>
                  <a:lnTo>
                    <a:pt x="174" y="26"/>
                  </a:lnTo>
                  <a:lnTo>
                    <a:pt x="174" y="30"/>
                  </a:lnTo>
                  <a:lnTo>
                    <a:pt x="178" y="30"/>
                  </a:lnTo>
                  <a:lnTo>
                    <a:pt x="178" y="34"/>
                  </a:lnTo>
                  <a:lnTo>
                    <a:pt x="182" y="34"/>
                  </a:lnTo>
                  <a:lnTo>
                    <a:pt x="182" y="38"/>
                  </a:lnTo>
                  <a:lnTo>
                    <a:pt x="186" y="38"/>
                  </a:lnTo>
                  <a:lnTo>
                    <a:pt x="188" y="42"/>
                  </a:lnTo>
                  <a:lnTo>
                    <a:pt x="188" y="46"/>
                  </a:lnTo>
                  <a:lnTo>
                    <a:pt x="192" y="48"/>
                  </a:lnTo>
                  <a:lnTo>
                    <a:pt x="192" y="52"/>
                  </a:lnTo>
                  <a:lnTo>
                    <a:pt x="192" y="56"/>
                  </a:lnTo>
                  <a:lnTo>
                    <a:pt x="196" y="60"/>
                  </a:lnTo>
                  <a:lnTo>
                    <a:pt x="200" y="60"/>
                  </a:lnTo>
                  <a:lnTo>
                    <a:pt x="200" y="64"/>
                  </a:lnTo>
                  <a:lnTo>
                    <a:pt x="204" y="64"/>
                  </a:lnTo>
                  <a:lnTo>
                    <a:pt x="204" y="68"/>
                  </a:lnTo>
                  <a:lnTo>
                    <a:pt x="208" y="68"/>
                  </a:lnTo>
                  <a:lnTo>
                    <a:pt x="212" y="72"/>
                  </a:lnTo>
                  <a:lnTo>
                    <a:pt x="216" y="72"/>
                  </a:lnTo>
                  <a:lnTo>
                    <a:pt x="216" y="68"/>
                  </a:lnTo>
                  <a:lnTo>
                    <a:pt x="218" y="68"/>
                  </a:lnTo>
                  <a:lnTo>
                    <a:pt x="218" y="64"/>
                  </a:lnTo>
                  <a:lnTo>
                    <a:pt x="218" y="60"/>
                  </a:lnTo>
                  <a:lnTo>
                    <a:pt x="218" y="56"/>
                  </a:lnTo>
                  <a:lnTo>
                    <a:pt x="222" y="56"/>
                  </a:lnTo>
                  <a:lnTo>
                    <a:pt x="226" y="56"/>
                  </a:lnTo>
                  <a:lnTo>
                    <a:pt x="226" y="52"/>
                  </a:lnTo>
                  <a:lnTo>
                    <a:pt x="226" y="56"/>
                  </a:lnTo>
                  <a:lnTo>
                    <a:pt x="230" y="56"/>
                  </a:lnTo>
                  <a:lnTo>
                    <a:pt x="234" y="56"/>
                  </a:lnTo>
                  <a:lnTo>
                    <a:pt x="238" y="56"/>
                  </a:lnTo>
                  <a:lnTo>
                    <a:pt x="238" y="60"/>
                  </a:lnTo>
                  <a:lnTo>
                    <a:pt x="242" y="60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8" y="68"/>
                  </a:lnTo>
                  <a:lnTo>
                    <a:pt x="248" y="72"/>
                  </a:lnTo>
                  <a:lnTo>
                    <a:pt x="252" y="74"/>
                  </a:lnTo>
                  <a:lnTo>
                    <a:pt x="252" y="78"/>
                  </a:lnTo>
                  <a:lnTo>
                    <a:pt x="252" y="82"/>
                  </a:lnTo>
                  <a:lnTo>
                    <a:pt x="256" y="82"/>
                  </a:lnTo>
                  <a:lnTo>
                    <a:pt x="256" y="86"/>
                  </a:lnTo>
                  <a:lnTo>
                    <a:pt x="260" y="90"/>
                  </a:lnTo>
                  <a:lnTo>
                    <a:pt x="260" y="94"/>
                  </a:lnTo>
                  <a:lnTo>
                    <a:pt x="264" y="94"/>
                  </a:lnTo>
                  <a:lnTo>
                    <a:pt x="264" y="98"/>
                  </a:lnTo>
                  <a:lnTo>
                    <a:pt x="268" y="98"/>
                  </a:lnTo>
                  <a:lnTo>
                    <a:pt x="268" y="102"/>
                  </a:lnTo>
                  <a:lnTo>
                    <a:pt x="268" y="104"/>
                  </a:lnTo>
                  <a:lnTo>
                    <a:pt x="268" y="108"/>
                  </a:lnTo>
                  <a:lnTo>
                    <a:pt x="272" y="112"/>
                  </a:lnTo>
                  <a:lnTo>
                    <a:pt x="272" y="116"/>
                  </a:lnTo>
                  <a:lnTo>
                    <a:pt x="274" y="116"/>
                  </a:lnTo>
                  <a:lnTo>
                    <a:pt x="274" y="120"/>
                  </a:lnTo>
                  <a:lnTo>
                    <a:pt x="278" y="120"/>
                  </a:lnTo>
                  <a:lnTo>
                    <a:pt x="282" y="120"/>
                  </a:lnTo>
                  <a:lnTo>
                    <a:pt x="282" y="124"/>
                  </a:lnTo>
                  <a:lnTo>
                    <a:pt x="286" y="124"/>
                  </a:lnTo>
                  <a:lnTo>
                    <a:pt x="290" y="124"/>
                  </a:lnTo>
                  <a:lnTo>
                    <a:pt x="294" y="124"/>
                  </a:lnTo>
                  <a:lnTo>
                    <a:pt x="294" y="128"/>
                  </a:lnTo>
                  <a:lnTo>
                    <a:pt x="298" y="128"/>
                  </a:lnTo>
                  <a:lnTo>
                    <a:pt x="298" y="124"/>
                  </a:lnTo>
                  <a:lnTo>
                    <a:pt x="298" y="128"/>
                  </a:lnTo>
                  <a:lnTo>
                    <a:pt x="298" y="132"/>
                  </a:lnTo>
                  <a:lnTo>
                    <a:pt x="298" y="134"/>
                  </a:lnTo>
                  <a:lnTo>
                    <a:pt x="294" y="138"/>
                  </a:lnTo>
                  <a:lnTo>
                    <a:pt x="294" y="142"/>
                  </a:lnTo>
                  <a:lnTo>
                    <a:pt x="294" y="146"/>
                  </a:lnTo>
                  <a:lnTo>
                    <a:pt x="294" y="150"/>
                  </a:lnTo>
                  <a:lnTo>
                    <a:pt x="290" y="150"/>
                  </a:lnTo>
                  <a:lnTo>
                    <a:pt x="290" y="154"/>
                  </a:lnTo>
                  <a:lnTo>
                    <a:pt x="290" y="158"/>
                  </a:lnTo>
                  <a:lnTo>
                    <a:pt x="290" y="160"/>
                  </a:lnTo>
                  <a:lnTo>
                    <a:pt x="290" y="164"/>
                  </a:lnTo>
                  <a:lnTo>
                    <a:pt x="290" y="168"/>
                  </a:lnTo>
                  <a:lnTo>
                    <a:pt x="290" y="172"/>
                  </a:lnTo>
                  <a:lnTo>
                    <a:pt x="290" y="176"/>
                  </a:lnTo>
                  <a:lnTo>
                    <a:pt x="290" y="180"/>
                  </a:lnTo>
                  <a:lnTo>
                    <a:pt x="290" y="184"/>
                  </a:lnTo>
                  <a:lnTo>
                    <a:pt x="290" y="188"/>
                  </a:lnTo>
                  <a:lnTo>
                    <a:pt x="290" y="190"/>
                  </a:lnTo>
                  <a:lnTo>
                    <a:pt x="290" y="194"/>
                  </a:lnTo>
                  <a:lnTo>
                    <a:pt x="290" y="198"/>
                  </a:lnTo>
                  <a:lnTo>
                    <a:pt x="294" y="198"/>
                  </a:lnTo>
                  <a:lnTo>
                    <a:pt x="294" y="202"/>
                  </a:lnTo>
                  <a:lnTo>
                    <a:pt x="298" y="202"/>
                  </a:lnTo>
                  <a:lnTo>
                    <a:pt x="298" y="206"/>
                  </a:lnTo>
                  <a:lnTo>
                    <a:pt x="294" y="210"/>
                  </a:lnTo>
                  <a:lnTo>
                    <a:pt x="294" y="206"/>
                  </a:lnTo>
                  <a:lnTo>
                    <a:pt x="298" y="206"/>
                  </a:lnTo>
                  <a:lnTo>
                    <a:pt x="294" y="206"/>
                  </a:lnTo>
                  <a:lnTo>
                    <a:pt x="294" y="202"/>
                  </a:lnTo>
                  <a:lnTo>
                    <a:pt x="294" y="198"/>
                  </a:lnTo>
                  <a:lnTo>
                    <a:pt x="290" y="198"/>
                  </a:lnTo>
                  <a:lnTo>
                    <a:pt x="290" y="194"/>
                  </a:lnTo>
                  <a:lnTo>
                    <a:pt x="290" y="198"/>
                  </a:lnTo>
                  <a:lnTo>
                    <a:pt x="290" y="202"/>
                  </a:lnTo>
                  <a:lnTo>
                    <a:pt x="294" y="206"/>
                  </a:lnTo>
                  <a:lnTo>
                    <a:pt x="294" y="210"/>
                  </a:lnTo>
                  <a:lnTo>
                    <a:pt x="294" y="214"/>
                  </a:lnTo>
                  <a:lnTo>
                    <a:pt x="298" y="214"/>
                  </a:lnTo>
                  <a:lnTo>
                    <a:pt x="298" y="218"/>
                  </a:lnTo>
                  <a:lnTo>
                    <a:pt x="298" y="220"/>
                  </a:lnTo>
                  <a:lnTo>
                    <a:pt x="302" y="220"/>
                  </a:lnTo>
                  <a:lnTo>
                    <a:pt x="304" y="228"/>
                  </a:lnTo>
                  <a:lnTo>
                    <a:pt x="308" y="232"/>
                  </a:lnTo>
                  <a:lnTo>
                    <a:pt x="308" y="234"/>
                  </a:lnTo>
                  <a:lnTo>
                    <a:pt x="308" y="238"/>
                  </a:lnTo>
                  <a:lnTo>
                    <a:pt x="312" y="242"/>
                  </a:lnTo>
                  <a:lnTo>
                    <a:pt x="312" y="246"/>
                  </a:lnTo>
                  <a:lnTo>
                    <a:pt x="316" y="246"/>
                  </a:lnTo>
                  <a:lnTo>
                    <a:pt x="316" y="250"/>
                  </a:lnTo>
                  <a:lnTo>
                    <a:pt x="316" y="254"/>
                  </a:lnTo>
                  <a:lnTo>
                    <a:pt x="320" y="254"/>
                  </a:lnTo>
                  <a:lnTo>
                    <a:pt x="324" y="254"/>
                  </a:lnTo>
                  <a:lnTo>
                    <a:pt x="328" y="254"/>
                  </a:lnTo>
                  <a:lnTo>
                    <a:pt x="328" y="258"/>
                  </a:lnTo>
                  <a:lnTo>
                    <a:pt x="330" y="258"/>
                  </a:lnTo>
                  <a:lnTo>
                    <a:pt x="330" y="262"/>
                  </a:lnTo>
                  <a:lnTo>
                    <a:pt x="334" y="264"/>
                  </a:lnTo>
                  <a:lnTo>
                    <a:pt x="338" y="264"/>
                  </a:lnTo>
                  <a:lnTo>
                    <a:pt x="342" y="262"/>
                  </a:lnTo>
                  <a:lnTo>
                    <a:pt x="346" y="262"/>
                  </a:lnTo>
                  <a:lnTo>
                    <a:pt x="350" y="262"/>
                  </a:lnTo>
                  <a:lnTo>
                    <a:pt x="350" y="258"/>
                  </a:lnTo>
                  <a:lnTo>
                    <a:pt x="346" y="262"/>
                  </a:lnTo>
                  <a:lnTo>
                    <a:pt x="350" y="258"/>
                  </a:lnTo>
                  <a:lnTo>
                    <a:pt x="354" y="258"/>
                  </a:lnTo>
                  <a:lnTo>
                    <a:pt x="354" y="262"/>
                  </a:lnTo>
                  <a:lnTo>
                    <a:pt x="358" y="262"/>
                  </a:lnTo>
                  <a:lnTo>
                    <a:pt x="358" y="258"/>
                  </a:lnTo>
                  <a:lnTo>
                    <a:pt x="360" y="258"/>
                  </a:lnTo>
                  <a:lnTo>
                    <a:pt x="364" y="254"/>
                  </a:lnTo>
                  <a:lnTo>
                    <a:pt x="368" y="254"/>
                  </a:lnTo>
                  <a:lnTo>
                    <a:pt x="372" y="254"/>
                  </a:lnTo>
                  <a:lnTo>
                    <a:pt x="372" y="258"/>
                  </a:lnTo>
                  <a:lnTo>
                    <a:pt x="376" y="258"/>
                  </a:lnTo>
                  <a:lnTo>
                    <a:pt x="372" y="258"/>
                  </a:lnTo>
                  <a:lnTo>
                    <a:pt x="376" y="262"/>
                  </a:lnTo>
                  <a:lnTo>
                    <a:pt x="376" y="258"/>
                  </a:lnTo>
                  <a:lnTo>
                    <a:pt x="380" y="258"/>
                  </a:lnTo>
                  <a:lnTo>
                    <a:pt x="384" y="254"/>
                  </a:lnTo>
                  <a:lnTo>
                    <a:pt x="380" y="254"/>
                  </a:lnTo>
                  <a:lnTo>
                    <a:pt x="380" y="250"/>
                  </a:lnTo>
                  <a:lnTo>
                    <a:pt x="384" y="250"/>
                  </a:lnTo>
                  <a:lnTo>
                    <a:pt x="386" y="246"/>
                  </a:lnTo>
                  <a:lnTo>
                    <a:pt x="390" y="242"/>
                  </a:lnTo>
                  <a:lnTo>
                    <a:pt x="390" y="238"/>
                  </a:lnTo>
                  <a:lnTo>
                    <a:pt x="390" y="234"/>
                  </a:lnTo>
                  <a:lnTo>
                    <a:pt x="394" y="232"/>
                  </a:lnTo>
                  <a:lnTo>
                    <a:pt x="394" y="228"/>
                  </a:lnTo>
                  <a:lnTo>
                    <a:pt x="394" y="224"/>
                  </a:lnTo>
                  <a:lnTo>
                    <a:pt x="394" y="220"/>
                  </a:lnTo>
                  <a:lnTo>
                    <a:pt x="394" y="218"/>
                  </a:lnTo>
                  <a:lnTo>
                    <a:pt x="394" y="214"/>
                  </a:lnTo>
                  <a:lnTo>
                    <a:pt x="394" y="218"/>
                  </a:lnTo>
                  <a:lnTo>
                    <a:pt x="394" y="214"/>
                  </a:lnTo>
                  <a:lnTo>
                    <a:pt x="398" y="214"/>
                  </a:lnTo>
                  <a:lnTo>
                    <a:pt x="398" y="210"/>
                  </a:lnTo>
                  <a:lnTo>
                    <a:pt x="402" y="210"/>
                  </a:lnTo>
                  <a:lnTo>
                    <a:pt x="406" y="210"/>
                  </a:lnTo>
                  <a:lnTo>
                    <a:pt x="410" y="210"/>
                  </a:lnTo>
                  <a:lnTo>
                    <a:pt x="414" y="206"/>
                  </a:lnTo>
                  <a:lnTo>
                    <a:pt x="416" y="206"/>
                  </a:lnTo>
                  <a:lnTo>
                    <a:pt x="420" y="206"/>
                  </a:lnTo>
                  <a:lnTo>
                    <a:pt x="424" y="206"/>
                  </a:lnTo>
                  <a:lnTo>
                    <a:pt x="428" y="202"/>
                  </a:lnTo>
                  <a:lnTo>
                    <a:pt x="424" y="202"/>
                  </a:lnTo>
                  <a:lnTo>
                    <a:pt x="424" y="206"/>
                  </a:lnTo>
                  <a:lnTo>
                    <a:pt x="424" y="202"/>
                  </a:lnTo>
                  <a:lnTo>
                    <a:pt x="428" y="202"/>
                  </a:lnTo>
                  <a:lnTo>
                    <a:pt x="430" y="206"/>
                  </a:lnTo>
                  <a:lnTo>
                    <a:pt x="434" y="206"/>
                  </a:lnTo>
                  <a:lnTo>
                    <a:pt x="438" y="206"/>
                  </a:lnTo>
                  <a:lnTo>
                    <a:pt x="434" y="206"/>
                  </a:lnTo>
                  <a:lnTo>
                    <a:pt x="438" y="206"/>
                  </a:lnTo>
                  <a:lnTo>
                    <a:pt x="438" y="202"/>
                  </a:lnTo>
                  <a:lnTo>
                    <a:pt x="442" y="202"/>
                  </a:lnTo>
                  <a:lnTo>
                    <a:pt x="442" y="206"/>
                  </a:lnTo>
                  <a:lnTo>
                    <a:pt x="446" y="206"/>
                  </a:lnTo>
                  <a:lnTo>
                    <a:pt x="446" y="210"/>
                  </a:lnTo>
                  <a:lnTo>
                    <a:pt x="446" y="214"/>
                  </a:lnTo>
                  <a:lnTo>
                    <a:pt x="442" y="218"/>
                  </a:lnTo>
                  <a:lnTo>
                    <a:pt x="442" y="220"/>
                  </a:lnTo>
                  <a:lnTo>
                    <a:pt x="438" y="220"/>
                  </a:lnTo>
                  <a:lnTo>
                    <a:pt x="438" y="224"/>
                  </a:lnTo>
                  <a:lnTo>
                    <a:pt x="434" y="228"/>
                  </a:lnTo>
                  <a:lnTo>
                    <a:pt x="434" y="232"/>
                  </a:lnTo>
                  <a:lnTo>
                    <a:pt x="434" y="234"/>
                  </a:lnTo>
                  <a:lnTo>
                    <a:pt x="434" y="232"/>
                  </a:lnTo>
                  <a:lnTo>
                    <a:pt x="434" y="234"/>
                  </a:lnTo>
                  <a:lnTo>
                    <a:pt x="430" y="234"/>
                  </a:lnTo>
                  <a:lnTo>
                    <a:pt x="430" y="238"/>
                  </a:lnTo>
                  <a:lnTo>
                    <a:pt x="434" y="238"/>
                  </a:lnTo>
                  <a:lnTo>
                    <a:pt x="434" y="242"/>
                  </a:lnTo>
                  <a:lnTo>
                    <a:pt x="430" y="242"/>
                  </a:lnTo>
                  <a:lnTo>
                    <a:pt x="430" y="246"/>
                  </a:lnTo>
                  <a:lnTo>
                    <a:pt x="434" y="242"/>
                  </a:lnTo>
                  <a:lnTo>
                    <a:pt x="434" y="246"/>
                  </a:lnTo>
                  <a:lnTo>
                    <a:pt x="434" y="250"/>
                  </a:lnTo>
                  <a:lnTo>
                    <a:pt x="430" y="250"/>
                  </a:lnTo>
                  <a:lnTo>
                    <a:pt x="430" y="254"/>
                  </a:lnTo>
                  <a:lnTo>
                    <a:pt x="430" y="258"/>
                  </a:lnTo>
                  <a:lnTo>
                    <a:pt x="430" y="262"/>
                  </a:lnTo>
                  <a:lnTo>
                    <a:pt x="428" y="262"/>
                  </a:lnTo>
                  <a:lnTo>
                    <a:pt x="428" y="258"/>
                  </a:lnTo>
                  <a:lnTo>
                    <a:pt x="428" y="254"/>
                  </a:lnTo>
                  <a:lnTo>
                    <a:pt x="428" y="250"/>
                  </a:lnTo>
                  <a:lnTo>
                    <a:pt x="428" y="254"/>
                  </a:lnTo>
                  <a:lnTo>
                    <a:pt x="424" y="254"/>
                  </a:lnTo>
                  <a:lnTo>
                    <a:pt x="424" y="258"/>
                  </a:lnTo>
                  <a:lnTo>
                    <a:pt x="420" y="258"/>
                  </a:lnTo>
                  <a:lnTo>
                    <a:pt x="420" y="262"/>
                  </a:lnTo>
                  <a:lnTo>
                    <a:pt x="416" y="262"/>
                  </a:lnTo>
                  <a:lnTo>
                    <a:pt x="416" y="264"/>
                  </a:lnTo>
                  <a:lnTo>
                    <a:pt x="416" y="268"/>
                  </a:lnTo>
                  <a:lnTo>
                    <a:pt x="414" y="268"/>
                  </a:lnTo>
                  <a:lnTo>
                    <a:pt x="414" y="264"/>
                  </a:lnTo>
                  <a:lnTo>
                    <a:pt x="414" y="268"/>
                  </a:lnTo>
                  <a:lnTo>
                    <a:pt x="410" y="268"/>
                  </a:lnTo>
                  <a:lnTo>
                    <a:pt x="402" y="268"/>
                  </a:lnTo>
                  <a:lnTo>
                    <a:pt x="398" y="268"/>
                  </a:lnTo>
                  <a:lnTo>
                    <a:pt x="390" y="268"/>
                  </a:lnTo>
                  <a:lnTo>
                    <a:pt x="386" y="268"/>
                  </a:lnTo>
                  <a:lnTo>
                    <a:pt x="386" y="272"/>
                  </a:lnTo>
                  <a:lnTo>
                    <a:pt x="386" y="280"/>
                  </a:lnTo>
                  <a:lnTo>
                    <a:pt x="380" y="280"/>
                  </a:lnTo>
                  <a:lnTo>
                    <a:pt x="384" y="280"/>
                  </a:lnTo>
                  <a:lnTo>
                    <a:pt x="384" y="284"/>
                  </a:lnTo>
                  <a:lnTo>
                    <a:pt x="386" y="288"/>
                  </a:lnTo>
                  <a:lnTo>
                    <a:pt x="390" y="288"/>
                  </a:lnTo>
                  <a:lnTo>
                    <a:pt x="390" y="290"/>
                  </a:lnTo>
                  <a:lnTo>
                    <a:pt x="390" y="294"/>
                  </a:lnTo>
                  <a:lnTo>
                    <a:pt x="394" y="294"/>
                  </a:lnTo>
                  <a:lnTo>
                    <a:pt x="394" y="298"/>
                  </a:lnTo>
                  <a:lnTo>
                    <a:pt x="390" y="298"/>
                  </a:lnTo>
                  <a:lnTo>
                    <a:pt x="386" y="298"/>
                  </a:lnTo>
                  <a:lnTo>
                    <a:pt x="380" y="298"/>
                  </a:lnTo>
                  <a:lnTo>
                    <a:pt x="376" y="298"/>
                  </a:lnTo>
                  <a:lnTo>
                    <a:pt x="376" y="302"/>
                  </a:lnTo>
                  <a:lnTo>
                    <a:pt x="368" y="310"/>
                  </a:lnTo>
                  <a:lnTo>
                    <a:pt x="368" y="314"/>
                  </a:lnTo>
                  <a:lnTo>
                    <a:pt x="372" y="318"/>
                  </a:lnTo>
                  <a:lnTo>
                    <a:pt x="368" y="320"/>
                  </a:lnTo>
                  <a:lnTo>
                    <a:pt x="368" y="324"/>
                  </a:lnTo>
                  <a:lnTo>
                    <a:pt x="364" y="324"/>
                  </a:lnTo>
                  <a:lnTo>
                    <a:pt x="364" y="320"/>
                  </a:lnTo>
                  <a:lnTo>
                    <a:pt x="360" y="320"/>
                  </a:lnTo>
                  <a:lnTo>
                    <a:pt x="360" y="318"/>
                  </a:lnTo>
                  <a:lnTo>
                    <a:pt x="360" y="314"/>
                  </a:lnTo>
                  <a:lnTo>
                    <a:pt x="358" y="314"/>
                  </a:lnTo>
                  <a:lnTo>
                    <a:pt x="358" y="310"/>
                  </a:lnTo>
                  <a:lnTo>
                    <a:pt x="354" y="310"/>
                  </a:lnTo>
                  <a:lnTo>
                    <a:pt x="354" y="306"/>
                  </a:lnTo>
                  <a:lnTo>
                    <a:pt x="350" y="306"/>
                  </a:lnTo>
                  <a:lnTo>
                    <a:pt x="346" y="302"/>
                  </a:lnTo>
                  <a:lnTo>
                    <a:pt x="346" y="298"/>
                  </a:lnTo>
                  <a:lnTo>
                    <a:pt x="342" y="298"/>
                  </a:lnTo>
                  <a:lnTo>
                    <a:pt x="338" y="298"/>
                  </a:lnTo>
                  <a:lnTo>
                    <a:pt x="338" y="294"/>
                  </a:lnTo>
                  <a:lnTo>
                    <a:pt x="338" y="298"/>
                  </a:lnTo>
                  <a:lnTo>
                    <a:pt x="342" y="298"/>
                  </a:lnTo>
                  <a:lnTo>
                    <a:pt x="342" y="302"/>
                  </a:lnTo>
                  <a:lnTo>
                    <a:pt x="338" y="298"/>
                  </a:lnTo>
                  <a:lnTo>
                    <a:pt x="334" y="298"/>
                  </a:lnTo>
                  <a:lnTo>
                    <a:pt x="334" y="294"/>
                  </a:lnTo>
                  <a:lnTo>
                    <a:pt x="330" y="298"/>
                  </a:lnTo>
                  <a:lnTo>
                    <a:pt x="330" y="294"/>
                  </a:lnTo>
                  <a:lnTo>
                    <a:pt x="328" y="294"/>
                  </a:lnTo>
                  <a:lnTo>
                    <a:pt x="328" y="298"/>
                  </a:lnTo>
                  <a:lnTo>
                    <a:pt x="330" y="298"/>
                  </a:lnTo>
                  <a:lnTo>
                    <a:pt x="328" y="298"/>
                  </a:lnTo>
                  <a:lnTo>
                    <a:pt x="324" y="302"/>
                  </a:lnTo>
                  <a:lnTo>
                    <a:pt x="320" y="302"/>
                  </a:lnTo>
                  <a:lnTo>
                    <a:pt x="316" y="306"/>
                  </a:lnTo>
                  <a:lnTo>
                    <a:pt x="312" y="306"/>
                  </a:lnTo>
                  <a:lnTo>
                    <a:pt x="308" y="306"/>
                  </a:lnTo>
                  <a:lnTo>
                    <a:pt x="304" y="306"/>
                  </a:lnTo>
                  <a:lnTo>
                    <a:pt x="302" y="302"/>
                  </a:lnTo>
                  <a:lnTo>
                    <a:pt x="298" y="302"/>
                  </a:lnTo>
                  <a:lnTo>
                    <a:pt x="294" y="302"/>
                  </a:lnTo>
                  <a:lnTo>
                    <a:pt x="290" y="302"/>
                  </a:lnTo>
                  <a:lnTo>
                    <a:pt x="286" y="298"/>
                  </a:lnTo>
                  <a:lnTo>
                    <a:pt x="282" y="298"/>
                  </a:lnTo>
                  <a:lnTo>
                    <a:pt x="282" y="294"/>
                  </a:lnTo>
                  <a:lnTo>
                    <a:pt x="278" y="294"/>
                  </a:lnTo>
                  <a:lnTo>
                    <a:pt x="274" y="294"/>
                  </a:lnTo>
                  <a:lnTo>
                    <a:pt x="274" y="290"/>
                  </a:lnTo>
                  <a:lnTo>
                    <a:pt x="272" y="290"/>
                  </a:lnTo>
                  <a:lnTo>
                    <a:pt x="268" y="290"/>
                  </a:lnTo>
                  <a:lnTo>
                    <a:pt x="264" y="290"/>
                  </a:lnTo>
                  <a:lnTo>
                    <a:pt x="264" y="288"/>
                  </a:lnTo>
                  <a:lnTo>
                    <a:pt x="260" y="288"/>
                  </a:lnTo>
                  <a:lnTo>
                    <a:pt x="256" y="284"/>
                  </a:lnTo>
                  <a:lnTo>
                    <a:pt x="252" y="284"/>
                  </a:lnTo>
                  <a:lnTo>
                    <a:pt x="248" y="280"/>
                  </a:lnTo>
                  <a:lnTo>
                    <a:pt x="244" y="280"/>
                  </a:lnTo>
                  <a:lnTo>
                    <a:pt x="242" y="280"/>
                  </a:lnTo>
                  <a:lnTo>
                    <a:pt x="242" y="276"/>
                  </a:lnTo>
                  <a:lnTo>
                    <a:pt x="238" y="276"/>
                  </a:lnTo>
                  <a:lnTo>
                    <a:pt x="238" y="272"/>
                  </a:lnTo>
                  <a:lnTo>
                    <a:pt x="234" y="272"/>
                  </a:lnTo>
                  <a:lnTo>
                    <a:pt x="234" y="268"/>
                  </a:lnTo>
                  <a:lnTo>
                    <a:pt x="230" y="268"/>
                  </a:lnTo>
                  <a:lnTo>
                    <a:pt x="230" y="264"/>
                  </a:lnTo>
                  <a:lnTo>
                    <a:pt x="230" y="268"/>
                  </a:lnTo>
                  <a:lnTo>
                    <a:pt x="226" y="268"/>
                  </a:lnTo>
                  <a:lnTo>
                    <a:pt x="222" y="264"/>
                  </a:lnTo>
                  <a:lnTo>
                    <a:pt x="218" y="264"/>
                  </a:lnTo>
                  <a:lnTo>
                    <a:pt x="216" y="264"/>
                  </a:lnTo>
                  <a:lnTo>
                    <a:pt x="216" y="262"/>
                  </a:lnTo>
                  <a:lnTo>
                    <a:pt x="212" y="262"/>
                  </a:lnTo>
                  <a:lnTo>
                    <a:pt x="208" y="262"/>
                  </a:lnTo>
                  <a:lnTo>
                    <a:pt x="208" y="258"/>
                  </a:lnTo>
                  <a:lnTo>
                    <a:pt x="204" y="254"/>
                  </a:lnTo>
                  <a:lnTo>
                    <a:pt x="204" y="250"/>
                  </a:lnTo>
                  <a:lnTo>
                    <a:pt x="200" y="250"/>
                  </a:lnTo>
                  <a:lnTo>
                    <a:pt x="196" y="250"/>
                  </a:lnTo>
                  <a:lnTo>
                    <a:pt x="196" y="246"/>
                  </a:lnTo>
                  <a:lnTo>
                    <a:pt x="192" y="246"/>
                  </a:lnTo>
                  <a:lnTo>
                    <a:pt x="188" y="242"/>
                  </a:lnTo>
                  <a:lnTo>
                    <a:pt x="186" y="242"/>
                  </a:lnTo>
                  <a:lnTo>
                    <a:pt x="186" y="238"/>
                  </a:lnTo>
                  <a:lnTo>
                    <a:pt x="186" y="234"/>
                  </a:lnTo>
                  <a:lnTo>
                    <a:pt x="182" y="234"/>
                  </a:lnTo>
                  <a:lnTo>
                    <a:pt x="182" y="232"/>
                  </a:lnTo>
                  <a:lnTo>
                    <a:pt x="178" y="232"/>
                  </a:lnTo>
                  <a:lnTo>
                    <a:pt x="178" y="228"/>
                  </a:lnTo>
                  <a:lnTo>
                    <a:pt x="178" y="224"/>
                  </a:lnTo>
                  <a:lnTo>
                    <a:pt x="182" y="224"/>
                  </a:lnTo>
                  <a:lnTo>
                    <a:pt x="182" y="220"/>
                  </a:lnTo>
                  <a:lnTo>
                    <a:pt x="186" y="220"/>
                  </a:lnTo>
                  <a:lnTo>
                    <a:pt x="182" y="218"/>
                  </a:lnTo>
                  <a:lnTo>
                    <a:pt x="182" y="214"/>
                  </a:lnTo>
                  <a:lnTo>
                    <a:pt x="186" y="214"/>
                  </a:lnTo>
                  <a:lnTo>
                    <a:pt x="186" y="210"/>
                  </a:lnTo>
                  <a:lnTo>
                    <a:pt x="186" y="206"/>
                  </a:lnTo>
                  <a:lnTo>
                    <a:pt x="182" y="206"/>
                  </a:lnTo>
                  <a:lnTo>
                    <a:pt x="182" y="202"/>
                  </a:lnTo>
                  <a:lnTo>
                    <a:pt x="182" y="198"/>
                  </a:lnTo>
                  <a:lnTo>
                    <a:pt x="178" y="198"/>
                  </a:lnTo>
                  <a:lnTo>
                    <a:pt x="178" y="194"/>
                  </a:lnTo>
                  <a:lnTo>
                    <a:pt x="178" y="190"/>
                  </a:lnTo>
                  <a:lnTo>
                    <a:pt x="178" y="188"/>
                  </a:lnTo>
                  <a:lnTo>
                    <a:pt x="178" y="184"/>
                  </a:lnTo>
                  <a:lnTo>
                    <a:pt x="174" y="184"/>
                  </a:lnTo>
                  <a:lnTo>
                    <a:pt x="170" y="180"/>
                  </a:lnTo>
                  <a:lnTo>
                    <a:pt x="170" y="176"/>
                  </a:lnTo>
                  <a:lnTo>
                    <a:pt x="166" y="176"/>
                  </a:lnTo>
                  <a:lnTo>
                    <a:pt x="166" y="172"/>
                  </a:lnTo>
                  <a:lnTo>
                    <a:pt x="162" y="168"/>
                  </a:lnTo>
                  <a:lnTo>
                    <a:pt x="162" y="164"/>
                  </a:lnTo>
                  <a:lnTo>
                    <a:pt x="160" y="164"/>
                  </a:lnTo>
                  <a:lnTo>
                    <a:pt x="160" y="160"/>
                  </a:lnTo>
                  <a:lnTo>
                    <a:pt x="152" y="158"/>
                  </a:lnTo>
                  <a:lnTo>
                    <a:pt x="152" y="154"/>
                  </a:lnTo>
                  <a:lnTo>
                    <a:pt x="148" y="154"/>
                  </a:lnTo>
                  <a:lnTo>
                    <a:pt x="152" y="154"/>
                  </a:lnTo>
                  <a:lnTo>
                    <a:pt x="152" y="150"/>
                  </a:lnTo>
                  <a:lnTo>
                    <a:pt x="148" y="154"/>
                  </a:lnTo>
                  <a:lnTo>
                    <a:pt x="148" y="150"/>
                  </a:lnTo>
                  <a:lnTo>
                    <a:pt x="144" y="150"/>
                  </a:lnTo>
                  <a:lnTo>
                    <a:pt x="148" y="150"/>
                  </a:lnTo>
                  <a:lnTo>
                    <a:pt x="144" y="150"/>
                  </a:lnTo>
                  <a:lnTo>
                    <a:pt x="144" y="146"/>
                  </a:lnTo>
                  <a:lnTo>
                    <a:pt x="144" y="142"/>
                  </a:lnTo>
                  <a:lnTo>
                    <a:pt x="144" y="146"/>
                  </a:lnTo>
                  <a:lnTo>
                    <a:pt x="140" y="142"/>
                  </a:lnTo>
                  <a:lnTo>
                    <a:pt x="144" y="142"/>
                  </a:lnTo>
                  <a:lnTo>
                    <a:pt x="140" y="138"/>
                  </a:lnTo>
                  <a:lnTo>
                    <a:pt x="136" y="138"/>
                  </a:lnTo>
                  <a:lnTo>
                    <a:pt x="136" y="134"/>
                  </a:lnTo>
                  <a:lnTo>
                    <a:pt x="132" y="134"/>
                  </a:lnTo>
                  <a:lnTo>
                    <a:pt x="132" y="132"/>
                  </a:lnTo>
                  <a:lnTo>
                    <a:pt x="132" y="134"/>
                  </a:lnTo>
                  <a:lnTo>
                    <a:pt x="130" y="134"/>
                  </a:lnTo>
                  <a:lnTo>
                    <a:pt x="130" y="132"/>
                  </a:lnTo>
                  <a:lnTo>
                    <a:pt x="132" y="132"/>
                  </a:lnTo>
                  <a:lnTo>
                    <a:pt x="132" y="128"/>
                  </a:lnTo>
                  <a:lnTo>
                    <a:pt x="132" y="132"/>
                  </a:lnTo>
                  <a:lnTo>
                    <a:pt x="130" y="132"/>
                  </a:lnTo>
                  <a:lnTo>
                    <a:pt x="126" y="132"/>
                  </a:lnTo>
                  <a:lnTo>
                    <a:pt x="126" y="128"/>
                  </a:lnTo>
                  <a:lnTo>
                    <a:pt x="126" y="124"/>
                  </a:lnTo>
                  <a:lnTo>
                    <a:pt x="126" y="120"/>
                  </a:lnTo>
                  <a:lnTo>
                    <a:pt x="126" y="124"/>
                  </a:lnTo>
                  <a:lnTo>
                    <a:pt x="126" y="120"/>
                  </a:lnTo>
                  <a:lnTo>
                    <a:pt x="130" y="120"/>
                  </a:lnTo>
                  <a:lnTo>
                    <a:pt x="126" y="116"/>
                  </a:lnTo>
                  <a:lnTo>
                    <a:pt x="126" y="112"/>
                  </a:lnTo>
                  <a:lnTo>
                    <a:pt x="122" y="112"/>
                  </a:lnTo>
                  <a:lnTo>
                    <a:pt x="118" y="112"/>
                  </a:lnTo>
                  <a:lnTo>
                    <a:pt x="118" y="108"/>
                  </a:lnTo>
                  <a:lnTo>
                    <a:pt x="118" y="104"/>
                  </a:lnTo>
                  <a:lnTo>
                    <a:pt x="114" y="104"/>
                  </a:lnTo>
                  <a:lnTo>
                    <a:pt x="110" y="104"/>
                  </a:lnTo>
                  <a:lnTo>
                    <a:pt x="110" y="102"/>
                  </a:lnTo>
                  <a:lnTo>
                    <a:pt x="106" y="98"/>
                  </a:lnTo>
                  <a:lnTo>
                    <a:pt x="106" y="94"/>
                  </a:lnTo>
                  <a:lnTo>
                    <a:pt x="106" y="90"/>
                  </a:lnTo>
                  <a:lnTo>
                    <a:pt x="110" y="90"/>
                  </a:lnTo>
                  <a:lnTo>
                    <a:pt x="106" y="90"/>
                  </a:lnTo>
                  <a:lnTo>
                    <a:pt x="104" y="90"/>
                  </a:lnTo>
                  <a:lnTo>
                    <a:pt x="100" y="90"/>
                  </a:lnTo>
                  <a:lnTo>
                    <a:pt x="100" y="86"/>
                  </a:lnTo>
                  <a:lnTo>
                    <a:pt x="96" y="86"/>
                  </a:lnTo>
                  <a:lnTo>
                    <a:pt x="96" y="82"/>
                  </a:lnTo>
                  <a:lnTo>
                    <a:pt x="92" y="78"/>
                  </a:lnTo>
                  <a:lnTo>
                    <a:pt x="92" y="74"/>
                  </a:lnTo>
                  <a:lnTo>
                    <a:pt x="90" y="74"/>
                  </a:lnTo>
                  <a:lnTo>
                    <a:pt x="90" y="72"/>
                  </a:lnTo>
                  <a:lnTo>
                    <a:pt x="86" y="72"/>
                  </a:lnTo>
                  <a:lnTo>
                    <a:pt x="86" y="68"/>
                  </a:lnTo>
                  <a:lnTo>
                    <a:pt x="86" y="64"/>
                  </a:lnTo>
                  <a:lnTo>
                    <a:pt x="82" y="64"/>
                  </a:lnTo>
                  <a:lnTo>
                    <a:pt x="86" y="60"/>
                  </a:lnTo>
                  <a:lnTo>
                    <a:pt x="82" y="60"/>
                  </a:lnTo>
                  <a:lnTo>
                    <a:pt x="82" y="56"/>
                  </a:lnTo>
                  <a:lnTo>
                    <a:pt x="78" y="52"/>
                  </a:lnTo>
                  <a:lnTo>
                    <a:pt x="78" y="48"/>
                  </a:lnTo>
                  <a:lnTo>
                    <a:pt x="78" y="46"/>
                  </a:lnTo>
                  <a:lnTo>
                    <a:pt x="74" y="42"/>
                  </a:lnTo>
                  <a:lnTo>
                    <a:pt x="74" y="38"/>
                  </a:lnTo>
                  <a:lnTo>
                    <a:pt x="74" y="34"/>
                  </a:lnTo>
                  <a:lnTo>
                    <a:pt x="74" y="30"/>
                  </a:lnTo>
                  <a:lnTo>
                    <a:pt x="70" y="30"/>
                  </a:lnTo>
                  <a:lnTo>
                    <a:pt x="66" y="30"/>
                  </a:lnTo>
                  <a:lnTo>
                    <a:pt x="66" y="26"/>
                  </a:lnTo>
                  <a:lnTo>
                    <a:pt x="66" y="22"/>
                  </a:lnTo>
                  <a:lnTo>
                    <a:pt x="62" y="22"/>
                  </a:lnTo>
                  <a:lnTo>
                    <a:pt x="60" y="22"/>
                  </a:lnTo>
                  <a:lnTo>
                    <a:pt x="62" y="22"/>
                  </a:lnTo>
                  <a:lnTo>
                    <a:pt x="60" y="22"/>
                  </a:lnTo>
                  <a:lnTo>
                    <a:pt x="56" y="22"/>
                  </a:lnTo>
                  <a:lnTo>
                    <a:pt x="52" y="18"/>
                  </a:lnTo>
                  <a:lnTo>
                    <a:pt x="48" y="18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8"/>
                  </a:lnTo>
                  <a:lnTo>
                    <a:pt x="48" y="22"/>
                  </a:lnTo>
                  <a:lnTo>
                    <a:pt x="48" y="26"/>
                  </a:lnTo>
                  <a:lnTo>
                    <a:pt x="48" y="30"/>
                  </a:lnTo>
                  <a:lnTo>
                    <a:pt x="48" y="34"/>
                  </a:lnTo>
                  <a:lnTo>
                    <a:pt x="52" y="34"/>
                  </a:lnTo>
                  <a:lnTo>
                    <a:pt x="52" y="38"/>
                  </a:lnTo>
                  <a:lnTo>
                    <a:pt x="52" y="42"/>
                  </a:lnTo>
                  <a:lnTo>
                    <a:pt x="52" y="46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2" y="64"/>
                  </a:lnTo>
                  <a:lnTo>
                    <a:pt x="66" y="64"/>
                  </a:lnTo>
                  <a:lnTo>
                    <a:pt x="66" y="68"/>
                  </a:lnTo>
                  <a:lnTo>
                    <a:pt x="66" y="72"/>
                  </a:lnTo>
                  <a:lnTo>
                    <a:pt x="70" y="72"/>
                  </a:lnTo>
                  <a:lnTo>
                    <a:pt x="70" y="74"/>
                  </a:lnTo>
                  <a:lnTo>
                    <a:pt x="74" y="74"/>
                  </a:lnTo>
                  <a:lnTo>
                    <a:pt x="74" y="78"/>
                  </a:lnTo>
                  <a:lnTo>
                    <a:pt x="78" y="82"/>
                  </a:lnTo>
                  <a:lnTo>
                    <a:pt x="78" y="86"/>
                  </a:lnTo>
                  <a:lnTo>
                    <a:pt x="78" y="90"/>
                  </a:lnTo>
                  <a:lnTo>
                    <a:pt x="78" y="94"/>
                  </a:lnTo>
                  <a:lnTo>
                    <a:pt x="82" y="94"/>
                  </a:lnTo>
                  <a:lnTo>
                    <a:pt x="86" y="98"/>
                  </a:lnTo>
                  <a:lnTo>
                    <a:pt x="86" y="102"/>
                  </a:lnTo>
                  <a:lnTo>
                    <a:pt x="90" y="104"/>
                  </a:lnTo>
                  <a:lnTo>
                    <a:pt x="90" y="108"/>
                  </a:lnTo>
                  <a:lnTo>
                    <a:pt x="90" y="112"/>
                  </a:lnTo>
                  <a:lnTo>
                    <a:pt x="92" y="112"/>
                  </a:lnTo>
                  <a:lnTo>
                    <a:pt x="92" y="116"/>
                  </a:lnTo>
                  <a:lnTo>
                    <a:pt x="92" y="112"/>
                  </a:lnTo>
                  <a:lnTo>
                    <a:pt x="92" y="108"/>
                  </a:lnTo>
                  <a:lnTo>
                    <a:pt x="92" y="112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6" y="120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100" y="128"/>
                  </a:lnTo>
                  <a:lnTo>
                    <a:pt x="100" y="132"/>
                  </a:lnTo>
                  <a:lnTo>
                    <a:pt x="104" y="134"/>
                  </a:lnTo>
                  <a:lnTo>
                    <a:pt x="104" y="138"/>
                  </a:lnTo>
                  <a:lnTo>
                    <a:pt x="104" y="142"/>
                  </a:lnTo>
                  <a:lnTo>
                    <a:pt x="106" y="142"/>
                  </a:lnTo>
                  <a:lnTo>
                    <a:pt x="106" y="146"/>
                  </a:lnTo>
                  <a:lnTo>
                    <a:pt x="106" y="150"/>
                  </a:lnTo>
                  <a:lnTo>
                    <a:pt x="106" y="154"/>
                  </a:lnTo>
                  <a:lnTo>
                    <a:pt x="106" y="158"/>
                  </a:lnTo>
                  <a:lnTo>
                    <a:pt x="110" y="158"/>
                  </a:lnTo>
                  <a:lnTo>
                    <a:pt x="114" y="158"/>
                  </a:lnTo>
                  <a:lnTo>
                    <a:pt x="110" y="158"/>
                  </a:lnTo>
                  <a:lnTo>
                    <a:pt x="110" y="154"/>
                  </a:lnTo>
                  <a:lnTo>
                    <a:pt x="114" y="154"/>
                  </a:lnTo>
                  <a:lnTo>
                    <a:pt x="114" y="158"/>
                  </a:lnTo>
                  <a:lnTo>
                    <a:pt x="118" y="158"/>
                  </a:lnTo>
                  <a:lnTo>
                    <a:pt x="118" y="160"/>
                  </a:lnTo>
                  <a:lnTo>
                    <a:pt x="118" y="164"/>
                  </a:lnTo>
                  <a:lnTo>
                    <a:pt x="122" y="164"/>
                  </a:lnTo>
                  <a:lnTo>
                    <a:pt x="122" y="168"/>
                  </a:lnTo>
                  <a:lnTo>
                    <a:pt x="126" y="168"/>
                  </a:lnTo>
                  <a:lnTo>
                    <a:pt x="126" y="172"/>
                  </a:lnTo>
                  <a:lnTo>
                    <a:pt x="126" y="176"/>
                  </a:lnTo>
                  <a:lnTo>
                    <a:pt x="122" y="176"/>
                  </a:lnTo>
                  <a:lnTo>
                    <a:pt x="122" y="180"/>
                  </a:lnTo>
                  <a:lnTo>
                    <a:pt x="118" y="180"/>
                  </a:lnTo>
                  <a:lnTo>
                    <a:pt x="114" y="180"/>
                  </a:lnTo>
                  <a:lnTo>
                    <a:pt x="114" y="176"/>
                  </a:lnTo>
                  <a:lnTo>
                    <a:pt x="114" y="172"/>
                  </a:lnTo>
                  <a:lnTo>
                    <a:pt x="110" y="168"/>
                  </a:lnTo>
                  <a:lnTo>
                    <a:pt x="106" y="164"/>
                  </a:lnTo>
                  <a:lnTo>
                    <a:pt x="104" y="160"/>
                  </a:lnTo>
                  <a:lnTo>
                    <a:pt x="104" y="158"/>
                  </a:lnTo>
                  <a:lnTo>
                    <a:pt x="100" y="158"/>
                  </a:lnTo>
                  <a:lnTo>
                    <a:pt x="96" y="154"/>
                  </a:lnTo>
                  <a:lnTo>
                    <a:pt x="96" y="154"/>
                  </a:lnTo>
                  <a:lnTo>
                    <a:pt x="96" y="154"/>
                  </a:lnTo>
                  <a:close/>
                  <a:moveTo>
                    <a:pt x="106" y="142"/>
                  </a:moveTo>
                  <a:lnTo>
                    <a:pt x="110" y="146"/>
                  </a:lnTo>
                  <a:lnTo>
                    <a:pt x="106" y="146"/>
                  </a:lnTo>
                  <a:lnTo>
                    <a:pt x="106" y="142"/>
                  </a:lnTo>
                  <a:lnTo>
                    <a:pt x="106" y="142"/>
                  </a:lnTo>
                  <a:lnTo>
                    <a:pt x="106" y="142"/>
                  </a:lnTo>
                  <a:close/>
                  <a:moveTo>
                    <a:pt x="86" y="138"/>
                  </a:moveTo>
                  <a:lnTo>
                    <a:pt x="90" y="138"/>
                  </a:lnTo>
                  <a:lnTo>
                    <a:pt x="86" y="138"/>
                  </a:lnTo>
                  <a:lnTo>
                    <a:pt x="86" y="142"/>
                  </a:lnTo>
                  <a:lnTo>
                    <a:pt x="86" y="146"/>
                  </a:lnTo>
                  <a:lnTo>
                    <a:pt x="90" y="150"/>
                  </a:lnTo>
                  <a:lnTo>
                    <a:pt x="86" y="150"/>
                  </a:lnTo>
                  <a:lnTo>
                    <a:pt x="86" y="146"/>
                  </a:lnTo>
                  <a:lnTo>
                    <a:pt x="86" y="142"/>
                  </a:lnTo>
                  <a:lnTo>
                    <a:pt x="86" y="138"/>
                  </a:lnTo>
                  <a:lnTo>
                    <a:pt x="86" y="138"/>
                  </a:lnTo>
                  <a:lnTo>
                    <a:pt x="86" y="138"/>
                  </a:lnTo>
                  <a:close/>
                  <a:moveTo>
                    <a:pt x="104" y="254"/>
                  </a:moveTo>
                  <a:lnTo>
                    <a:pt x="100" y="254"/>
                  </a:lnTo>
                  <a:lnTo>
                    <a:pt x="104" y="254"/>
                  </a:lnTo>
                  <a:lnTo>
                    <a:pt x="104" y="250"/>
                  </a:lnTo>
                  <a:lnTo>
                    <a:pt x="104" y="254"/>
                  </a:lnTo>
                  <a:lnTo>
                    <a:pt x="104" y="254"/>
                  </a:lnTo>
                  <a:lnTo>
                    <a:pt x="104" y="254"/>
                  </a:lnTo>
                  <a:close/>
                  <a:moveTo>
                    <a:pt x="74" y="72"/>
                  </a:moveTo>
                  <a:lnTo>
                    <a:pt x="70" y="72"/>
                  </a:lnTo>
                  <a:lnTo>
                    <a:pt x="70" y="68"/>
                  </a:lnTo>
                  <a:lnTo>
                    <a:pt x="66" y="64"/>
                  </a:lnTo>
                  <a:lnTo>
                    <a:pt x="66" y="60"/>
                  </a:lnTo>
                  <a:lnTo>
                    <a:pt x="70" y="60"/>
                  </a:lnTo>
                  <a:lnTo>
                    <a:pt x="70" y="64"/>
                  </a:lnTo>
                  <a:lnTo>
                    <a:pt x="70" y="68"/>
                  </a:lnTo>
                  <a:lnTo>
                    <a:pt x="74" y="68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close/>
                  <a:moveTo>
                    <a:pt x="86" y="74"/>
                  </a:moveTo>
                  <a:lnTo>
                    <a:pt x="82" y="74"/>
                  </a:lnTo>
                  <a:lnTo>
                    <a:pt x="82" y="72"/>
                  </a:lnTo>
                  <a:lnTo>
                    <a:pt x="82" y="68"/>
                  </a:lnTo>
                  <a:lnTo>
                    <a:pt x="86" y="68"/>
                  </a:lnTo>
                  <a:lnTo>
                    <a:pt x="86" y="72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6" y="74"/>
                  </a:lnTo>
                  <a:close/>
                  <a:moveTo>
                    <a:pt x="0" y="72"/>
                  </a:moveTo>
                  <a:lnTo>
                    <a:pt x="0" y="68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close/>
                  <a:moveTo>
                    <a:pt x="44" y="90"/>
                  </a:moveTo>
                  <a:lnTo>
                    <a:pt x="44" y="86"/>
                  </a:lnTo>
                  <a:lnTo>
                    <a:pt x="40" y="86"/>
                  </a:lnTo>
                  <a:lnTo>
                    <a:pt x="44" y="86"/>
                  </a:lnTo>
                  <a:lnTo>
                    <a:pt x="44" y="82"/>
                  </a:lnTo>
                  <a:lnTo>
                    <a:pt x="44" y="86"/>
                  </a:lnTo>
                  <a:lnTo>
                    <a:pt x="44" y="90"/>
                  </a:lnTo>
                  <a:lnTo>
                    <a:pt x="44" y="90"/>
                  </a:lnTo>
                  <a:lnTo>
                    <a:pt x="44" y="90"/>
                  </a:lnTo>
                  <a:close/>
                  <a:moveTo>
                    <a:pt x="100" y="128"/>
                  </a:move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close/>
                  <a:moveTo>
                    <a:pt x="110" y="154"/>
                  </a:moveTo>
                  <a:lnTo>
                    <a:pt x="110" y="150"/>
                  </a:lnTo>
                  <a:lnTo>
                    <a:pt x="110" y="154"/>
                  </a:lnTo>
                  <a:lnTo>
                    <a:pt x="110" y="154"/>
                  </a:lnTo>
                  <a:lnTo>
                    <a:pt x="110" y="154"/>
                  </a:lnTo>
                  <a:close/>
                  <a:moveTo>
                    <a:pt x="92" y="154"/>
                  </a:moveTo>
                  <a:lnTo>
                    <a:pt x="90" y="154"/>
                  </a:lnTo>
                  <a:lnTo>
                    <a:pt x="90" y="150"/>
                  </a:lnTo>
                  <a:lnTo>
                    <a:pt x="92" y="150"/>
                  </a:lnTo>
                  <a:lnTo>
                    <a:pt x="92" y="154"/>
                  </a:lnTo>
                  <a:lnTo>
                    <a:pt x="92" y="154"/>
                  </a:lnTo>
                  <a:lnTo>
                    <a:pt x="92" y="154"/>
                  </a:lnTo>
                  <a:close/>
                  <a:moveTo>
                    <a:pt x="118" y="158"/>
                  </a:moveTo>
                  <a:lnTo>
                    <a:pt x="118" y="154"/>
                  </a:lnTo>
                  <a:lnTo>
                    <a:pt x="118" y="158"/>
                  </a:lnTo>
                  <a:lnTo>
                    <a:pt x="118" y="158"/>
                  </a:lnTo>
                  <a:lnTo>
                    <a:pt x="118" y="158"/>
                  </a:lnTo>
                  <a:close/>
                  <a:moveTo>
                    <a:pt x="162" y="206"/>
                  </a:moveTo>
                  <a:lnTo>
                    <a:pt x="162" y="202"/>
                  </a:lnTo>
                  <a:lnTo>
                    <a:pt x="166" y="202"/>
                  </a:lnTo>
                  <a:lnTo>
                    <a:pt x="166" y="206"/>
                  </a:lnTo>
                  <a:lnTo>
                    <a:pt x="162" y="206"/>
                  </a:lnTo>
                  <a:lnTo>
                    <a:pt x="162" y="206"/>
                  </a:lnTo>
                  <a:lnTo>
                    <a:pt x="162" y="206"/>
                  </a:lnTo>
                  <a:close/>
                  <a:moveTo>
                    <a:pt x="166" y="206"/>
                  </a:moveTo>
                  <a:lnTo>
                    <a:pt x="170" y="206"/>
                  </a:lnTo>
                  <a:lnTo>
                    <a:pt x="166" y="206"/>
                  </a:lnTo>
                  <a:lnTo>
                    <a:pt x="166" y="206"/>
                  </a:lnTo>
                  <a:lnTo>
                    <a:pt x="166" y="206"/>
                  </a:lnTo>
                  <a:close/>
                  <a:moveTo>
                    <a:pt x="442" y="228"/>
                  </a:moveTo>
                  <a:lnTo>
                    <a:pt x="442" y="224"/>
                  </a:lnTo>
                  <a:lnTo>
                    <a:pt x="442" y="220"/>
                  </a:lnTo>
                  <a:lnTo>
                    <a:pt x="446" y="220"/>
                  </a:lnTo>
                  <a:lnTo>
                    <a:pt x="446" y="224"/>
                  </a:lnTo>
                  <a:lnTo>
                    <a:pt x="442" y="224"/>
                  </a:lnTo>
                  <a:lnTo>
                    <a:pt x="442" y="228"/>
                  </a:lnTo>
                  <a:lnTo>
                    <a:pt x="442" y="228"/>
                  </a:lnTo>
                  <a:lnTo>
                    <a:pt x="442" y="228"/>
                  </a:lnTo>
                  <a:close/>
                  <a:moveTo>
                    <a:pt x="376" y="254"/>
                  </a:moveTo>
                  <a:lnTo>
                    <a:pt x="372" y="254"/>
                  </a:lnTo>
                  <a:lnTo>
                    <a:pt x="376" y="254"/>
                  </a:lnTo>
                  <a:lnTo>
                    <a:pt x="380" y="254"/>
                  </a:lnTo>
                  <a:lnTo>
                    <a:pt x="376" y="254"/>
                  </a:lnTo>
                  <a:lnTo>
                    <a:pt x="376" y="254"/>
                  </a:lnTo>
                  <a:lnTo>
                    <a:pt x="376" y="254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39" name="Freeform 79">
              <a:extLst>
                <a:ext uri="{FF2B5EF4-FFF2-40B4-BE49-F238E27FC236}">
                  <a16:creationId xmlns:a16="http://schemas.microsoft.com/office/drawing/2014/main" id="{64B9FC71-6301-44DE-CEAC-648D94E00C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91667" y="3771410"/>
              <a:ext cx="19482" cy="7542"/>
            </a:xfrm>
            <a:custGeom>
              <a:avLst/>
              <a:gdLst>
                <a:gd name="T0" fmla="*/ 4 w 10"/>
                <a:gd name="T1" fmla="*/ 4 h 4"/>
                <a:gd name="T2" fmla="*/ 4 w 10"/>
                <a:gd name="T3" fmla="*/ 4 h 4"/>
                <a:gd name="T4" fmla="*/ 4 w 10"/>
                <a:gd name="T5" fmla="*/ 4 h 4"/>
                <a:gd name="T6" fmla="*/ 4 w 10"/>
                <a:gd name="T7" fmla="*/ 4 h 4"/>
                <a:gd name="T8" fmla="*/ 0 w 10"/>
                <a:gd name="T9" fmla="*/ 4 h 4"/>
                <a:gd name="T10" fmla="*/ 0 w 10"/>
                <a:gd name="T11" fmla="*/ 0 h 4"/>
                <a:gd name="T12" fmla="*/ 0 w 10"/>
                <a:gd name="T13" fmla="*/ 0 h 4"/>
                <a:gd name="T14" fmla="*/ 0 w 10"/>
                <a:gd name="T15" fmla="*/ 0 h 4"/>
                <a:gd name="T16" fmla="*/ 0 w 10"/>
                <a:gd name="T17" fmla="*/ 0 h 4"/>
                <a:gd name="T18" fmla="*/ 0 w 10"/>
                <a:gd name="T19" fmla="*/ 0 h 4"/>
                <a:gd name="T20" fmla="*/ 0 w 10"/>
                <a:gd name="T21" fmla="*/ 0 h 4"/>
                <a:gd name="T22" fmla="*/ 0 w 10"/>
                <a:gd name="T23" fmla="*/ 0 h 4"/>
                <a:gd name="T24" fmla="*/ 0 w 10"/>
                <a:gd name="T25" fmla="*/ 0 h 4"/>
                <a:gd name="T26" fmla="*/ 0 w 10"/>
                <a:gd name="T27" fmla="*/ 0 h 4"/>
                <a:gd name="T28" fmla="*/ 0 w 10"/>
                <a:gd name="T29" fmla="*/ 0 h 4"/>
                <a:gd name="T30" fmla="*/ 0 w 10"/>
                <a:gd name="T31" fmla="*/ 0 h 4"/>
                <a:gd name="T32" fmla="*/ 0 w 10"/>
                <a:gd name="T33" fmla="*/ 0 h 4"/>
                <a:gd name="T34" fmla="*/ 0 w 10"/>
                <a:gd name="T35" fmla="*/ 0 h 4"/>
                <a:gd name="T36" fmla="*/ 0 w 10"/>
                <a:gd name="T37" fmla="*/ 0 h 4"/>
                <a:gd name="T38" fmla="*/ 0 w 10"/>
                <a:gd name="T39" fmla="*/ 0 h 4"/>
                <a:gd name="T40" fmla="*/ 0 w 10"/>
                <a:gd name="T41" fmla="*/ 0 h 4"/>
                <a:gd name="T42" fmla="*/ 0 w 10"/>
                <a:gd name="T43" fmla="*/ 0 h 4"/>
                <a:gd name="T44" fmla="*/ 4 w 10"/>
                <a:gd name="T45" fmla="*/ 0 h 4"/>
                <a:gd name="T46" fmla="*/ 4 w 10"/>
                <a:gd name="T47" fmla="*/ 0 h 4"/>
                <a:gd name="T48" fmla="*/ 4 w 10"/>
                <a:gd name="T49" fmla="*/ 4 h 4"/>
                <a:gd name="T50" fmla="*/ 4 w 10"/>
                <a:gd name="T51" fmla="*/ 4 h 4"/>
                <a:gd name="T52" fmla="*/ 4 w 10"/>
                <a:gd name="T53" fmla="*/ 4 h 4"/>
                <a:gd name="T54" fmla="*/ 4 w 10"/>
                <a:gd name="T55" fmla="*/ 4 h 4"/>
                <a:gd name="T56" fmla="*/ 4 w 10"/>
                <a:gd name="T57" fmla="*/ 4 h 4"/>
                <a:gd name="T58" fmla="*/ 4 w 10"/>
                <a:gd name="T59" fmla="*/ 4 h 4"/>
                <a:gd name="T60" fmla="*/ 4 w 10"/>
                <a:gd name="T61" fmla="*/ 4 h 4"/>
                <a:gd name="T62" fmla="*/ 10 w 10"/>
                <a:gd name="T63" fmla="*/ 4 h 4"/>
                <a:gd name="T64" fmla="*/ 10 w 10"/>
                <a:gd name="T65" fmla="*/ 4 h 4"/>
                <a:gd name="T66" fmla="*/ 10 w 10"/>
                <a:gd name="T67" fmla="*/ 4 h 4"/>
                <a:gd name="T68" fmla="*/ 10 w 10"/>
                <a:gd name="T69" fmla="*/ 4 h 4"/>
                <a:gd name="T70" fmla="*/ 10 w 10"/>
                <a:gd name="T71" fmla="*/ 4 h 4"/>
                <a:gd name="T72" fmla="*/ 10 w 10"/>
                <a:gd name="T73" fmla="*/ 4 h 4"/>
                <a:gd name="T74" fmla="*/ 10 w 10"/>
                <a:gd name="T75" fmla="*/ 4 h 4"/>
                <a:gd name="T76" fmla="*/ 10 w 10"/>
                <a:gd name="T77" fmla="*/ 4 h 4"/>
                <a:gd name="T78" fmla="*/ 10 w 10"/>
                <a:gd name="T79" fmla="*/ 0 h 4"/>
                <a:gd name="T80" fmla="*/ 10 w 10"/>
                <a:gd name="T81" fmla="*/ 0 h 4"/>
                <a:gd name="T82" fmla="*/ 10 w 10"/>
                <a:gd name="T83" fmla="*/ 0 h 4"/>
                <a:gd name="T84" fmla="*/ 10 w 10"/>
                <a:gd name="T85" fmla="*/ 0 h 4"/>
                <a:gd name="T86" fmla="*/ 10 w 10"/>
                <a:gd name="T87" fmla="*/ 0 h 4"/>
                <a:gd name="T88" fmla="*/ 8 w 10"/>
                <a:gd name="T89" fmla="*/ 0 h 4"/>
                <a:gd name="T90" fmla="*/ 8 w 10"/>
                <a:gd name="T91" fmla="*/ 0 h 4"/>
                <a:gd name="T92" fmla="*/ 8 w 10"/>
                <a:gd name="T93" fmla="*/ 0 h 4"/>
                <a:gd name="T94" fmla="*/ 8 w 10"/>
                <a:gd name="T95" fmla="*/ 0 h 4"/>
                <a:gd name="T96" fmla="*/ 8 w 10"/>
                <a:gd name="T97" fmla="*/ 0 h 4"/>
                <a:gd name="T98" fmla="*/ 8 w 10"/>
                <a:gd name="T99" fmla="*/ 0 h 4"/>
                <a:gd name="T100" fmla="*/ 10 w 10"/>
                <a:gd name="T101" fmla="*/ 0 h 4"/>
                <a:gd name="T102" fmla="*/ 10 w 10"/>
                <a:gd name="T103" fmla="*/ 0 h 4"/>
                <a:gd name="T104" fmla="*/ 10 w 10"/>
                <a:gd name="T105" fmla="*/ 0 h 4"/>
                <a:gd name="T106" fmla="*/ 10 w 10"/>
                <a:gd name="T107" fmla="*/ 4 h 4"/>
                <a:gd name="T108" fmla="*/ 10 w 10"/>
                <a:gd name="T109" fmla="*/ 4 h 4"/>
                <a:gd name="T110" fmla="*/ 10 w 10"/>
                <a:gd name="T111" fmla="*/ 4 h 4"/>
                <a:gd name="T112" fmla="*/ 10 w 10"/>
                <a:gd name="T113" fmla="*/ 4 h 4"/>
                <a:gd name="T114" fmla="*/ 10 w 10"/>
                <a:gd name="T115" fmla="*/ 4 h 4"/>
                <a:gd name="T116" fmla="*/ 10 w 10"/>
                <a:gd name="T11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" h="4"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10" y="4"/>
                  </a:move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40" name="Freeform 80">
              <a:extLst>
                <a:ext uri="{FF2B5EF4-FFF2-40B4-BE49-F238E27FC236}">
                  <a16:creationId xmlns:a16="http://schemas.microsoft.com/office/drawing/2014/main" id="{F162A1ED-6FB8-1DD8-FB0C-BD952441D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3440" y="3680906"/>
              <a:ext cx="132479" cy="143299"/>
            </a:xfrm>
            <a:custGeom>
              <a:avLst/>
              <a:gdLst>
                <a:gd name="T0" fmla="*/ 64 w 68"/>
                <a:gd name="T1" fmla="*/ 4 h 76"/>
                <a:gd name="T2" fmla="*/ 64 w 68"/>
                <a:gd name="T3" fmla="*/ 8 h 76"/>
                <a:gd name="T4" fmla="*/ 64 w 68"/>
                <a:gd name="T5" fmla="*/ 12 h 76"/>
                <a:gd name="T6" fmla="*/ 64 w 68"/>
                <a:gd name="T7" fmla="*/ 20 h 76"/>
                <a:gd name="T8" fmla="*/ 60 w 68"/>
                <a:gd name="T9" fmla="*/ 24 h 76"/>
                <a:gd name="T10" fmla="*/ 60 w 68"/>
                <a:gd name="T11" fmla="*/ 30 h 76"/>
                <a:gd name="T12" fmla="*/ 60 w 68"/>
                <a:gd name="T13" fmla="*/ 34 h 76"/>
                <a:gd name="T14" fmla="*/ 60 w 68"/>
                <a:gd name="T15" fmla="*/ 42 h 76"/>
                <a:gd name="T16" fmla="*/ 60 w 68"/>
                <a:gd name="T17" fmla="*/ 46 h 76"/>
                <a:gd name="T18" fmla="*/ 60 w 68"/>
                <a:gd name="T19" fmla="*/ 46 h 76"/>
                <a:gd name="T20" fmla="*/ 60 w 68"/>
                <a:gd name="T21" fmla="*/ 46 h 76"/>
                <a:gd name="T22" fmla="*/ 60 w 68"/>
                <a:gd name="T23" fmla="*/ 42 h 76"/>
                <a:gd name="T24" fmla="*/ 56 w 68"/>
                <a:gd name="T25" fmla="*/ 46 h 76"/>
                <a:gd name="T26" fmla="*/ 56 w 68"/>
                <a:gd name="T27" fmla="*/ 54 h 76"/>
                <a:gd name="T28" fmla="*/ 56 w 68"/>
                <a:gd name="T29" fmla="*/ 58 h 76"/>
                <a:gd name="T30" fmla="*/ 56 w 68"/>
                <a:gd name="T31" fmla="*/ 58 h 76"/>
                <a:gd name="T32" fmla="*/ 60 w 68"/>
                <a:gd name="T33" fmla="*/ 60 h 76"/>
                <a:gd name="T34" fmla="*/ 56 w 68"/>
                <a:gd name="T35" fmla="*/ 64 h 76"/>
                <a:gd name="T36" fmla="*/ 56 w 68"/>
                <a:gd name="T37" fmla="*/ 68 h 76"/>
                <a:gd name="T38" fmla="*/ 56 w 68"/>
                <a:gd name="T39" fmla="*/ 72 h 76"/>
                <a:gd name="T40" fmla="*/ 60 w 68"/>
                <a:gd name="T41" fmla="*/ 76 h 76"/>
                <a:gd name="T42" fmla="*/ 56 w 68"/>
                <a:gd name="T43" fmla="*/ 76 h 76"/>
                <a:gd name="T44" fmla="*/ 52 w 68"/>
                <a:gd name="T45" fmla="*/ 76 h 76"/>
                <a:gd name="T46" fmla="*/ 48 w 68"/>
                <a:gd name="T47" fmla="*/ 76 h 76"/>
                <a:gd name="T48" fmla="*/ 38 w 68"/>
                <a:gd name="T49" fmla="*/ 72 h 76"/>
                <a:gd name="T50" fmla="*/ 38 w 68"/>
                <a:gd name="T51" fmla="*/ 72 h 76"/>
                <a:gd name="T52" fmla="*/ 30 w 68"/>
                <a:gd name="T53" fmla="*/ 68 h 76"/>
                <a:gd name="T54" fmla="*/ 26 w 68"/>
                <a:gd name="T55" fmla="*/ 68 h 76"/>
                <a:gd name="T56" fmla="*/ 22 w 68"/>
                <a:gd name="T57" fmla="*/ 64 h 76"/>
                <a:gd name="T58" fmla="*/ 20 w 68"/>
                <a:gd name="T59" fmla="*/ 58 h 76"/>
                <a:gd name="T60" fmla="*/ 16 w 68"/>
                <a:gd name="T61" fmla="*/ 54 h 76"/>
                <a:gd name="T62" fmla="*/ 16 w 68"/>
                <a:gd name="T63" fmla="*/ 50 h 76"/>
                <a:gd name="T64" fmla="*/ 12 w 68"/>
                <a:gd name="T65" fmla="*/ 46 h 76"/>
                <a:gd name="T66" fmla="*/ 4 w 68"/>
                <a:gd name="T67" fmla="*/ 42 h 76"/>
                <a:gd name="T68" fmla="*/ 0 w 68"/>
                <a:gd name="T69" fmla="*/ 38 h 76"/>
                <a:gd name="T70" fmla="*/ 4 w 68"/>
                <a:gd name="T71" fmla="*/ 38 h 76"/>
                <a:gd name="T72" fmla="*/ 8 w 68"/>
                <a:gd name="T73" fmla="*/ 38 h 76"/>
                <a:gd name="T74" fmla="*/ 12 w 68"/>
                <a:gd name="T75" fmla="*/ 38 h 76"/>
                <a:gd name="T76" fmla="*/ 12 w 68"/>
                <a:gd name="T77" fmla="*/ 34 h 76"/>
                <a:gd name="T78" fmla="*/ 16 w 68"/>
                <a:gd name="T79" fmla="*/ 30 h 76"/>
                <a:gd name="T80" fmla="*/ 16 w 68"/>
                <a:gd name="T81" fmla="*/ 30 h 76"/>
                <a:gd name="T82" fmla="*/ 16 w 68"/>
                <a:gd name="T83" fmla="*/ 24 h 76"/>
                <a:gd name="T84" fmla="*/ 22 w 68"/>
                <a:gd name="T85" fmla="*/ 20 h 76"/>
                <a:gd name="T86" fmla="*/ 26 w 68"/>
                <a:gd name="T87" fmla="*/ 20 h 76"/>
                <a:gd name="T88" fmla="*/ 30 w 68"/>
                <a:gd name="T89" fmla="*/ 24 h 76"/>
                <a:gd name="T90" fmla="*/ 34 w 68"/>
                <a:gd name="T91" fmla="*/ 16 h 76"/>
                <a:gd name="T92" fmla="*/ 34 w 68"/>
                <a:gd name="T93" fmla="*/ 16 h 76"/>
                <a:gd name="T94" fmla="*/ 38 w 68"/>
                <a:gd name="T95" fmla="*/ 12 h 76"/>
                <a:gd name="T96" fmla="*/ 38 w 68"/>
                <a:gd name="T97" fmla="*/ 12 h 76"/>
                <a:gd name="T98" fmla="*/ 38 w 68"/>
                <a:gd name="T99" fmla="*/ 8 h 76"/>
                <a:gd name="T100" fmla="*/ 46 w 68"/>
                <a:gd name="T101" fmla="*/ 8 h 76"/>
                <a:gd name="T102" fmla="*/ 52 w 68"/>
                <a:gd name="T103" fmla="*/ 8 h 76"/>
                <a:gd name="T104" fmla="*/ 60 w 68"/>
                <a:gd name="T105" fmla="*/ 4 h 76"/>
                <a:gd name="T106" fmla="*/ 64 w 68"/>
                <a:gd name="T10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8" h="76">
                  <a:moveTo>
                    <a:pt x="68" y="0"/>
                  </a:move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0" y="4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6"/>
                  </a:lnTo>
                  <a:lnTo>
                    <a:pt x="60" y="46"/>
                  </a:lnTo>
                  <a:lnTo>
                    <a:pt x="60" y="46"/>
                  </a:lnTo>
                  <a:lnTo>
                    <a:pt x="60" y="46"/>
                  </a:lnTo>
                  <a:lnTo>
                    <a:pt x="60" y="46"/>
                  </a:lnTo>
                  <a:lnTo>
                    <a:pt x="60" y="46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0" y="46"/>
                  </a:lnTo>
                  <a:lnTo>
                    <a:pt x="60" y="46"/>
                  </a:lnTo>
                  <a:lnTo>
                    <a:pt x="60" y="46"/>
                  </a:lnTo>
                  <a:lnTo>
                    <a:pt x="60" y="46"/>
                  </a:lnTo>
                  <a:lnTo>
                    <a:pt x="60" y="46"/>
                  </a:lnTo>
                  <a:lnTo>
                    <a:pt x="60" y="46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6" y="72"/>
                  </a:lnTo>
                  <a:lnTo>
                    <a:pt x="42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4" y="72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2" y="64"/>
                  </a:lnTo>
                  <a:lnTo>
                    <a:pt x="22" y="64"/>
                  </a:lnTo>
                  <a:lnTo>
                    <a:pt x="22" y="64"/>
                  </a:lnTo>
                  <a:lnTo>
                    <a:pt x="22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008BE5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41" name="Freeform 81">
              <a:extLst>
                <a:ext uri="{FF2B5EF4-FFF2-40B4-BE49-F238E27FC236}">
                  <a16:creationId xmlns:a16="http://schemas.microsoft.com/office/drawing/2014/main" id="{E95711B7-A9E7-3F36-334F-3958129AAE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5919" y="3858144"/>
              <a:ext cx="159754" cy="79191"/>
            </a:xfrm>
            <a:custGeom>
              <a:avLst/>
              <a:gdLst>
                <a:gd name="T0" fmla="*/ 38 w 82"/>
                <a:gd name="T1" fmla="*/ 22 h 42"/>
                <a:gd name="T2" fmla="*/ 38 w 82"/>
                <a:gd name="T3" fmla="*/ 30 h 42"/>
                <a:gd name="T4" fmla="*/ 40 w 82"/>
                <a:gd name="T5" fmla="*/ 34 h 42"/>
                <a:gd name="T6" fmla="*/ 40 w 82"/>
                <a:gd name="T7" fmla="*/ 38 h 42"/>
                <a:gd name="T8" fmla="*/ 34 w 82"/>
                <a:gd name="T9" fmla="*/ 42 h 42"/>
                <a:gd name="T10" fmla="*/ 30 w 82"/>
                <a:gd name="T11" fmla="*/ 42 h 42"/>
                <a:gd name="T12" fmla="*/ 30 w 82"/>
                <a:gd name="T13" fmla="*/ 34 h 42"/>
                <a:gd name="T14" fmla="*/ 26 w 82"/>
                <a:gd name="T15" fmla="*/ 30 h 42"/>
                <a:gd name="T16" fmla="*/ 22 w 82"/>
                <a:gd name="T17" fmla="*/ 34 h 42"/>
                <a:gd name="T18" fmla="*/ 18 w 82"/>
                <a:gd name="T19" fmla="*/ 30 h 42"/>
                <a:gd name="T20" fmla="*/ 18 w 82"/>
                <a:gd name="T21" fmla="*/ 26 h 42"/>
                <a:gd name="T22" fmla="*/ 10 w 82"/>
                <a:gd name="T23" fmla="*/ 26 h 42"/>
                <a:gd name="T24" fmla="*/ 8 w 82"/>
                <a:gd name="T25" fmla="*/ 26 h 42"/>
                <a:gd name="T26" fmla="*/ 4 w 82"/>
                <a:gd name="T27" fmla="*/ 22 h 42"/>
                <a:gd name="T28" fmla="*/ 4 w 82"/>
                <a:gd name="T29" fmla="*/ 30 h 42"/>
                <a:gd name="T30" fmla="*/ 0 w 82"/>
                <a:gd name="T31" fmla="*/ 26 h 42"/>
                <a:gd name="T32" fmla="*/ 4 w 82"/>
                <a:gd name="T33" fmla="*/ 22 h 42"/>
                <a:gd name="T34" fmla="*/ 0 w 82"/>
                <a:gd name="T35" fmla="*/ 16 h 42"/>
                <a:gd name="T36" fmla="*/ 0 w 82"/>
                <a:gd name="T37" fmla="*/ 12 h 42"/>
                <a:gd name="T38" fmla="*/ 4 w 82"/>
                <a:gd name="T39" fmla="*/ 0 h 42"/>
                <a:gd name="T40" fmla="*/ 8 w 82"/>
                <a:gd name="T41" fmla="*/ 4 h 42"/>
                <a:gd name="T42" fmla="*/ 10 w 82"/>
                <a:gd name="T43" fmla="*/ 12 h 42"/>
                <a:gd name="T44" fmla="*/ 14 w 82"/>
                <a:gd name="T45" fmla="*/ 12 h 42"/>
                <a:gd name="T46" fmla="*/ 18 w 82"/>
                <a:gd name="T47" fmla="*/ 16 h 42"/>
                <a:gd name="T48" fmla="*/ 26 w 82"/>
                <a:gd name="T49" fmla="*/ 16 h 42"/>
                <a:gd name="T50" fmla="*/ 30 w 82"/>
                <a:gd name="T51" fmla="*/ 16 h 42"/>
                <a:gd name="T52" fmla="*/ 38 w 82"/>
                <a:gd name="T53" fmla="*/ 12 h 42"/>
                <a:gd name="T54" fmla="*/ 40 w 82"/>
                <a:gd name="T55" fmla="*/ 8 h 42"/>
                <a:gd name="T56" fmla="*/ 48 w 82"/>
                <a:gd name="T57" fmla="*/ 4 h 42"/>
                <a:gd name="T58" fmla="*/ 56 w 82"/>
                <a:gd name="T59" fmla="*/ 4 h 42"/>
                <a:gd name="T60" fmla="*/ 56 w 82"/>
                <a:gd name="T61" fmla="*/ 4 h 42"/>
                <a:gd name="T62" fmla="*/ 64 w 82"/>
                <a:gd name="T63" fmla="*/ 4 h 42"/>
                <a:gd name="T64" fmla="*/ 70 w 82"/>
                <a:gd name="T65" fmla="*/ 12 h 42"/>
                <a:gd name="T66" fmla="*/ 78 w 82"/>
                <a:gd name="T67" fmla="*/ 16 h 42"/>
                <a:gd name="T68" fmla="*/ 78 w 82"/>
                <a:gd name="T69" fmla="*/ 18 h 42"/>
                <a:gd name="T70" fmla="*/ 78 w 82"/>
                <a:gd name="T71" fmla="*/ 22 h 42"/>
                <a:gd name="T72" fmla="*/ 82 w 82"/>
                <a:gd name="T73" fmla="*/ 26 h 42"/>
                <a:gd name="T74" fmla="*/ 82 w 82"/>
                <a:gd name="T75" fmla="*/ 34 h 42"/>
                <a:gd name="T76" fmla="*/ 74 w 82"/>
                <a:gd name="T77" fmla="*/ 34 h 42"/>
                <a:gd name="T78" fmla="*/ 74 w 82"/>
                <a:gd name="T79" fmla="*/ 38 h 42"/>
                <a:gd name="T80" fmla="*/ 68 w 82"/>
                <a:gd name="T81" fmla="*/ 38 h 42"/>
                <a:gd name="T82" fmla="*/ 68 w 82"/>
                <a:gd name="T83" fmla="*/ 30 h 42"/>
                <a:gd name="T84" fmla="*/ 68 w 82"/>
                <a:gd name="T85" fmla="*/ 30 h 42"/>
                <a:gd name="T86" fmla="*/ 68 w 82"/>
                <a:gd name="T87" fmla="*/ 26 h 42"/>
                <a:gd name="T88" fmla="*/ 70 w 82"/>
                <a:gd name="T89" fmla="*/ 26 h 42"/>
                <a:gd name="T90" fmla="*/ 74 w 82"/>
                <a:gd name="T91" fmla="*/ 26 h 42"/>
                <a:gd name="T92" fmla="*/ 70 w 82"/>
                <a:gd name="T93" fmla="*/ 22 h 42"/>
                <a:gd name="T94" fmla="*/ 64 w 82"/>
                <a:gd name="T95" fmla="*/ 22 h 42"/>
                <a:gd name="T96" fmla="*/ 60 w 82"/>
                <a:gd name="T97" fmla="*/ 16 h 42"/>
                <a:gd name="T98" fmla="*/ 56 w 82"/>
                <a:gd name="T99" fmla="*/ 12 h 42"/>
                <a:gd name="T100" fmla="*/ 56 w 82"/>
                <a:gd name="T101" fmla="*/ 12 h 42"/>
                <a:gd name="T102" fmla="*/ 48 w 82"/>
                <a:gd name="T103" fmla="*/ 12 h 42"/>
                <a:gd name="T104" fmla="*/ 44 w 82"/>
                <a:gd name="T105" fmla="*/ 16 h 42"/>
                <a:gd name="T106" fmla="*/ 40 w 82"/>
                <a:gd name="T107" fmla="*/ 22 h 42"/>
                <a:gd name="T108" fmla="*/ 10 w 82"/>
                <a:gd name="T109" fmla="*/ 8 h 42"/>
                <a:gd name="T110" fmla="*/ 60 w 82"/>
                <a:gd name="T111" fmla="*/ 22 h 42"/>
                <a:gd name="T112" fmla="*/ 56 w 82"/>
                <a:gd name="T113" fmla="*/ 22 h 42"/>
                <a:gd name="T114" fmla="*/ 18 w 82"/>
                <a:gd name="T115" fmla="*/ 38 h 42"/>
                <a:gd name="T116" fmla="*/ 18 w 82"/>
                <a:gd name="T117" fmla="*/ 42 h 42"/>
                <a:gd name="T118" fmla="*/ 18 w 82"/>
                <a:gd name="T119" fmla="*/ 42 h 42"/>
                <a:gd name="T120" fmla="*/ 18 w 82"/>
                <a:gd name="T121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2" h="42">
                  <a:moveTo>
                    <a:pt x="40" y="22"/>
                  </a:move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0"/>
                  </a:lnTo>
                  <a:lnTo>
                    <a:pt x="26" y="34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8"/>
                  </a:lnTo>
                  <a:lnTo>
                    <a:pt x="26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4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4" y="16"/>
                  </a:lnTo>
                  <a:lnTo>
                    <a:pt x="14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22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8" y="12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0" y="8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8" y="16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78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70" y="22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4" y="26"/>
                  </a:lnTo>
                  <a:lnTo>
                    <a:pt x="74" y="26"/>
                  </a:lnTo>
                  <a:lnTo>
                    <a:pt x="74" y="26"/>
                  </a:lnTo>
                  <a:lnTo>
                    <a:pt x="74" y="26"/>
                  </a:lnTo>
                  <a:lnTo>
                    <a:pt x="74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close/>
                  <a:moveTo>
                    <a:pt x="10" y="4"/>
                  </a:move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close/>
                  <a:moveTo>
                    <a:pt x="60" y="22"/>
                  </a:moveTo>
                  <a:lnTo>
                    <a:pt x="60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0" y="26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0" y="22"/>
                  </a:lnTo>
                  <a:close/>
                  <a:moveTo>
                    <a:pt x="18" y="34"/>
                  </a:move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42" name="Freeform 82">
              <a:extLst>
                <a:ext uri="{FF2B5EF4-FFF2-40B4-BE49-F238E27FC236}">
                  <a16:creationId xmlns:a16="http://schemas.microsoft.com/office/drawing/2014/main" id="{370E4432-0F0E-CBF2-5141-9381F9D8A7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42321" y="3571547"/>
              <a:ext cx="50654" cy="18855"/>
            </a:xfrm>
            <a:custGeom>
              <a:avLst/>
              <a:gdLst>
                <a:gd name="T0" fmla="*/ 18 w 26"/>
                <a:gd name="T1" fmla="*/ 6 h 10"/>
                <a:gd name="T2" fmla="*/ 18 w 26"/>
                <a:gd name="T3" fmla="*/ 6 h 10"/>
                <a:gd name="T4" fmla="*/ 18 w 26"/>
                <a:gd name="T5" fmla="*/ 10 h 10"/>
                <a:gd name="T6" fmla="*/ 16 w 26"/>
                <a:gd name="T7" fmla="*/ 10 h 10"/>
                <a:gd name="T8" fmla="*/ 12 w 26"/>
                <a:gd name="T9" fmla="*/ 10 h 10"/>
                <a:gd name="T10" fmla="*/ 12 w 26"/>
                <a:gd name="T11" fmla="*/ 10 h 10"/>
                <a:gd name="T12" fmla="*/ 8 w 26"/>
                <a:gd name="T13" fmla="*/ 10 h 10"/>
                <a:gd name="T14" fmla="*/ 8 w 26"/>
                <a:gd name="T15" fmla="*/ 10 h 10"/>
                <a:gd name="T16" fmla="*/ 8 w 26"/>
                <a:gd name="T17" fmla="*/ 6 h 10"/>
                <a:gd name="T18" fmla="*/ 4 w 26"/>
                <a:gd name="T19" fmla="*/ 10 h 10"/>
                <a:gd name="T20" fmla="*/ 4 w 26"/>
                <a:gd name="T21" fmla="*/ 10 h 10"/>
                <a:gd name="T22" fmla="*/ 4 w 26"/>
                <a:gd name="T23" fmla="*/ 10 h 10"/>
                <a:gd name="T24" fmla="*/ 0 w 26"/>
                <a:gd name="T25" fmla="*/ 10 h 10"/>
                <a:gd name="T26" fmla="*/ 0 w 26"/>
                <a:gd name="T27" fmla="*/ 10 h 10"/>
                <a:gd name="T28" fmla="*/ 0 w 26"/>
                <a:gd name="T29" fmla="*/ 6 h 10"/>
                <a:gd name="T30" fmla="*/ 0 w 26"/>
                <a:gd name="T31" fmla="*/ 2 h 10"/>
                <a:gd name="T32" fmla="*/ 0 w 26"/>
                <a:gd name="T33" fmla="*/ 2 h 10"/>
                <a:gd name="T34" fmla="*/ 0 w 26"/>
                <a:gd name="T35" fmla="*/ 2 h 10"/>
                <a:gd name="T36" fmla="*/ 0 w 26"/>
                <a:gd name="T37" fmla="*/ 2 h 10"/>
                <a:gd name="T38" fmla="*/ 0 w 26"/>
                <a:gd name="T39" fmla="*/ 2 h 10"/>
                <a:gd name="T40" fmla="*/ 0 w 26"/>
                <a:gd name="T41" fmla="*/ 2 h 10"/>
                <a:gd name="T42" fmla="*/ 0 w 26"/>
                <a:gd name="T43" fmla="*/ 0 h 10"/>
                <a:gd name="T44" fmla="*/ 0 w 26"/>
                <a:gd name="T45" fmla="*/ 0 h 10"/>
                <a:gd name="T46" fmla="*/ 0 w 26"/>
                <a:gd name="T47" fmla="*/ 0 h 10"/>
                <a:gd name="T48" fmla="*/ 4 w 26"/>
                <a:gd name="T49" fmla="*/ 0 h 10"/>
                <a:gd name="T50" fmla="*/ 4 w 26"/>
                <a:gd name="T51" fmla="*/ 0 h 10"/>
                <a:gd name="T52" fmla="*/ 8 w 26"/>
                <a:gd name="T53" fmla="*/ 0 h 10"/>
                <a:gd name="T54" fmla="*/ 12 w 26"/>
                <a:gd name="T55" fmla="*/ 0 h 10"/>
                <a:gd name="T56" fmla="*/ 16 w 26"/>
                <a:gd name="T57" fmla="*/ 0 h 10"/>
                <a:gd name="T58" fmla="*/ 16 w 26"/>
                <a:gd name="T59" fmla="*/ 0 h 10"/>
                <a:gd name="T60" fmla="*/ 16 w 26"/>
                <a:gd name="T61" fmla="*/ 0 h 10"/>
                <a:gd name="T62" fmla="*/ 16 w 26"/>
                <a:gd name="T63" fmla="*/ 0 h 10"/>
                <a:gd name="T64" fmla="*/ 18 w 26"/>
                <a:gd name="T65" fmla="*/ 0 h 10"/>
                <a:gd name="T66" fmla="*/ 18 w 26"/>
                <a:gd name="T67" fmla="*/ 0 h 10"/>
                <a:gd name="T68" fmla="*/ 22 w 26"/>
                <a:gd name="T69" fmla="*/ 2 h 10"/>
                <a:gd name="T70" fmla="*/ 22 w 26"/>
                <a:gd name="T71" fmla="*/ 2 h 10"/>
                <a:gd name="T72" fmla="*/ 22 w 26"/>
                <a:gd name="T73" fmla="*/ 2 h 10"/>
                <a:gd name="T74" fmla="*/ 22 w 26"/>
                <a:gd name="T75" fmla="*/ 2 h 10"/>
                <a:gd name="T76" fmla="*/ 18 w 26"/>
                <a:gd name="T77" fmla="*/ 6 h 10"/>
                <a:gd name="T78" fmla="*/ 18 w 26"/>
                <a:gd name="T79" fmla="*/ 6 h 10"/>
                <a:gd name="T80" fmla="*/ 22 w 26"/>
                <a:gd name="T81" fmla="*/ 6 h 10"/>
                <a:gd name="T82" fmla="*/ 22 w 26"/>
                <a:gd name="T83" fmla="*/ 6 h 10"/>
                <a:gd name="T84" fmla="*/ 22 w 26"/>
                <a:gd name="T85" fmla="*/ 6 h 10"/>
                <a:gd name="T86" fmla="*/ 26 w 26"/>
                <a:gd name="T87" fmla="*/ 6 h 10"/>
                <a:gd name="T88" fmla="*/ 26 w 26"/>
                <a:gd name="T89" fmla="*/ 6 h 10"/>
                <a:gd name="T90" fmla="*/ 26 w 26"/>
                <a:gd name="T91" fmla="*/ 6 h 10"/>
                <a:gd name="T92" fmla="*/ 22 w 26"/>
                <a:gd name="T93" fmla="*/ 6 h 10"/>
                <a:gd name="T94" fmla="*/ 22 w 26"/>
                <a:gd name="T95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" h="10">
                  <a:moveTo>
                    <a:pt x="18" y="6"/>
                  </a:move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6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6"/>
                  </a:lnTo>
                  <a:lnTo>
                    <a:pt x="8" y="6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close/>
                  <a:moveTo>
                    <a:pt x="22" y="6"/>
                  </a:move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close/>
                </a:path>
              </a:pathLst>
            </a:custGeom>
            <a:solidFill>
              <a:srgbClr val="008BE5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43" name="Freeform 83">
              <a:extLst>
                <a:ext uri="{FF2B5EF4-FFF2-40B4-BE49-F238E27FC236}">
                  <a16:creationId xmlns:a16="http://schemas.microsoft.com/office/drawing/2014/main" id="{4B9E3AA3-A499-DA30-6D7C-DE72A9B65B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38450" y="2564686"/>
              <a:ext cx="7793" cy="15084"/>
            </a:xfrm>
            <a:custGeom>
              <a:avLst/>
              <a:gdLst>
                <a:gd name="T0" fmla="*/ 0 w 4"/>
                <a:gd name="T1" fmla="*/ 0 h 8"/>
                <a:gd name="T2" fmla="*/ 4 w 4"/>
                <a:gd name="T3" fmla="*/ 0 h 8"/>
                <a:gd name="T4" fmla="*/ 4 w 4"/>
                <a:gd name="T5" fmla="*/ 0 h 8"/>
                <a:gd name="T6" fmla="*/ 0 w 4"/>
                <a:gd name="T7" fmla="*/ 0 h 8"/>
                <a:gd name="T8" fmla="*/ 0 w 4"/>
                <a:gd name="T9" fmla="*/ 0 h 8"/>
                <a:gd name="T10" fmla="*/ 0 w 4"/>
                <a:gd name="T11" fmla="*/ 0 h 8"/>
                <a:gd name="T12" fmla="*/ 0 w 4"/>
                <a:gd name="T13" fmla="*/ 0 h 8"/>
                <a:gd name="T14" fmla="*/ 0 w 4"/>
                <a:gd name="T15" fmla="*/ 0 h 8"/>
                <a:gd name="T16" fmla="*/ 0 w 4"/>
                <a:gd name="T17" fmla="*/ 0 h 8"/>
                <a:gd name="T18" fmla="*/ 0 w 4"/>
                <a:gd name="T19" fmla="*/ 0 h 8"/>
                <a:gd name="T20" fmla="*/ 0 w 4"/>
                <a:gd name="T21" fmla="*/ 0 h 8"/>
                <a:gd name="T22" fmla="*/ 0 w 4"/>
                <a:gd name="T23" fmla="*/ 4 h 8"/>
                <a:gd name="T24" fmla="*/ 0 w 4"/>
                <a:gd name="T25" fmla="*/ 4 h 8"/>
                <a:gd name="T26" fmla="*/ 0 w 4"/>
                <a:gd name="T27" fmla="*/ 4 h 8"/>
                <a:gd name="T28" fmla="*/ 0 w 4"/>
                <a:gd name="T29" fmla="*/ 4 h 8"/>
                <a:gd name="T30" fmla="*/ 0 w 4"/>
                <a:gd name="T31" fmla="*/ 4 h 8"/>
                <a:gd name="T32" fmla="*/ 4 w 4"/>
                <a:gd name="T33" fmla="*/ 4 h 8"/>
                <a:gd name="T34" fmla="*/ 4 w 4"/>
                <a:gd name="T35" fmla="*/ 4 h 8"/>
                <a:gd name="T36" fmla="*/ 4 w 4"/>
                <a:gd name="T37" fmla="*/ 4 h 8"/>
                <a:gd name="T38" fmla="*/ 4 w 4"/>
                <a:gd name="T39" fmla="*/ 4 h 8"/>
                <a:gd name="T40" fmla="*/ 4 w 4"/>
                <a:gd name="T41" fmla="*/ 4 h 8"/>
                <a:gd name="T42" fmla="*/ 4 w 4"/>
                <a:gd name="T43" fmla="*/ 4 h 8"/>
                <a:gd name="T44" fmla="*/ 0 w 4"/>
                <a:gd name="T45" fmla="*/ 4 h 8"/>
                <a:gd name="T46" fmla="*/ 0 w 4"/>
                <a:gd name="T47" fmla="*/ 4 h 8"/>
                <a:gd name="T48" fmla="*/ 0 w 4"/>
                <a:gd name="T49" fmla="*/ 4 h 8"/>
                <a:gd name="T50" fmla="*/ 0 w 4"/>
                <a:gd name="T51" fmla="*/ 4 h 8"/>
                <a:gd name="T52" fmla="*/ 0 w 4"/>
                <a:gd name="T53" fmla="*/ 4 h 8"/>
                <a:gd name="T54" fmla="*/ 0 w 4"/>
                <a:gd name="T55" fmla="*/ 4 h 8"/>
                <a:gd name="T56" fmla="*/ 0 w 4"/>
                <a:gd name="T57" fmla="*/ 4 h 8"/>
                <a:gd name="T58" fmla="*/ 0 w 4"/>
                <a:gd name="T59" fmla="*/ 4 h 8"/>
                <a:gd name="T60" fmla="*/ 0 w 4"/>
                <a:gd name="T61" fmla="*/ 4 h 8"/>
                <a:gd name="T62" fmla="*/ 0 w 4"/>
                <a:gd name="T63" fmla="*/ 4 h 8"/>
                <a:gd name="T64" fmla="*/ 0 w 4"/>
                <a:gd name="T65" fmla="*/ 4 h 8"/>
                <a:gd name="T66" fmla="*/ 0 w 4"/>
                <a:gd name="T67" fmla="*/ 0 h 8"/>
                <a:gd name="T68" fmla="*/ 0 w 4"/>
                <a:gd name="T69" fmla="*/ 0 h 8"/>
                <a:gd name="T70" fmla="*/ 0 w 4"/>
                <a:gd name="T71" fmla="*/ 0 h 8"/>
                <a:gd name="T72" fmla="*/ 0 w 4"/>
                <a:gd name="T73" fmla="*/ 0 h 8"/>
                <a:gd name="T74" fmla="*/ 0 w 4"/>
                <a:gd name="T75" fmla="*/ 0 h 8"/>
                <a:gd name="T76" fmla="*/ 0 w 4"/>
                <a:gd name="T77" fmla="*/ 0 h 8"/>
                <a:gd name="T78" fmla="*/ 0 w 4"/>
                <a:gd name="T79" fmla="*/ 0 h 8"/>
                <a:gd name="T80" fmla="*/ 0 w 4"/>
                <a:gd name="T81" fmla="*/ 0 h 8"/>
                <a:gd name="T82" fmla="*/ 0 w 4"/>
                <a:gd name="T83" fmla="*/ 0 h 8"/>
                <a:gd name="T84" fmla="*/ 0 w 4"/>
                <a:gd name="T85" fmla="*/ 0 h 8"/>
                <a:gd name="T86" fmla="*/ 0 w 4"/>
                <a:gd name="T87" fmla="*/ 0 h 8"/>
                <a:gd name="T88" fmla="*/ 0 w 4"/>
                <a:gd name="T89" fmla="*/ 0 h 8"/>
                <a:gd name="T90" fmla="*/ 0 w 4"/>
                <a:gd name="T91" fmla="*/ 0 h 8"/>
                <a:gd name="T92" fmla="*/ 4 w 4"/>
                <a:gd name="T93" fmla="*/ 4 h 8"/>
                <a:gd name="T94" fmla="*/ 4 w 4"/>
                <a:gd name="T95" fmla="*/ 4 h 8"/>
                <a:gd name="T96" fmla="*/ 4 w 4"/>
                <a:gd name="T97" fmla="*/ 8 h 8"/>
                <a:gd name="T98" fmla="*/ 4 w 4"/>
                <a:gd name="T99" fmla="*/ 8 h 8"/>
                <a:gd name="T100" fmla="*/ 4 w 4"/>
                <a:gd name="T101" fmla="*/ 8 h 8"/>
                <a:gd name="T102" fmla="*/ 4 w 4"/>
                <a:gd name="T103" fmla="*/ 4 h 8"/>
                <a:gd name="T104" fmla="*/ 4 w 4"/>
                <a:gd name="T105" fmla="*/ 4 h 8"/>
                <a:gd name="T106" fmla="*/ 4 w 4"/>
                <a:gd name="T107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44" name="Freeform 84">
              <a:extLst>
                <a:ext uri="{FF2B5EF4-FFF2-40B4-BE49-F238E27FC236}">
                  <a16:creationId xmlns:a16="http://schemas.microsoft.com/office/drawing/2014/main" id="{09A41273-7C5C-6E36-19CE-D7CED29D3B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5020" y="3288721"/>
              <a:ext cx="175340" cy="207406"/>
            </a:xfrm>
            <a:custGeom>
              <a:avLst/>
              <a:gdLst>
                <a:gd name="T0" fmla="*/ 52 w 90"/>
                <a:gd name="T1" fmla="*/ 50 h 110"/>
                <a:gd name="T2" fmla="*/ 48 w 90"/>
                <a:gd name="T3" fmla="*/ 46 h 110"/>
                <a:gd name="T4" fmla="*/ 52 w 90"/>
                <a:gd name="T5" fmla="*/ 50 h 110"/>
                <a:gd name="T6" fmla="*/ 64 w 90"/>
                <a:gd name="T7" fmla="*/ 50 h 110"/>
                <a:gd name="T8" fmla="*/ 64 w 90"/>
                <a:gd name="T9" fmla="*/ 54 h 110"/>
                <a:gd name="T10" fmla="*/ 86 w 90"/>
                <a:gd name="T11" fmla="*/ 82 h 110"/>
                <a:gd name="T12" fmla="*/ 86 w 90"/>
                <a:gd name="T13" fmla="*/ 80 h 110"/>
                <a:gd name="T14" fmla="*/ 90 w 90"/>
                <a:gd name="T15" fmla="*/ 82 h 110"/>
                <a:gd name="T16" fmla="*/ 22 w 90"/>
                <a:gd name="T17" fmla="*/ 0 h 110"/>
                <a:gd name="T18" fmla="*/ 26 w 90"/>
                <a:gd name="T19" fmla="*/ 8 h 110"/>
                <a:gd name="T20" fmla="*/ 26 w 90"/>
                <a:gd name="T21" fmla="*/ 12 h 110"/>
                <a:gd name="T22" fmla="*/ 26 w 90"/>
                <a:gd name="T23" fmla="*/ 16 h 110"/>
                <a:gd name="T24" fmla="*/ 26 w 90"/>
                <a:gd name="T25" fmla="*/ 12 h 110"/>
                <a:gd name="T26" fmla="*/ 22 w 90"/>
                <a:gd name="T27" fmla="*/ 4 h 110"/>
                <a:gd name="T28" fmla="*/ 16 w 90"/>
                <a:gd name="T29" fmla="*/ 0 h 110"/>
                <a:gd name="T30" fmla="*/ 4 w 90"/>
                <a:gd name="T31" fmla="*/ 8 h 110"/>
                <a:gd name="T32" fmla="*/ 8 w 90"/>
                <a:gd name="T33" fmla="*/ 4 h 110"/>
                <a:gd name="T34" fmla="*/ 12 w 90"/>
                <a:gd name="T35" fmla="*/ 4 h 110"/>
                <a:gd name="T36" fmla="*/ 4 w 90"/>
                <a:gd name="T37" fmla="*/ 8 h 110"/>
                <a:gd name="T38" fmla="*/ 34 w 90"/>
                <a:gd name="T39" fmla="*/ 26 h 110"/>
                <a:gd name="T40" fmla="*/ 42 w 90"/>
                <a:gd name="T41" fmla="*/ 30 h 110"/>
                <a:gd name="T42" fmla="*/ 42 w 90"/>
                <a:gd name="T43" fmla="*/ 42 h 110"/>
                <a:gd name="T44" fmla="*/ 42 w 90"/>
                <a:gd name="T45" fmla="*/ 38 h 110"/>
                <a:gd name="T46" fmla="*/ 38 w 90"/>
                <a:gd name="T47" fmla="*/ 30 h 110"/>
                <a:gd name="T48" fmla="*/ 34 w 90"/>
                <a:gd name="T49" fmla="*/ 24 h 110"/>
                <a:gd name="T50" fmla="*/ 12 w 90"/>
                <a:gd name="T51" fmla="*/ 30 h 110"/>
                <a:gd name="T52" fmla="*/ 16 w 90"/>
                <a:gd name="T53" fmla="*/ 38 h 110"/>
                <a:gd name="T54" fmla="*/ 18 w 90"/>
                <a:gd name="T55" fmla="*/ 46 h 110"/>
                <a:gd name="T56" fmla="*/ 12 w 90"/>
                <a:gd name="T57" fmla="*/ 46 h 110"/>
                <a:gd name="T58" fmla="*/ 12 w 90"/>
                <a:gd name="T59" fmla="*/ 42 h 110"/>
                <a:gd name="T60" fmla="*/ 12 w 90"/>
                <a:gd name="T61" fmla="*/ 38 h 110"/>
                <a:gd name="T62" fmla="*/ 12 w 90"/>
                <a:gd name="T63" fmla="*/ 30 h 110"/>
                <a:gd name="T64" fmla="*/ 26 w 90"/>
                <a:gd name="T65" fmla="*/ 34 h 110"/>
                <a:gd name="T66" fmla="*/ 22 w 90"/>
                <a:gd name="T67" fmla="*/ 34 h 110"/>
                <a:gd name="T68" fmla="*/ 18 w 90"/>
                <a:gd name="T69" fmla="*/ 50 h 110"/>
                <a:gd name="T70" fmla="*/ 22 w 90"/>
                <a:gd name="T71" fmla="*/ 56 h 110"/>
                <a:gd name="T72" fmla="*/ 18 w 90"/>
                <a:gd name="T73" fmla="*/ 56 h 110"/>
                <a:gd name="T74" fmla="*/ 18 w 90"/>
                <a:gd name="T75" fmla="*/ 50 h 110"/>
                <a:gd name="T76" fmla="*/ 44 w 90"/>
                <a:gd name="T77" fmla="*/ 60 h 110"/>
                <a:gd name="T78" fmla="*/ 44 w 90"/>
                <a:gd name="T79" fmla="*/ 56 h 110"/>
                <a:gd name="T80" fmla="*/ 52 w 90"/>
                <a:gd name="T81" fmla="*/ 60 h 110"/>
                <a:gd name="T82" fmla="*/ 60 w 90"/>
                <a:gd name="T83" fmla="*/ 68 h 110"/>
                <a:gd name="T84" fmla="*/ 56 w 90"/>
                <a:gd name="T85" fmla="*/ 68 h 110"/>
                <a:gd name="T86" fmla="*/ 52 w 90"/>
                <a:gd name="T87" fmla="*/ 60 h 110"/>
                <a:gd name="T88" fmla="*/ 68 w 90"/>
                <a:gd name="T89" fmla="*/ 76 h 110"/>
                <a:gd name="T90" fmla="*/ 70 w 90"/>
                <a:gd name="T91" fmla="*/ 76 h 110"/>
                <a:gd name="T92" fmla="*/ 68 w 90"/>
                <a:gd name="T93" fmla="*/ 86 h 110"/>
                <a:gd name="T94" fmla="*/ 70 w 90"/>
                <a:gd name="T95" fmla="*/ 80 h 110"/>
                <a:gd name="T96" fmla="*/ 70 w 90"/>
                <a:gd name="T97" fmla="*/ 76 h 110"/>
                <a:gd name="T98" fmla="*/ 70 w 90"/>
                <a:gd name="T99" fmla="*/ 82 h 110"/>
                <a:gd name="T100" fmla="*/ 68 w 90"/>
                <a:gd name="T101" fmla="*/ 86 h 110"/>
                <a:gd name="T102" fmla="*/ 74 w 90"/>
                <a:gd name="T103" fmla="*/ 106 h 110"/>
                <a:gd name="T104" fmla="*/ 82 w 90"/>
                <a:gd name="T105" fmla="*/ 102 h 110"/>
                <a:gd name="T106" fmla="*/ 86 w 90"/>
                <a:gd name="T107" fmla="*/ 102 h 110"/>
                <a:gd name="T108" fmla="*/ 82 w 90"/>
                <a:gd name="T109" fmla="*/ 110 h 110"/>
                <a:gd name="T110" fmla="*/ 74 w 90"/>
                <a:gd name="T111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0" h="110">
                  <a:moveTo>
                    <a:pt x="52" y="50"/>
                  </a:moveTo>
                  <a:lnTo>
                    <a:pt x="48" y="50"/>
                  </a:lnTo>
                  <a:lnTo>
                    <a:pt x="52" y="50"/>
                  </a:lnTo>
                  <a:lnTo>
                    <a:pt x="48" y="46"/>
                  </a:lnTo>
                  <a:lnTo>
                    <a:pt x="48" y="42"/>
                  </a:lnTo>
                  <a:lnTo>
                    <a:pt x="48" y="46"/>
                  </a:lnTo>
                  <a:lnTo>
                    <a:pt x="52" y="46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2" y="50"/>
                  </a:lnTo>
                  <a:close/>
                  <a:moveTo>
                    <a:pt x="64" y="54"/>
                  </a:moveTo>
                  <a:lnTo>
                    <a:pt x="64" y="50"/>
                  </a:lnTo>
                  <a:lnTo>
                    <a:pt x="68" y="54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4" y="54"/>
                  </a:lnTo>
                  <a:close/>
                  <a:moveTo>
                    <a:pt x="90" y="82"/>
                  </a:moveTo>
                  <a:lnTo>
                    <a:pt x="86" y="82"/>
                  </a:lnTo>
                  <a:lnTo>
                    <a:pt x="82" y="82"/>
                  </a:lnTo>
                  <a:lnTo>
                    <a:pt x="82" y="80"/>
                  </a:lnTo>
                  <a:lnTo>
                    <a:pt x="86" y="80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close/>
                  <a:moveTo>
                    <a:pt x="16" y="0"/>
                  </a:moveTo>
                  <a:lnTo>
                    <a:pt x="18" y="0"/>
                  </a:lnTo>
                  <a:lnTo>
                    <a:pt x="22" y="0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26" y="8"/>
                  </a:lnTo>
                  <a:lnTo>
                    <a:pt x="30" y="8"/>
                  </a:lnTo>
                  <a:lnTo>
                    <a:pt x="30" y="12"/>
                  </a:lnTo>
                  <a:lnTo>
                    <a:pt x="26" y="12"/>
                  </a:lnTo>
                  <a:lnTo>
                    <a:pt x="26" y="16"/>
                  </a:lnTo>
                  <a:lnTo>
                    <a:pt x="26" y="20"/>
                  </a:lnTo>
                  <a:lnTo>
                    <a:pt x="26" y="16"/>
                  </a:lnTo>
                  <a:lnTo>
                    <a:pt x="22" y="16"/>
                  </a:lnTo>
                  <a:lnTo>
                    <a:pt x="26" y="16"/>
                  </a:lnTo>
                  <a:lnTo>
                    <a:pt x="26" y="12"/>
                  </a:lnTo>
                  <a:lnTo>
                    <a:pt x="26" y="8"/>
                  </a:lnTo>
                  <a:lnTo>
                    <a:pt x="26" y="4"/>
                  </a:lnTo>
                  <a:lnTo>
                    <a:pt x="22" y="4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  <a:moveTo>
                    <a:pt x="4" y="8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34" y="24"/>
                  </a:moveTo>
                  <a:lnTo>
                    <a:pt x="34" y="26"/>
                  </a:lnTo>
                  <a:lnTo>
                    <a:pt x="38" y="26"/>
                  </a:lnTo>
                  <a:lnTo>
                    <a:pt x="38" y="30"/>
                  </a:lnTo>
                  <a:lnTo>
                    <a:pt x="42" y="30"/>
                  </a:lnTo>
                  <a:lnTo>
                    <a:pt x="42" y="34"/>
                  </a:lnTo>
                  <a:lnTo>
                    <a:pt x="42" y="38"/>
                  </a:lnTo>
                  <a:lnTo>
                    <a:pt x="42" y="42"/>
                  </a:lnTo>
                  <a:lnTo>
                    <a:pt x="42" y="38"/>
                  </a:lnTo>
                  <a:lnTo>
                    <a:pt x="38" y="38"/>
                  </a:lnTo>
                  <a:lnTo>
                    <a:pt x="42" y="38"/>
                  </a:lnTo>
                  <a:lnTo>
                    <a:pt x="42" y="34"/>
                  </a:lnTo>
                  <a:lnTo>
                    <a:pt x="42" y="30"/>
                  </a:lnTo>
                  <a:lnTo>
                    <a:pt x="38" y="30"/>
                  </a:lnTo>
                  <a:lnTo>
                    <a:pt x="38" y="26"/>
                  </a:lnTo>
                  <a:lnTo>
                    <a:pt x="34" y="26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close/>
                  <a:moveTo>
                    <a:pt x="12" y="30"/>
                  </a:moveTo>
                  <a:lnTo>
                    <a:pt x="16" y="30"/>
                  </a:lnTo>
                  <a:lnTo>
                    <a:pt x="16" y="34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18" y="42"/>
                  </a:lnTo>
                  <a:lnTo>
                    <a:pt x="18" y="46"/>
                  </a:lnTo>
                  <a:lnTo>
                    <a:pt x="16" y="50"/>
                  </a:lnTo>
                  <a:lnTo>
                    <a:pt x="16" y="46"/>
                  </a:lnTo>
                  <a:lnTo>
                    <a:pt x="12" y="46"/>
                  </a:lnTo>
                  <a:lnTo>
                    <a:pt x="12" y="42"/>
                  </a:lnTo>
                  <a:lnTo>
                    <a:pt x="8" y="42"/>
                  </a:lnTo>
                  <a:lnTo>
                    <a:pt x="12" y="42"/>
                  </a:lnTo>
                  <a:lnTo>
                    <a:pt x="12" y="38"/>
                  </a:lnTo>
                  <a:lnTo>
                    <a:pt x="12" y="42"/>
                  </a:lnTo>
                  <a:lnTo>
                    <a:pt x="12" y="38"/>
                  </a:lnTo>
                  <a:lnTo>
                    <a:pt x="12" y="34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close/>
                  <a:moveTo>
                    <a:pt x="22" y="34"/>
                  </a:moveTo>
                  <a:lnTo>
                    <a:pt x="26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close/>
                  <a:moveTo>
                    <a:pt x="18" y="50"/>
                  </a:moveTo>
                  <a:lnTo>
                    <a:pt x="18" y="54"/>
                  </a:lnTo>
                  <a:lnTo>
                    <a:pt x="18" y="50"/>
                  </a:lnTo>
                  <a:lnTo>
                    <a:pt x="22" y="50"/>
                  </a:lnTo>
                  <a:lnTo>
                    <a:pt x="22" y="54"/>
                  </a:lnTo>
                  <a:lnTo>
                    <a:pt x="22" y="56"/>
                  </a:lnTo>
                  <a:lnTo>
                    <a:pt x="18" y="56"/>
                  </a:lnTo>
                  <a:lnTo>
                    <a:pt x="22" y="56"/>
                  </a:lnTo>
                  <a:lnTo>
                    <a:pt x="18" y="56"/>
                  </a:lnTo>
                  <a:lnTo>
                    <a:pt x="16" y="54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close/>
                  <a:moveTo>
                    <a:pt x="44" y="56"/>
                  </a:moveTo>
                  <a:lnTo>
                    <a:pt x="44" y="60"/>
                  </a:lnTo>
                  <a:lnTo>
                    <a:pt x="42" y="60"/>
                  </a:lnTo>
                  <a:lnTo>
                    <a:pt x="42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close/>
                  <a:moveTo>
                    <a:pt x="52" y="60"/>
                  </a:move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close/>
                  <a:moveTo>
                    <a:pt x="70" y="76"/>
                  </a:moveTo>
                  <a:lnTo>
                    <a:pt x="68" y="76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70" y="76"/>
                  </a:lnTo>
                  <a:lnTo>
                    <a:pt x="70" y="76"/>
                  </a:lnTo>
                  <a:lnTo>
                    <a:pt x="70" y="76"/>
                  </a:lnTo>
                  <a:close/>
                  <a:moveTo>
                    <a:pt x="68" y="86"/>
                  </a:moveTo>
                  <a:lnTo>
                    <a:pt x="68" y="82"/>
                  </a:lnTo>
                  <a:lnTo>
                    <a:pt x="70" y="82"/>
                  </a:lnTo>
                  <a:lnTo>
                    <a:pt x="70" y="80"/>
                  </a:lnTo>
                  <a:lnTo>
                    <a:pt x="74" y="80"/>
                  </a:lnTo>
                  <a:lnTo>
                    <a:pt x="70" y="80"/>
                  </a:lnTo>
                  <a:lnTo>
                    <a:pt x="70" y="76"/>
                  </a:lnTo>
                  <a:lnTo>
                    <a:pt x="74" y="76"/>
                  </a:lnTo>
                  <a:lnTo>
                    <a:pt x="74" y="80"/>
                  </a:lnTo>
                  <a:lnTo>
                    <a:pt x="70" y="82"/>
                  </a:lnTo>
                  <a:lnTo>
                    <a:pt x="68" y="82"/>
                  </a:lnTo>
                  <a:lnTo>
                    <a:pt x="68" y="86"/>
                  </a:lnTo>
                  <a:lnTo>
                    <a:pt x="68" y="86"/>
                  </a:lnTo>
                  <a:lnTo>
                    <a:pt x="68" y="86"/>
                  </a:lnTo>
                  <a:close/>
                  <a:moveTo>
                    <a:pt x="74" y="110"/>
                  </a:moveTo>
                  <a:lnTo>
                    <a:pt x="74" y="106"/>
                  </a:lnTo>
                  <a:lnTo>
                    <a:pt x="78" y="106"/>
                  </a:lnTo>
                  <a:lnTo>
                    <a:pt x="78" y="102"/>
                  </a:lnTo>
                  <a:lnTo>
                    <a:pt x="82" y="102"/>
                  </a:lnTo>
                  <a:lnTo>
                    <a:pt x="82" y="106"/>
                  </a:lnTo>
                  <a:lnTo>
                    <a:pt x="82" y="102"/>
                  </a:lnTo>
                  <a:lnTo>
                    <a:pt x="86" y="102"/>
                  </a:lnTo>
                  <a:lnTo>
                    <a:pt x="86" y="106"/>
                  </a:lnTo>
                  <a:lnTo>
                    <a:pt x="82" y="106"/>
                  </a:lnTo>
                  <a:lnTo>
                    <a:pt x="82" y="110"/>
                  </a:lnTo>
                  <a:lnTo>
                    <a:pt x="78" y="110"/>
                  </a:lnTo>
                  <a:lnTo>
                    <a:pt x="78" y="106"/>
                  </a:lnTo>
                  <a:lnTo>
                    <a:pt x="74" y="110"/>
                  </a:lnTo>
                  <a:lnTo>
                    <a:pt x="74" y="110"/>
                  </a:lnTo>
                  <a:lnTo>
                    <a:pt x="74" y="110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45" name="Freeform 85">
              <a:extLst>
                <a:ext uri="{FF2B5EF4-FFF2-40B4-BE49-F238E27FC236}">
                  <a16:creationId xmlns:a16="http://schemas.microsoft.com/office/drawing/2014/main" id="{F4EF9451-CD39-04EE-19CB-E491E25353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86489" y="3801579"/>
              <a:ext cx="35068" cy="41481"/>
            </a:xfrm>
            <a:custGeom>
              <a:avLst/>
              <a:gdLst>
                <a:gd name="T0" fmla="*/ 14 w 18"/>
                <a:gd name="T1" fmla="*/ 4 h 22"/>
                <a:gd name="T2" fmla="*/ 14 w 18"/>
                <a:gd name="T3" fmla="*/ 4 h 22"/>
                <a:gd name="T4" fmla="*/ 18 w 18"/>
                <a:gd name="T5" fmla="*/ 4 h 22"/>
                <a:gd name="T6" fmla="*/ 18 w 18"/>
                <a:gd name="T7" fmla="*/ 0 h 22"/>
                <a:gd name="T8" fmla="*/ 18 w 18"/>
                <a:gd name="T9" fmla="*/ 4 h 22"/>
                <a:gd name="T10" fmla="*/ 18 w 18"/>
                <a:gd name="T11" fmla="*/ 4 h 22"/>
                <a:gd name="T12" fmla="*/ 18 w 18"/>
                <a:gd name="T13" fmla="*/ 4 h 22"/>
                <a:gd name="T14" fmla="*/ 14 w 18"/>
                <a:gd name="T15" fmla="*/ 4 h 22"/>
                <a:gd name="T16" fmla="*/ 14 w 18"/>
                <a:gd name="T17" fmla="*/ 4 h 22"/>
                <a:gd name="T18" fmla="*/ 12 w 18"/>
                <a:gd name="T19" fmla="*/ 12 h 22"/>
                <a:gd name="T20" fmla="*/ 14 w 18"/>
                <a:gd name="T21" fmla="*/ 12 h 22"/>
                <a:gd name="T22" fmla="*/ 14 w 18"/>
                <a:gd name="T23" fmla="*/ 12 h 22"/>
                <a:gd name="T24" fmla="*/ 14 w 18"/>
                <a:gd name="T25" fmla="*/ 12 h 22"/>
                <a:gd name="T26" fmla="*/ 12 w 18"/>
                <a:gd name="T27" fmla="*/ 12 h 22"/>
                <a:gd name="T28" fmla="*/ 12 w 18"/>
                <a:gd name="T29" fmla="*/ 16 h 22"/>
                <a:gd name="T30" fmla="*/ 14 w 18"/>
                <a:gd name="T31" fmla="*/ 18 h 22"/>
                <a:gd name="T32" fmla="*/ 12 w 18"/>
                <a:gd name="T33" fmla="*/ 22 h 22"/>
                <a:gd name="T34" fmla="*/ 12 w 18"/>
                <a:gd name="T35" fmla="*/ 22 h 22"/>
                <a:gd name="T36" fmla="*/ 8 w 18"/>
                <a:gd name="T37" fmla="*/ 22 h 22"/>
                <a:gd name="T38" fmla="*/ 4 w 18"/>
                <a:gd name="T39" fmla="*/ 22 h 22"/>
                <a:gd name="T40" fmla="*/ 0 w 18"/>
                <a:gd name="T41" fmla="*/ 22 h 22"/>
                <a:gd name="T42" fmla="*/ 0 w 18"/>
                <a:gd name="T43" fmla="*/ 22 h 22"/>
                <a:gd name="T44" fmla="*/ 0 w 18"/>
                <a:gd name="T45" fmla="*/ 22 h 22"/>
                <a:gd name="T46" fmla="*/ 0 w 18"/>
                <a:gd name="T47" fmla="*/ 22 h 22"/>
                <a:gd name="T48" fmla="*/ 8 w 18"/>
                <a:gd name="T49" fmla="*/ 18 h 22"/>
                <a:gd name="T50" fmla="*/ 8 w 18"/>
                <a:gd name="T51" fmla="*/ 18 h 22"/>
                <a:gd name="T52" fmla="*/ 8 w 18"/>
                <a:gd name="T53" fmla="*/ 16 h 22"/>
                <a:gd name="T54" fmla="*/ 4 w 18"/>
                <a:gd name="T55" fmla="*/ 12 h 22"/>
                <a:gd name="T56" fmla="*/ 4 w 18"/>
                <a:gd name="T57" fmla="*/ 12 h 22"/>
                <a:gd name="T58" fmla="*/ 4 w 18"/>
                <a:gd name="T59" fmla="*/ 12 h 22"/>
                <a:gd name="T60" fmla="*/ 8 w 18"/>
                <a:gd name="T61" fmla="*/ 12 h 22"/>
                <a:gd name="T62" fmla="*/ 8 w 18"/>
                <a:gd name="T63" fmla="*/ 12 h 22"/>
                <a:gd name="T64" fmla="*/ 12 w 18"/>
                <a:gd name="T65" fmla="*/ 12 h 22"/>
                <a:gd name="T66" fmla="*/ 12 w 18"/>
                <a:gd name="T67" fmla="*/ 12 h 22"/>
                <a:gd name="T68" fmla="*/ 12 w 18"/>
                <a:gd name="T69" fmla="*/ 1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" h="22">
                  <a:moveTo>
                    <a:pt x="14" y="4"/>
                  </a:move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close/>
                  <a:moveTo>
                    <a:pt x="12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8"/>
                  </a:lnTo>
                  <a:lnTo>
                    <a:pt x="14" y="18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solidFill>
              <a:srgbClr val="FFFF00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46" name="Freeform 86">
              <a:extLst>
                <a:ext uri="{FF2B5EF4-FFF2-40B4-BE49-F238E27FC236}">
                  <a16:creationId xmlns:a16="http://schemas.microsoft.com/office/drawing/2014/main" id="{F5C3B096-9539-1014-071D-D23CD2ADC0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13738" y="3458416"/>
              <a:ext cx="19482" cy="15084"/>
            </a:xfrm>
            <a:custGeom>
              <a:avLst/>
              <a:gdLst>
                <a:gd name="T0" fmla="*/ 10 w 10"/>
                <a:gd name="T1" fmla="*/ 8 h 8"/>
                <a:gd name="T2" fmla="*/ 10 w 10"/>
                <a:gd name="T3" fmla="*/ 8 h 8"/>
                <a:gd name="T4" fmla="*/ 10 w 10"/>
                <a:gd name="T5" fmla="*/ 8 h 8"/>
                <a:gd name="T6" fmla="*/ 10 w 10"/>
                <a:gd name="T7" fmla="*/ 8 h 8"/>
                <a:gd name="T8" fmla="*/ 10 w 10"/>
                <a:gd name="T9" fmla="*/ 8 h 8"/>
                <a:gd name="T10" fmla="*/ 10 w 10"/>
                <a:gd name="T11" fmla="*/ 8 h 8"/>
                <a:gd name="T12" fmla="*/ 10 w 10"/>
                <a:gd name="T13" fmla="*/ 8 h 8"/>
                <a:gd name="T14" fmla="*/ 0 w 10"/>
                <a:gd name="T15" fmla="*/ 0 h 8"/>
                <a:gd name="T16" fmla="*/ 0 w 10"/>
                <a:gd name="T17" fmla="*/ 0 h 8"/>
                <a:gd name="T18" fmla="*/ 0 w 10"/>
                <a:gd name="T19" fmla="*/ 0 h 8"/>
                <a:gd name="T20" fmla="*/ 0 w 10"/>
                <a:gd name="T21" fmla="*/ 0 h 8"/>
                <a:gd name="T22" fmla="*/ 0 w 10"/>
                <a:gd name="T23" fmla="*/ 0 h 8"/>
                <a:gd name="T24" fmla="*/ 0 w 10"/>
                <a:gd name="T25" fmla="*/ 0 h 8"/>
                <a:gd name="T26" fmla="*/ 0 w 10"/>
                <a:gd name="T27" fmla="*/ 0 h 8"/>
                <a:gd name="T28" fmla="*/ 0 w 10"/>
                <a:gd name="T29" fmla="*/ 0 h 8"/>
                <a:gd name="T30" fmla="*/ 0 w 10"/>
                <a:gd name="T31" fmla="*/ 0 h 8"/>
                <a:gd name="T32" fmla="*/ 0 w 10"/>
                <a:gd name="T33" fmla="*/ 0 h 8"/>
                <a:gd name="T34" fmla="*/ 0 w 10"/>
                <a:gd name="T35" fmla="*/ 0 h 8"/>
                <a:gd name="T36" fmla="*/ 0 w 10"/>
                <a:gd name="T37" fmla="*/ 0 h 8"/>
                <a:gd name="T38" fmla="*/ 0 w 10"/>
                <a:gd name="T39" fmla="*/ 0 h 8"/>
                <a:gd name="T40" fmla="*/ 0 w 10"/>
                <a:gd name="T41" fmla="*/ 0 h 8"/>
                <a:gd name="T42" fmla="*/ 0 w 10"/>
                <a:gd name="T43" fmla="*/ 0 h 8"/>
                <a:gd name="T44" fmla="*/ 2 w 10"/>
                <a:gd name="T45" fmla="*/ 4 h 8"/>
                <a:gd name="T46" fmla="*/ 2 w 10"/>
                <a:gd name="T47" fmla="*/ 4 h 8"/>
                <a:gd name="T48" fmla="*/ 2 w 10"/>
                <a:gd name="T49" fmla="*/ 4 h 8"/>
                <a:gd name="T50" fmla="*/ 2 w 10"/>
                <a:gd name="T51" fmla="*/ 0 h 8"/>
                <a:gd name="T52" fmla="*/ 2 w 10"/>
                <a:gd name="T53" fmla="*/ 0 h 8"/>
                <a:gd name="T54" fmla="*/ 2 w 10"/>
                <a:gd name="T55" fmla="*/ 0 h 8"/>
                <a:gd name="T56" fmla="*/ 2 w 10"/>
                <a:gd name="T57" fmla="*/ 0 h 8"/>
                <a:gd name="T58" fmla="*/ 0 w 10"/>
                <a:gd name="T59" fmla="*/ 4 h 8"/>
                <a:gd name="T60" fmla="*/ 0 w 10"/>
                <a:gd name="T61" fmla="*/ 4 h 8"/>
                <a:gd name="T62" fmla="*/ 0 w 10"/>
                <a:gd name="T63" fmla="*/ 0 h 8"/>
                <a:gd name="T64" fmla="*/ 0 w 10"/>
                <a:gd name="T65" fmla="*/ 0 h 8"/>
                <a:gd name="T66" fmla="*/ 0 w 10"/>
                <a:gd name="T67" fmla="*/ 0 h 8"/>
                <a:gd name="T68" fmla="*/ 2 w 10"/>
                <a:gd name="T69" fmla="*/ 0 h 8"/>
                <a:gd name="T70" fmla="*/ 2 w 10"/>
                <a:gd name="T71" fmla="*/ 0 h 8"/>
                <a:gd name="T72" fmla="*/ 2 w 10"/>
                <a:gd name="T73" fmla="*/ 0 h 8"/>
                <a:gd name="T74" fmla="*/ 2 w 10"/>
                <a:gd name="T75" fmla="*/ 0 h 8"/>
                <a:gd name="T76" fmla="*/ 2 w 10"/>
                <a:gd name="T77" fmla="*/ 4 h 8"/>
                <a:gd name="T78" fmla="*/ 2 w 10"/>
                <a:gd name="T79" fmla="*/ 4 h 8"/>
                <a:gd name="T80" fmla="*/ 2 w 10"/>
                <a:gd name="T81" fmla="*/ 4 h 8"/>
                <a:gd name="T82" fmla="*/ 2 w 10"/>
                <a:gd name="T83" fmla="*/ 4 h 8"/>
                <a:gd name="T84" fmla="*/ 2 w 10"/>
                <a:gd name="T85" fmla="*/ 4 h 8"/>
                <a:gd name="T86" fmla="*/ 2 w 10"/>
                <a:gd name="T87" fmla="*/ 4 h 8"/>
                <a:gd name="T88" fmla="*/ 2 w 10"/>
                <a:gd name="T8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" h="8">
                  <a:moveTo>
                    <a:pt x="10" y="8"/>
                  </a:move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47" name="Freeform 87">
              <a:extLst>
                <a:ext uri="{FF2B5EF4-FFF2-40B4-BE49-F238E27FC236}">
                  <a16:creationId xmlns:a16="http://schemas.microsoft.com/office/drawing/2014/main" id="{BD336255-14BE-99B3-4D82-CA793CAB4D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3045" y="2734382"/>
              <a:ext cx="50654" cy="105588"/>
            </a:xfrm>
            <a:custGeom>
              <a:avLst/>
              <a:gdLst>
                <a:gd name="T0" fmla="*/ 4 w 26"/>
                <a:gd name="T1" fmla="*/ 14 h 56"/>
                <a:gd name="T2" fmla="*/ 4 w 26"/>
                <a:gd name="T3" fmla="*/ 14 h 56"/>
                <a:gd name="T4" fmla="*/ 4 w 26"/>
                <a:gd name="T5" fmla="*/ 14 h 56"/>
                <a:gd name="T6" fmla="*/ 4 w 26"/>
                <a:gd name="T7" fmla="*/ 10 h 56"/>
                <a:gd name="T8" fmla="*/ 0 w 26"/>
                <a:gd name="T9" fmla="*/ 6 h 56"/>
                <a:gd name="T10" fmla="*/ 4 w 26"/>
                <a:gd name="T11" fmla="*/ 0 h 56"/>
                <a:gd name="T12" fmla="*/ 8 w 26"/>
                <a:gd name="T13" fmla="*/ 0 h 56"/>
                <a:gd name="T14" fmla="*/ 8 w 26"/>
                <a:gd name="T15" fmla="*/ 0 h 56"/>
                <a:gd name="T16" fmla="*/ 8 w 26"/>
                <a:gd name="T17" fmla="*/ 0 h 56"/>
                <a:gd name="T18" fmla="*/ 12 w 26"/>
                <a:gd name="T19" fmla="*/ 0 h 56"/>
                <a:gd name="T20" fmla="*/ 16 w 26"/>
                <a:gd name="T21" fmla="*/ 0 h 56"/>
                <a:gd name="T22" fmla="*/ 16 w 26"/>
                <a:gd name="T23" fmla="*/ 2 h 56"/>
                <a:gd name="T24" fmla="*/ 18 w 26"/>
                <a:gd name="T25" fmla="*/ 6 h 56"/>
                <a:gd name="T26" fmla="*/ 18 w 26"/>
                <a:gd name="T27" fmla="*/ 10 h 56"/>
                <a:gd name="T28" fmla="*/ 18 w 26"/>
                <a:gd name="T29" fmla="*/ 10 h 56"/>
                <a:gd name="T30" fmla="*/ 18 w 26"/>
                <a:gd name="T31" fmla="*/ 14 h 56"/>
                <a:gd name="T32" fmla="*/ 18 w 26"/>
                <a:gd name="T33" fmla="*/ 18 h 56"/>
                <a:gd name="T34" fmla="*/ 18 w 26"/>
                <a:gd name="T35" fmla="*/ 22 h 56"/>
                <a:gd name="T36" fmla="*/ 18 w 26"/>
                <a:gd name="T37" fmla="*/ 22 h 56"/>
                <a:gd name="T38" fmla="*/ 18 w 26"/>
                <a:gd name="T39" fmla="*/ 26 h 56"/>
                <a:gd name="T40" fmla="*/ 18 w 26"/>
                <a:gd name="T41" fmla="*/ 30 h 56"/>
                <a:gd name="T42" fmla="*/ 22 w 26"/>
                <a:gd name="T43" fmla="*/ 32 h 56"/>
                <a:gd name="T44" fmla="*/ 26 w 26"/>
                <a:gd name="T45" fmla="*/ 32 h 56"/>
                <a:gd name="T46" fmla="*/ 26 w 26"/>
                <a:gd name="T47" fmla="*/ 32 h 56"/>
                <a:gd name="T48" fmla="*/ 26 w 26"/>
                <a:gd name="T49" fmla="*/ 36 h 56"/>
                <a:gd name="T50" fmla="*/ 22 w 26"/>
                <a:gd name="T51" fmla="*/ 40 h 56"/>
                <a:gd name="T52" fmla="*/ 22 w 26"/>
                <a:gd name="T53" fmla="*/ 40 h 56"/>
                <a:gd name="T54" fmla="*/ 22 w 26"/>
                <a:gd name="T55" fmla="*/ 44 h 56"/>
                <a:gd name="T56" fmla="*/ 18 w 26"/>
                <a:gd name="T57" fmla="*/ 48 h 56"/>
                <a:gd name="T58" fmla="*/ 18 w 26"/>
                <a:gd name="T59" fmla="*/ 48 h 56"/>
                <a:gd name="T60" fmla="*/ 18 w 26"/>
                <a:gd name="T61" fmla="*/ 48 h 56"/>
                <a:gd name="T62" fmla="*/ 16 w 26"/>
                <a:gd name="T63" fmla="*/ 52 h 56"/>
                <a:gd name="T64" fmla="*/ 16 w 26"/>
                <a:gd name="T65" fmla="*/ 52 h 56"/>
                <a:gd name="T66" fmla="*/ 16 w 26"/>
                <a:gd name="T67" fmla="*/ 52 h 56"/>
                <a:gd name="T68" fmla="*/ 16 w 26"/>
                <a:gd name="T69" fmla="*/ 56 h 56"/>
                <a:gd name="T70" fmla="*/ 16 w 26"/>
                <a:gd name="T71" fmla="*/ 56 h 56"/>
                <a:gd name="T72" fmla="*/ 12 w 26"/>
                <a:gd name="T73" fmla="*/ 56 h 56"/>
                <a:gd name="T74" fmla="*/ 12 w 26"/>
                <a:gd name="T75" fmla="*/ 56 h 56"/>
                <a:gd name="T76" fmla="*/ 8 w 26"/>
                <a:gd name="T77" fmla="*/ 48 h 56"/>
                <a:gd name="T78" fmla="*/ 8 w 26"/>
                <a:gd name="T79" fmla="*/ 48 h 56"/>
                <a:gd name="T80" fmla="*/ 4 w 26"/>
                <a:gd name="T81" fmla="*/ 44 h 56"/>
                <a:gd name="T82" fmla="*/ 0 w 26"/>
                <a:gd name="T83" fmla="*/ 40 h 56"/>
                <a:gd name="T84" fmla="*/ 4 w 26"/>
                <a:gd name="T85" fmla="*/ 40 h 56"/>
                <a:gd name="T86" fmla="*/ 4 w 26"/>
                <a:gd name="T87" fmla="*/ 44 h 56"/>
                <a:gd name="T88" fmla="*/ 4 w 26"/>
                <a:gd name="T89" fmla="*/ 40 h 56"/>
                <a:gd name="T90" fmla="*/ 4 w 26"/>
                <a:gd name="T91" fmla="*/ 36 h 56"/>
                <a:gd name="T92" fmla="*/ 0 w 26"/>
                <a:gd name="T93" fmla="*/ 36 h 56"/>
                <a:gd name="T94" fmla="*/ 4 w 26"/>
                <a:gd name="T95" fmla="*/ 32 h 56"/>
                <a:gd name="T96" fmla="*/ 4 w 26"/>
                <a:gd name="T97" fmla="*/ 32 h 56"/>
                <a:gd name="T98" fmla="*/ 4 w 26"/>
                <a:gd name="T99" fmla="*/ 30 h 56"/>
                <a:gd name="T100" fmla="*/ 4 w 26"/>
                <a:gd name="T101" fmla="*/ 26 h 56"/>
                <a:gd name="T102" fmla="*/ 4 w 26"/>
                <a:gd name="T103" fmla="*/ 26 h 56"/>
                <a:gd name="T104" fmla="*/ 4 w 26"/>
                <a:gd name="T105" fmla="*/ 18 h 56"/>
                <a:gd name="T106" fmla="*/ 4 w 26"/>
                <a:gd name="T107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" h="56">
                  <a:moveTo>
                    <a:pt x="4" y="18"/>
                  </a:moveTo>
                  <a:lnTo>
                    <a:pt x="4" y="18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6"/>
                  </a:lnTo>
                  <a:lnTo>
                    <a:pt x="4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2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48" name="Freeform 88">
              <a:extLst>
                <a:ext uri="{FF2B5EF4-FFF2-40B4-BE49-F238E27FC236}">
                  <a16:creationId xmlns:a16="http://schemas.microsoft.com/office/drawing/2014/main" id="{21EB69E4-5A6A-1B03-A8C8-EB43B23D55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8198" y="2734382"/>
              <a:ext cx="15586" cy="3771"/>
            </a:xfrm>
            <a:custGeom>
              <a:avLst/>
              <a:gdLst>
                <a:gd name="T0" fmla="*/ 0 w 8"/>
                <a:gd name="T1" fmla="*/ 0 h 2"/>
                <a:gd name="T2" fmla="*/ 4 w 8"/>
                <a:gd name="T3" fmla="*/ 0 h 2"/>
                <a:gd name="T4" fmla="*/ 4 w 8"/>
                <a:gd name="T5" fmla="*/ 0 h 2"/>
                <a:gd name="T6" fmla="*/ 4 w 8"/>
                <a:gd name="T7" fmla="*/ 0 h 2"/>
                <a:gd name="T8" fmla="*/ 8 w 8"/>
                <a:gd name="T9" fmla="*/ 0 h 2"/>
                <a:gd name="T10" fmla="*/ 8 w 8"/>
                <a:gd name="T11" fmla="*/ 0 h 2"/>
                <a:gd name="T12" fmla="*/ 8 w 8"/>
                <a:gd name="T13" fmla="*/ 0 h 2"/>
                <a:gd name="T14" fmla="*/ 8 w 8"/>
                <a:gd name="T15" fmla="*/ 0 h 2"/>
                <a:gd name="T16" fmla="*/ 8 w 8"/>
                <a:gd name="T17" fmla="*/ 0 h 2"/>
                <a:gd name="T18" fmla="*/ 8 w 8"/>
                <a:gd name="T19" fmla="*/ 0 h 2"/>
                <a:gd name="T20" fmla="*/ 8 w 8"/>
                <a:gd name="T21" fmla="*/ 0 h 2"/>
                <a:gd name="T22" fmla="*/ 4 w 8"/>
                <a:gd name="T23" fmla="*/ 2 h 2"/>
                <a:gd name="T24" fmla="*/ 4 w 8"/>
                <a:gd name="T25" fmla="*/ 2 h 2"/>
                <a:gd name="T26" fmla="*/ 4 w 8"/>
                <a:gd name="T27" fmla="*/ 2 h 2"/>
                <a:gd name="T28" fmla="*/ 4 w 8"/>
                <a:gd name="T29" fmla="*/ 2 h 2"/>
                <a:gd name="T30" fmla="*/ 0 w 8"/>
                <a:gd name="T31" fmla="*/ 0 h 2"/>
                <a:gd name="T32" fmla="*/ 0 w 8"/>
                <a:gd name="T33" fmla="*/ 0 h 2"/>
                <a:gd name="T34" fmla="*/ 0 w 8"/>
                <a:gd name="T35" fmla="*/ 0 h 2"/>
                <a:gd name="T36" fmla="*/ 0 w 8"/>
                <a:gd name="T37" fmla="*/ 0 h 2"/>
                <a:gd name="T38" fmla="*/ 0 w 8"/>
                <a:gd name="T39" fmla="*/ 0 h 2"/>
                <a:gd name="T40" fmla="*/ 0 w 8"/>
                <a:gd name="T4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" h="2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49" name="Freeform 89">
              <a:extLst>
                <a:ext uri="{FF2B5EF4-FFF2-40B4-BE49-F238E27FC236}">
                  <a16:creationId xmlns:a16="http://schemas.microsoft.com/office/drawing/2014/main" id="{2AF1850C-F701-C933-504E-9A789B037F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4191" y="2489266"/>
              <a:ext cx="210408" cy="98046"/>
            </a:xfrm>
            <a:custGeom>
              <a:avLst/>
              <a:gdLst>
                <a:gd name="T0" fmla="*/ 12 w 108"/>
                <a:gd name="T1" fmla="*/ 40 h 52"/>
                <a:gd name="T2" fmla="*/ 8 w 108"/>
                <a:gd name="T3" fmla="*/ 44 h 52"/>
                <a:gd name="T4" fmla="*/ 4 w 108"/>
                <a:gd name="T5" fmla="*/ 40 h 52"/>
                <a:gd name="T6" fmla="*/ 4 w 108"/>
                <a:gd name="T7" fmla="*/ 40 h 52"/>
                <a:gd name="T8" fmla="*/ 4 w 108"/>
                <a:gd name="T9" fmla="*/ 34 h 52"/>
                <a:gd name="T10" fmla="*/ 0 w 108"/>
                <a:gd name="T11" fmla="*/ 30 h 52"/>
                <a:gd name="T12" fmla="*/ 4 w 108"/>
                <a:gd name="T13" fmla="*/ 30 h 52"/>
                <a:gd name="T14" fmla="*/ 12 w 108"/>
                <a:gd name="T15" fmla="*/ 38 h 52"/>
                <a:gd name="T16" fmla="*/ 14 w 108"/>
                <a:gd name="T17" fmla="*/ 34 h 52"/>
                <a:gd name="T18" fmla="*/ 18 w 108"/>
                <a:gd name="T19" fmla="*/ 30 h 52"/>
                <a:gd name="T20" fmla="*/ 26 w 108"/>
                <a:gd name="T21" fmla="*/ 30 h 52"/>
                <a:gd name="T22" fmla="*/ 38 w 108"/>
                <a:gd name="T23" fmla="*/ 30 h 52"/>
                <a:gd name="T24" fmla="*/ 38 w 108"/>
                <a:gd name="T25" fmla="*/ 30 h 52"/>
                <a:gd name="T26" fmla="*/ 44 w 108"/>
                <a:gd name="T27" fmla="*/ 30 h 52"/>
                <a:gd name="T28" fmla="*/ 48 w 108"/>
                <a:gd name="T29" fmla="*/ 34 h 52"/>
                <a:gd name="T30" fmla="*/ 48 w 108"/>
                <a:gd name="T31" fmla="*/ 26 h 52"/>
                <a:gd name="T32" fmla="*/ 48 w 108"/>
                <a:gd name="T33" fmla="*/ 22 h 52"/>
                <a:gd name="T34" fmla="*/ 44 w 108"/>
                <a:gd name="T35" fmla="*/ 18 h 52"/>
                <a:gd name="T36" fmla="*/ 52 w 108"/>
                <a:gd name="T37" fmla="*/ 14 h 52"/>
                <a:gd name="T38" fmla="*/ 56 w 108"/>
                <a:gd name="T39" fmla="*/ 10 h 52"/>
                <a:gd name="T40" fmla="*/ 60 w 108"/>
                <a:gd name="T41" fmla="*/ 10 h 52"/>
                <a:gd name="T42" fmla="*/ 64 w 108"/>
                <a:gd name="T43" fmla="*/ 6 h 52"/>
                <a:gd name="T44" fmla="*/ 70 w 108"/>
                <a:gd name="T45" fmla="*/ 6 h 52"/>
                <a:gd name="T46" fmla="*/ 74 w 108"/>
                <a:gd name="T47" fmla="*/ 6 h 52"/>
                <a:gd name="T48" fmla="*/ 78 w 108"/>
                <a:gd name="T49" fmla="*/ 4 h 52"/>
                <a:gd name="T50" fmla="*/ 82 w 108"/>
                <a:gd name="T51" fmla="*/ 0 h 52"/>
                <a:gd name="T52" fmla="*/ 86 w 108"/>
                <a:gd name="T53" fmla="*/ 4 h 52"/>
                <a:gd name="T54" fmla="*/ 92 w 108"/>
                <a:gd name="T55" fmla="*/ 4 h 52"/>
                <a:gd name="T56" fmla="*/ 96 w 108"/>
                <a:gd name="T57" fmla="*/ 6 h 52"/>
                <a:gd name="T58" fmla="*/ 100 w 108"/>
                <a:gd name="T59" fmla="*/ 6 h 52"/>
                <a:gd name="T60" fmla="*/ 104 w 108"/>
                <a:gd name="T61" fmla="*/ 6 h 52"/>
                <a:gd name="T62" fmla="*/ 104 w 108"/>
                <a:gd name="T63" fmla="*/ 14 h 52"/>
                <a:gd name="T64" fmla="*/ 108 w 108"/>
                <a:gd name="T65" fmla="*/ 18 h 52"/>
                <a:gd name="T66" fmla="*/ 108 w 108"/>
                <a:gd name="T67" fmla="*/ 22 h 52"/>
                <a:gd name="T68" fmla="*/ 108 w 108"/>
                <a:gd name="T69" fmla="*/ 26 h 52"/>
                <a:gd name="T70" fmla="*/ 100 w 108"/>
                <a:gd name="T71" fmla="*/ 26 h 52"/>
                <a:gd name="T72" fmla="*/ 100 w 108"/>
                <a:gd name="T73" fmla="*/ 30 h 52"/>
                <a:gd name="T74" fmla="*/ 100 w 108"/>
                <a:gd name="T75" fmla="*/ 34 h 52"/>
                <a:gd name="T76" fmla="*/ 100 w 108"/>
                <a:gd name="T77" fmla="*/ 38 h 52"/>
                <a:gd name="T78" fmla="*/ 96 w 108"/>
                <a:gd name="T79" fmla="*/ 40 h 52"/>
                <a:gd name="T80" fmla="*/ 92 w 108"/>
                <a:gd name="T81" fmla="*/ 44 h 52"/>
                <a:gd name="T82" fmla="*/ 90 w 108"/>
                <a:gd name="T83" fmla="*/ 48 h 52"/>
                <a:gd name="T84" fmla="*/ 78 w 108"/>
                <a:gd name="T85" fmla="*/ 48 h 52"/>
                <a:gd name="T86" fmla="*/ 70 w 108"/>
                <a:gd name="T87" fmla="*/ 52 h 52"/>
                <a:gd name="T88" fmla="*/ 64 w 108"/>
                <a:gd name="T89" fmla="*/ 52 h 52"/>
                <a:gd name="T90" fmla="*/ 56 w 108"/>
                <a:gd name="T91" fmla="*/ 52 h 52"/>
                <a:gd name="T92" fmla="*/ 44 w 108"/>
                <a:gd name="T93" fmla="*/ 48 h 52"/>
                <a:gd name="T94" fmla="*/ 40 w 108"/>
                <a:gd name="T95" fmla="*/ 48 h 52"/>
                <a:gd name="T96" fmla="*/ 38 w 108"/>
                <a:gd name="T97" fmla="*/ 40 h 52"/>
                <a:gd name="T98" fmla="*/ 38 w 108"/>
                <a:gd name="T99" fmla="*/ 40 h 52"/>
                <a:gd name="T100" fmla="*/ 30 w 108"/>
                <a:gd name="T101" fmla="*/ 40 h 52"/>
                <a:gd name="T102" fmla="*/ 22 w 108"/>
                <a:gd name="T103" fmla="*/ 44 h 52"/>
                <a:gd name="T104" fmla="*/ 18 w 108"/>
                <a:gd name="T105" fmla="*/ 44 h 52"/>
                <a:gd name="T106" fmla="*/ 14 w 108"/>
                <a:gd name="T107" fmla="*/ 4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8" h="52">
                  <a:moveTo>
                    <a:pt x="14" y="44"/>
                  </a:moveTo>
                  <a:lnTo>
                    <a:pt x="14" y="44"/>
                  </a:lnTo>
                  <a:lnTo>
                    <a:pt x="14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8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6" y="34"/>
                  </a:lnTo>
                  <a:lnTo>
                    <a:pt x="26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4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52" y="34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8" y="18"/>
                  </a:lnTo>
                  <a:lnTo>
                    <a:pt x="48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70" y="10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4" y="6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2" y="4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6"/>
                  </a:lnTo>
                  <a:lnTo>
                    <a:pt x="108" y="26"/>
                  </a:lnTo>
                  <a:lnTo>
                    <a:pt x="108" y="26"/>
                  </a:lnTo>
                  <a:lnTo>
                    <a:pt x="108" y="26"/>
                  </a:lnTo>
                  <a:lnTo>
                    <a:pt x="108" y="26"/>
                  </a:lnTo>
                  <a:lnTo>
                    <a:pt x="104" y="26"/>
                  </a:lnTo>
                  <a:lnTo>
                    <a:pt x="104" y="26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4" y="26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96" y="26"/>
                  </a:lnTo>
                  <a:lnTo>
                    <a:pt x="96" y="30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96" y="34"/>
                  </a:lnTo>
                  <a:lnTo>
                    <a:pt x="96" y="34"/>
                  </a:lnTo>
                  <a:lnTo>
                    <a:pt x="100" y="38"/>
                  </a:lnTo>
                  <a:lnTo>
                    <a:pt x="100" y="38"/>
                  </a:lnTo>
                  <a:lnTo>
                    <a:pt x="96" y="38"/>
                  </a:lnTo>
                  <a:lnTo>
                    <a:pt x="96" y="38"/>
                  </a:lnTo>
                  <a:lnTo>
                    <a:pt x="96" y="38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86" y="48"/>
                  </a:lnTo>
                  <a:lnTo>
                    <a:pt x="82" y="48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4" y="48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0" y="52"/>
                  </a:lnTo>
                  <a:lnTo>
                    <a:pt x="70" y="52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48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38" y="44"/>
                  </a:lnTo>
                  <a:lnTo>
                    <a:pt x="38" y="44"/>
                  </a:lnTo>
                  <a:lnTo>
                    <a:pt x="38" y="44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22" y="40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18" y="48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44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50" name="Freeform 90">
              <a:extLst>
                <a:ext uri="{FF2B5EF4-FFF2-40B4-BE49-F238E27FC236}">
                  <a16:creationId xmlns:a16="http://schemas.microsoft.com/office/drawing/2014/main" id="{0B893A9F-924C-52E2-5D33-D977EACCD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2146" y="2198898"/>
              <a:ext cx="261061" cy="203635"/>
            </a:xfrm>
            <a:custGeom>
              <a:avLst/>
              <a:gdLst>
                <a:gd name="T0" fmla="*/ 26 w 134"/>
                <a:gd name="T1" fmla="*/ 94 h 108"/>
                <a:gd name="T2" fmla="*/ 14 w 134"/>
                <a:gd name="T3" fmla="*/ 98 h 108"/>
                <a:gd name="T4" fmla="*/ 12 w 134"/>
                <a:gd name="T5" fmla="*/ 100 h 108"/>
                <a:gd name="T6" fmla="*/ 4 w 134"/>
                <a:gd name="T7" fmla="*/ 100 h 108"/>
                <a:gd name="T8" fmla="*/ 8 w 134"/>
                <a:gd name="T9" fmla="*/ 90 h 108"/>
                <a:gd name="T10" fmla="*/ 0 w 134"/>
                <a:gd name="T11" fmla="*/ 82 h 108"/>
                <a:gd name="T12" fmla="*/ 8 w 134"/>
                <a:gd name="T13" fmla="*/ 78 h 108"/>
                <a:gd name="T14" fmla="*/ 12 w 134"/>
                <a:gd name="T15" fmla="*/ 74 h 108"/>
                <a:gd name="T16" fmla="*/ 8 w 134"/>
                <a:gd name="T17" fmla="*/ 60 h 108"/>
                <a:gd name="T18" fmla="*/ 4 w 134"/>
                <a:gd name="T19" fmla="*/ 52 h 108"/>
                <a:gd name="T20" fmla="*/ 8 w 134"/>
                <a:gd name="T21" fmla="*/ 48 h 108"/>
                <a:gd name="T22" fmla="*/ 14 w 134"/>
                <a:gd name="T23" fmla="*/ 48 h 108"/>
                <a:gd name="T24" fmla="*/ 18 w 134"/>
                <a:gd name="T25" fmla="*/ 48 h 108"/>
                <a:gd name="T26" fmla="*/ 22 w 134"/>
                <a:gd name="T27" fmla="*/ 44 h 108"/>
                <a:gd name="T28" fmla="*/ 30 w 134"/>
                <a:gd name="T29" fmla="*/ 44 h 108"/>
                <a:gd name="T30" fmla="*/ 34 w 134"/>
                <a:gd name="T31" fmla="*/ 44 h 108"/>
                <a:gd name="T32" fmla="*/ 38 w 134"/>
                <a:gd name="T33" fmla="*/ 40 h 108"/>
                <a:gd name="T34" fmla="*/ 38 w 134"/>
                <a:gd name="T35" fmla="*/ 38 h 108"/>
                <a:gd name="T36" fmla="*/ 38 w 134"/>
                <a:gd name="T37" fmla="*/ 30 h 108"/>
                <a:gd name="T38" fmla="*/ 44 w 134"/>
                <a:gd name="T39" fmla="*/ 22 h 108"/>
                <a:gd name="T40" fmla="*/ 48 w 134"/>
                <a:gd name="T41" fmla="*/ 18 h 108"/>
                <a:gd name="T42" fmla="*/ 48 w 134"/>
                <a:gd name="T43" fmla="*/ 10 h 108"/>
                <a:gd name="T44" fmla="*/ 52 w 134"/>
                <a:gd name="T45" fmla="*/ 10 h 108"/>
                <a:gd name="T46" fmla="*/ 64 w 134"/>
                <a:gd name="T47" fmla="*/ 10 h 108"/>
                <a:gd name="T48" fmla="*/ 68 w 134"/>
                <a:gd name="T49" fmla="*/ 4 h 108"/>
                <a:gd name="T50" fmla="*/ 74 w 134"/>
                <a:gd name="T51" fmla="*/ 4 h 108"/>
                <a:gd name="T52" fmla="*/ 78 w 134"/>
                <a:gd name="T53" fmla="*/ 8 h 108"/>
                <a:gd name="T54" fmla="*/ 88 w 134"/>
                <a:gd name="T55" fmla="*/ 8 h 108"/>
                <a:gd name="T56" fmla="*/ 96 w 134"/>
                <a:gd name="T57" fmla="*/ 8 h 108"/>
                <a:gd name="T58" fmla="*/ 108 w 134"/>
                <a:gd name="T59" fmla="*/ 14 h 108"/>
                <a:gd name="T60" fmla="*/ 108 w 134"/>
                <a:gd name="T61" fmla="*/ 18 h 108"/>
                <a:gd name="T62" fmla="*/ 112 w 134"/>
                <a:gd name="T63" fmla="*/ 26 h 108"/>
                <a:gd name="T64" fmla="*/ 108 w 134"/>
                <a:gd name="T65" fmla="*/ 34 h 108"/>
                <a:gd name="T66" fmla="*/ 112 w 134"/>
                <a:gd name="T67" fmla="*/ 38 h 108"/>
                <a:gd name="T68" fmla="*/ 118 w 134"/>
                <a:gd name="T69" fmla="*/ 44 h 108"/>
                <a:gd name="T70" fmla="*/ 122 w 134"/>
                <a:gd name="T71" fmla="*/ 52 h 108"/>
                <a:gd name="T72" fmla="*/ 130 w 134"/>
                <a:gd name="T73" fmla="*/ 56 h 108"/>
                <a:gd name="T74" fmla="*/ 134 w 134"/>
                <a:gd name="T75" fmla="*/ 60 h 108"/>
                <a:gd name="T76" fmla="*/ 130 w 134"/>
                <a:gd name="T77" fmla="*/ 68 h 108"/>
                <a:gd name="T78" fmla="*/ 122 w 134"/>
                <a:gd name="T79" fmla="*/ 68 h 108"/>
                <a:gd name="T80" fmla="*/ 114 w 134"/>
                <a:gd name="T81" fmla="*/ 70 h 108"/>
                <a:gd name="T82" fmla="*/ 118 w 134"/>
                <a:gd name="T83" fmla="*/ 74 h 108"/>
                <a:gd name="T84" fmla="*/ 118 w 134"/>
                <a:gd name="T85" fmla="*/ 86 h 108"/>
                <a:gd name="T86" fmla="*/ 118 w 134"/>
                <a:gd name="T87" fmla="*/ 90 h 108"/>
                <a:gd name="T88" fmla="*/ 112 w 134"/>
                <a:gd name="T89" fmla="*/ 90 h 108"/>
                <a:gd name="T90" fmla="*/ 104 w 134"/>
                <a:gd name="T91" fmla="*/ 94 h 108"/>
                <a:gd name="T92" fmla="*/ 104 w 134"/>
                <a:gd name="T93" fmla="*/ 104 h 108"/>
                <a:gd name="T94" fmla="*/ 96 w 134"/>
                <a:gd name="T95" fmla="*/ 100 h 108"/>
                <a:gd name="T96" fmla="*/ 92 w 134"/>
                <a:gd name="T97" fmla="*/ 104 h 108"/>
                <a:gd name="T98" fmla="*/ 84 w 134"/>
                <a:gd name="T99" fmla="*/ 100 h 108"/>
                <a:gd name="T100" fmla="*/ 78 w 134"/>
                <a:gd name="T101" fmla="*/ 100 h 108"/>
                <a:gd name="T102" fmla="*/ 78 w 134"/>
                <a:gd name="T103" fmla="*/ 100 h 108"/>
                <a:gd name="T104" fmla="*/ 70 w 134"/>
                <a:gd name="T105" fmla="*/ 100 h 108"/>
                <a:gd name="T106" fmla="*/ 68 w 134"/>
                <a:gd name="T107" fmla="*/ 100 h 108"/>
                <a:gd name="T108" fmla="*/ 64 w 134"/>
                <a:gd name="T109" fmla="*/ 100 h 108"/>
                <a:gd name="T110" fmla="*/ 60 w 134"/>
                <a:gd name="T111" fmla="*/ 100 h 108"/>
                <a:gd name="T112" fmla="*/ 52 w 134"/>
                <a:gd name="T113" fmla="*/ 98 h 108"/>
                <a:gd name="T114" fmla="*/ 48 w 134"/>
                <a:gd name="T115" fmla="*/ 94 h 108"/>
                <a:gd name="T116" fmla="*/ 44 w 134"/>
                <a:gd name="T117" fmla="*/ 94 h 108"/>
                <a:gd name="T118" fmla="*/ 38 w 134"/>
                <a:gd name="T119" fmla="*/ 9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4" h="108">
                  <a:moveTo>
                    <a:pt x="34" y="94"/>
                  </a:moveTo>
                  <a:lnTo>
                    <a:pt x="34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26" y="94"/>
                  </a:lnTo>
                  <a:lnTo>
                    <a:pt x="26" y="94"/>
                  </a:lnTo>
                  <a:lnTo>
                    <a:pt x="26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18" y="94"/>
                  </a:lnTo>
                  <a:lnTo>
                    <a:pt x="14" y="94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8" y="98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8" y="94"/>
                  </a:lnTo>
                  <a:lnTo>
                    <a:pt x="8" y="94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4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52"/>
                  </a:lnTo>
                  <a:lnTo>
                    <a:pt x="18" y="52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8" y="44"/>
                  </a:lnTo>
                  <a:lnTo>
                    <a:pt x="38" y="44"/>
                  </a:lnTo>
                  <a:lnTo>
                    <a:pt x="38" y="44"/>
                  </a:lnTo>
                  <a:lnTo>
                    <a:pt x="38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4" y="18"/>
                  </a:lnTo>
                  <a:lnTo>
                    <a:pt x="48" y="18"/>
                  </a:lnTo>
                  <a:lnTo>
                    <a:pt x="48" y="14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82" y="8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4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92" y="10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12" y="22"/>
                  </a:lnTo>
                  <a:lnTo>
                    <a:pt x="112" y="26"/>
                  </a:lnTo>
                  <a:lnTo>
                    <a:pt x="108" y="26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4" y="38"/>
                  </a:lnTo>
                  <a:lnTo>
                    <a:pt x="114" y="40"/>
                  </a:lnTo>
                  <a:lnTo>
                    <a:pt x="114" y="40"/>
                  </a:lnTo>
                  <a:lnTo>
                    <a:pt x="114" y="44"/>
                  </a:lnTo>
                  <a:lnTo>
                    <a:pt x="118" y="44"/>
                  </a:lnTo>
                  <a:lnTo>
                    <a:pt x="118" y="44"/>
                  </a:lnTo>
                  <a:lnTo>
                    <a:pt x="118" y="44"/>
                  </a:lnTo>
                  <a:lnTo>
                    <a:pt x="118" y="44"/>
                  </a:lnTo>
                  <a:lnTo>
                    <a:pt x="122" y="44"/>
                  </a:lnTo>
                  <a:lnTo>
                    <a:pt x="122" y="48"/>
                  </a:lnTo>
                  <a:lnTo>
                    <a:pt x="122" y="48"/>
                  </a:lnTo>
                  <a:lnTo>
                    <a:pt x="122" y="48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6" y="52"/>
                  </a:lnTo>
                  <a:lnTo>
                    <a:pt x="130" y="52"/>
                  </a:lnTo>
                  <a:lnTo>
                    <a:pt x="130" y="56"/>
                  </a:lnTo>
                  <a:lnTo>
                    <a:pt x="130" y="56"/>
                  </a:lnTo>
                  <a:lnTo>
                    <a:pt x="130" y="56"/>
                  </a:lnTo>
                  <a:lnTo>
                    <a:pt x="130" y="56"/>
                  </a:lnTo>
                  <a:lnTo>
                    <a:pt x="130" y="56"/>
                  </a:lnTo>
                  <a:lnTo>
                    <a:pt x="130" y="56"/>
                  </a:lnTo>
                  <a:lnTo>
                    <a:pt x="130" y="60"/>
                  </a:lnTo>
                  <a:lnTo>
                    <a:pt x="134" y="60"/>
                  </a:lnTo>
                  <a:lnTo>
                    <a:pt x="134" y="60"/>
                  </a:lnTo>
                  <a:lnTo>
                    <a:pt x="134" y="60"/>
                  </a:lnTo>
                  <a:lnTo>
                    <a:pt x="134" y="60"/>
                  </a:lnTo>
                  <a:lnTo>
                    <a:pt x="134" y="60"/>
                  </a:lnTo>
                  <a:lnTo>
                    <a:pt x="134" y="64"/>
                  </a:lnTo>
                  <a:lnTo>
                    <a:pt x="134" y="64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26" y="68"/>
                  </a:lnTo>
                  <a:lnTo>
                    <a:pt x="126" y="68"/>
                  </a:lnTo>
                  <a:lnTo>
                    <a:pt x="126" y="68"/>
                  </a:lnTo>
                  <a:lnTo>
                    <a:pt x="122" y="68"/>
                  </a:lnTo>
                  <a:lnTo>
                    <a:pt x="122" y="68"/>
                  </a:lnTo>
                  <a:lnTo>
                    <a:pt x="122" y="68"/>
                  </a:lnTo>
                  <a:lnTo>
                    <a:pt x="122" y="68"/>
                  </a:lnTo>
                  <a:lnTo>
                    <a:pt x="122" y="68"/>
                  </a:lnTo>
                  <a:lnTo>
                    <a:pt x="118" y="68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4" y="70"/>
                  </a:lnTo>
                  <a:lnTo>
                    <a:pt x="114" y="70"/>
                  </a:lnTo>
                  <a:lnTo>
                    <a:pt x="114" y="70"/>
                  </a:lnTo>
                  <a:lnTo>
                    <a:pt x="114" y="70"/>
                  </a:lnTo>
                  <a:lnTo>
                    <a:pt x="114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8"/>
                  </a:lnTo>
                  <a:lnTo>
                    <a:pt x="118" y="78"/>
                  </a:lnTo>
                  <a:lnTo>
                    <a:pt x="118" y="82"/>
                  </a:lnTo>
                  <a:lnTo>
                    <a:pt x="118" y="82"/>
                  </a:lnTo>
                  <a:lnTo>
                    <a:pt x="118" y="86"/>
                  </a:lnTo>
                  <a:lnTo>
                    <a:pt x="118" y="86"/>
                  </a:lnTo>
                  <a:lnTo>
                    <a:pt x="118" y="86"/>
                  </a:lnTo>
                  <a:lnTo>
                    <a:pt x="122" y="86"/>
                  </a:lnTo>
                  <a:lnTo>
                    <a:pt x="122" y="90"/>
                  </a:lnTo>
                  <a:lnTo>
                    <a:pt x="122" y="90"/>
                  </a:lnTo>
                  <a:lnTo>
                    <a:pt x="122" y="90"/>
                  </a:lnTo>
                  <a:lnTo>
                    <a:pt x="118" y="90"/>
                  </a:lnTo>
                  <a:lnTo>
                    <a:pt x="118" y="90"/>
                  </a:lnTo>
                  <a:lnTo>
                    <a:pt x="118" y="90"/>
                  </a:lnTo>
                  <a:lnTo>
                    <a:pt x="118" y="90"/>
                  </a:lnTo>
                  <a:lnTo>
                    <a:pt x="114" y="90"/>
                  </a:lnTo>
                  <a:lnTo>
                    <a:pt x="114" y="90"/>
                  </a:lnTo>
                  <a:lnTo>
                    <a:pt x="114" y="90"/>
                  </a:lnTo>
                  <a:lnTo>
                    <a:pt x="114" y="90"/>
                  </a:lnTo>
                  <a:lnTo>
                    <a:pt x="114" y="90"/>
                  </a:lnTo>
                  <a:lnTo>
                    <a:pt x="112" y="90"/>
                  </a:lnTo>
                  <a:lnTo>
                    <a:pt x="112" y="90"/>
                  </a:lnTo>
                  <a:lnTo>
                    <a:pt x="108" y="90"/>
                  </a:lnTo>
                  <a:lnTo>
                    <a:pt x="108" y="90"/>
                  </a:lnTo>
                  <a:lnTo>
                    <a:pt x="108" y="90"/>
                  </a:lnTo>
                  <a:lnTo>
                    <a:pt x="108" y="90"/>
                  </a:lnTo>
                  <a:lnTo>
                    <a:pt x="108" y="94"/>
                  </a:lnTo>
                  <a:lnTo>
                    <a:pt x="108" y="94"/>
                  </a:lnTo>
                  <a:lnTo>
                    <a:pt x="108" y="94"/>
                  </a:lnTo>
                  <a:lnTo>
                    <a:pt x="104" y="94"/>
                  </a:lnTo>
                  <a:lnTo>
                    <a:pt x="104" y="98"/>
                  </a:lnTo>
                  <a:lnTo>
                    <a:pt x="104" y="98"/>
                  </a:lnTo>
                  <a:lnTo>
                    <a:pt x="104" y="98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8"/>
                  </a:lnTo>
                  <a:lnTo>
                    <a:pt x="104" y="104"/>
                  </a:lnTo>
                  <a:lnTo>
                    <a:pt x="100" y="104"/>
                  </a:lnTo>
                  <a:lnTo>
                    <a:pt x="100" y="104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96" y="100"/>
                  </a:lnTo>
                  <a:lnTo>
                    <a:pt x="96" y="100"/>
                  </a:lnTo>
                  <a:lnTo>
                    <a:pt x="96" y="100"/>
                  </a:lnTo>
                  <a:lnTo>
                    <a:pt x="96" y="100"/>
                  </a:lnTo>
                  <a:lnTo>
                    <a:pt x="96" y="100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2" y="100"/>
                  </a:lnTo>
                  <a:lnTo>
                    <a:pt x="82" y="100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78" y="104"/>
                  </a:lnTo>
                  <a:lnTo>
                    <a:pt x="78" y="104"/>
                  </a:lnTo>
                  <a:lnTo>
                    <a:pt x="78" y="104"/>
                  </a:lnTo>
                  <a:lnTo>
                    <a:pt x="78" y="104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74" y="100"/>
                  </a:lnTo>
                  <a:lnTo>
                    <a:pt x="74" y="100"/>
                  </a:lnTo>
                  <a:lnTo>
                    <a:pt x="74" y="100"/>
                  </a:lnTo>
                  <a:lnTo>
                    <a:pt x="70" y="100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100"/>
                  </a:lnTo>
                  <a:lnTo>
                    <a:pt x="70" y="100"/>
                  </a:lnTo>
                  <a:lnTo>
                    <a:pt x="70" y="100"/>
                  </a:lnTo>
                  <a:lnTo>
                    <a:pt x="70" y="100"/>
                  </a:lnTo>
                  <a:lnTo>
                    <a:pt x="70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4"/>
                  </a:lnTo>
                  <a:lnTo>
                    <a:pt x="48" y="94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4" y="98"/>
                  </a:lnTo>
                  <a:lnTo>
                    <a:pt x="44" y="94"/>
                  </a:lnTo>
                  <a:lnTo>
                    <a:pt x="44" y="94"/>
                  </a:lnTo>
                  <a:lnTo>
                    <a:pt x="44" y="94"/>
                  </a:lnTo>
                  <a:lnTo>
                    <a:pt x="44" y="94"/>
                  </a:lnTo>
                  <a:lnTo>
                    <a:pt x="44" y="94"/>
                  </a:lnTo>
                  <a:lnTo>
                    <a:pt x="42" y="94"/>
                  </a:lnTo>
                  <a:lnTo>
                    <a:pt x="42" y="94"/>
                  </a:lnTo>
                  <a:lnTo>
                    <a:pt x="42" y="94"/>
                  </a:lnTo>
                  <a:lnTo>
                    <a:pt x="42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4" y="94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51" name="Freeform 91">
              <a:extLst>
                <a:ext uri="{FF2B5EF4-FFF2-40B4-BE49-F238E27FC236}">
                  <a16:creationId xmlns:a16="http://schemas.microsoft.com/office/drawing/2014/main" id="{2E2EF49A-87FC-FECA-6AE3-BE1A7A4743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7162" y="2391219"/>
              <a:ext cx="97411" cy="75420"/>
            </a:xfrm>
            <a:custGeom>
              <a:avLst/>
              <a:gdLst>
                <a:gd name="T0" fmla="*/ 22 w 50"/>
                <a:gd name="T1" fmla="*/ 26 h 40"/>
                <a:gd name="T2" fmla="*/ 18 w 50"/>
                <a:gd name="T3" fmla="*/ 26 h 40"/>
                <a:gd name="T4" fmla="*/ 14 w 50"/>
                <a:gd name="T5" fmla="*/ 22 h 40"/>
                <a:gd name="T6" fmla="*/ 10 w 50"/>
                <a:gd name="T7" fmla="*/ 22 h 40"/>
                <a:gd name="T8" fmla="*/ 6 w 50"/>
                <a:gd name="T9" fmla="*/ 18 h 40"/>
                <a:gd name="T10" fmla="*/ 6 w 50"/>
                <a:gd name="T11" fmla="*/ 14 h 40"/>
                <a:gd name="T12" fmla="*/ 2 w 50"/>
                <a:gd name="T13" fmla="*/ 14 h 40"/>
                <a:gd name="T14" fmla="*/ 2 w 50"/>
                <a:gd name="T15" fmla="*/ 14 h 40"/>
                <a:gd name="T16" fmla="*/ 0 w 50"/>
                <a:gd name="T17" fmla="*/ 10 h 40"/>
                <a:gd name="T18" fmla="*/ 2 w 50"/>
                <a:gd name="T19" fmla="*/ 6 h 40"/>
                <a:gd name="T20" fmla="*/ 10 w 50"/>
                <a:gd name="T21" fmla="*/ 4 h 40"/>
                <a:gd name="T22" fmla="*/ 10 w 50"/>
                <a:gd name="T23" fmla="*/ 6 h 40"/>
                <a:gd name="T24" fmla="*/ 14 w 50"/>
                <a:gd name="T25" fmla="*/ 4 h 40"/>
                <a:gd name="T26" fmla="*/ 18 w 50"/>
                <a:gd name="T27" fmla="*/ 6 h 40"/>
                <a:gd name="T28" fmla="*/ 22 w 50"/>
                <a:gd name="T29" fmla="*/ 4 h 40"/>
                <a:gd name="T30" fmla="*/ 22 w 50"/>
                <a:gd name="T31" fmla="*/ 4 h 40"/>
                <a:gd name="T32" fmla="*/ 22 w 50"/>
                <a:gd name="T33" fmla="*/ 6 h 40"/>
                <a:gd name="T34" fmla="*/ 22 w 50"/>
                <a:gd name="T35" fmla="*/ 4 h 40"/>
                <a:gd name="T36" fmla="*/ 26 w 50"/>
                <a:gd name="T37" fmla="*/ 4 h 40"/>
                <a:gd name="T38" fmla="*/ 26 w 50"/>
                <a:gd name="T39" fmla="*/ 4 h 40"/>
                <a:gd name="T40" fmla="*/ 26 w 50"/>
                <a:gd name="T41" fmla="*/ 0 h 40"/>
                <a:gd name="T42" fmla="*/ 30 w 50"/>
                <a:gd name="T43" fmla="*/ 4 h 40"/>
                <a:gd name="T44" fmla="*/ 30 w 50"/>
                <a:gd name="T45" fmla="*/ 0 h 40"/>
                <a:gd name="T46" fmla="*/ 32 w 50"/>
                <a:gd name="T47" fmla="*/ 4 h 40"/>
                <a:gd name="T48" fmla="*/ 32 w 50"/>
                <a:gd name="T49" fmla="*/ 0 h 40"/>
                <a:gd name="T50" fmla="*/ 36 w 50"/>
                <a:gd name="T51" fmla="*/ 4 h 40"/>
                <a:gd name="T52" fmla="*/ 36 w 50"/>
                <a:gd name="T53" fmla="*/ 6 h 40"/>
                <a:gd name="T54" fmla="*/ 40 w 50"/>
                <a:gd name="T55" fmla="*/ 6 h 40"/>
                <a:gd name="T56" fmla="*/ 44 w 50"/>
                <a:gd name="T57" fmla="*/ 6 h 40"/>
                <a:gd name="T58" fmla="*/ 44 w 50"/>
                <a:gd name="T59" fmla="*/ 10 h 40"/>
                <a:gd name="T60" fmla="*/ 44 w 50"/>
                <a:gd name="T61" fmla="*/ 14 h 40"/>
                <a:gd name="T62" fmla="*/ 44 w 50"/>
                <a:gd name="T63" fmla="*/ 14 h 40"/>
                <a:gd name="T64" fmla="*/ 44 w 50"/>
                <a:gd name="T65" fmla="*/ 14 h 40"/>
                <a:gd name="T66" fmla="*/ 48 w 50"/>
                <a:gd name="T67" fmla="*/ 18 h 40"/>
                <a:gd name="T68" fmla="*/ 50 w 50"/>
                <a:gd name="T69" fmla="*/ 22 h 40"/>
                <a:gd name="T70" fmla="*/ 50 w 50"/>
                <a:gd name="T71" fmla="*/ 26 h 40"/>
                <a:gd name="T72" fmla="*/ 48 w 50"/>
                <a:gd name="T73" fmla="*/ 28 h 40"/>
                <a:gd name="T74" fmla="*/ 48 w 50"/>
                <a:gd name="T75" fmla="*/ 28 h 40"/>
                <a:gd name="T76" fmla="*/ 44 w 50"/>
                <a:gd name="T77" fmla="*/ 28 h 40"/>
                <a:gd name="T78" fmla="*/ 44 w 50"/>
                <a:gd name="T79" fmla="*/ 36 h 40"/>
                <a:gd name="T80" fmla="*/ 44 w 50"/>
                <a:gd name="T81" fmla="*/ 36 h 40"/>
                <a:gd name="T82" fmla="*/ 44 w 50"/>
                <a:gd name="T83" fmla="*/ 40 h 40"/>
                <a:gd name="T84" fmla="*/ 40 w 50"/>
                <a:gd name="T85" fmla="*/ 40 h 40"/>
                <a:gd name="T86" fmla="*/ 40 w 50"/>
                <a:gd name="T87" fmla="*/ 40 h 40"/>
                <a:gd name="T88" fmla="*/ 36 w 50"/>
                <a:gd name="T89" fmla="*/ 40 h 40"/>
                <a:gd name="T90" fmla="*/ 32 w 50"/>
                <a:gd name="T91" fmla="*/ 36 h 40"/>
                <a:gd name="T92" fmla="*/ 30 w 50"/>
                <a:gd name="T93" fmla="*/ 28 h 40"/>
                <a:gd name="T94" fmla="*/ 30 w 50"/>
                <a:gd name="T95" fmla="*/ 28 h 40"/>
                <a:gd name="T96" fmla="*/ 26 w 50"/>
                <a:gd name="T97" fmla="*/ 32 h 40"/>
                <a:gd name="T98" fmla="*/ 22 w 50"/>
                <a:gd name="T99" fmla="*/ 32 h 40"/>
                <a:gd name="T100" fmla="*/ 22 w 50"/>
                <a:gd name="T101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0" h="40">
                  <a:moveTo>
                    <a:pt x="22" y="32"/>
                  </a:moveTo>
                  <a:lnTo>
                    <a:pt x="22" y="32"/>
                  </a:lnTo>
                  <a:lnTo>
                    <a:pt x="22" y="28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6" y="2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22" y="6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8"/>
                  </a:lnTo>
                  <a:lnTo>
                    <a:pt x="44" y="14"/>
                  </a:lnTo>
                  <a:lnTo>
                    <a:pt x="48" y="14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48" y="26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0" y="36"/>
                  </a:lnTo>
                  <a:lnTo>
                    <a:pt x="30" y="32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2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32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52" name="Freeform 92">
              <a:extLst>
                <a:ext uri="{FF2B5EF4-FFF2-40B4-BE49-F238E27FC236}">
                  <a16:creationId xmlns:a16="http://schemas.microsoft.com/office/drawing/2014/main" id="{43431F46-1482-E1DC-BBFC-8D272D6D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531" y="2636335"/>
              <a:ext cx="101307" cy="98046"/>
            </a:xfrm>
            <a:custGeom>
              <a:avLst/>
              <a:gdLst>
                <a:gd name="T0" fmla="*/ 26 w 52"/>
                <a:gd name="T1" fmla="*/ 44 h 52"/>
                <a:gd name="T2" fmla="*/ 26 w 52"/>
                <a:gd name="T3" fmla="*/ 40 h 52"/>
                <a:gd name="T4" fmla="*/ 22 w 52"/>
                <a:gd name="T5" fmla="*/ 38 h 52"/>
                <a:gd name="T6" fmla="*/ 18 w 52"/>
                <a:gd name="T7" fmla="*/ 34 h 52"/>
                <a:gd name="T8" fmla="*/ 18 w 52"/>
                <a:gd name="T9" fmla="*/ 34 h 52"/>
                <a:gd name="T10" fmla="*/ 14 w 52"/>
                <a:gd name="T11" fmla="*/ 30 h 52"/>
                <a:gd name="T12" fmla="*/ 10 w 52"/>
                <a:gd name="T13" fmla="*/ 22 h 52"/>
                <a:gd name="T14" fmla="*/ 6 w 52"/>
                <a:gd name="T15" fmla="*/ 22 h 52"/>
                <a:gd name="T16" fmla="*/ 6 w 52"/>
                <a:gd name="T17" fmla="*/ 18 h 52"/>
                <a:gd name="T18" fmla="*/ 4 w 52"/>
                <a:gd name="T19" fmla="*/ 18 h 52"/>
                <a:gd name="T20" fmla="*/ 4 w 52"/>
                <a:gd name="T21" fmla="*/ 14 h 52"/>
                <a:gd name="T22" fmla="*/ 4 w 52"/>
                <a:gd name="T23" fmla="*/ 12 h 52"/>
                <a:gd name="T24" fmla="*/ 0 w 52"/>
                <a:gd name="T25" fmla="*/ 4 h 52"/>
                <a:gd name="T26" fmla="*/ 0 w 52"/>
                <a:gd name="T27" fmla="*/ 0 h 52"/>
                <a:gd name="T28" fmla="*/ 4 w 52"/>
                <a:gd name="T29" fmla="*/ 0 h 52"/>
                <a:gd name="T30" fmla="*/ 6 w 52"/>
                <a:gd name="T31" fmla="*/ 4 h 52"/>
                <a:gd name="T32" fmla="*/ 6 w 52"/>
                <a:gd name="T33" fmla="*/ 0 h 52"/>
                <a:gd name="T34" fmla="*/ 10 w 52"/>
                <a:gd name="T35" fmla="*/ 0 h 52"/>
                <a:gd name="T36" fmla="*/ 14 w 52"/>
                <a:gd name="T37" fmla="*/ 0 h 52"/>
                <a:gd name="T38" fmla="*/ 18 w 52"/>
                <a:gd name="T39" fmla="*/ 0 h 52"/>
                <a:gd name="T40" fmla="*/ 22 w 52"/>
                <a:gd name="T41" fmla="*/ 0 h 52"/>
                <a:gd name="T42" fmla="*/ 26 w 52"/>
                <a:gd name="T43" fmla="*/ 4 h 52"/>
                <a:gd name="T44" fmla="*/ 28 w 52"/>
                <a:gd name="T45" fmla="*/ 4 h 52"/>
                <a:gd name="T46" fmla="*/ 32 w 52"/>
                <a:gd name="T47" fmla="*/ 4 h 52"/>
                <a:gd name="T48" fmla="*/ 36 w 52"/>
                <a:gd name="T49" fmla="*/ 0 h 52"/>
                <a:gd name="T50" fmla="*/ 40 w 52"/>
                <a:gd name="T51" fmla="*/ 4 h 52"/>
                <a:gd name="T52" fmla="*/ 44 w 52"/>
                <a:gd name="T53" fmla="*/ 8 h 52"/>
                <a:gd name="T54" fmla="*/ 48 w 52"/>
                <a:gd name="T55" fmla="*/ 4 h 52"/>
                <a:gd name="T56" fmla="*/ 48 w 52"/>
                <a:gd name="T57" fmla="*/ 8 h 52"/>
                <a:gd name="T58" fmla="*/ 48 w 52"/>
                <a:gd name="T59" fmla="*/ 14 h 52"/>
                <a:gd name="T60" fmla="*/ 48 w 52"/>
                <a:gd name="T61" fmla="*/ 18 h 52"/>
                <a:gd name="T62" fmla="*/ 52 w 52"/>
                <a:gd name="T63" fmla="*/ 22 h 52"/>
                <a:gd name="T64" fmla="*/ 52 w 52"/>
                <a:gd name="T65" fmla="*/ 26 h 52"/>
                <a:gd name="T66" fmla="*/ 48 w 52"/>
                <a:gd name="T67" fmla="*/ 22 h 52"/>
                <a:gd name="T68" fmla="*/ 52 w 52"/>
                <a:gd name="T69" fmla="*/ 30 h 52"/>
                <a:gd name="T70" fmla="*/ 52 w 52"/>
                <a:gd name="T71" fmla="*/ 30 h 52"/>
                <a:gd name="T72" fmla="*/ 48 w 52"/>
                <a:gd name="T73" fmla="*/ 34 h 52"/>
                <a:gd name="T74" fmla="*/ 44 w 52"/>
                <a:gd name="T75" fmla="*/ 34 h 52"/>
                <a:gd name="T76" fmla="*/ 44 w 52"/>
                <a:gd name="T77" fmla="*/ 34 h 52"/>
                <a:gd name="T78" fmla="*/ 44 w 52"/>
                <a:gd name="T79" fmla="*/ 38 h 52"/>
                <a:gd name="T80" fmla="*/ 44 w 52"/>
                <a:gd name="T81" fmla="*/ 38 h 52"/>
                <a:gd name="T82" fmla="*/ 40 w 52"/>
                <a:gd name="T83" fmla="*/ 40 h 52"/>
                <a:gd name="T84" fmla="*/ 36 w 52"/>
                <a:gd name="T85" fmla="*/ 44 h 52"/>
                <a:gd name="T86" fmla="*/ 36 w 52"/>
                <a:gd name="T87" fmla="*/ 48 h 52"/>
                <a:gd name="T88" fmla="*/ 36 w 52"/>
                <a:gd name="T89" fmla="*/ 52 h 52"/>
                <a:gd name="T90" fmla="*/ 36 w 52"/>
                <a:gd name="T91" fmla="*/ 52 h 52"/>
                <a:gd name="T92" fmla="*/ 32 w 52"/>
                <a:gd name="T93" fmla="*/ 52 h 52"/>
                <a:gd name="T94" fmla="*/ 28 w 52"/>
                <a:gd name="T95" fmla="*/ 48 h 52"/>
                <a:gd name="T96" fmla="*/ 28 w 52"/>
                <a:gd name="T97" fmla="*/ 44 h 52"/>
                <a:gd name="T98" fmla="*/ 26 w 52"/>
                <a:gd name="T99" fmla="*/ 4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2" h="52">
                  <a:moveTo>
                    <a:pt x="26" y="44"/>
                  </a:move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2" y="40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18" y="38"/>
                  </a:lnTo>
                  <a:lnTo>
                    <a:pt x="22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48" y="26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52" y="26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53" name="Freeform 93">
              <a:extLst>
                <a:ext uri="{FF2B5EF4-FFF2-40B4-BE49-F238E27FC236}">
                  <a16:creationId xmlns:a16="http://schemas.microsoft.com/office/drawing/2014/main" id="{2B84AD01-DDFE-0CF9-6E93-F3609886B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8767" y="2670275"/>
              <a:ext cx="175340" cy="113130"/>
            </a:xfrm>
            <a:custGeom>
              <a:avLst/>
              <a:gdLst>
                <a:gd name="T0" fmla="*/ 8 w 90"/>
                <a:gd name="T1" fmla="*/ 52 h 60"/>
                <a:gd name="T2" fmla="*/ 8 w 90"/>
                <a:gd name="T3" fmla="*/ 48 h 60"/>
                <a:gd name="T4" fmla="*/ 0 w 90"/>
                <a:gd name="T5" fmla="*/ 40 h 60"/>
                <a:gd name="T6" fmla="*/ 4 w 90"/>
                <a:gd name="T7" fmla="*/ 38 h 60"/>
                <a:gd name="T8" fmla="*/ 0 w 90"/>
                <a:gd name="T9" fmla="*/ 30 h 60"/>
                <a:gd name="T10" fmla="*/ 8 w 90"/>
                <a:gd name="T11" fmla="*/ 22 h 60"/>
                <a:gd name="T12" fmla="*/ 8 w 90"/>
                <a:gd name="T13" fmla="*/ 20 h 60"/>
                <a:gd name="T14" fmla="*/ 0 w 90"/>
                <a:gd name="T15" fmla="*/ 12 h 60"/>
                <a:gd name="T16" fmla="*/ 4 w 90"/>
                <a:gd name="T17" fmla="*/ 0 h 60"/>
                <a:gd name="T18" fmla="*/ 8 w 90"/>
                <a:gd name="T19" fmla="*/ 4 h 60"/>
                <a:gd name="T20" fmla="*/ 8 w 90"/>
                <a:gd name="T21" fmla="*/ 4 h 60"/>
                <a:gd name="T22" fmla="*/ 8 w 90"/>
                <a:gd name="T23" fmla="*/ 8 h 60"/>
                <a:gd name="T24" fmla="*/ 12 w 90"/>
                <a:gd name="T25" fmla="*/ 8 h 60"/>
                <a:gd name="T26" fmla="*/ 16 w 90"/>
                <a:gd name="T27" fmla="*/ 8 h 60"/>
                <a:gd name="T28" fmla="*/ 26 w 90"/>
                <a:gd name="T29" fmla="*/ 12 h 60"/>
                <a:gd name="T30" fmla="*/ 26 w 90"/>
                <a:gd name="T31" fmla="*/ 12 h 60"/>
                <a:gd name="T32" fmla="*/ 30 w 90"/>
                <a:gd name="T33" fmla="*/ 12 h 60"/>
                <a:gd name="T34" fmla="*/ 34 w 90"/>
                <a:gd name="T35" fmla="*/ 12 h 60"/>
                <a:gd name="T36" fmla="*/ 42 w 90"/>
                <a:gd name="T37" fmla="*/ 12 h 60"/>
                <a:gd name="T38" fmla="*/ 46 w 90"/>
                <a:gd name="T39" fmla="*/ 12 h 60"/>
                <a:gd name="T40" fmla="*/ 54 w 90"/>
                <a:gd name="T41" fmla="*/ 8 h 60"/>
                <a:gd name="T42" fmla="*/ 56 w 90"/>
                <a:gd name="T43" fmla="*/ 4 h 60"/>
                <a:gd name="T44" fmla="*/ 64 w 90"/>
                <a:gd name="T45" fmla="*/ 4 h 60"/>
                <a:gd name="T46" fmla="*/ 68 w 90"/>
                <a:gd name="T47" fmla="*/ 4 h 60"/>
                <a:gd name="T48" fmla="*/ 76 w 90"/>
                <a:gd name="T49" fmla="*/ 4 h 60"/>
                <a:gd name="T50" fmla="*/ 80 w 90"/>
                <a:gd name="T51" fmla="*/ 8 h 60"/>
                <a:gd name="T52" fmla="*/ 80 w 90"/>
                <a:gd name="T53" fmla="*/ 8 h 60"/>
                <a:gd name="T54" fmla="*/ 86 w 90"/>
                <a:gd name="T55" fmla="*/ 12 h 60"/>
                <a:gd name="T56" fmla="*/ 90 w 90"/>
                <a:gd name="T57" fmla="*/ 16 h 60"/>
                <a:gd name="T58" fmla="*/ 86 w 90"/>
                <a:gd name="T59" fmla="*/ 20 h 60"/>
                <a:gd name="T60" fmla="*/ 82 w 90"/>
                <a:gd name="T61" fmla="*/ 16 h 60"/>
                <a:gd name="T62" fmla="*/ 80 w 90"/>
                <a:gd name="T63" fmla="*/ 22 h 60"/>
                <a:gd name="T64" fmla="*/ 80 w 90"/>
                <a:gd name="T65" fmla="*/ 26 h 60"/>
                <a:gd name="T66" fmla="*/ 76 w 90"/>
                <a:gd name="T67" fmla="*/ 30 h 60"/>
                <a:gd name="T68" fmla="*/ 72 w 90"/>
                <a:gd name="T69" fmla="*/ 38 h 60"/>
                <a:gd name="T70" fmla="*/ 76 w 90"/>
                <a:gd name="T71" fmla="*/ 40 h 60"/>
                <a:gd name="T72" fmla="*/ 80 w 90"/>
                <a:gd name="T73" fmla="*/ 44 h 60"/>
                <a:gd name="T74" fmla="*/ 80 w 90"/>
                <a:gd name="T75" fmla="*/ 44 h 60"/>
                <a:gd name="T76" fmla="*/ 72 w 90"/>
                <a:gd name="T77" fmla="*/ 44 h 60"/>
                <a:gd name="T78" fmla="*/ 68 w 90"/>
                <a:gd name="T79" fmla="*/ 40 h 60"/>
                <a:gd name="T80" fmla="*/ 60 w 90"/>
                <a:gd name="T81" fmla="*/ 44 h 60"/>
                <a:gd name="T82" fmla="*/ 56 w 90"/>
                <a:gd name="T83" fmla="*/ 48 h 60"/>
                <a:gd name="T84" fmla="*/ 56 w 90"/>
                <a:gd name="T85" fmla="*/ 52 h 60"/>
                <a:gd name="T86" fmla="*/ 54 w 90"/>
                <a:gd name="T87" fmla="*/ 52 h 60"/>
                <a:gd name="T88" fmla="*/ 54 w 90"/>
                <a:gd name="T89" fmla="*/ 56 h 60"/>
                <a:gd name="T90" fmla="*/ 46 w 90"/>
                <a:gd name="T91" fmla="*/ 60 h 60"/>
                <a:gd name="T92" fmla="*/ 42 w 90"/>
                <a:gd name="T93" fmla="*/ 60 h 60"/>
                <a:gd name="T94" fmla="*/ 34 w 90"/>
                <a:gd name="T95" fmla="*/ 56 h 60"/>
                <a:gd name="T96" fmla="*/ 26 w 90"/>
                <a:gd name="T97" fmla="*/ 52 h 60"/>
                <a:gd name="T98" fmla="*/ 24 w 90"/>
                <a:gd name="T99" fmla="*/ 56 h 60"/>
                <a:gd name="T100" fmla="*/ 20 w 90"/>
                <a:gd name="T101" fmla="*/ 56 h 60"/>
                <a:gd name="T102" fmla="*/ 12 w 90"/>
                <a:gd name="T103" fmla="*/ 56 h 60"/>
                <a:gd name="T104" fmla="*/ 8 w 90"/>
                <a:gd name="T105" fmla="*/ 5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0" h="60">
                  <a:moveTo>
                    <a:pt x="8" y="56"/>
                  </a:move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4" y="38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0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8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2" y="8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16"/>
                  </a:lnTo>
                  <a:lnTo>
                    <a:pt x="82" y="16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80" y="20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60"/>
                  </a:lnTo>
                  <a:lnTo>
                    <a:pt x="50" y="60"/>
                  </a:lnTo>
                  <a:lnTo>
                    <a:pt x="50" y="60"/>
                  </a:lnTo>
                  <a:lnTo>
                    <a:pt x="50" y="56"/>
                  </a:lnTo>
                  <a:lnTo>
                    <a:pt x="46" y="60"/>
                  </a:lnTo>
                  <a:lnTo>
                    <a:pt x="46" y="60"/>
                  </a:lnTo>
                  <a:lnTo>
                    <a:pt x="46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38" y="60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0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54" name="Freeform 94">
              <a:extLst>
                <a:ext uri="{FF2B5EF4-FFF2-40B4-BE49-F238E27FC236}">
                  <a16:creationId xmlns:a16="http://schemas.microsoft.com/office/drawing/2014/main" id="{ACD5AB9A-43C6-D930-58E2-A083C28B21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3291" y="2587312"/>
              <a:ext cx="167547" cy="150841"/>
            </a:xfrm>
            <a:custGeom>
              <a:avLst/>
              <a:gdLst>
                <a:gd name="T0" fmla="*/ 66 w 86"/>
                <a:gd name="T1" fmla="*/ 74 h 80"/>
                <a:gd name="T2" fmla="*/ 70 w 86"/>
                <a:gd name="T3" fmla="*/ 78 h 80"/>
                <a:gd name="T4" fmla="*/ 56 w 86"/>
                <a:gd name="T5" fmla="*/ 70 h 80"/>
                <a:gd name="T6" fmla="*/ 60 w 86"/>
                <a:gd name="T7" fmla="*/ 70 h 80"/>
                <a:gd name="T8" fmla="*/ 14 w 86"/>
                <a:gd name="T9" fmla="*/ 30 h 80"/>
                <a:gd name="T10" fmla="*/ 18 w 86"/>
                <a:gd name="T11" fmla="*/ 30 h 80"/>
                <a:gd name="T12" fmla="*/ 14 w 86"/>
                <a:gd name="T13" fmla="*/ 34 h 80"/>
                <a:gd name="T14" fmla="*/ 14 w 86"/>
                <a:gd name="T15" fmla="*/ 26 h 80"/>
                <a:gd name="T16" fmla="*/ 14 w 86"/>
                <a:gd name="T17" fmla="*/ 34 h 80"/>
                <a:gd name="T18" fmla="*/ 14 w 86"/>
                <a:gd name="T19" fmla="*/ 40 h 80"/>
                <a:gd name="T20" fmla="*/ 14 w 86"/>
                <a:gd name="T21" fmla="*/ 40 h 80"/>
                <a:gd name="T22" fmla="*/ 22 w 86"/>
                <a:gd name="T23" fmla="*/ 38 h 80"/>
                <a:gd name="T24" fmla="*/ 22 w 86"/>
                <a:gd name="T25" fmla="*/ 40 h 80"/>
                <a:gd name="T26" fmla="*/ 26 w 86"/>
                <a:gd name="T27" fmla="*/ 52 h 80"/>
                <a:gd name="T28" fmla="*/ 18 w 86"/>
                <a:gd name="T29" fmla="*/ 44 h 80"/>
                <a:gd name="T30" fmla="*/ 26 w 86"/>
                <a:gd name="T31" fmla="*/ 52 h 80"/>
                <a:gd name="T32" fmla="*/ 44 w 86"/>
                <a:gd name="T33" fmla="*/ 64 h 80"/>
                <a:gd name="T34" fmla="*/ 44 w 86"/>
                <a:gd name="T35" fmla="*/ 64 h 80"/>
                <a:gd name="T36" fmla="*/ 40 w 86"/>
                <a:gd name="T37" fmla="*/ 66 h 80"/>
                <a:gd name="T38" fmla="*/ 52 w 86"/>
                <a:gd name="T39" fmla="*/ 66 h 80"/>
                <a:gd name="T40" fmla="*/ 40 w 86"/>
                <a:gd name="T41" fmla="*/ 66 h 80"/>
                <a:gd name="T42" fmla="*/ 36 w 86"/>
                <a:gd name="T43" fmla="*/ 70 h 80"/>
                <a:gd name="T44" fmla="*/ 52 w 86"/>
                <a:gd name="T45" fmla="*/ 70 h 80"/>
                <a:gd name="T46" fmla="*/ 60 w 86"/>
                <a:gd name="T47" fmla="*/ 74 h 80"/>
                <a:gd name="T48" fmla="*/ 60 w 86"/>
                <a:gd name="T49" fmla="*/ 74 h 80"/>
                <a:gd name="T50" fmla="*/ 52 w 86"/>
                <a:gd name="T51" fmla="*/ 66 h 80"/>
                <a:gd name="T52" fmla="*/ 40 w 86"/>
                <a:gd name="T53" fmla="*/ 60 h 80"/>
                <a:gd name="T54" fmla="*/ 36 w 86"/>
                <a:gd name="T55" fmla="*/ 56 h 80"/>
                <a:gd name="T56" fmla="*/ 26 w 86"/>
                <a:gd name="T57" fmla="*/ 48 h 80"/>
                <a:gd name="T58" fmla="*/ 30 w 86"/>
                <a:gd name="T59" fmla="*/ 44 h 80"/>
                <a:gd name="T60" fmla="*/ 18 w 86"/>
                <a:gd name="T61" fmla="*/ 34 h 80"/>
                <a:gd name="T62" fmla="*/ 14 w 86"/>
                <a:gd name="T63" fmla="*/ 26 h 80"/>
                <a:gd name="T64" fmla="*/ 10 w 86"/>
                <a:gd name="T65" fmla="*/ 30 h 80"/>
                <a:gd name="T66" fmla="*/ 8 w 86"/>
                <a:gd name="T67" fmla="*/ 34 h 80"/>
                <a:gd name="T68" fmla="*/ 0 w 86"/>
                <a:gd name="T69" fmla="*/ 22 h 80"/>
                <a:gd name="T70" fmla="*/ 8 w 86"/>
                <a:gd name="T71" fmla="*/ 22 h 80"/>
                <a:gd name="T72" fmla="*/ 14 w 86"/>
                <a:gd name="T73" fmla="*/ 18 h 80"/>
                <a:gd name="T74" fmla="*/ 22 w 86"/>
                <a:gd name="T75" fmla="*/ 22 h 80"/>
                <a:gd name="T76" fmla="*/ 30 w 86"/>
                <a:gd name="T77" fmla="*/ 14 h 80"/>
                <a:gd name="T78" fmla="*/ 30 w 86"/>
                <a:gd name="T79" fmla="*/ 8 h 80"/>
                <a:gd name="T80" fmla="*/ 36 w 86"/>
                <a:gd name="T81" fmla="*/ 0 h 80"/>
                <a:gd name="T82" fmla="*/ 52 w 86"/>
                <a:gd name="T83" fmla="*/ 8 h 80"/>
                <a:gd name="T84" fmla="*/ 60 w 86"/>
                <a:gd name="T85" fmla="*/ 14 h 80"/>
                <a:gd name="T86" fmla="*/ 74 w 86"/>
                <a:gd name="T87" fmla="*/ 14 h 80"/>
                <a:gd name="T88" fmla="*/ 78 w 86"/>
                <a:gd name="T89" fmla="*/ 22 h 80"/>
                <a:gd name="T90" fmla="*/ 82 w 86"/>
                <a:gd name="T91" fmla="*/ 26 h 80"/>
                <a:gd name="T92" fmla="*/ 74 w 86"/>
                <a:gd name="T93" fmla="*/ 34 h 80"/>
                <a:gd name="T94" fmla="*/ 66 w 86"/>
                <a:gd name="T95" fmla="*/ 30 h 80"/>
                <a:gd name="T96" fmla="*/ 56 w 86"/>
                <a:gd name="T97" fmla="*/ 26 h 80"/>
                <a:gd name="T98" fmla="*/ 40 w 86"/>
                <a:gd name="T99" fmla="*/ 26 h 80"/>
                <a:gd name="T100" fmla="*/ 34 w 86"/>
                <a:gd name="T101" fmla="*/ 26 h 80"/>
                <a:gd name="T102" fmla="*/ 36 w 86"/>
                <a:gd name="T103" fmla="*/ 38 h 80"/>
                <a:gd name="T104" fmla="*/ 40 w 86"/>
                <a:gd name="T105" fmla="*/ 48 h 80"/>
                <a:gd name="T106" fmla="*/ 48 w 86"/>
                <a:gd name="T107" fmla="*/ 60 h 80"/>
                <a:gd name="T108" fmla="*/ 56 w 86"/>
                <a:gd name="T109" fmla="*/ 64 h 80"/>
                <a:gd name="T110" fmla="*/ 60 w 86"/>
                <a:gd name="T111" fmla="*/ 7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" h="80">
                  <a:moveTo>
                    <a:pt x="60" y="70"/>
                  </a:moveTo>
                  <a:lnTo>
                    <a:pt x="62" y="70"/>
                  </a:lnTo>
                  <a:lnTo>
                    <a:pt x="62" y="74"/>
                  </a:lnTo>
                  <a:lnTo>
                    <a:pt x="66" y="74"/>
                  </a:lnTo>
                  <a:lnTo>
                    <a:pt x="66" y="78"/>
                  </a:lnTo>
                  <a:lnTo>
                    <a:pt x="70" y="78"/>
                  </a:lnTo>
                  <a:lnTo>
                    <a:pt x="70" y="80"/>
                  </a:lnTo>
                  <a:lnTo>
                    <a:pt x="70" y="78"/>
                  </a:lnTo>
                  <a:lnTo>
                    <a:pt x="66" y="78"/>
                  </a:lnTo>
                  <a:lnTo>
                    <a:pt x="62" y="74"/>
                  </a:lnTo>
                  <a:lnTo>
                    <a:pt x="60" y="74"/>
                  </a:lnTo>
                  <a:lnTo>
                    <a:pt x="56" y="70"/>
                  </a:lnTo>
                  <a:lnTo>
                    <a:pt x="52" y="70"/>
                  </a:lnTo>
                  <a:lnTo>
                    <a:pt x="52" y="66"/>
                  </a:lnTo>
                  <a:lnTo>
                    <a:pt x="56" y="70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0" y="70"/>
                  </a:lnTo>
                  <a:close/>
                  <a:moveTo>
                    <a:pt x="18" y="30"/>
                  </a:moveTo>
                  <a:lnTo>
                    <a:pt x="14" y="30"/>
                  </a:lnTo>
                  <a:lnTo>
                    <a:pt x="14" y="26"/>
                  </a:lnTo>
                  <a:lnTo>
                    <a:pt x="18" y="26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close/>
                  <a:moveTo>
                    <a:pt x="14" y="38"/>
                  </a:moveTo>
                  <a:lnTo>
                    <a:pt x="10" y="34"/>
                  </a:lnTo>
                  <a:lnTo>
                    <a:pt x="14" y="34"/>
                  </a:lnTo>
                  <a:lnTo>
                    <a:pt x="14" y="30"/>
                  </a:lnTo>
                  <a:lnTo>
                    <a:pt x="10" y="30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10" y="26"/>
                  </a:lnTo>
                  <a:lnTo>
                    <a:pt x="10" y="30"/>
                  </a:lnTo>
                  <a:lnTo>
                    <a:pt x="14" y="30"/>
                  </a:lnTo>
                  <a:lnTo>
                    <a:pt x="14" y="34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8"/>
                  </a:lnTo>
                  <a:close/>
                  <a:moveTo>
                    <a:pt x="14" y="40"/>
                  </a:moveTo>
                  <a:lnTo>
                    <a:pt x="14" y="38"/>
                  </a:lnTo>
                  <a:lnTo>
                    <a:pt x="10" y="38"/>
                  </a:lnTo>
                  <a:lnTo>
                    <a:pt x="14" y="38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close/>
                  <a:moveTo>
                    <a:pt x="18" y="38"/>
                  </a:moveTo>
                  <a:lnTo>
                    <a:pt x="22" y="38"/>
                  </a:lnTo>
                  <a:lnTo>
                    <a:pt x="22" y="40"/>
                  </a:lnTo>
                  <a:lnTo>
                    <a:pt x="26" y="44"/>
                  </a:lnTo>
                  <a:lnTo>
                    <a:pt x="22" y="44"/>
                  </a:lnTo>
                  <a:lnTo>
                    <a:pt x="22" y="40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close/>
                  <a:moveTo>
                    <a:pt x="26" y="52"/>
                  </a:moveTo>
                  <a:lnTo>
                    <a:pt x="22" y="52"/>
                  </a:lnTo>
                  <a:lnTo>
                    <a:pt x="22" y="48"/>
                  </a:lnTo>
                  <a:lnTo>
                    <a:pt x="18" y="48"/>
                  </a:lnTo>
                  <a:lnTo>
                    <a:pt x="18" y="44"/>
                  </a:lnTo>
                  <a:lnTo>
                    <a:pt x="22" y="48"/>
                  </a:lnTo>
                  <a:lnTo>
                    <a:pt x="22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52"/>
                  </a:lnTo>
                  <a:close/>
                  <a:moveTo>
                    <a:pt x="44" y="64"/>
                  </a:moveTo>
                  <a:lnTo>
                    <a:pt x="40" y="64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close/>
                  <a:moveTo>
                    <a:pt x="52" y="66"/>
                  </a:moveTo>
                  <a:lnTo>
                    <a:pt x="48" y="66"/>
                  </a:lnTo>
                  <a:lnTo>
                    <a:pt x="44" y="66"/>
                  </a:lnTo>
                  <a:lnTo>
                    <a:pt x="40" y="66"/>
                  </a:lnTo>
                  <a:lnTo>
                    <a:pt x="44" y="66"/>
                  </a:lnTo>
                  <a:lnTo>
                    <a:pt x="48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2" y="66"/>
                  </a:lnTo>
                  <a:close/>
                  <a:moveTo>
                    <a:pt x="36" y="70"/>
                  </a:moveTo>
                  <a:lnTo>
                    <a:pt x="36" y="66"/>
                  </a:lnTo>
                  <a:lnTo>
                    <a:pt x="40" y="66"/>
                  </a:lnTo>
                  <a:lnTo>
                    <a:pt x="40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close/>
                  <a:moveTo>
                    <a:pt x="48" y="70"/>
                  </a:moveTo>
                  <a:lnTo>
                    <a:pt x="44" y="70"/>
                  </a:lnTo>
                  <a:lnTo>
                    <a:pt x="48" y="70"/>
                  </a:lnTo>
                  <a:lnTo>
                    <a:pt x="52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8" y="70"/>
                  </a:lnTo>
                  <a:close/>
                  <a:moveTo>
                    <a:pt x="60" y="74"/>
                  </a:moveTo>
                  <a:lnTo>
                    <a:pt x="56" y="74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4"/>
                  </a:lnTo>
                  <a:close/>
                  <a:moveTo>
                    <a:pt x="60" y="70"/>
                  </a:moveTo>
                  <a:lnTo>
                    <a:pt x="56" y="70"/>
                  </a:lnTo>
                  <a:lnTo>
                    <a:pt x="56" y="66"/>
                  </a:lnTo>
                  <a:lnTo>
                    <a:pt x="52" y="66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4" y="60"/>
                  </a:lnTo>
                  <a:lnTo>
                    <a:pt x="34" y="56"/>
                  </a:lnTo>
                  <a:lnTo>
                    <a:pt x="36" y="56"/>
                  </a:lnTo>
                  <a:lnTo>
                    <a:pt x="34" y="56"/>
                  </a:lnTo>
                  <a:lnTo>
                    <a:pt x="30" y="52"/>
                  </a:lnTo>
                  <a:lnTo>
                    <a:pt x="26" y="52"/>
                  </a:lnTo>
                  <a:lnTo>
                    <a:pt x="26" y="48"/>
                  </a:lnTo>
                  <a:lnTo>
                    <a:pt x="26" y="44"/>
                  </a:lnTo>
                  <a:lnTo>
                    <a:pt x="22" y="44"/>
                  </a:lnTo>
                  <a:lnTo>
                    <a:pt x="26" y="44"/>
                  </a:lnTo>
                  <a:lnTo>
                    <a:pt x="30" y="44"/>
                  </a:lnTo>
                  <a:lnTo>
                    <a:pt x="26" y="40"/>
                  </a:lnTo>
                  <a:lnTo>
                    <a:pt x="22" y="40"/>
                  </a:lnTo>
                  <a:lnTo>
                    <a:pt x="22" y="38"/>
                  </a:lnTo>
                  <a:lnTo>
                    <a:pt x="18" y="34"/>
                  </a:lnTo>
                  <a:lnTo>
                    <a:pt x="22" y="34"/>
                  </a:lnTo>
                  <a:lnTo>
                    <a:pt x="22" y="30"/>
                  </a:lnTo>
                  <a:lnTo>
                    <a:pt x="18" y="26"/>
                  </a:lnTo>
                  <a:lnTo>
                    <a:pt x="14" y="26"/>
                  </a:lnTo>
                  <a:lnTo>
                    <a:pt x="14" y="22"/>
                  </a:lnTo>
                  <a:lnTo>
                    <a:pt x="10" y="22"/>
                  </a:lnTo>
                  <a:lnTo>
                    <a:pt x="10" y="26"/>
                  </a:lnTo>
                  <a:lnTo>
                    <a:pt x="10" y="30"/>
                  </a:lnTo>
                  <a:lnTo>
                    <a:pt x="8" y="30"/>
                  </a:lnTo>
                  <a:lnTo>
                    <a:pt x="8" y="34"/>
                  </a:lnTo>
                  <a:lnTo>
                    <a:pt x="4" y="34"/>
                  </a:lnTo>
                  <a:lnTo>
                    <a:pt x="8" y="34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4" y="22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8" y="22"/>
                  </a:lnTo>
                  <a:lnTo>
                    <a:pt x="10" y="22"/>
                  </a:lnTo>
                  <a:lnTo>
                    <a:pt x="14" y="18"/>
                  </a:lnTo>
                  <a:lnTo>
                    <a:pt x="14" y="14"/>
                  </a:lnTo>
                  <a:lnTo>
                    <a:pt x="14" y="18"/>
                  </a:lnTo>
                  <a:lnTo>
                    <a:pt x="18" y="18"/>
                  </a:lnTo>
                  <a:lnTo>
                    <a:pt x="18" y="22"/>
                  </a:lnTo>
                  <a:lnTo>
                    <a:pt x="22" y="18"/>
                  </a:lnTo>
                  <a:lnTo>
                    <a:pt x="22" y="22"/>
                  </a:lnTo>
                  <a:lnTo>
                    <a:pt x="26" y="22"/>
                  </a:lnTo>
                  <a:lnTo>
                    <a:pt x="26" y="18"/>
                  </a:lnTo>
                  <a:lnTo>
                    <a:pt x="26" y="14"/>
                  </a:lnTo>
                  <a:lnTo>
                    <a:pt x="30" y="14"/>
                  </a:lnTo>
                  <a:lnTo>
                    <a:pt x="34" y="14"/>
                  </a:lnTo>
                  <a:lnTo>
                    <a:pt x="34" y="12"/>
                  </a:lnTo>
                  <a:lnTo>
                    <a:pt x="34" y="8"/>
                  </a:lnTo>
                  <a:lnTo>
                    <a:pt x="30" y="8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4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4"/>
                  </a:lnTo>
                  <a:lnTo>
                    <a:pt x="62" y="14"/>
                  </a:lnTo>
                  <a:lnTo>
                    <a:pt x="66" y="14"/>
                  </a:lnTo>
                  <a:lnTo>
                    <a:pt x="70" y="14"/>
                  </a:lnTo>
                  <a:lnTo>
                    <a:pt x="74" y="14"/>
                  </a:lnTo>
                  <a:lnTo>
                    <a:pt x="74" y="12"/>
                  </a:lnTo>
                  <a:lnTo>
                    <a:pt x="78" y="14"/>
                  </a:lnTo>
                  <a:lnTo>
                    <a:pt x="78" y="18"/>
                  </a:lnTo>
                  <a:lnTo>
                    <a:pt x="78" y="22"/>
                  </a:lnTo>
                  <a:lnTo>
                    <a:pt x="82" y="22"/>
                  </a:lnTo>
                  <a:lnTo>
                    <a:pt x="82" y="26"/>
                  </a:lnTo>
                  <a:lnTo>
                    <a:pt x="86" y="26"/>
                  </a:lnTo>
                  <a:lnTo>
                    <a:pt x="82" y="26"/>
                  </a:lnTo>
                  <a:lnTo>
                    <a:pt x="82" y="30"/>
                  </a:lnTo>
                  <a:lnTo>
                    <a:pt x="78" y="30"/>
                  </a:lnTo>
                  <a:lnTo>
                    <a:pt x="78" y="34"/>
                  </a:lnTo>
                  <a:lnTo>
                    <a:pt x="74" y="34"/>
                  </a:lnTo>
                  <a:lnTo>
                    <a:pt x="74" y="30"/>
                  </a:lnTo>
                  <a:lnTo>
                    <a:pt x="70" y="26"/>
                  </a:lnTo>
                  <a:lnTo>
                    <a:pt x="66" y="26"/>
                  </a:lnTo>
                  <a:lnTo>
                    <a:pt x="66" y="30"/>
                  </a:lnTo>
                  <a:lnTo>
                    <a:pt x="62" y="30"/>
                  </a:lnTo>
                  <a:lnTo>
                    <a:pt x="60" y="30"/>
                  </a:lnTo>
                  <a:lnTo>
                    <a:pt x="60" y="26"/>
                  </a:lnTo>
                  <a:lnTo>
                    <a:pt x="56" y="26"/>
                  </a:lnTo>
                  <a:lnTo>
                    <a:pt x="52" y="26"/>
                  </a:lnTo>
                  <a:lnTo>
                    <a:pt x="48" y="26"/>
                  </a:lnTo>
                  <a:lnTo>
                    <a:pt x="44" y="26"/>
                  </a:lnTo>
                  <a:lnTo>
                    <a:pt x="40" y="26"/>
                  </a:lnTo>
                  <a:lnTo>
                    <a:pt x="40" y="30"/>
                  </a:lnTo>
                  <a:lnTo>
                    <a:pt x="36" y="30"/>
                  </a:lnTo>
                  <a:lnTo>
                    <a:pt x="36" y="26"/>
                  </a:lnTo>
                  <a:lnTo>
                    <a:pt x="34" y="26"/>
                  </a:lnTo>
                  <a:lnTo>
                    <a:pt x="34" y="30"/>
                  </a:lnTo>
                  <a:lnTo>
                    <a:pt x="34" y="34"/>
                  </a:lnTo>
                  <a:lnTo>
                    <a:pt x="34" y="38"/>
                  </a:lnTo>
                  <a:lnTo>
                    <a:pt x="36" y="38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6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56" y="66"/>
                  </a:lnTo>
                  <a:lnTo>
                    <a:pt x="60" y="66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0" y="7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55" name="Freeform 95">
              <a:extLst>
                <a:ext uri="{FF2B5EF4-FFF2-40B4-BE49-F238E27FC236}">
                  <a16:creationId xmlns:a16="http://schemas.microsoft.com/office/drawing/2014/main" id="{06BAB92A-743F-365E-2AE8-0FF10106C8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327" y="2410075"/>
              <a:ext cx="190926" cy="98046"/>
            </a:xfrm>
            <a:custGeom>
              <a:avLst/>
              <a:gdLst>
                <a:gd name="T0" fmla="*/ 84 w 98"/>
                <a:gd name="T1" fmla="*/ 42 h 52"/>
                <a:gd name="T2" fmla="*/ 80 w 98"/>
                <a:gd name="T3" fmla="*/ 46 h 52"/>
                <a:gd name="T4" fmla="*/ 72 w 98"/>
                <a:gd name="T5" fmla="*/ 46 h 52"/>
                <a:gd name="T6" fmla="*/ 68 w 98"/>
                <a:gd name="T7" fmla="*/ 50 h 52"/>
                <a:gd name="T8" fmla="*/ 68 w 98"/>
                <a:gd name="T9" fmla="*/ 50 h 52"/>
                <a:gd name="T10" fmla="*/ 60 w 98"/>
                <a:gd name="T11" fmla="*/ 46 h 52"/>
                <a:gd name="T12" fmla="*/ 58 w 98"/>
                <a:gd name="T13" fmla="*/ 50 h 52"/>
                <a:gd name="T14" fmla="*/ 54 w 98"/>
                <a:gd name="T15" fmla="*/ 46 h 52"/>
                <a:gd name="T16" fmla="*/ 50 w 98"/>
                <a:gd name="T17" fmla="*/ 46 h 52"/>
                <a:gd name="T18" fmla="*/ 46 w 98"/>
                <a:gd name="T19" fmla="*/ 42 h 52"/>
                <a:gd name="T20" fmla="*/ 42 w 98"/>
                <a:gd name="T21" fmla="*/ 42 h 52"/>
                <a:gd name="T22" fmla="*/ 38 w 98"/>
                <a:gd name="T23" fmla="*/ 46 h 52"/>
                <a:gd name="T24" fmla="*/ 38 w 98"/>
                <a:gd name="T25" fmla="*/ 52 h 52"/>
                <a:gd name="T26" fmla="*/ 34 w 98"/>
                <a:gd name="T27" fmla="*/ 52 h 52"/>
                <a:gd name="T28" fmla="*/ 26 w 98"/>
                <a:gd name="T29" fmla="*/ 50 h 52"/>
                <a:gd name="T30" fmla="*/ 24 w 98"/>
                <a:gd name="T31" fmla="*/ 46 h 52"/>
                <a:gd name="T32" fmla="*/ 24 w 98"/>
                <a:gd name="T33" fmla="*/ 46 h 52"/>
                <a:gd name="T34" fmla="*/ 20 w 98"/>
                <a:gd name="T35" fmla="*/ 42 h 52"/>
                <a:gd name="T36" fmla="*/ 12 w 98"/>
                <a:gd name="T37" fmla="*/ 38 h 52"/>
                <a:gd name="T38" fmla="*/ 8 w 98"/>
                <a:gd name="T39" fmla="*/ 30 h 52"/>
                <a:gd name="T40" fmla="*/ 4 w 98"/>
                <a:gd name="T41" fmla="*/ 26 h 52"/>
                <a:gd name="T42" fmla="*/ 4 w 98"/>
                <a:gd name="T43" fmla="*/ 22 h 52"/>
                <a:gd name="T44" fmla="*/ 0 w 98"/>
                <a:gd name="T45" fmla="*/ 18 h 52"/>
                <a:gd name="T46" fmla="*/ 4 w 98"/>
                <a:gd name="T47" fmla="*/ 18 h 52"/>
                <a:gd name="T48" fmla="*/ 8 w 98"/>
                <a:gd name="T49" fmla="*/ 12 h 52"/>
                <a:gd name="T50" fmla="*/ 12 w 98"/>
                <a:gd name="T51" fmla="*/ 12 h 52"/>
                <a:gd name="T52" fmla="*/ 12 w 98"/>
                <a:gd name="T53" fmla="*/ 12 h 52"/>
                <a:gd name="T54" fmla="*/ 16 w 98"/>
                <a:gd name="T55" fmla="*/ 12 h 52"/>
                <a:gd name="T56" fmla="*/ 20 w 98"/>
                <a:gd name="T57" fmla="*/ 8 h 52"/>
                <a:gd name="T58" fmla="*/ 24 w 98"/>
                <a:gd name="T59" fmla="*/ 8 h 52"/>
                <a:gd name="T60" fmla="*/ 26 w 98"/>
                <a:gd name="T61" fmla="*/ 4 h 52"/>
                <a:gd name="T62" fmla="*/ 30 w 98"/>
                <a:gd name="T63" fmla="*/ 0 h 52"/>
                <a:gd name="T64" fmla="*/ 34 w 98"/>
                <a:gd name="T65" fmla="*/ 0 h 52"/>
                <a:gd name="T66" fmla="*/ 38 w 98"/>
                <a:gd name="T67" fmla="*/ 4 h 52"/>
                <a:gd name="T68" fmla="*/ 38 w 98"/>
                <a:gd name="T69" fmla="*/ 4 h 52"/>
                <a:gd name="T70" fmla="*/ 46 w 98"/>
                <a:gd name="T71" fmla="*/ 0 h 52"/>
                <a:gd name="T72" fmla="*/ 46 w 98"/>
                <a:gd name="T73" fmla="*/ 4 h 52"/>
                <a:gd name="T74" fmla="*/ 50 w 98"/>
                <a:gd name="T75" fmla="*/ 4 h 52"/>
                <a:gd name="T76" fmla="*/ 58 w 98"/>
                <a:gd name="T77" fmla="*/ 8 h 52"/>
                <a:gd name="T78" fmla="*/ 60 w 98"/>
                <a:gd name="T79" fmla="*/ 8 h 52"/>
                <a:gd name="T80" fmla="*/ 60 w 98"/>
                <a:gd name="T81" fmla="*/ 12 h 52"/>
                <a:gd name="T82" fmla="*/ 60 w 98"/>
                <a:gd name="T83" fmla="*/ 16 h 52"/>
                <a:gd name="T84" fmla="*/ 64 w 98"/>
                <a:gd name="T85" fmla="*/ 18 h 52"/>
                <a:gd name="T86" fmla="*/ 68 w 98"/>
                <a:gd name="T87" fmla="*/ 18 h 52"/>
                <a:gd name="T88" fmla="*/ 72 w 98"/>
                <a:gd name="T89" fmla="*/ 18 h 52"/>
                <a:gd name="T90" fmla="*/ 68 w 98"/>
                <a:gd name="T91" fmla="*/ 12 h 52"/>
                <a:gd name="T92" fmla="*/ 72 w 98"/>
                <a:gd name="T93" fmla="*/ 16 h 52"/>
                <a:gd name="T94" fmla="*/ 80 w 98"/>
                <a:gd name="T95" fmla="*/ 16 h 52"/>
                <a:gd name="T96" fmla="*/ 80 w 98"/>
                <a:gd name="T97" fmla="*/ 16 h 52"/>
                <a:gd name="T98" fmla="*/ 80 w 98"/>
                <a:gd name="T99" fmla="*/ 18 h 52"/>
                <a:gd name="T100" fmla="*/ 88 w 98"/>
                <a:gd name="T101" fmla="*/ 18 h 52"/>
                <a:gd name="T102" fmla="*/ 94 w 98"/>
                <a:gd name="T103" fmla="*/ 22 h 52"/>
                <a:gd name="T104" fmla="*/ 94 w 98"/>
                <a:gd name="T105" fmla="*/ 30 h 52"/>
                <a:gd name="T106" fmla="*/ 94 w 98"/>
                <a:gd name="T107" fmla="*/ 30 h 52"/>
                <a:gd name="T108" fmla="*/ 88 w 98"/>
                <a:gd name="T109" fmla="*/ 38 h 52"/>
                <a:gd name="T110" fmla="*/ 88 w 98"/>
                <a:gd name="T111" fmla="*/ 3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8" h="52">
                  <a:moveTo>
                    <a:pt x="88" y="38"/>
                  </a:moveTo>
                  <a:lnTo>
                    <a:pt x="88" y="42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4" y="42"/>
                  </a:lnTo>
                  <a:lnTo>
                    <a:pt x="84" y="46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4" y="50"/>
                  </a:lnTo>
                  <a:lnTo>
                    <a:pt x="64" y="46"/>
                  </a:lnTo>
                  <a:lnTo>
                    <a:pt x="64" y="46"/>
                  </a:lnTo>
                  <a:lnTo>
                    <a:pt x="60" y="46"/>
                  </a:lnTo>
                  <a:lnTo>
                    <a:pt x="60" y="46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2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4" y="50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16" y="38"/>
                  </a:lnTo>
                  <a:lnTo>
                    <a:pt x="12" y="38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8" y="34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8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4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4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4" y="16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18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8" y="18"/>
                  </a:lnTo>
                  <a:lnTo>
                    <a:pt x="88" y="22"/>
                  </a:lnTo>
                  <a:lnTo>
                    <a:pt x="88" y="22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4" y="22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56" name="Freeform 96">
              <a:extLst>
                <a:ext uri="{FF2B5EF4-FFF2-40B4-BE49-F238E27FC236}">
                  <a16:creationId xmlns:a16="http://schemas.microsoft.com/office/drawing/2014/main" id="{0F3D4B7D-3C70-2BFD-6C79-01CBAF03AE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15227" y="2134791"/>
              <a:ext cx="190926" cy="135756"/>
            </a:xfrm>
            <a:custGeom>
              <a:avLst/>
              <a:gdLst>
                <a:gd name="T0" fmla="*/ 4 w 98"/>
                <a:gd name="T1" fmla="*/ 22 h 72"/>
                <a:gd name="T2" fmla="*/ 8 w 98"/>
                <a:gd name="T3" fmla="*/ 16 h 72"/>
                <a:gd name="T4" fmla="*/ 24 w 98"/>
                <a:gd name="T5" fmla="*/ 12 h 72"/>
                <a:gd name="T6" fmla="*/ 34 w 98"/>
                <a:gd name="T7" fmla="*/ 4 h 72"/>
                <a:gd name="T8" fmla="*/ 30 w 98"/>
                <a:gd name="T9" fmla="*/ 16 h 72"/>
                <a:gd name="T10" fmla="*/ 16 w 98"/>
                <a:gd name="T11" fmla="*/ 16 h 72"/>
                <a:gd name="T12" fmla="*/ 4 w 98"/>
                <a:gd name="T13" fmla="*/ 22 h 72"/>
                <a:gd name="T14" fmla="*/ 20 w 98"/>
                <a:gd name="T15" fmla="*/ 56 h 72"/>
                <a:gd name="T16" fmla="*/ 24 w 98"/>
                <a:gd name="T17" fmla="*/ 64 h 72"/>
                <a:gd name="T18" fmla="*/ 8 w 98"/>
                <a:gd name="T19" fmla="*/ 60 h 72"/>
                <a:gd name="T20" fmla="*/ 8 w 98"/>
                <a:gd name="T21" fmla="*/ 56 h 72"/>
                <a:gd name="T22" fmla="*/ 0 w 98"/>
                <a:gd name="T23" fmla="*/ 46 h 72"/>
                <a:gd name="T24" fmla="*/ 0 w 98"/>
                <a:gd name="T25" fmla="*/ 42 h 72"/>
                <a:gd name="T26" fmla="*/ 0 w 98"/>
                <a:gd name="T27" fmla="*/ 26 h 72"/>
                <a:gd name="T28" fmla="*/ 8 w 98"/>
                <a:gd name="T29" fmla="*/ 30 h 72"/>
                <a:gd name="T30" fmla="*/ 16 w 98"/>
                <a:gd name="T31" fmla="*/ 26 h 72"/>
                <a:gd name="T32" fmla="*/ 16 w 98"/>
                <a:gd name="T33" fmla="*/ 16 h 72"/>
                <a:gd name="T34" fmla="*/ 30 w 98"/>
                <a:gd name="T35" fmla="*/ 18 h 72"/>
                <a:gd name="T36" fmla="*/ 30 w 98"/>
                <a:gd name="T37" fmla="*/ 22 h 72"/>
                <a:gd name="T38" fmla="*/ 38 w 98"/>
                <a:gd name="T39" fmla="*/ 26 h 72"/>
                <a:gd name="T40" fmla="*/ 34 w 98"/>
                <a:gd name="T41" fmla="*/ 38 h 72"/>
                <a:gd name="T42" fmla="*/ 30 w 98"/>
                <a:gd name="T43" fmla="*/ 42 h 72"/>
                <a:gd name="T44" fmla="*/ 24 w 98"/>
                <a:gd name="T45" fmla="*/ 46 h 72"/>
                <a:gd name="T46" fmla="*/ 20 w 98"/>
                <a:gd name="T47" fmla="*/ 52 h 72"/>
                <a:gd name="T48" fmla="*/ 42 w 98"/>
                <a:gd name="T49" fmla="*/ 12 h 72"/>
                <a:gd name="T50" fmla="*/ 12 w 98"/>
                <a:gd name="T51" fmla="*/ 18 h 72"/>
                <a:gd name="T52" fmla="*/ 60 w 98"/>
                <a:gd name="T53" fmla="*/ 48 h 72"/>
                <a:gd name="T54" fmla="*/ 56 w 98"/>
                <a:gd name="T55" fmla="*/ 56 h 72"/>
                <a:gd name="T56" fmla="*/ 46 w 98"/>
                <a:gd name="T57" fmla="*/ 56 h 72"/>
                <a:gd name="T58" fmla="*/ 38 w 98"/>
                <a:gd name="T59" fmla="*/ 46 h 72"/>
                <a:gd name="T60" fmla="*/ 46 w 98"/>
                <a:gd name="T61" fmla="*/ 38 h 72"/>
                <a:gd name="T62" fmla="*/ 50 w 98"/>
                <a:gd name="T63" fmla="*/ 46 h 72"/>
                <a:gd name="T64" fmla="*/ 54 w 98"/>
                <a:gd name="T65" fmla="*/ 46 h 72"/>
                <a:gd name="T66" fmla="*/ 56 w 98"/>
                <a:gd name="T67" fmla="*/ 38 h 72"/>
                <a:gd name="T68" fmla="*/ 64 w 98"/>
                <a:gd name="T69" fmla="*/ 48 h 72"/>
                <a:gd name="T70" fmla="*/ 34 w 98"/>
                <a:gd name="T71" fmla="*/ 46 h 72"/>
                <a:gd name="T72" fmla="*/ 34 w 98"/>
                <a:gd name="T73" fmla="*/ 42 h 72"/>
                <a:gd name="T74" fmla="*/ 34 w 98"/>
                <a:gd name="T75" fmla="*/ 48 h 72"/>
                <a:gd name="T76" fmla="*/ 34 w 98"/>
                <a:gd name="T77" fmla="*/ 60 h 72"/>
                <a:gd name="T78" fmla="*/ 26 w 98"/>
                <a:gd name="T79" fmla="*/ 52 h 72"/>
                <a:gd name="T80" fmla="*/ 26 w 98"/>
                <a:gd name="T81" fmla="*/ 48 h 72"/>
                <a:gd name="T82" fmla="*/ 94 w 98"/>
                <a:gd name="T83" fmla="*/ 56 h 72"/>
                <a:gd name="T84" fmla="*/ 38 w 98"/>
                <a:gd name="T85" fmla="*/ 68 h 72"/>
                <a:gd name="T86" fmla="*/ 42 w 98"/>
                <a:gd name="T87" fmla="*/ 56 h 72"/>
                <a:gd name="T88" fmla="*/ 38 w 98"/>
                <a:gd name="T89" fmla="*/ 68 h 72"/>
                <a:gd name="T90" fmla="*/ 24 w 98"/>
                <a:gd name="T91" fmla="*/ 60 h 72"/>
                <a:gd name="T92" fmla="*/ 26 w 98"/>
                <a:gd name="T93" fmla="*/ 60 h 72"/>
                <a:gd name="T94" fmla="*/ 34 w 98"/>
                <a:gd name="T95" fmla="*/ 64 h 72"/>
                <a:gd name="T96" fmla="*/ 60 w 98"/>
                <a:gd name="T97" fmla="*/ 60 h 72"/>
                <a:gd name="T98" fmla="*/ 60 w 98"/>
                <a:gd name="T99" fmla="*/ 64 h 72"/>
                <a:gd name="T100" fmla="*/ 30 w 98"/>
                <a:gd name="T101" fmla="*/ 60 h 72"/>
                <a:gd name="T102" fmla="*/ 30 w 98"/>
                <a:gd name="T103" fmla="*/ 64 h 72"/>
                <a:gd name="T104" fmla="*/ 54 w 98"/>
                <a:gd name="T105" fmla="*/ 72 h 72"/>
                <a:gd name="T106" fmla="*/ 54 w 98"/>
                <a:gd name="T107" fmla="*/ 60 h 72"/>
                <a:gd name="T108" fmla="*/ 42 w 98"/>
                <a:gd name="T109" fmla="*/ 60 h 72"/>
                <a:gd name="T110" fmla="*/ 54 w 98"/>
                <a:gd name="T111" fmla="*/ 68 h 72"/>
                <a:gd name="T112" fmla="*/ 42 w 98"/>
                <a:gd name="T113" fmla="*/ 6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8" h="72">
                  <a:moveTo>
                    <a:pt x="4" y="22"/>
                  </a:moveTo>
                  <a:lnTo>
                    <a:pt x="8" y="22"/>
                  </a:lnTo>
                  <a:lnTo>
                    <a:pt x="8" y="26"/>
                  </a:lnTo>
                  <a:lnTo>
                    <a:pt x="4" y="26"/>
                  </a:lnTo>
                  <a:lnTo>
                    <a:pt x="4" y="22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4" y="0"/>
                  </a:lnTo>
                  <a:lnTo>
                    <a:pt x="34" y="4"/>
                  </a:lnTo>
                  <a:lnTo>
                    <a:pt x="34" y="8"/>
                  </a:lnTo>
                  <a:lnTo>
                    <a:pt x="34" y="12"/>
                  </a:lnTo>
                  <a:lnTo>
                    <a:pt x="34" y="16"/>
                  </a:lnTo>
                  <a:lnTo>
                    <a:pt x="30" y="18"/>
                  </a:lnTo>
                  <a:lnTo>
                    <a:pt x="30" y="16"/>
                  </a:lnTo>
                  <a:lnTo>
                    <a:pt x="26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8"/>
                  </a:lnTo>
                  <a:lnTo>
                    <a:pt x="8" y="18"/>
                  </a:lnTo>
                  <a:lnTo>
                    <a:pt x="8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close/>
                  <a:moveTo>
                    <a:pt x="20" y="52"/>
                  </a:moveTo>
                  <a:lnTo>
                    <a:pt x="24" y="56"/>
                  </a:lnTo>
                  <a:lnTo>
                    <a:pt x="20" y="56"/>
                  </a:lnTo>
                  <a:lnTo>
                    <a:pt x="20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0" y="42"/>
                  </a:lnTo>
                  <a:lnTo>
                    <a:pt x="0" y="38"/>
                  </a:lnTo>
                  <a:lnTo>
                    <a:pt x="0" y="42"/>
                  </a:lnTo>
                  <a:lnTo>
                    <a:pt x="0" y="46"/>
                  </a:lnTo>
                  <a:lnTo>
                    <a:pt x="0" y="42"/>
                  </a:lnTo>
                  <a:lnTo>
                    <a:pt x="4" y="42"/>
                  </a:lnTo>
                  <a:lnTo>
                    <a:pt x="4" y="38"/>
                  </a:lnTo>
                  <a:lnTo>
                    <a:pt x="0" y="38"/>
                  </a:lnTo>
                  <a:lnTo>
                    <a:pt x="0" y="30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6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8" y="30"/>
                  </a:lnTo>
                  <a:lnTo>
                    <a:pt x="8" y="26"/>
                  </a:lnTo>
                  <a:lnTo>
                    <a:pt x="12" y="22"/>
                  </a:lnTo>
                  <a:lnTo>
                    <a:pt x="16" y="22"/>
                  </a:lnTo>
                  <a:lnTo>
                    <a:pt x="12" y="26"/>
                  </a:lnTo>
                  <a:lnTo>
                    <a:pt x="16" y="26"/>
                  </a:lnTo>
                  <a:lnTo>
                    <a:pt x="20" y="26"/>
                  </a:lnTo>
                  <a:lnTo>
                    <a:pt x="16" y="26"/>
                  </a:lnTo>
                  <a:lnTo>
                    <a:pt x="16" y="22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6" y="16"/>
                  </a:lnTo>
                  <a:lnTo>
                    <a:pt x="30" y="16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24" y="26"/>
                  </a:lnTo>
                  <a:lnTo>
                    <a:pt x="26" y="26"/>
                  </a:lnTo>
                  <a:lnTo>
                    <a:pt x="26" y="22"/>
                  </a:lnTo>
                  <a:lnTo>
                    <a:pt x="30" y="22"/>
                  </a:lnTo>
                  <a:lnTo>
                    <a:pt x="30" y="26"/>
                  </a:lnTo>
                  <a:lnTo>
                    <a:pt x="30" y="30"/>
                  </a:lnTo>
                  <a:lnTo>
                    <a:pt x="30" y="26"/>
                  </a:lnTo>
                  <a:lnTo>
                    <a:pt x="34" y="26"/>
                  </a:lnTo>
                  <a:lnTo>
                    <a:pt x="38" y="26"/>
                  </a:lnTo>
                  <a:lnTo>
                    <a:pt x="42" y="30"/>
                  </a:lnTo>
                  <a:lnTo>
                    <a:pt x="38" y="30"/>
                  </a:lnTo>
                  <a:lnTo>
                    <a:pt x="38" y="34"/>
                  </a:lnTo>
                  <a:lnTo>
                    <a:pt x="34" y="34"/>
                  </a:lnTo>
                  <a:lnTo>
                    <a:pt x="34" y="38"/>
                  </a:lnTo>
                  <a:lnTo>
                    <a:pt x="30" y="34"/>
                  </a:lnTo>
                  <a:lnTo>
                    <a:pt x="34" y="34"/>
                  </a:lnTo>
                  <a:lnTo>
                    <a:pt x="30" y="34"/>
                  </a:lnTo>
                  <a:lnTo>
                    <a:pt x="30" y="38"/>
                  </a:lnTo>
                  <a:lnTo>
                    <a:pt x="30" y="42"/>
                  </a:lnTo>
                  <a:lnTo>
                    <a:pt x="26" y="42"/>
                  </a:lnTo>
                  <a:lnTo>
                    <a:pt x="24" y="42"/>
                  </a:lnTo>
                  <a:lnTo>
                    <a:pt x="26" y="42"/>
                  </a:lnTo>
                  <a:lnTo>
                    <a:pt x="26" y="46"/>
                  </a:lnTo>
                  <a:lnTo>
                    <a:pt x="24" y="46"/>
                  </a:lnTo>
                  <a:lnTo>
                    <a:pt x="20" y="46"/>
                  </a:lnTo>
                  <a:lnTo>
                    <a:pt x="24" y="46"/>
                  </a:lnTo>
                  <a:lnTo>
                    <a:pt x="24" y="48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close/>
                  <a:moveTo>
                    <a:pt x="42" y="12"/>
                  </a:moveTo>
                  <a:lnTo>
                    <a:pt x="38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close/>
                  <a:moveTo>
                    <a:pt x="8" y="22"/>
                  </a:moveTo>
                  <a:lnTo>
                    <a:pt x="4" y="22"/>
                  </a:lnTo>
                  <a:lnTo>
                    <a:pt x="8" y="18"/>
                  </a:lnTo>
                  <a:lnTo>
                    <a:pt x="12" y="18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close/>
                  <a:moveTo>
                    <a:pt x="60" y="48"/>
                  </a:moveTo>
                  <a:lnTo>
                    <a:pt x="56" y="48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4" y="60"/>
                  </a:lnTo>
                  <a:lnTo>
                    <a:pt x="54" y="56"/>
                  </a:lnTo>
                  <a:lnTo>
                    <a:pt x="50" y="56"/>
                  </a:lnTo>
                  <a:lnTo>
                    <a:pt x="46" y="56"/>
                  </a:lnTo>
                  <a:lnTo>
                    <a:pt x="42" y="52"/>
                  </a:lnTo>
                  <a:lnTo>
                    <a:pt x="46" y="52"/>
                  </a:lnTo>
                  <a:lnTo>
                    <a:pt x="42" y="48"/>
                  </a:lnTo>
                  <a:lnTo>
                    <a:pt x="42" y="46"/>
                  </a:lnTo>
                  <a:lnTo>
                    <a:pt x="38" y="46"/>
                  </a:lnTo>
                  <a:lnTo>
                    <a:pt x="42" y="46"/>
                  </a:lnTo>
                  <a:lnTo>
                    <a:pt x="46" y="46"/>
                  </a:lnTo>
                  <a:lnTo>
                    <a:pt x="50" y="42"/>
                  </a:lnTo>
                  <a:lnTo>
                    <a:pt x="46" y="42"/>
                  </a:lnTo>
                  <a:lnTo>
                    <a:pt x="46" y="38"/>
                  </a:lnTo>
                  <a:lnTo>
                    <a:pt x="46" y="42"/>
                  </a:lnTo>
                  <a:lnTo>
                    <a:pt x="50" y="42"/>
                  </a:lnTo>
                  <a:lnTo>
                    <a:pt x="54" y="42"/>
                  </a:lnTo>
                  <a:lnTo>
                    <a:pt x="50" y="42"/>
                  </a:lnTo>
                  <a:lnTo>
                    <a:pt x="50" y="46"/>
                  </a:lnTo>
                  <a:lnTo>
                    <a:pt x="54" y="46"/>
                  </a:lnTo>
                  <a:lnTo>
                    <a:pt x="54" y="42"/>
                  </a:lnTo>
                  <a:lnTo>
                    <a:pt x="56" y="42"/>
                  </a:lnTo>
                  <a:lnTo>
                    <a:pt x="56" y="46"/>
                  </a:lnTo>
                  <a:lnTo>
                    <a:pt x="54" y="46"/>
                  </a:lnTo>
                  <a:lnTo>
                    <a:pt x="56" y="46"/>
                  </a:lnTo>
                  <a:lnTo>
                    <a:pt x="56" y="42"/>
                  </a:lnTo>
                  <a:lnTo>
                    <a:pt x="54" y="42"/>
                  </a:lnTo>
                  <a:lnTo>
                    <a:pt x="54" y="38"/>
                  </a:lnTo>
                  <a:lnTo>
                    <a:pt x="56" y="38"/>
                  </a:lnTo>
                  <a:lnTo>
                    <a:pt x="60" y="38"/>
                  </a:lnTo>
                  <a:lnTo>
                    <a:pt x="64" y="38"/>
                  </a:lnTo>
                  <a:lnTo>
                    <a:pt x="64" y="42"/>
                  </a:lnTo>
                  <a:lnTo>
                    <a:pt x="64" y="46"/>
                  </a:lnTo>
                  <a:lnTo>
                    <a:pt x="64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close/>
                  <a:moveTo>
                    <a:pt x="34" y="42"/>
                  </a:moveTo>
                  <a:lnTo>
                    <a:pt x="34" y="46"/>
                  </a:lnTo>
                  <a:lnTo>
                    <a:pt x="34" y="42"/>
                  </a:lnTo>
                  <a:lnTo>
                    <a:pt x="34" y="38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close/>
                  <a:moveTo>
                    <a:pt x="26" y="48"/>
                  </a:moveTo>
                  <a:lnTo>
                    <a:pt x="30" y="48"/>
                  </a:lnTo>
                  <a:lnTo>
                    <a:pt x="34" y="48"/>
                  </a:lnTo>
                  <a:lnTo>
                    <a:pt x="34" y="52"/>
                  </a:lnTo>
                  <a:lnTo>
                    <a:pt x="34" y="48"/>
                  </a:lnTo>
                  <a:lnTo>
                    <a:pt x="38" y="48"/>
                  </a:lnTo>
                  <a:lnTo>
                    <a:pt x="38" y="52"/>
                  </a:lnTo>
                  <a:lnTo>
                    <a:pt x="38" y="56"/>
                  </a:lnTo>
                  <a:lnTo>
                    <a:pt x="38" y="60"/>
                  </a:lnTo>
                  <a:lnTo>
                    <a:pt x="34" y="60"/>
                  </a:lnTo>
                  <a:lnTo>
                    <a:pt x="30" y="60"/>
                  </a:lnTo>
                  <a:lnTo>
                    <a:pt x="26" y="60"/>
                  </a:lnTo>
                  <a:lnTo>
                    <a:pt x="30" y="56"/>
                  </a:lnTo>
                  <a:lnTo>
                    <a:pt x="26" y="56"/>
                  </a:lnTo>
                  <a:lnTo>
                    <a:pt x="26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close/>
                  <a:moveTo>
                    <a:pt x="98" y="60"/>
                  </a:moveTo>
                  <a:lnTo>
                    <a:pt x="94" y="60"/>
                  </a:lnTo>
                  <a:lnTo>
                    <a:pt x="94" y="56"/>
                  </a:lnTo>
                  <a:lnTo>
                    <a:pt x="94" y="52"/>
                  </a:lnTo>
                  <a:lnTo>
                    <a:pt x="94" y="56"/>
                  </a:lnTo>
                  <a:lnTo>
                    <a:pt x="98" y="56"/>
                  </a:lnTo>
                  <a:lnTo>
                    <a:pt x="98" y="60"/>
                  </a:lnTo>
                  <a:lnTo>
                    <a:pt x="98" y="60"/>
                  </a:lnTo>
                  <a:lnTo>
                    <a:pt x="98" y="60"/>
                  </a:lnTo>
                  <a:close/>
                  <a:moveTo>
                    <a:pt x="38" y="68"/>
                  </a:moveTo>
                  <a:lnTo>
                    <a:pt x="34" y="64"/>
                  </a:lnTo>
                  <a:lnTo>
                    <a:pt x="38" y="64"/>
                  </a:lnTo>
                  <a:lnTo>
                    <a:pt x="38" y="60"/>
                  </a:lnTo>
                  <a:lnTo>
                    <a:pt x="38" y="56"/>
                  </a:lnTo>
                  <a:lnTo>
                    <a:pt x="42" y="56"/>
                  </a:lnTo>
                  <a:lnTo>
                    <a:pt x="42" y="60"/>
                  </a:lnTo>
                  <a:lnTo>
                    <a:pt x="38" y="60"/>
                  </a:lnTo>
                  <a:lnTo>
                    <a:pt x="38" y="64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8" y="68"/>
                  </a:lnTo>
                  <a:close/>
                  <a:moveTo>
                    <a:pt x="26" y="60"/>
                  </a:moveTo>
                  <a:lnTo>
                    <a:pt x="26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0"/>
                  </a:lnTo>
                  <a:close/>
                  <a:moveTo>
                    <a:pt x="34" y="64"/>
                  </a:moveTo>
                  <a:lnTo>
                    <a:pt x="34" y="60"/>
                  </a:lnTo>
                  <a:lnTo>
                    <a:pt x="38" y="60"/>
                  </a:lnTo>
                  <a:lnTo>
                    <a:pt x="34" y="60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4" y="64"/>
                  </a:lnTo>
                  <a:close/>
                  <a:moveTo>
                    <a:pt x="56" y="64"/>
                  </a:moveTo>
                  <a:lnTo>
                    <a:pt x="56" y="60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close/>
                  <a:moveTo>
                    <a:pt x="30" y="64"/>
                  </a:moveTo>
                  <a:lnTo>
                    <a:pt x="30" y="60"/>
                  </a:lnTo>
                  <a:lnTo>
                    <a:pt x="30" y="64"/>
                  </a:lnTo>
                  <a:lnTo>
                    <a:pt x="34" y="6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4"/>
                  </a:lnTo>
                  <a:close/>
                  <a:moveTo>
                    <a:pt x="54" y="64"/>
                  </a:moveTo>
                  <a:lnTo>
                    <a:pt x="56" y="64"/>
                  </a:lnTo>
                  <a:lnTo>
                    <a:pt x="56" y="68"/>
                  </a:lnTo>
                  <a:lnTo>
                    <a:pt x="54" y="68"/>
                  </a:lnTo>
                  <a:lnTo>
                    <a:pt x="54" y="72"/>
                  </a:lnTo>
                  <a:lnTo>
                    <a:pt x="54" y="68"/>
                  </a:lnTo>
                  <a:lnTo>
                    <a:pt x="54" y="64"/>
                  </a:lnTo>
                  <a:lnTo>
                    <a:pt x="50" y="64"/>
                  </a:lnTo>
                  <a:lnTo>
                    <a:pt x="54" y="64"/>
                  </a:lnTo>
                  <a:lnTo>
                    <a:pt x="54" y="60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4" y="64"/>
                  </a:lnTo>
                  <a:close/>
                  <a:moveTo>
                    <a:pt x="42" y="64"/>
                  </a:moveTo>
                  <a:lnTo>
                    <a:pt x="42" y="60"/>
                  </a:lnTo>
                  <a:lnTo>
                    <a:pt x="46" y="60"/>
                  </a:lnTo>
                  <a:lnTo>
                    <a:pt x="46" y="64"/>
                  </a:lnTo>
                  <a:lnTo>
                    <a:pt x="50" y="64"/>
                  </a:lnTo>
                  <a:lnTo>
                    <a:pt x="54" y="64"/>
                  </a:lnTo>
                  <a:lnTo>
                    <a:pt x="54" y="68"/>
                  </a:lnTo>
                  <a:lnTo>
                    <a:pt x="50" y="68"/>
                  </a:lnTo>
                  <a:lnTo>
                    <a:pt x="46" y="68"/>
                  </a:lnTo>
                  <a:lnTo>
                    <a:pt x="42" y="68"/>
                  </a:lnTo>
                  <a:lnTo>
                    <a:pt x="42" y="64"/>
                  </a:lnTo>
                  <a:lnTo>
                    <a:pt x="42" y="64"/>
                  </a:lnTo>
                  <a:lnTo>
                    <a:pt x="42" y="64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57" name="Freeform 97">
              <a:extLst>
                <a:ext uri="{FF2B5EF4-FFF2-40B4-BE49-F238E27FC236}">
                  <a16:creationId xmlns:a16="http://schemas.microsoft.com/office/drawing/2014/main" id="{9FA4FF67-D78B-CFA1-ED23-01EAE177D6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93181" y="2051828"/>
              <a:ext cx="175340" cy="90504"/>
            </a:xfrm>
            <a:custGeom>
              <a:avLst/>
              <a:gdLst>
                <a:gd name="T0" fmla="*/ 90 w 90"/>
                <a:gd name="T1" fmla="*/ 12 h 48"/>
                <a:gd name="T2" fmla="*/ 88 w 90"/>
                <a:gd name="T3" fmla="*/ 12 h 48"/>
                <a:gd name="T4" fmla="*/ 84 w 90"/>
                <a:gd name="T5" fmla="*/ 18 h 48"/>
                <a:gd name="T6" fmla="*/ 80 w 90"/>
                <a:gd name="T7" fmla="*/ 22 h 48"/>
                <a:gd name="T8" fmla="*/ 84 w 90"/>
                <a:gd name="T9" fmla="*/ 30 h 48"/>
                <a:gd name="T10" fmla="*/ 84 w 90"/>
                <a:gd name="T11" fmla="*/ 36 h 48"/>
                <a:gd name="T12" fmla="*/ 88 w 90"/>
                <a:gd name="T13" fmla="*/ 40 h 48"/>
                <a:gd name="T14" fmla="*/ 84 w 90"/>
                <a:gd name="T15" fmla="*/ 44 h 48"/>
                <a:gd name="T16" fmla="*/ 76 w 90"/>
                <a:gd name="T17" fmla="*/ 48 h 48"/>
                <a:gd name="T18" fmla="*/ 68 w 90"/>
                <a:gd name="T19" fmla="*/ 48 h 48"/>
                <a:gd name="T20" fmla="*/ 60 w 90"/>
                <a:gd name="T21" fmla="*/ 44 h 48"/>
                <a:gd name="T22" fmla="*/ 54 w 90"/>
                <a:gd name="T23" fmla="*/ 36 h 48"/>
                <a:gd name="T24" fmla="*/ 50 w 90"/>
                <a:gd name="T25" fmla="*/ 36 h 48"/>
                <a:gd name="T26" fmla="*/ 46 w 90"/>
                <a:gd name="T27" fmla="*/ 36 h 48"/>
                <a:gd name="T28" fmla="*/ 34 w 90"/>
                <a:gd name="T29" fmla="*/ 40 h 48"/>
                <a:gd name="T30" fmla="*/ 38 w 90"/>
                <a:gd name="T31" fmla="*/ 36 h 48"/>
                <a:gd name="T32" fmla="*/ 38 w 90"/>
                <a:gd name="T33" fmla="*/ 34 h 48"/>
                <a:gd name="T34" fmla="*/ 34 w 90"/>
                <a:gd name="T35" fmla="*/ 30 h 48"/>
                <a:gd name="T36" fmla="*/ 30 w 90"/>
                <a:gd name="T37" fmla="*/ 34 h 48"/>
                <a:gd name="T38" fmla="*/ 28 w 90"/>
                <a:gd name="T39" fmla="*/ 30 h 48"/>
                <a:gd name="T40" fmla="*/ 28 w 90"/>
                <a:gd name="T41" fmla="*/ 22 h 48"/>
                <a:gd name="T42" fmla="*/ 24 w 90"/>
                <a:gd name="T43" fmla="*/ 18 h 48"/>
                <a:gd name="T44" fmla="*/ 28 w 90"/>
                <a:gd name="T45" fmla="*/ 14 h 48"/>
                <a:gd name="T46" fmla="*/ 24 w 90"/>
                <a:gd name="T47" fmla="*/ 14 h 48"/>
                <a:gd name="T48" fmla="*/ 28 w 90"/>
                <a:gd name="T49" fmla="*/ 12 h 48"/>
                <a:gd name="T50" fmla="*/ 30 w 90"/>
                <a:gd name="T51" fmla="*/ 12 h 48"/>
                <a:gd name="T52" fmla="*/ 34 w 90"/>
                <a:gd name="T53" fmla="*/ 8 h 48"/>
                <a:gd name="T54" fmla="*/ 38 w 90"/>
                <a:gd name="T55" fmla="*/ 8 h 48"/>
                <a:gd name="T56" fmla="*/ 46 w 90"/>
                <a:gd name="T57" fmla="*/ 4 h 48"/>
                <a:gd name="T58" fmla="*/ 50 w 90"/>
                <a:gd name="T59" fmla="*/ 8 h 48"/>
                <a:gd name="T60" fmla="*/ 58 w 90"/>
                <a:gd name="T61" fmla="*/ 4 h 48"/>
                <a:gd name="T62" fmla="*/ 60 w 90"/>
                <a:gd name="T63" fmla="*/ 4 h 48"/>
                <a:gd name="T64" fmla="*/ 68 w 90"/>
                <a:gd name="T65" fmla="*/ 4 h 48"/>
                <a:gd name="T66" fmla="*/ 72 w 90"/>
                <a:gd name="T67" fmla="*/ 8 h 48"/>
                <a:gd name="T68" fmla="*/ 76 w 90"/>
                <a:gd name="T69" fmla="*/ 8 h 48"/>
                <a:gd name="T70" fmla="*/ 88 w 90"/>
                <a:gd name="T71" fmla="*/ 8 h 48"/>
                <a:gd name="T72" fmla="*/ 88 w 90"/>
                <a:gd name="T73" fmla="*/ 8 h 48"/>
                <a:gd name="T74" fmla="*/ 8 w 90"/>
                <a:gd name="T75" fmla="*/ 22 h 48"/>
                <a:gd name="T76" fmla="*/ 8 w 90"/>
                <a:gd name="T77" fmla="*/ 18 h 48"/>
                <a:gd name="T78" fmla="*/ 4 w 90"/>
                <a:gd name="T79" fmla="*/ 18 h 48"/>
                <a:gd name="T80" fmla="*/ 8 w 90"/>
                <a:gd name="T81" fmla="*/ 18 h 48"/>
                <a:gd name="T82" fmla="*/ 12 w 90"/>
                <a:gd name="T83" fmla="*/ 18 h 48"/>
                <a:gd name="T84" fmla="*/ 16 w 90"/>
                <a:gd name="T85" fmla="*/ 18 h 48"/>
                <a:gd name="T86" fmla="*/ 16 w 90"/>
                <a:gd name="T87" fmla="*/ 22 h 48"/>
                <a:gd name="T88" fmla="*/ 12 w 90"/>
                <a:gd name="T89" fmla="*/ 22 h 48"/>
                <a:gd name="T90" fmla="*/ 12 w 90"/>
                <a:gd name="T91" fmla="*/ 22 h 48"/>
                <a:gd name="T92" fmla="*/ 12 w 90"/>
                <a:gd name="T93" fmla="*/ 22 h 48"/>
                <a:gd name="T94" fmla="*/ 24 w 90"/>
                <a:gd name="T95" fmla="*/ 14 h 48"/>
                <a:gd name="T96" fmla="*/ 20 w 90"/>
                <a:gd name="T97" fmla="*/ 18 h 48"/>
                <a:gd name="T98" fmla="*/ 20 w 90"/>
                <a:gd name="T99" fmla="*/ 14 h 48"/>
                <a:gd name="T100" fmla="*/ 20 w 90"/>
                <a:gd name="T101" fmla="*/ 14 h 48"/>
                <a:gd name="T102" fmla="*/ 24 w 90"/>
                <a:gd name="T103" fmla="*/ 26 h 48"/>
                <a:gd name="T104" fmla="*/ 20 w 90"/>
                <a:gd name="T105" fmla="*/ 26 h 48"/>
                <a:gd name="T106" fmla="*/ 20 w 90"/>
                <a:gd name="T107" fmla="*/ 22 h 48"/>
                <a:gd name="T108" fmla="*/ 4 w 90"/>
                <a:gd name="T109" fmla="*/ 36 h 48"/>
                <a:gd name="T110" fmla="*/ 0 w 90"/>
                <a:gd name="T111" fmla="*/ 34 h 48"/>
                <a:gd name="T112" fmla="*/ 0 w 90"/>
                <a:gd name="T113" fmla="*/ 30 h 48"/>
                <a:gd name="T114" fmla="*/ 8 w 90"/>
                <a:gd name="T115" fmla="*/ 26 h 48"/>
                <a:gd name="T116" fmla="*/ 20 w 90"/>
                <a:gd name="T117" fmla="*/ 26 h 48"/>
                <a:gd name="T118" fmla="*/ 20 w 90"/>
                <a:gd name="T119" fmla="*/ 30 h 48"/>
                <a:gd name="T120" fmla="*/ 8 w 90"/>
                <a:gd name="T121" fmla="*/ 34 h 48"/>
                <a:gd name="T122" fmla="*/ 4 w 90"/>
                <a:gd name="T123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0" h="48">
                  <a:moveTo>
                    <a:pt x="88" y="8"/>
                  </a:moveTo>
                  <a:lnTo>
                    <a:pt x="88" y="8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4" y="14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0" y="30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2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8" y="40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30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4" y="2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8" y="18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4" y="14"/>
                  </a:lnTo>
                  <a:lnTo>
                    <a:pt x="28" y="14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42" y="8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4" y="4"/>
                  </a:lnTo>
                  <a:lnTo>
                    <a:pt x="54" y="0"/>
                  </a:lnTo>
                  <a:lnTo>
                    <a:pt x="58" y="0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close/>
                  <a:moveTo>
                    <a:pt x="12" y="22"/>
                  </a:moveTo>
                  <a:lnTo>
                    <a:pt x="12" y="22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close/>
                  <a:moveTo>
                    <a:pt x="20" y="14"/>
                  </a:move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close/>
                  <a:moveTo>
                    <a:pt x="20" y="22"/>
                  </a:moveTo>
                  <a:lnTo>
                    <a:pt x="20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close/>
                  <a:moveTo>
                    <a:pt x="4" y="40"/>
                  </a:move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4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4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6" y="30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58" name="Freeform 98">
              <a:extLst>
                <a:ext uri="{FF2B5EF4-FFF2-40B4-BE49-F238E27FC236}">
                  <a16:creationId xmlns:a16="http://schemas.microsoft.com/office/drawing/2014/main" id="{79DF96B3-C457-343A-8DDA-634DF69268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0515" y="1938698"/>
              <a:ext cx="27275" cy="41481"/>
            </a:xfrm>
            <a:custGeom>
              <a:avLst/>
              <a:gdLst>
                <a:gd name="T0" fmla="*/ 10 w 14"/>
                <a:gd name="T1" fmla="*/ 12 h 22"/>
                <a:gd name="T2" fmla="*/ 6 w 14"/>
                <a:gd name="T3" fmla="*/ 12 h 22"/>
                <a:gd name="T4" fmla="*/ 6 w 14"/>
                <a:gd name="T5" fmla="*/ 12 h 22"/>
                <a:gd name="T6" fmla="*/ 10 w 14"/>
                <a:gd name="T7" fmla="*/ 12 h 22"/>
                <a:gd name="T8" fmla="*/ 10 w 14"/>
                <a:gd name="T9" fmla="*/ 12 h 22"/>
                <a:gd name="T10" fmla="*/ 10 w 14"/>
                <a:gd name="T11" fmla="*/ 14 h 22"/>
                <a:gd name="T12" fmla="*/ 10 w 14"/>
                <a:gd name="T13" fmla="*/ 14 h 22"/>
                <a:gd name="T14" fmla="*/ 10 w 14"/>
                <a:gd name="T15" fmla="*/ 4 h 22"/>
                <a:gd name="T16" fmla="*/ 10 w 14"/>
                <a:gd name="T17" fmla="*/ 4 h 22"/>
                <a:gd name="T18" fmla="*/ 10 w 14"/>
                <a:gd name="T19" fmla="*/ 4 h 22"/>
                <a:gd name="T20" fmla="*/ 10 w 14"/>
                <a:gd name="T21" fmla="*/ 4 h 22"/>
                <a:gd name="T22" fmla="*/ 10 w 14"/>
                <a:gd name="T23" fmla="*/ 0 h 22"/>
                <a:gd name="T24" fmla="*/ 10 w 14"/>
                <a:gd name="T25" fmla="*/ 0 h 22"/>
                <a:gd name="T26" fmla="*/ 10 w 14"/>
                <a:gd name="T27" fmla="*/ 0 h 22"/>
                <a:gd name="T28" fmla="*/ 14 w 14"/>
                <a:gd name="T29" fmla="*/ 0 h 22"/>
                <a:gd name="T30" fmla="*/ 14 w 14"/>
                <a:gd name="T31" fmla="*/ 4 h 22"/>
                <a:gd name="T32" fmla="*/ 10 w 14"/>
                <a:gd name="T33" fmla="*/ 4 h 22"/>
                <a:gd name="T34" fmla="*/ 10 w 14"/>
                <a:gd name="T35" fmla="*/ 8 h 22"/>
                <a:gd name="T36" fmla="*/ 6 w 14"/>
                <a:gd name="T37" fmla="*/ 8 h 22"/>
                <a:gd name="T38" fmla="*/ 6 w 14"/>
                <a:gd name="T39" fmla="*/ 4 h 22"/>
                <a:gd name="T40" fmla="*/ 2 w 14"/>
                <a:gd name="T41" fmla="*/ 4 h 22"/>
                <a:gd name="T42" fmla="*/ 2 w 14"/>
                <a:gd name="T43" fmla="*/ 0 h 22"/>
                <a:gd name="T44" fmla="*/ 6 w 14"/>
                <a:gd name="T45" fmla="*/ 0 h 22"/>
                <a:gd name="T46" fmla="*/ 6 w 14"/>
                <a:gd name="T47" fmla="*/ 0 h 22"/>
                <a:gd name="T48" fmla="*/ 10 w 14"/>
                <a:gd name="T49" fmla="*/ 4 h 22"/>
                <a:gd name="T50" fmla="*/ 10 w 14"/>
                <a:gd name="T51" fmla="*/ 4 h 22"/>
                <a:gd name="T52" fmla="*/ 10 w 14"/>
                <a:gd name="T53" fmla="*/ 8 h 22"/>
                <a:gd name="T54" fmla="*/ 10 w 14"/>
                <a:gd name="T55" fmla="*/ 12 h 22"/>
                <a:gd name="T56" fmla="*/ 6 w 14"/>
                <a:gd name="T57" fmla="*/ 8 h 22"/>
                <a:gd name="T58" fmla="*/ 6 w 14"/>
                <a:gd name="T59" fmla="*/ 8 h 22"/>
                <a:gd name="T60" fmla="*/ 2 w 14"/>
                <a:gd name="T61" fmla="*/ 4 h 22"/>
                <a:gd name="T62" fmla="*/ 2 w 14"/>
                <a:gd name="T63" fmla="*/ 4 h 22"/>
                <a:gd name="T64" fmla="*/ 2 w 14"/>
                <a:gd name="T65" fmla="*/ 0 h 22"/>
                <a:gd name="T66" fmla="*/ 2 w 14"/>
                <a:gd name="T67" fmla="*/ 0 h 22"/>
                <a:gd name="T68" fmla="*/ 2 w 14"/>
                <a:gd name="T69" fmla="*/ 0 h 22"/>
                <a:gd name="T70" fmla="*/ 2 w 14"/>
                <a:gd name="T71" fmla="*/ 4 h 22"/>
                <a:gd name="T72" fmla="*/ 2 w 14"/>
                <a:gd name="T73" fmla="*/ 4 h 22"/>
                <a:gd name="T74" fmla="*/ 6 w 14"/>
                <a:gd name="T75" fmla="*/ 4 h 22"/>
                <a:gd name="T76" fmla="*/ 6 w 14"/>
                <a:gd name="T77" fmla="*/ 4 h 22"/>
                <a:gd name="T78" fmla="*/ 6 w 14"/>
                <a:gd name="T79" fmla="*/ 8 h 22"/>
                <a:gd name="T80" fmla="*/ 10 w 14"/>
                <a:gd name="T81" fmla="*/ 8 h 22"/>
                <a:gd name="T82" fmla="*/ 10 w 14"/>
                <a:gd name="T83" fmla="*/ 12 h 22"/>
                <a:gd name="T84" fmla="*/ 2 w 14"/>
                <a:gd name="T85" fmla="*/ 8 h 22"/>
                <a:gd name="T86" fmla="*/ 2 w 14"/>
                <a:gd name="T87" fmla="*/ 8 h 22"/>
                <a:gd name="T88" fmla="*/ 2 w 14"/>
                <a:gd name="T89" fmla="*/ 8 h 22"/>
                <a:gd name="T90" fmla="*/ 0 w 14"/>
                <a:gd name="T91" fmla="*/ 8 h 22"/>
                <a:gd name="T92" fmla="*/ 0 w 14"/>
                <a:gd name="T93" fmla="*/ 4 h 22"/>
                <a:gd name="T94" fmla="*/ 2 w 14"/>
                <a:gd name="T95" fmla="*/ 4 h 22"/>
                <a:gd name="T96" fmla="*/ 2 w 14"/>
                <a:gd name="T97" fmla="*/ 4 h 22"/>
                <a:gd name="T98" fmla="*/ 2 w 14"/>
                <a:gd name="T99" fmla="*/ 8 h 22"/>
                <a:gd name="T100" fmla="*/ 2 w 14"/>
                <a:gd name="T101" fmla="*/ 8 h 22"/>
                <a:gd name="T102" fmla="*/ 2 w 14"/>
                <a:gd name="T103" fmla="*/ 8 h 22"/>
                <a:gd name="T104" fmla="*/ 2 w 14"/>
                <a:gd name="T105" fmla="*/ 8 h 22"/>
                <a:gd name="T106" fmla="*/ 10 w 14"/>
                <a:gd name="T107" fmla="*/ 22 h 22"/>
                <a:gd name="T108" fmla="*/ 6 w 14"/>
                <a:gd name="T109" fmla="*/ 18 h 22"/>
                <a:gd name="T110" fmla="*/ 6 w 14"/>
                <a:gd name="T111" fmla="*/ 14 h 22"/>
                <a:gd name="T112" fmla="*/ 6 w 14"/>
                <a:gd name="T113" fmla="*/ 14 h 22"/>
                <a:gd name="T114" fmla="*/ 6 w 14"/>
                <a:gd name="T115" fmla="*/ 14 h 22"/>
                <a:gd name="T116" fmla="*/ 10 w 14"/>
                <a:gd name="T117" fmla="*/ 18 h 22"/>
                <a:gd name="T118" fmla="*/ 10 w 14"/>
                <a:gd name="T119" fmla="*/ 22 h 22"/>
                <a:gd name="T120" fmla="*/ 10 w 14"/>
                <a:gd name="T121" fmla="*/ 22 h 22"/>
                <a:gd name="T122" fmla="*/ 10 w 14"/>
                <a:gd name="T12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" h="22">
                  <a:moveTo>
                    <a:pt x="10" y="14"/>
                  </a:moveTo>
                  <a:lnTo>
                    <a:pt x="10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close/>
                  <a:moveTo>
                    <a:pt x="10" y="4"/>
                  </a:move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close/>
                  <a:moveTo>
                    <a:pt x="10" y="8"/>
                  </a:moveTo>
                  <a:lnTo>
                    <a:pt x="10" y="8"/>
                  </a:lnTo>
                  <a:lnTo>
                    <a:pt x="6" y="8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0"/>
                  </a:lnTo>
                  <a:lnTo>
                    <a:pt x="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close/>
                  <a:moveTo>
                    <a:pt x="10" y="12"/>
                  </a:moveTo>
                  <a:lnTo>
                    <a:pt x="6" y="12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8"/>
                  </a:lnTo>
                  <a:lnTo>
                    <a:pt x="6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close/>
                  <a:moveTo>
                    <a:pt x="2" y="8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close/>
                  <a:moveTo>
                    <a:pt x="10" y="22"/>
                  </a:moveTo>
                  <a:lnTo>
                    <a:pt x="10" y="22"/>
                  </a:lnTo>
                  <a:lnTo>
                    <a:pt x="10" y="2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8"/>
                  </a:lnTo>
                  <a:lnTo>
                    <a:pt x="10" y="18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59" name="Freeform 99">
              <a:extLst>
                <a:ext uri="{FF2B5EF4-FFF2-40B4-BE49-F238E27FC236}">
                  <a16:creationId xmlns:a16="http://schemas.microsoft.com/office/drawing/2014/main" id="{DEB6330F-4413-C077-BCA5-EBA7EB6C53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0838" y="1580452"/>
              <a:ext cx="335094" cy="471377"/>
            </a:xfrm>
            <a:custGeom>
              <a:avLst/>
              <a:gdLst>
                <a:gd name="T0" fmla="*/ 44 w 172"/>
                <a:gd name="T1" fmla="*/ 238 h 250"/>
                <a:gd name="T2" fmla="*/ 30 w 172"/>
                <a:gd name="T3" fmla="*/ 232 h 250"/>
                <a:gd name="T4" fmla="*/ 30 w 172"/>
                <a:gd name="T5" fmla="*/ 212 h 250"/>
                <a:gd name="T6" fmla="*/ 26 w 172"/>
                <a:gd name="T7" fmla="*/ 202 h 250"/>
                <a:gd name="T8" fmla="*/ 22 w 172"/>
                <a:gd name="T9" fmla="*/ 180 h 250"/>
                <a:gd name="T10" fmla="*/ 30 w 172"/>
                <a:gd name="T11" fmla="*/ 172 h 250"/>
                <a:gd name="T12" fmla="*/ 40 w 172"/>
                <a:gd name="T13" fmla="*/ 164 h 250"/>
                <a:gd name="T14" fmla="*/ 56 w 172"/>
                <a:gd name="T15" fmla="*/ 154 h 250"/>
                <a:gd name="T16" fmla="*/ 66 w 172"/>
                <a:gd name="T17" fmla="*/ 138 h 250"/>
                <a:gd name="T18" fmla="*/ 86 w 172"/>
                <a:gd name="T19" fmla="*/ 128 h 250"/>
                <a:gd name="T20" fmla="*/ 78 w 172"/>
                <a:gd name="T21" fmla="*/ 116 h 250"/>
                <a:gd name="T22" fmla="*/ 66 w 172"/>
                <a:gd name="T23" fmla="*/ 108 h 250"/>
                <a:gd name="T24" fmla="*/ 64 w 172"/>
                <a:gd name="T25" fmla="*/ 86 h 250"/>
                <a:gd name="T26" fmla="*/ 56 w 172"/>
                <a:gd name="T27" fmla="*/ 64 h 250"/>
                <a:gd name="T28" fmla="*/ 40 w 172"/>
                <a:gd name="T29" fmla="*/ 42 h 250"/>
                <a:gd name="T30" fmla="*/ 22 w 172"/>
                <a:gd name="T31" fmla="*/ 34 h 250"/>
                <a:gd name="T32" fmla="*/ 22 w 172"/>
                <a:gd name="T33" fmla="*/ 22 h 250"/>
                <a:gd name="T34" fmla="*/ 40 w 172"/>
                <a:gd name="T35" fmla="*/ 38 h 250"/>
                <a:gd name="T36" fmla="*/ 64 w 172"/>
                <a:gd name="T37" fmla="*/ 34 h 250"/>
                <a:gd name="T38" fmla="*/ 78 w 172"/>
                <a:gd name="T39" fmla="*/ 34 h 250"/>
                <a:gd name="T40" fmla="*/ 90 w 172"/>
                <a:gd name="T41" fmla="*/ 26 h 250"/>
                <a:gd name="T42" fmla="*/ 94 w 172"/>
                <a:gd name="T43" fmla="*/ 12 h 250"/>
                <a:gd name="T44" fmla="*/ 112 w 172"/>
                <a:gd name="T45" fmla="*/ 4 h 250"/>
                <a:gd name="T46" fmla="*/ 130 w 172"/>
                <a:gd name="T47" fmla="*/ 12 h 250"/>
                <a:gd name="T48" fmla="*/ 130 w 172"/>
                <a:gd name="T49" fmla="*/ 22 h 250"/>
                <a:gd name="T50" fmla="*/ 130 w 172"/>
                <a:gd name="T51" fmla="*/ 34 h 250"/>
                <a:gd name="T52" fmla="*/ 142 w 172"/>
                <a:gd name="T53" fmla="*/ 56 h 250"/>
                <a:gd name="T54" fmla="*/ 138 w 172"/>
                <a:gd name="T55" fmla="*/ 78 h 250"/>
                <a:gd name="T56" fmla="*/ 144 w 172"/>
                <a:gd name="T57" fmla="*/ 98 h 250"/>
                <a:gd name="T58" fmla="*/ 144 w 172"/>
                <a:gd name="T59" fmla="*/ 116 h 250"/>
                <a:gd name="T60" fmla="*/ 142 w 172"/>
                <a:gd name="T61" fmla="*/ 132 h 250"/>
                <a:gd name="T62" fmla="*/ 152 w 172"/>
                <a:gd name="T63" fmla="*/ 142 h 250"/>
                <a:gd name="T64" fmla="*/ 148 w 172"/>
                <a:gd name="T65" fmla="*/ 158 h 250"/>
                <a:gd name="T66" fmla="*/ 172 w 172"/>
                <a:gd name="T67" fmla="*/ 176 h 250"/>
                <a:gd name="T68" fmla="*/ 160 w 172"/>
                <a:gd name="T69" fmla="*/ 194 h 250"/>
                <a:gd name="T70" fmla="*/ 142 w 172"/>
                <a:gd name="T71" fmla="*/ 212 h 250"/>
                <a:gd name="T72" fmla="*/ 122 w 172"/>
                <a:gd name="T73" fmla="*/ 224 h 250"/>
                <a:gd name="T74" fmla="*/ 108 w 172"/>
                <a:gd name="T75" fmla="*/ 232 h 250"/>
                <a:gd name="T76" fmla="*/ 100 w 172"/>
                <a:gd name="T77" fmla="*/ 228 h 250"/>
                <a:gd name="T78" fmla="*/ 90 w 172"/>
                <a:gd name="T79" fmla="*/ 236 h 250"/>
                <a:gd name="T80" fmla="*/ 82 w 172"/>
                <a:gd name="T81" fmla="*/ 238 h 250"/>
                <a:gd name="T82" fmla="*/ 66 w 172"/>
                <a:gd name="T83" fmla="*/ 242 h 250"/>
                <a:gd name="T84" fmla="*/ 48 w 172"/>
                <a:gd name="T85" fmla="*/ 250 h 250"/>
                <a:gd name="T86" fmla="*/ 48 w 172"/>
                <a:gd name="T87" fmla="*/ 242 h 250"/>
                <a:gd name="T88" fmla="*/ 78 w 172"/>
                <a:gd name="T89" fmla="*/ 128 h 250"/>
                <a:gd name="T90" fmla="*/ 48 w 172"/>
                <a:gd name="T91" fmla="*/ 158 h 250"/>
                <a:gd name="T92" fmla="*/ 26 w 172"/>
                <a:gd name="T93" fmla="*/ 172 h 250"/>
                <a:gd name="T94" fmla="*/ 2 w 172"/>
                <a:gd name="T95" fmla="*/ 236 h 250"/>
                <a:gd name="T96" fmla="*/ 6 w 172"/>
                <a:gd name="T97" fmla="*/ 242 h 250"/>
                <a:gd name="T98" fmla="*/ 0 w 172"/>
                <a:gd name="T99" fmla="*/ 242 h 250"/>
                <a:gd name="T100" fmla="*/ 44 w 172"/>
                <a:gd name="T101" fmla="*/ 242 h 250"/>
                <a:gd name="T102" fmla="*/ 44 w 172"/>
                <a:gd name="T103" fmla="*/ 246 h 250"/>
                <a:gd name="T104" fmla="*/ 34 w 172"/>
                <a:gd name="T105" fmla="*/ 242 h 250"/>
                <a:gd name="T106" fmla="*/ 6 w 172"/>
                <a:gd name="T107" fmla="*/ 242 h 250"/>
                <a:gd name="T108" fmla="*/ 56 w 172"/>
                <a:gd name="T109" fmla="*/ 24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" h="250">
                  <a:moveTo>
                    <a:pt x="48" y="242"/>
                  </a:moveTo>
                  <a:lnTo>
                    <a:pt x="48" y="238"/>
                  </a:lnTo>
                  <a:lnTo>
                    <a:pt x="52" y="236"/>
                  </a:lnTo>
                  <a:lnTo>
                    <a:pt x="48" y="238"/>
                  </a:lnTo>
                  <a:lnTo>
                    <a:pt x="44" y="238"/>
                  </a:lnTo>
                  <a:lnTo>
                    <a:pt x="40" y="238"/>
                  </a:lnTo>
                  <a:lnTo>
                    <a:pt x="44" y="238"/>
                  </a:lnTo>
                  <a:lnTo>
                    <a:pt x="44" y="236"/>
                  </a:lnTo>
                  <a:lnTo>
                    <a:pt x="40" y="236"/>
                  </a:lnTo>
                  <a:lnTo>
                    <a:pt x="36" y="236"/>
                  </a:lnTo>
                  <a:lnTo>
                    <a:pt x="34" y="232"/>
                  </a:lnTo>
                  <a:lnTo>
                    <a:pt x="34" y="236"/>
                  </a:lnTo>
                  <a:lnTo>
                    <a:pt x="34" y="232"/>
                  </a:lnTo>
                  <a:lnTo>
                    <a:pt x="30" y="232"/>
                  </a:lnTo>
                  <a:lnTo>
                    <a:pt x="26" y="232"/>
                  </a:lnTo>
                  <a:lnTo>
                    <a:pt x="26" y="228"/>
                  </a:lnTo>
                  <a:lnTo>
                    <a:pt x="26" y="224"/>
                  </a:lnTo>
                  <a:lnTo>
                    <a:pt x="26" y="220"/>
                  </a:lnTo>
                  <a:lnTo>
                    <a:pt x="26" y="216"/>
                  </a:lnTo>
                  <a:lnTo>
                    <a:pt x="30" y="216"/>
                  </a:lnTo>
                  <a:lnTo>
                    <a:pt x="30" y="212"/>
                  </a:lnTo>
                  <a:lnTo>
                    <a:pt x="30" y="208"/>
                  </a:lnTo>
                  <a:lnTo>
                    <a:pt x="26" y="208"/>
                  </a:lnTo>
                  <a:lnTo>
                    <a:pt x="30" y="208"/>
                  </a:lnTo>
                  <a:lnTo>
                    <a:pt x="30" y="206"/>
                  </a:lnTo>
                  <a:lnTo>
                    <a:pt x="26" y="206"/>
                  </a:lnTo>
                  <a:lnTo>
                    <a:pt x="30" y="202"/>
                  </a:lnTo>
                  <a:lnTo>
                    <a:pt x="26" y="202"/>
                  </a:lnTo>
                  <a:lnTo>
                    <a:pt x="26" y="198"/>
                  </a:lnTo>
                  <a:lnTo>
                    <a:pt x="26" y="194"/>
                  </a:lnTo>
                  <a:lnTo>
                    <a:pt x="26" y="192"/>
                  </a:lnTo>
                  <a:lnTo>
                    <a:pt x="22" y="192"/>
                  </a:lnTo>
                  <a:lnTo>
                    <a:pt x="22" y="188"/>
                  </a:lnTo>
                  <a:lnTo>
                    <a:pt x="22" y="184"/>
                  </a:lnTo>
                  <a:lnTo>
                    <a:pt x="22" y="180"/>
                  </a:lnTo>
                  <a:lnTo>
                    <a:pt x="26" y="180"/>
                  </a:lnTo>
                  <a:lnTo>
                    <a:pt x="26" y="176"/>
                  </a:lnTo>
                  <a:lnTo>
                    <a:pt x="30" y="172"/>
                  </a:lnTo>
                  <a:lnTo>
                    <a:pt x="30" y="176"/>
                  </a:lnTo>
                  <a:lnTo>
                    <a:pt x="30" y="172"/>
                  </a:lnTo>
                  <a:lnTo>
                    <a:pt x="30" y="168"/>
                  </a:lnTo>
                  <a:lnTo>
                    <a:pt x="30" y="172"/>
                  </a:lnTo>
                  <a:lnTo>
                    <a:pt x="34" y="168"/>
                  </a:lnTo>
                  <a:lnTo>
                    <a:pt x="34" y="172"/>
                  </a:lnTo>
                  <a:lnTo>
                    <a:pt x="36" y="168"/>
                  </a:lnTo>
                  <a:lnTo>
                    <a:pt x="40" y="168"/>
                  </a:lnTo>
                  <a:lnTo>
                    <a:pt x="40" y="164"/>
                  </a:lnTo>
                  <a:lnTo>
                    <a:pt x="36" y="164"/>
                  </a:lnTo>
                  <a:lnTo>
                    <a:pt x="40" y="164"/>
                  </a:lnTo>
                  <a:lnTo>
                    <a:pt x="40" y="162"/>
                  </a:lnTo>
                  <a:lnTo>
                    <a:pt x="44" y="158"/>
                  </a:lnTo>
                  <a:lnTo>
                    <a:pt x="44" y="162"/>
                  </a:lnTo>
                  <a:lnTo>
                    <a:pt x="48" y="162"/>
                  </a:lnTo>
                  <a:lnTo>
                    <a:pt x="48" y="158"/>
                  </a:lnTo>
                  <a:lnTo>
                    <a:pt x="52" y="154"/>
                  </a:lnTo>
                  <a:lnTo>
                    <a:pt x="56" y="154"/>
                  </a:lnTo>
                  <a:lnTo>
                    <a:pt x="56" y="150"/>
                  </a:lnTo>
                  <a:lnTo>
                    <a:pt x="60" y="150"/>
                  </a:lnTo>
                  <a:lnTo>
                    <a:pt x="60" y="146"/>
                  </a:lnTo>
                  <a:lnTo>
                    <a:pt x="64" y="146"/>
                  </a:lnTo>
                  <a:lnTo>
                    <a:pt x="64" y="142"/>
                  </a:lnTo>
                  <a:lnTo>
                    <a:pt x="66" y="142"/>
                  </a:lnTo>
                  <a:lnTo>
                    <a:pt x="66" y="138"/>
                  </a:lnTo>
                  <a:lnTo>
                    <a:pt x="70" y="136"/>
                  </a:lnTo>
                  <a:lnTo>
                    <a:pt x="70" y="132"/>
                  </a:lnTo>
                  <a:lnTo>
                    <a:pt x="74" y="132"/>
                  </a:lnTo>
                  <a:lnTo>
                    <a:pt x="78" y="132"/>
                  </a:lnTo>
                  <a:lnTo>
                    <a:pt x="82" y="132"/>
                  </a:lnTo>
                  <a:lnTo>
                    <a:pt x="82" y="128"/>
                  </a:lnTo>
                  <a:lnTo>
                    <a:pt x="86" y="128"/>
                  </a:lnTo>
                  <a:lnTo>
                    <a:pt x="82" y="128"/>
                  </a:lnTo>
                  <a:lnTo>
                    <a:pt x="82" y="124"/>
                  </a:lnTo>
                  <a:lnTo>
                    <a:pt x="82" y="120"/>
                  </a:lnTo>
                  <a:lnTo>
                    <a:pt x="82" y="116"/>
                  </a:lnTo>
                  <a:lnTo>
                    <a:pt x="82" y="112"/>
                  </a:lnTo>
                  <a:lnTo>
                    <a:pt x="78" y="112"/>
                  </a:lnTo>
                  <a:lnTo>
                    <a:pt x="78" y="116"/>
                  </a:lnTo>
                  <a:lnTo>
                    <a:pt x="78" y="112"/>
                  </a:lnTo>
                  <a:lnTo>
                    <a:pt x="74" y="112"/>
                  </a:lnTo>
                  <a:lnTo>
                    <a:pt x="70" y="108"/>
                  </a:lnTo>
                  <a:lnTo>
                    <a:pt x="74" y="106"/>
                  </a:lnTo>
                  <a:lnTo>
                    <a:pt x="70" y="106"/>
                  </a:lnTo>
                  <a:lnTo>
                    <a:pt x="70" y="108"/>
                  </a:lnTo>
                  <a:lnTo>
                    <a:pt x="66" y="108"/>
                  </a:lnTo>
                  <a:lnTo>
                    <a:pt x="64" y="102"/>
                  </a:lnTo>
                  <a:lnTo>
                    <a:pt x="60" y="102"/>
                  </a:lnTo>
                  <a:lnTo>
                    <a:pt x="60" y="98"/>
                  </a:lnTo>
                  <a:lnTo>
                    <a:pt x="60" y="94"/>
                  </a:lnTo>
                  <a:lnTo>
                    <a:pt x="60" y="90"/>
                  </a:lnTo>
                  <a:lnTo>
                    <a:pt x="64" y="90"/>
                  </a:lnTo>
                  <a:lnTo>
                    <a:pt x="64" y="86"/>
                  </a:lnTo>
                  <a:lnTo>
                    <a:pt x="64" y="82"/>
                  </a:lnTo>
                  <a:lnTo>
                    <a:pt x="60" y="78"/>
                  </a:lnTo>
                  <a:lnTo>
                    <a:pt x="56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6" y="60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56" y="52"/>
                  </a:lnTo>
                  <a:lnTo>
                    <a:pt x="48" y="46"/>
                  </a:lnTo>
                  <a:lnTo>
                    <a:pt x="44" y="46"/>
                  </a:lnTo>
                  <a:lnTo>
                    <a:pt x="40" y="42"/>
                  </a:lnTo>
                  <a:lnTo>
                    <a:pt x="36" y="42"/>
                  </a:lnTo>
                  <a:lnTo>
                    <a:pt x="34" y="42"/>
                  </a:lnTo>
                  <a:lnTo>
                    <a:pt x="30" y="42"/>
                  </a:lnTo>
                  <a:lnTo>
                    <a:pt x="30" y="38"/>
                  </a:lnTo>
                  <a:lnTo>
                    <a:pt x="26" y="38"/>
                  </a:lnTo>
                  <a:lnTo>
                    <a:pt x="26" y="34"/>
                  </a:lnTo>
                  <a:lnTo>
                    <a:pt x="22" y="34"/>
                  </a:lnTo>
                  <a:lnTo>
                    <a:pt x="18" y="30"/>
                  </a:lnTo>
                  <a:lnTo>
                    <a:pt x="14" y="26"/>
                  </a:lnTo>
                  <a:lnTo>
                    <a:pt x="18" y="26"/>
                  </a:lnTo>
                  <a:lnTo>
                    <a:pt x="22" y="26"/>
                  </a:lnTo>
                  <a:lnTo>
                    <a:pt x="22" y="30"/>
                  </a:lnTo>
                  <a:lnTo>
                    <a:pt x="22" y="26"/>
                  </a:lnTo>
                  <a:lnTo>
                    <a:pt x="22" y="22"/>
                  </a:lnTo>
                  <a:lnTo>
                    <a:pt x="26" y="22"/>
                  </a:lnTo>
                  <a:lnTo>
                    <a:pt x="30" y="22"/>
                  </a:lnTo>
                  <a:lnTo>
                    <a:pt x="34" y="26"/>
                  </a:lnTo>
                  <a:lnTo>
                    <a:pt x="36" y="26"/>
                  </a:lnTo>
                  <a:lnTo>
                    <a:pt x="36" y="30"/>
                  </a:lnTo>
                  <a:lnTo>
                    <a:pt x="40" y="34"/>
                  </a:lnTo>
                  <a:lnTo>
                    <a:pt x="40" y="38"/>
                  </a:lnTo>
                  <a:lnTo>
                    <a:pt x="44" y="34"/>
                  </a:lnTo>
                  <a:lnTo>
                    <a:pt x="48" y="38"/>
                  </a:lnTo>
                  <a:lnTo>
                    <a:pt x="52" y="38"/>
                  </a:lnTo>
                  <a:lnTo>
                    <a:pt x="56" y="38"/>
                  </a:lnTo>
                  <a:lnTo>
                    <a:pt x="60" y="38"/>
                  </a:lnTo>
                  <a:lnTo>
                    <a:pt x="60" y="34"/>
                  </a:lnTo>
                  <a:lnTo>
                    <a:pt x="64" y="34"/>
                  </a:lnTo>
                  <a:lnTo>
                    <a:pt x="66" y="34"/>
                  </a:lnTo>
                  <a:lnTo>
                    <a:pt x="66" y="38"/>
                  </a:lnTo>
                  <a:lnTo>
                    <a:pt x="70" y="38"/>
                  </a:lnTo>
                  <a:lnTo>
                    <a:pt x="74" y="38"/>
                  </a:lnTo>
                  <a:lnTo>
                    <a:pt x="78" y="42"/>
                  </a:lnTo>
                  <a:lnTo>
                    <a:pt x="78" y="38"/>
                  </a:lnTo>
                  <a:lnTo>
                    <a:pt x="78" y="34"/>
                  </a:lnTo>
                  <a:lnTo>
                    <a:pt x="82" y="34"/>
                  </a:lnTo>
                  <a:lnTo>
                    <a:pt x="82" y="30"/>
                  </a:lnTo>
                  <a:lnTo>
                    <a:pt x="86" y="30"/>
                  </a:lnTo>
                  <a:lnTo>
                    <a:pt x="86" y="34"/>
                  </a:lnTo>
                  <a:lnTo>
                    <a:pt x="86" y="30"/>
                  </a:lnTo>
                  <a:lnTo>
                    <a:pt x="90" y="30"/>
                  </a:lnTo>
                  <a:lnTo>
                    <a:pt x="90" y="26"/>
                  </a:lnTo>
                  <a:lnTo>
                    <a:pt x="90" y="22"/>
                  </a:lnTo>
                  <a:lnTo>
                    <a:pt x="90" y="20"/>
                  </a:lnTo>
                  <a:lnTo>
                    <a:pt x="90" y="16"/>
                  </a:lnTo>
                  <a:lnTo>
                    <a:pt x="94" y="16"/>
                  </a:lnTo>
                  <a:lnTo>
                    <a:pt x="94" y="12"/>
                  </a:lnTo>
                  <a:lnTo>
                    <a:pt x="90" y="12"/>
                  </a:lnTo>
                  <a:lnTo>
                    <a:pt x="94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0" y="4"/>
                  </a:lnTo>
                  <a:lnTo>
                    <a:pt x="122" y="4"/>
                  </a:lnTo>
                  <a:lnTo>
                    <a:pt x="122" y="8"/>
                  </a:lnTo>
                  <a:lnTo>
                    <a:pt x="126" y="8"/>
                  </a:lnTo>
                  <a:lnTo>
                    <a:pt x="130" y="12"/>
                  </a:lnTo>
                  <a:lnTo>
                    <a:pt x="134" y="12"/>
                  </a:lnTo>
                  <a:lnTo>
                    <a:pt x="138" y="12"/>
                  </a:lnTo>
                  <a:lnTo>
                    <a:pt x="138" y="16"/>
                  </a:lnTo>
                  <a:lnTo>
                    <a:pt x="138" y="20"/>
                  </a:lnTo>
                  <a:lnTo>
                    <a:pt x="134" y="20"/>
                  </a:lnTo>
                  <a:lnTo>
                    <a:pt x="134" y="22"/>
                  </a:lnTo>
                  <a:lnTo>
                    <a:pt x="130" y="22"/>
                  </a:lnTo>
                  <a:lnTo>
                    <a:pt x="130" y="26"/>
                  </a:lnTo>
                  <a:lnTo>
                    <a:pt x="134" y="26"/>
                  </a:lnTo>
                  <a:lnTo>
                    <a:pt x="134" y="30"/>
                  </a:lnTo>
                  <a:lnTo>
                    <a:pt x="130" y="30"/>
                  </a:lnTo>
                  <a:lnTo>
                    <a:pt x="126" y="30"/>
                  </a:lnTo>
                  <a:lnTo>
                    <a:pt x="126" y="34"/>
                  </a:lnTo>
                  <a:lnTo>
                    <a:pt x="130" y="34"/>
                  </a:lnTo>
                  <a:lnTo>
                    <a:pt x="130" y="38"/>
                  </a:lnTo>
                  <a:lnTo>
                    <a:pt x="126" y="42"/>
                  </a:lnTo>
                  <a:lnTo>
                    <a:pt x="126" y="46"/>
                  </a:lnTo>
                  <a:lnTo>
                    <a:pt x="130" y="50"/>
                  </a:lnTo>
                  <a:lnTo>
                    <a:pt x="138" y="52"/>
                  </a:lnTo>
                  <a:lnTo>
                    <a:pt x="142" y="52"/>
                  </a:lnTo>
                  <a:lnTo>
                    <a:pt x="142" y="56"/>
                  </a:lnTo>
                  <a:lnTo>
                    <a:pt x="144" y="60"/>
                  </a:lnTo>
                  <a:lnTo>
                    <a:pt x="148" y="60"/>
                  </a:lnTo>
                  <a:lnTo>
                    <a:pt x="148" y="64"/>
                  </a:lnTo>
                  <a:lnTo>
                    <a:pt x="148" y="68"/>
                  </a:lnTo>
                  <a:lnTo>
                    <a:pt x="144" y="68"/>
                  </a:lnTo>
                  <a:lnTo>
                    <a:pt x="142" y="72"/>
                  </a:lnTo>
                  <a:lnTo>
                    <a:pt x="138" y="78"/>
                  </a:lnTo>
                  <a:lnTo>
                    <a:pt x="134" y="78"/>
                  </a:lnTo>
                  <a:lnTo>
                    <a:pt x="134" y="82"/>
                  </a:lnTo>
                  <a:lnTo>
                    <a:pt x="138" y="82"/>
                  </a:lnTo>
                  <a:lnTo>
                    <a:pt x="138" y="86"/>
                  </a:lnTo>
                  <a:lnTo>
                    <a:pt x="142" y="90"/>
                  </a:lnTo>
                  <a:lnTo>
                    <a:pt x="142" y="94"/>
                  </a:lnTo>
                  <a:lnTo>
                    <a:pt x="144" y="98"/>
                  </a:lnTo>
                  <a:lnTo>
                    <a:pt x="144" y="102"/>
                  </a:lnTo>
                  <a:lnTo>
                    <a:pt x="148" y="102"/>
                  </a:lnTo>
                  <a:lnTo>
                    <a:pt x="148" y="106"/>
                  </a:lnTo>
                  <a:lnTo>
                    <a:pt x="148" y="108"/>
                  </a:lnTo>
                  <a:lnTo>
                    <a:pt x="148" y="112"/>
                  </a:lnTo>
                  <a:lnTo>
                    <a:pt x="144" y="112"/>
                  </a:lnTo>
                  <a:lnTo>
                    <a:pt x="144" y="116"/>
                  </a:lnTo>
                  <a:lnTo>
                    <a:pt x="144" y="120"/>
                  </a:lnTo>
                  <a:lnTo>
                    <a:pt x="142" y="120"/>
                  </a:lnTo>
                  <a:lnTo>
                    <a:pt x="142" y="124"/>
                  </a:lnTo>
                  <a:lnTo>
                    <a:pt x="144" y="124"/>
                  </a:lnTo>
                  <a:lnTo>
                    <a:pt x="144" y="128"/>
                  </a:lnTo>
                  <a:lnTo>
                    <a:pt x="142" y="128"/>
                  </a:lnTo>
                  <a:lnTo>
                    <a:pt x="142" y="132"/>
                  </a:lnTo>
                  <a:lnTo>
                    <a:pt x="144" y="132"/>
                  </a:lnTo>
                  <a:lnTo>
                    <a:pt x="148" y="132"/>
                  </a:lnTo>
                  <a:lnTo>
                    <a:pt x="148" y="136"/>
                  </a:lnTo>
                  <a:lnTo>
                    <a:pt x="152" y="136"/>
                  </a:lnTo>
                  <a:lnTo>
                    <a:pt x="148" y="138"/>
                  </a:lnTo>
                  <a:lnTo>
                    <a:pt x="148" y="142"/>
                  </a:lnTo>
                  <a:lnTo>
                    <a:pt x="152" y="142"/>
                  </a:lnTo>
                  <a:lnTo>
                    <a:pt x="152" y="146"/>
                  </a:lnTo>
                  <a:lnTo>
                    <a:pt x="156" y="146"/>
                  </a:lnTo>
                  <a:lnTo>
                    <a:pt x="156" y="150"/>
                  </a:lnTo>
                  <a:lnTo>
                    <a:pt x="156" y="154"/>
                  </a:lnTo>
                  <a:lnTo>
                    <a:pt x="152" y="154"/>
                  </a:lnTo>
                  <a:lnTo>
                    <a:pt x="152" y="158"/>
                  </a:lnTo>
                  <a:lnTo>
                    <a:pt x="148" y="158"/>
                  </a:lnTo>
                  <a:lnTo>
                    <a:pt x="152" y="162"/>
                  </a:lnTo>
                  <a:lnTo>
                    <a:pt x="156" y="164"/>
                  </a:lnTo>
                  <a:lnTo>
                    <a:pt x="160" y="164"/>
                  </a:lnTo>
                  <a:lnTo>
                    <a:pt x="160" y="168"/>
                  </a:lnTo>
                  <a:lnTo>
                    <a:pt x="164" y="168"/>
                  </a:lnTo>
                  <a:lnTo>
                    <a:pt x="168" y="172"/>
                  </a:lnTo>
                  <a:lnTo>
                    <a:pt x="172" y="176"/>
                  </a:lnTo>
                  <a:lnTo>
                    <a:pt x="172" y="180"/>
                  </a:lnTo>
                  <a:lnTo>
                    <a:pt x="168" y="180"/>
                  </a:lnTo>
                  <a:lnTo>
                    <a:pt x="168" y="184"/>
                  </a:lnTo>
                  <a:lnTo>
                    <a:pt x="168" y="188"/>
                  </a:lnTo>
                  <a:lnTo>
                    <a:pt x="164" y="192"/>
                  </a:lnTo>
                  <a:lnTo>
                    <a:pt x="160" y="192"/>
                  </a:lnTo>
                  <a:lnTo>
                    <a:pt x="160" y="194"/>
                  </a:lnTo>
                  <a:lnTo>
                    <a:pt x="156" y="194"/>
                  </a:lnTo>
                  <a:lnTo>
                    <a:pt x="152" y="198"/>
                  </a:lnTo>
                  <a:lnTo>
                    <a:pt x="152" y="202"/>
                  </a:lnTo>
                  <a:lnTo>
                    <a:pt x="148" y="202"/>
                  </a:lnTo>
                  <a:lnTo>
                    <a:pt x="148" y="206"/>
                  </a:lnTo>
                  <a:lnTo>
                    <a:pt x="144" y="208"/>
                  </a:lnTo>
                  <a:lnTo>
                    <a:pt x="142" y="212"/>
                  </a:lnTo>
                  <a:lnTo>
                    <a:pt x="138" y="212"/>
                  </a:lnTo>
                  <a:lnTo>
                    <a:pt x="138" y="216"/>
                  </a:lnTo>
                  <a:lnTo>
                    <a:pt x="134" y="216"/>
                  </a:lnTo>
                  <a:lnTo>
                    <a:pt x="130" y="220"/>
                  </a:lnTo>
                  <a:lnTo>
                    <a:pt x="130" y="224"/>
                  </a:lnTo>
                  <a:lnTo>
                    <a:pt x="126" y="224"/>
                  </a:lnTo>
                  <a:lnTo>
                    <a:pt x="122" y="224"/>
                  </a:lnTo>
                  <a:lnTo>
                    <a:pt x="122" y="228"/>
                  </a:lnTo>
                  <a:lnTo>
                    <a:pt x="120" y="232"/>
                  </a:lnTo>
                  <a:lnTo>
                    <a:pt x="116" y="232"/>
                  </a:lnTo>
                  <a:lnTo>
                    <a:pt x="112" y="232"/>
                  </a:lnTo>
                  <a:lnTo>
                    <a:pt x="112" y="236"/>
                  </a:lnTo>
                  <a:lnTo>
                    <a:pt x="112" y="232"/>
                  </a:lnTo>
                  <a:lnTo>
                    <a:pt x="108" y="232"/>
                  </a:lnTo>
                  <a:lnTo>
                    <a:pt x="104" y="236"/>
                  </a:lnTo>
                  <a:lnTo>
                    <a:pt x="100" y="236"/>
                  </a:lnTo>
                  <a:lnTo>
                    <a:pt x="96" y="236"/>
                  </a:lnTo>
                  <a:lnTo>
                    <a:pt x="100" y="232"/>
                  </a:lnTo>
                  <a:lnTo>
                    <a:pt x="104" y="232"/>
                  </a:lnTo>
                  <a:lnTo>
                    <a:pt x="100" y="232"/>
                  </a:lnTo>
                  <a:lnTo>
                    <a:pt x="100" y="228"/>
                  </a:lnTo>
                  <a:lnTo>
                    <a:pt x="100" y="232"/>
                  </a:lnTo>
                  <a:lnTo>
                    <a:pt x="96" y="232"/>
                  </a:lnTo>
                  <a:lnTo>
                    <a:pt x="96" y="236"/>
                  </a:lnTo>
                  <a:lnTo>
                    <a:pt x="94" y="236"/>
                  </a:lnTo>
                  <a:lnTo>
                    <a:pt x="94" y="238"/>
                  </a:lnTo>
                  <a:lnTo>
                    <a:pt x="94" y="236"/>
                  </a:lnTo>
                  <a:lnTo>
                    <a:pt x="90" y="236"/>
                  </a:lnTo>
                  <a:lnTo>
                    <a:pt x="90" y="238"/>
                  </a:lnTo>
                  <a:lnTo>
                    <a:pt x="86" y="238"/>
                  </a:lnTo>
                  <a:lnTo>
                    <a:pt x="86" y="236"/>
                  </a:lnTo>
                  <a:lnTo>
                    <a:pt x="86" y="238"/>
                  </a:lnTo>
                  <a:lnTo>
                    <a:pt x="82" y="238"/>
                  </a:lnTo>
                  <a:lnTo>
                    <a:pt x="78" y="238"/>
                  </a:lnTo>
                  <a:lnTo>
                    <a:pt x="82" y="238"/>
                  </a:lnTo>
                  <a:lnTo>
                    <a:pt x="78" y="238"/>
                  </a:lnTo>
                  <a:lnTo>
                    <a:pt x="78" y="242"/>
                  </a:lnTo>
                  <a:lnTo>
                    <a:pt x="74" y="242"/>
                  </a:lnTo>
                  <a:lnTo>
                    <a:pt x="70" y="242"/>
                  </a:lnTo>
                  <a:lnTo>
                    <a:pt x="70" y="246"/>
                  </a:lnTo>
                  <a:lnTo>
                    <a:pt x="70" y="242"/>
                  </a:lnTo>
                  <a:lnTo>
                    <a:pt x="66" y="242"/>
                  </a:lnTo>
                  <a:lnTo>
                    <a:pt x="64" y="242"/>
                  </a:lnTo>
                  <a:lnTo>
                    <a:pt x="60" y="246"/>
                  </a:lnTo>
                  <a:lnTo>
                    <a:pt x="56" y="246"/>
                  </a:lnTo>
                  <a:lnTo>
                    <a:pt x="56" y="242"/>
                  </a:lnTo>
                  <a:lnTo>
                    <a:pt x="56" y="246"/>
                  </a:lnTo>
                  <a:lnTo>
                    <a:pt x="52" y="246"/>
                  </a:lnTo>
                  <a:lnTo>
                    <a:pt x="48" y="250"/>
                  </a:lnTo>
                  <a:lnTo>
                    <a:pt x="48" y="246"/>
                  </a:lnTo>
                  <a:lnTo>
                    <a:pt x="52" y="246"/>
                  </a:lnTo>
                  <a:lnTo>
                    <a:pt x="56" y="242"/>
                  </a:lnTo>
                  <a:lnTo>
                    <a:pt x="52" y="242"/>
                  </a:lnTo>
                  <a:lnTo>
                    <a:pt x="52" y="246"/>
                  </a:lnTo>
                  <a:lnTo>
                    <a:pt x="52" y="242"/>
                  </a:lnTo>
                  <a:lnTo>
                    <a:pt x="48" y="242"/>
                  </a:lnTo>
                  <a:lnTo>
                    <a:pt x="48" y="242"/>
                  </a:lnTo>
                  <a:lnTo>
                    <a:pt x="48" y="242"/>
                  </a:lnTo>
                  <a:close/>
                  <a:moveTo>
                    <a:pt x="78" y="128"/>
                  </a:moveTo>
                  <a:lnTo>
                    <a:pt x="74" y="128"/>
                  </a:lnTo>
                  <a:lnTo>
                    <a:pt x="70" y="128"/>
                  </a:lnTo>
                  <a:lnTo>
                    <a:pt x="74" y="128"/>
                  </a:lnTo>
                  <a:lnTo>
                    <a:pt x="78" y="128"/>
                  </a:lnTo>
                  <a:lnTo>
                    <a:pt x="78" y="128"/>
                  </a:lnTo>
                  <a:lnTo>
                    <a:pt x="78" y="128"/>
                  </a:lnTo>
                  <a:close/>
                  <a:moveTo>
                    <a:pt x="48" y="158"/>
                  </a:moveTo>
                  <a:lnTo>
                    <a:pt x="44" y="158"/>
                  </a:lnTo>
                  <a:lnTo>
                    <a:pt x="48" y="154"/>
                  </a:lnTo>
                  <a:lnTo>
                    <a:pt x="48" y="158"/>
                  </a:lnTo>
                  <a:lnTo>
                    <a:pt x="48" y="158"/>
                  </a:lnTo>
                  <a:lnTo>
                    <a:pt x="48" y="158"/>
                  </a:lnTo>
                  <a:close/>
                  <a:moveTo>
                    <a:pt x="26" y="172"/>
                  </a:moveTo>
                  <a:lnTo>
                    <a:pt x="22" y="172"/>
                  </a:lnTo>
                  <a:lnTo>
                    <a:pt x="22" y="168"/>
                  </a:lnTo>
                  <a:lnTo>
                    <a:pt x="26" y="168"/>
                  </a:lnTo>
                  <a:lnTo>
                    <a:pt x="26" y="172"/>
                  </a:lnTo>
                  <a:lnTo>
                    <a:pt x="26" y="172"/>
                  </a:lnTo>
                  <a:lnTo>
                    <a:pt x="26" y="172"/>
                  </a:lnTo>
                  <a:close/>
                  <a:moveTo>
                    <a:pt x="6" y="242"/>
                  </a:moveTo>
                  <a:lnTo>
                    <a:pt x="2" y="242"/>
                  </a:lnTo>
                  <a:lnTo>
                    <a:pt x="2" y="238"/>
                  </a:lnTo>
                  <a:lnTo>
                    <a:pt x="6" y="238"/>
                  </a:lnTo>
                  <a:lnTo>
                    <a:pt x="6" y="236"/>
                  </a:lnTo>
                  <a:lnTo>
                    <a:pt x="2" y="236"/>
                  </a:lnTo>
                  <a:lnTo>
                    <a:pt x="2" y="238"/>
                  </a:lnTo>
                  <a:lnTo>
                    <a:pt x="2" y="236"/>
                  </a:lnTo>
                  <a:lnTo>
                    <a:pt x="6" y="236"/>
                  </a:lnTo>
                  <a:lnTo>
                    <a:pt x="10" y="238"/>
                  </a:lnTo>
                  <a:lnTo>
                    <a:pt x="6" y="238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6" y="242"/>
                  </a:lnTo>
                  <a:close/>
                  <a:moveTo>
                    <a:pt x="36" y="238"/>
                  </a:moveTo>
                  <a:lnTo>
                    <a:pt x="40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38"/>
                  </a:lnTo>
                  <a:close/>
                  <a:moveTo>
                    <a:pt x="0" y="242"/>
                  </a:moveTo>
                  <a:lnTo>
                    <a:pt x="0" y="238"/>
                  </a:lnTo>
                  <a:lnTo>
                    <a:pt x="2" y="238"/>
                  </a:lnTo>
                  <a:lnTo>
                    <a:pt x="0" y="242"/>
                  </a:lnTo>
                  <a:lnTo>
                    <a:pt x="0" y="242"/>
                  </a:lnTo>
                  <a:lnTo>
                    <a:pt x="0" y="242"/>
                  </a:lnTo>
                  <a:close/>
                  <a:moveTo>
                    <a:pt x="44" y="246"/>
                  </a:moveTo>
                  <a:lnTo>
                    <a:pt x="44" y="242"/>
                  </a:lnTo>
                  <a:lnTo>
                    <a:pt x="40" y="242"/>
                  </a:lnTo>
                  <a:lnTo>
                    <a:pt x="40" y="238"/>
                  </a:lnTo>
                  <a:lnTo>
                    <a:pt x="44" y="238"/>
                  </a:lnTo>
                  <a:lnTo>
                    <a:pt x="48" y="238"/>
                  </a:lnTo>
                  <a:lnTo>
                    <a:pt x="48" y="242"/>
                  </a:lnTo>
                  <a:lnTo>
                    <a:pt x="44" y="242"/>
                  </a:lnTo>
                  <a:lnTo>
                    <a:pt x="44" y="246"/>
                  </a:lnTo>
                  <a:lnTo>
                    <a:pt x="44" y="246"/>
                  </a:lnTo>
                  <a:lnTo>
                    <a:pt x="44" y="246"/>
                  </a:lnTo>
                  <a:close/>
                  <a:moveTo>
                    <a:pt x="34" y="242"/>
                  </a:moveTo>
                  <a:lnTo>
                    <a:pt x="30" y="242"/>
                  </a:lnTo>
                  <a:lnTo>
                    <a:pt x="30" y="238"/>
                  </a:lnTo>
                  <a:lnTo>
                    <a:pt x="34" y="238"/>
                  </a:lnTo>
                  <a:lnTo>
                    <a:pt x="34" y="242"/>
                  </a:lnTo>
                  <a:lnTo>
                    <a:pt x="34" y="242"/>
                  </a:lnTo>
                  <a:lnTo>
                    <a:pt x="34" y="242"/>
                  </a:lnTo>
                  <a:close/>
                  <a:moveTo>
                    <a:pt x="6" y="242"/>
                  </a:moveTo>
                  <a:lnTo>
                    <a:pt x="10" y="242"/>
                  </a:lnTo>
                  <a:lnTo>
                    <a:pt x="10" y="246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6" y="242"/>
                  </a:lnTo>
                  <a:close/>
                  <a:moveTo>
                    <a:pt x="48" y="246"/>
                  </a:moveTo>
                  <a:lnTo>
                    <a:pt x="52" y="246"/>
                  </a:lnTo>
                  <a:lnTo>
                    <a:pt x="48" y="246"/>
                  </a:lnTo>
                  <a:lnTo>
                    <a:pt x="48" y="246"/>
                  </a:lnTo>
                  <a:lnTo>
                    <a:pt x="48" y="246"/>
                  </a:lnTo>
                  <a:close/>
                  <a:moveTo>
                    <a:pt x="56" y="246"/>
                  </a:moveTo>
                  <a:lnTo>
                    <a:pt x="60" y="246"/>
                  </a:lnTo>
                  <a:lnTo>
                    <a:pt x="56" y="246"/>
                  </a:lnTo>
                  <a:lnTo>
                    <a:pt x="56" y="246"/>
                  </a:lnTo>
                  <a:lnTo>
                    <a:pt x="56" y="246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60" name="Freeform 100">
              <a:extLst>
                <a:ext uri="{FF2B5EF4-FFF2-40B4-BE49-F238E27FC236}">
                  <a16:creationId xmlns:a16="http://schemas.microsoft.com/office/drawing/2014/main" id="{246BA07A-ACD7-B179-8009-B28720C734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60651" y="2410075"/>
              <a:ext cx="393540" cy="365788"/>
            </a:xfrm>
            <a:custGeom>
              <a:avLst/>
              <a:gdLst>
                <a:gd name="T0" fmla="*/ 80 w 202"/>
                <a:gd name="T1" fmla="*/ 168 h 194"/>
                <a:gd name="T2" fmla="*/ 72 w 202"/>
                <a:gd name="T3" fmla="*/ 168 h 194"/>
                <a:gd name="T4" fmla="*/ 50 w 202"/>
                <a:gd name="T5" fmla="*/ 162 h 194"/>
                <a:gd name="T6" fmla="*/ 46 w 202"/>
                <a:gd name="T7" fmla="*/ 158 h 194"/>
                <a:gd name="T8" fmla="*/ 50 w 202"/>
                <a:gd name="T9" fmla="*/ 138 h 194"/>
                <a:gd name="T10" fmla="*/ 50 w 202"/>
                <a:gd name="T11" fmla="*/ 128 h 194"/>
                <a:gd name="T12" fmla="*/ 56 w 202"/>
                <a:gd name="T13" fmla="*/ 116 h 194"/>
                <a:gd name="T14" fmla="*/ 56 w 202"/>
                <a:gd name="T15" fmla="*/ 116 h 194"/>
                <a:gd name="T16" fmla="*/ 54 w 202"/>
                <a:gd name="T17" fmla="*/ 106 h 194"/>
                <a:gd name="T18" fmla="*/ 42 w 202"/>
                <a:gd name="T19" fmla="*/ 94 h 194"/>
                <a:gd name="T20" fmla="*/ 42 w 202"/>
                <a:gd name="T21" fmla="*/ 78 h 194"/>
                <a:gd name="T22" fmla="*/ 34 w 202"/>
                <a:gd name="T23" fmla="*/ 72 h 194"/>
                <a:gd name="T24" fmla="*/ 22 w 202"/>
                <a:gd name="T25" fmla="*/ 72 h 194"/>
                <a:gd name="T26" fmla="*/ 12 w 202"/>
                <a:gd name="T27" fmla="*/ 64 h 194"/>
                <a:gd name="T28" fmla="*/ 0 w 202"/>
                <a:gd name="T29" fmla="*/ 64 h 194"/>
                <a:gd name="T30" fmla="*/ 0 w 202"/>
                <a:gd name="T31" fmla="*/ 56 h 194"/>
                <a:gd name="T32" fmla="*/ 4 w 202"/>
                <a:gd name="T33" fmla="*/ 52 h 194"/>
                <a:gd name="T34" fmla="*/ 16 w 202"/>
                <a:gd name="T35" fmla="*/ 48 h 194"/>
                <a:gd name="T36" fmla="*/ 34 w 202"/>
                <a:gd name="T37" fmla="*/ 48 h 194"/>
                <a:gd name="T38" fmla="*/ 46 w 202"/>
                <a:gd name="T39" fmla="*/ 48 h 194"/>
                <a:gd name="T40" fmla="*/ 42 w 202"/>
                <a:gd name="T41" fmla="*/ 34 h 194"/>
                <a:gd name="T42" fmla="*/ 50 w 202"/>
                <a:gd name="T43" fmla="*/ 26 h 194"/>
                <a:gd name="T44" fmla="*/ 64 w 202"/>
                <a:gd name="T45" fmla="*/ 34 h 194"/>
                <a:gd name="T46" fmla="*/ 72 w 202"/>
                <a:gd name="T47" fmla="*/ 34 h 194"/>
                <a:gd name="T48" fmla="*/ 80 w 202"/>
                <a:gd name="T49" fmla="*/ 22 h 194"/>
                <a:gd name="T50" fmla="*/ 90 w 202"/>
                <a:gd name="T51" fmla="*/ 12 h 194"/>
                <a:gd name="T52" fmla="*/ 106 w 202"/>
                <a:gd name="T53" fmla="*/ 0 h 194"/>
                <a:gd name="T54" fmla="*/ 114 w 202"/>
                <a:gd name="T55" fmla="*/ 8 h 194"/>
                <a:gd name="T56" fmla="*/ 128 w 202"/>
                <a:gd name="T57" fmla="*/ 16 h 194"/>
                <a:gd name="T58" fmla="*/ 138 w 202"/>
                <a:gd name="T59" fmla="*/ 18 h 194"/>
                <a:gd name="T60" fmla="*/ 146 w 202"/>
                <a:gd name="T61" fmla="*/ 30 h 194"/>
                <a:gd name="T62" fmla="*/ 158 w 202"/>
                <a:gd name="T63" fmla="*/ 34 h 194"/>
                <a:gd name="T64" fmla="*/ 172 w 202"/>
                <a:gd name="T65" fmla="*/ 42 h 194"/>
                <a:gd name="T66" fmla="*/ 180 w 202"/>
                <a:gd name="T67" fmla="*/ 48 h 194"/>
                <a:gd name="T68" fmla="*/ 176 w 202"/>
                <a:gd name="T69" fmla="*/ 68 h 194"/>
                <a:gd name="T70" fmla="*/ 168 w 202"/>
                <a:gd name="T71" fmla="*/ 76 h 194"/>
                <a:gd name="T72" fmla="*/ 160 w 202"/>
                <a:gd name="T73" fmla="*/ 86 h 194"/>
                <a:gd name="T74" fmla="*/ 154 w 202"/>
                <a:gd name="T75" fmla="*/ 98 h 194"/>
                <a:gd name="T76" fmla="*/ 164 w 202"/>
                <a:gd name="T77" fmla="*/ 94 h 194"/>
                <a:gd name="T78" fmla="*/ 164 w 202"/>
                <a:gd name="T79" fmla="*/ 112 h 194"/>
                <a:gd name="T80" fmla="*/ 160 w 202"/>
                <a:gd name="T81" fmla="*/ 124 h 194"/>
                <a:gd name="T82" fmla="*/ 168 w 202"/>
                <a:gd name="T83" fmla="*/ 138 h 194"/>
                <a:gd name="T84" fmla="*/ 172 w 202"/>
                <a:gd name="T85" fmla="*/ 146 h 194"/>
                <a:gd name="T86" fmla="*/ 164 w 202"/>
                <a:gd name="T87" fmla="*/ 154 h 194"/>
                <a:gd name="T88" fmla="*/ 146 w 202"/>
                <a:gd name="T89" fmla="*/ 162 h 194"/>
                <a:gd name="T90" fmla="*/ 138 w 202"/>
                <a:gd name="T91" fmla="*/ 154 h 194"/>
                <a:gd name="T92" fmla="*/ 128 w 202"/>
                <a:gd name="T93" fmla="*/ 154 h 194"/>
                <a:gd name="T94" fmla="*/ 110 w 202"/>
                <a:gd name="T95" fmla="*/ 164 h 194"/>
                <a:gd name="T96" fmla="*/ 106 w 202"/>
                <a:gd name="T97" fmla="*/ 176 h 194"/>
                <a:gd name="T98" fmla="*/ 94 w 202"/>
                <a:gd name="T99" fmla="*/ 172 h 194"/>
                <a:gd name="T100" fmla="*/ 54 w 202"/>
                <a:gd name="T101" fmla="*/ 108 h 194"/>
                <a:gd name="T102" fmla="*/ 22 w 202"/>
                <a:gd name="T103" fmla="*/ 78 h 194"/>
                <a:gd name="T104" fmla="*/ 50 w 202"/>
                <a:gd name="T105" fmla="*/ 102 h 194"/>
                <a:gd name="T106" fmla="*/ 190 w 202"/>
                <a:gd name="T107" fmla="*/ 172 h 194"/>
                <a:gd name="T108" fmla="*/ 202 w 202"/>
                <a:gd name="T109" fmla="*/ 168 h 194"/>
                <a:gd name="T110" fmla="*/ 198 w 202"/>
                <a:gd name="T111" fmla="*/ 190 h 194"/>
                <a:gd name="T112" fmla="*/ 190 w 202"/>
                <a:gd name="T113" fmla="*/ 186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2" h="194">
                  <a:moveTo>
                    <a:pt x="94" y="172"/>
                  </a:moveTo>
                  <a:lnTo>
                    <a:pt x="90" y="172"/>
                  </a:lnTo>
                  <a:lnTo>
                    <a:pt x="86" y="172"/>
                  </a:lnTo>
                  <a:lnTo>
                    <a:pt x="86" y="168"/>
                  </a:lnTo>
                  <a:lnTo>
                    <a:pt x="84" y="168"/>
                  </a:lnTo>
                  <a:lnTo>
                    <a:pt x="80" y="168"/>
                  </a:lnTo>
                  <a:lnTo>
                    <a:pt x="80" y="164"/>
                  </a:lnTo>
                  <a:lnTo>
                    <a:pt x="80" y="168"/>
                  </a:lnTo>
                  <a:lnTo>
                    <a:pt x="76" y="168"/>
                  </a:lnTo>
                  <a:lnTo>
                    <a:pt x="80" y="168"/>
                  </a:lnTo>
                  <a:lnTo>
                    <a:pt x="76" y="168"/>
                  </a:lnTo>
                  <a:lnTo>
                    <a:pt x="72" y="168"/>
                  </a:lnTo>
                  <a:lnTo>
                    <a:pt x="68" y="168"/>
                  </a:lnTo>
                  <a:lnTo>
                    <a:pt x="64" y="168"/>
                  </a:lnTo>
                  <a:lnTo>
                    <a:pt x="60" y="168"/>
                  </a:lnTo>
                  <a:lnTo>
                    <a:pt x="56" y="164"/>
                  </a:lnTo>
                  <a:lnTo>
                    <a:pt x="54" y="164"/>
                  </a:lnTo>
                  <a:lnTo>
                    <a:pt x="50" y="162"/>
                  </a:lnTo>
                  <a:lnTo>
                    <a:pt x="50" y="164"/>
                  </a:lnTo>
                  <a:lnTo>
                    <a:pt x="50" y="162"/>
                  </a:lnTo>
                  <a:lnTo>
                    <a:pt x="46" y="162"/>
                  </a:lnTo>
                  <a:lnTo>
                    <a:pt x="50" y="162"/>
                  </a:lnTo>
                  <a:lnTo>
                    <a:pt x="50" y="158"/>
                  </a:lnTo>
                  <a:lnTo>
                    <a:pt x="46" y="158"/>
                  </a:lnTo>
                  <a:lnTo>
                    <a:pt x="42" y="158"/>
                  </a:lnTo>
                  <a:lnTo>
                    <a:pt x="46" y="158"/>
                  </a:lnTo>
                  <a:lnTo>
                    <a:pt x="46" y="154"/>
                  </a:lnTo>
                  <a:lnTo>
                    <a:pt x="50" y="150"/>
                  </a:lnTo>
                  <a:lnTo>
                    <a:pt x="50" y="142"/>
                  </a:lnTo>
                  <a:lnTo>
                    <a:pt x="50" y="138"/>
                  </a:lnTo>
                  <a:lnTo>
                    <a:pt x="50" y="134"/>
                  </a:lnTo>
                  <a:lnTo>
                    <a:pt x="50" y="132"/>
                  </a:lnTo>
                  <a:lnTo>
                    <a:pt x="54" y="132"/>
                  </a:lnTo>
                  <a:lnTo>
                    <a:pt x="54" y="128"/>
                  </a:lnTo>
                  <a:lnTo>
                    <a:pt x="50" y="132"/>
                  </a:lnTo>
                  <a:lnTo>
                    <a:pt x="50" y="128"/>
                  </a:lnTo>
                  <a:lnTo>
                    <a:pt x="50" y="124"/>
                  </a:lnTo>
                  <a:lnTo>
                    <a:pt x="54" y="120"/>
                  </a:lnTo>
                  <a:lnTo>
                    <a:pt x="54" y="116"/>
                  </a:lnTo>
                  <a:lnTo>
                    <a:pt x="54" y="112"/>
                  </a:lnTo>
                  <a:lnTo>
                    <a:pt x="54" y="116"/>
                  </a:lnTo>
                  <a:lnTo>
                    <a:pt x="56" y="116"/>
                  </a:lnTo>
                  <a:lnTo>
                    <a:pt x="56" y="120"/>
                  </a:lnTo>
                  <a:lnTo>
                    <a:pt x="56" y="124"/>
                  </a:lnTo>
                  <a:lnTo>
                    <a:pt x="60" y="128"/>
                  </a:lnTo>
                  <a:lnTo>
                    <a:pt x="60" y="124"/>
                  </a:lnTo>
                  <a:lnTo>
                    <a:pt x="56" y="120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4" y="112"/>
                  </a:lnTo>
                  <a:lnTo>
                    <a:pt x="54" y="108"/>
                  </a:lnTo>
                  <a:lnTo>
                    <a:pt x="50" y="108"/>
                  </a:lnTo>
                  <a:lnTo>
                    <a:pt x="54" y="108"/>
                  </a:lnTo>
                  <a:lnTo>
                    <a:pt x="54" y="106"/>
                  </a:lnTo>
                  <a:lnTo>
                    <a:pt x="54" y="102"/>
                  </a:lnTo>
                  <a:lnTo>
                    <a:pt x="54" y="98"/>
                  </a:lnTo>
                  <a:lnTo>
                    <a:pt x="50" y="98"/>
                  </a:lnTo>
                  <a:lnTo>
                    <a:pt x="46" y="98"/>
                  </a:lnTo>
                  <a:lnTo>
                    <a:pt x="46" y="94"/>
                  </a:lnTo>
                  <a:lnTo>
                    <a:pt x="42" y="94"/>
                  </a:lnTo>
                  <a:lnTo>
                    <a:pt x="42" y="90"/>
                  </a:lnTo>
                  <a:lnTo>
                    <a:pt x="38" y="90"/>
                  </a:lnTo>
                  <a:lnTo>
                    <a:pt x="38" y="86"/>
                  </a:lnTo>
                  <a:lnTo>
                    <a:pt x="38" y="82"/>
                  </a:lnTo>
                  <a:lnTo>
                    <a:pt x="38" y="78"/>
                  </a:lnTo>
                  <a:lnTo>
                    <a:pt x="42" y="78"/>
                  </a:lnTo>
                  <a:lnTo>
                    <a:pt x="38" y="78"/>
                  </a:lnTo>
                  <a:lnTo>
                    <a:pt x="34" y="78"/>
                  </a:lnTo>
                  <a:lnTo>
                    <a:pt x="30" y="78"/>
                  </a:lnTo>
                  <a:lnTo>
                    <a:pt x="30" y="76"/>
                  </a:lnTo>
                  <a:lnTo>
                    <a:pt x="34" y="76"/>
                  </a:lnTo>
                  <a:lnTo>
                    <a:pt x="34" y="72"/>
                  </a:lnTo>
                  <a:lnTo>
                    <a:pt x="30" y="72"/>
                  </a:lnTo>
                  <a:lnTo>
                    <a:pt x="26" y="76"/>
                  </a:lnTo>
                  <a:lnTo>
                    <a:pt x="26" y="72"/>
                  </a:lnTo>
                  <a:lnTo>
                    <a:pt x="30" y="72"/>
                  </a:lnTo>
                  <a:lnTo>
                    <a:pt x="26" y="72"/>
                  </a:lnTo>
                  <a:lnTo>
                    <a:pt x="22" y="72"/>
                  </a:lnTo>
                  <a:lnTo>
                    <a:pt x="22" y="76"/>
                  </a:lnTo>
                  <a:lnTo>
                    <a:pt x="22" y="72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6"/>
                  </a:lnTo>
                  <a:lnTo>
                    <a:pt x="20" y="46"/>
                  </a:lnTo>
                  <a:lnTo>
                    <a:pt x="22" y="46"/>
                  </a:lnTo>
                  <a:lnTo>
                    <a:pt x="26" y="48"/>
                  </a:lnTo>
                  <a:lnTo>
                    <a:pt x="30" y="52"/>
                  </a:lnTo>
                  <a:lnTo>
                    <a:pt x="34" y="48"/>
                  </a:lnTo>
                  <a:lnTo>
                    <a:pt x="38" y="48"/>
                  </a:lnTo>
                  <a:lnTo>
                    <a:pt x="42" y="52"/>
                  </a:lnTo>
                  <a:lnTo>
                    <a:pt x="38" y="52"/>
                  </a:lnTo>
                  <a:lnTo>
                    <a:pt x="38" y="48"/>
                  </a:lnTo>
                  <a:lnTo>
                    <a:pt x="42" y="48"/>
                  </a:lnTo>
                  <a:lnTo>
                    <a:pt x="46" y="48"/>
                  </a:lnTo>
                  <a:lnTo>
                    <a:pt x="50" y="48"/>
                  </a:lnTo>
                  <a:lnTo>
                    <a:pt x="46" y="48"/>
                  </a:lnTo>
                  <a:lnTo>
                    <a:pt x="46" y="46"/>
                  </a:lnTo>
                  <a:lnTo>
                    <a:pt x="46" y="42"/>
                  </a:lnTo>
                  <a:lnTo>
                    <a:pt x="46" y="38"/>
                  </a:lnTo>
                  <a:lnTo>
                    <a:pt x="42" y="34"/>
                  </a:lnTo>
                  <a:lnTo>
                    <a:pt x="42" y="30"/>
                  </a:lnTo>
                  <a:lnTo>
                    <a:pt x="42" y="26"/>
                  </a:lnTo>
                  <a:lnTo>
                    <a:pt x="42" y="30"/>
                  </a:lnTo>
                  <a:lnTo>
                    <a:pt x="46" y="30"/>
                  </a:lnTo>
                  <a:lnTo>
                    <a:pt x="46" y="26"/>
                  </a:lnTo>
                  <a:lnTo>
                    <a:pt x="50" y="26"/>
                  </a:lnTo>
                  <a:lnTo>
                    <a:pt x="50" y="30"/>
                  </a:lnTo>
                  <a:lnTo>
                    <a:pt x="50" y="34"/>
                  </a:lnTo>
                  <a:lnTo>
                    <a:pt x="54" y="34"/>
                  </a:lnTo>
                  <a:lnTo>
                    <a:pt x="56" y="34"/>
                  </a:lnTo>
                  <a:lnTo>
                    <a:pt x="60" y="34"/>
                  </a:lnTo>
                  <a:lnTo>
                    <a:pt x="64" y="34"/>
                  </a:lnTo>
                  <a:lnTo>
                    <a:pt x="64" y="38"/>
                  </a:lnTo>
                  <a:lnTo>
                    <a:pt x="68" y="38"/>
                  </a:lnTo>
                  <a:lnTo>
                    <a:pt x="68" y="34"/>
                  </a:lnTo>
                  <a:lnTo>
                    <a:pt x="72" y="34"/>
                  </a:lnTo>
                  <a:lnTo>
                    <a:pt x="76" y="34"/>
                  </a:lnTo>
                  <a:lnTo>
                    <a:pt x="72" y="34"/>
                  </a:lnTo>
                  <a:lnTo>
                    <a:pt x="68" y="34"/>
                  </a:lnTo>
                  <a:lnTo>
                    <a:pt x="68" y="30"/>
                  </a:lnTo>
                  <a:lnTo>
                    <a:pt x="72" y="26"/>
                  </a:lnTo>
                  <a:lnTo>
                    <a:pt x="76" y="26"/>
                  </a:lnTo>
                  <a:lnTo>
                    <a:pt x="76" y="22"/>
                  </a:lnTo>
                  <a:lnTo>
                    <a:pt x="80" y="22"/>
                  </a:lnTo>
                  <a:lnTo>
                    <a:pt x="84" y="22"/>
                  </a:lnTo>
                  <a:lnTo>
                    <a:pt x="86" y="22"/>
                  </a:lnTo>
                  <a:lnTo>
                    <a:pt x="86" y="18"/>
                  </a:lnTo>
                  <a:lnTo>
                    <a:pt x="90" y="18"/>
                  </a:lnTo>
                  <a:lnTo>
                    <a:pt x="90" y="16"/>
                  </a:lnTo>
                  <a:lnTo>
                    <a:pt x="90" y="12"/>
                  </a:lnTo>
                  <a:lnTo>
                    <a:pt x="90" y="8"/>
                  </a:lnTo>
                  <a:lnTo>
                    <a:pt x="90" y="4"/>
                  </a:lnTo>
                  <a:lnTo>
                    <a:pt x="94" y="0"/>
                  </a:lnTo>
                  <a:lnTo>
                    <a:pt x="98" y="0"/>
                  </a:lnTo>
                  <a:lnTo>
                    <a:pt x="102" y="0"/>
                  </a:lnTo>
                  <a:lnTo>
                    <a:pt x="106" y="0"/>
                  </a:lnTo>
                  <a:lnTo>
                    <a:pt x="106" y="4"/>
                  </a:lnTo>
                  <a:lnTo>
                    <a:pt x="110" y="4"/>
                  </a:lnTo>
                  <a:lnTo>
                    <a:pt x="110" y="8"/>
                  </a:lnTo>
                  <a:lnTo>
                    <a:pt x="110" y="4"/>
                  </a:lnTo>
                  <a:lnTo>
                    <a:pt x="114" y="4"/>
                  </a:lnTo>
                  <a:lnTo>
                    <a:pt x="114" y="8"/>
                  </a:lnTo>
                  <a:lnTo>
                    <a:pt x="114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28" y="18"/>
                  </a:lnTo>
                  <a:lnTo>
                    <a:pt x="128" y="22"/>
                  </a:lnTo>
                  <a:lnTo>
                    <a:pt x="132" y="22"/>
                  </a:lnTo>
                  <a:lnTo>
                    <a:pt x="136" y="22"/>
                  </a:lnTo>
                  <a:lnTo>
                    <a:pt x="136" y="18"/>
                  </a:lnTo>
                  <a:lnTo>
                    <a:pt x="138" y="18"/>
                  </a:lnTo>
                  <a:lnTo>
                    <a:pt x="136" y="18"/>
                  </a:lnTo>
                  <a:lnTo>
                    <a:pt x="136" y="22"/>
                  </a:lnTo>
                  <a:lnTo>
                    <a:pt x="136" y="26"/>
                  </a:lnTo>
                  <a:lnTo>
                    <a:pt x="138" y="26"/>
                  </a:lnTo>
                  <a:lnTo>
                    <a:pt x="142" y="30"/>
                  </a:lnTo>
                  <a:lnTo>
                    <a:pt x="146" y="30"/>
                  </a:lnTo>
                  <a:lnTo>
                    <a:pt x="150" y="30"/>
                  </a:lnTo>
                  <a:lnTo>
                    <a:pt x="150" y="34"/>
                  </a:lnTo>
                  <a:lnTo>
                    <a:pt x="154" y="34"/>
                  </a:lnTo>
                  <a:lnTo>
                    <a:pt x="154" y="30"/>
                  </a:lnTo>
                  <a:lnTo>
                    <a:pt x="158" y="30"/>
                  </a:lnTo>
                  <a:lnTo>
                    <a:pt x="158" y="34"/>
                  </a:lnTo>
                  <a:lnTo>
                    <a:pt x="160" y="34"/>
                  </a:lnTo>
                  <a:lnTo>
                    <a:pt x="160" y="38"/>
                  </a:lnTo>
                  <a:lnTo>
                    <a:pt x="164" y="38"/>
                  </a:lnTo>
                  <a:lnTo>
                    <a:pt x="168" y="38"/>
                  </a:lnTo>
                  <a:lnTo>
                    <a:pt x="168" y="42"/>
                  </a:lnTo>
                  <a:lnTo>
                    <a:pt x="172" y="42"/>
                  </a:lnTo>
                  <a:lnTo>
                    <a:pt x="172" y="38"/>
                  </a:lnTo>
                  <a:lnTo>
                    <a:pt x="176" y="42"/>
                  </a:lnTo>
                  <a:lnTo>
                    <a:pt x="180" y="42"/>
                  </a:lnTo>
                  <a:lnTo>
                    <a:pt x="184" y="42"/>
                  </a:lnTo>
                  <a:lnTo>
                    <a:pt x="184" y="46"/>
                  </a:lnTo>
                  <a:lnTo>
                    <a:pt x="180" y="48"/>
                  </a:lnTo>
                  <a:lnTo>
                    <a:pt x="180" y="52"/>
                  </a:lnTo>
                  <a:lnTo>
                    <a:pt x="176" y="52"/>
                  </a:lnTo>
                  <a:lnTo>
                    <a:pt x="176" y="56"/>
                  </a:lnTo>
                  <a:lnTo>
                    <a:pt x="176" y="60"/>
                  </a:lnTo>
                  <a:lnTo>
                    <a:pt x="176" y="64"/>
                  </a:lnTo>
                  <a:lnTo>
                    <a:pt x="176" y="68"/>
                  </a:lnTo>
                  <a:lnTo>
                    <a:pt x="176" y="72"/>
                  </a:lnTo>
                  <a:lnTo>
                    <a:pt x="172" y="72"/>
                  </a:lnTo>
                  <a:lnTo>
                    <a:pt x="172" y="76"/>
                  </a:lnTo>
                  <a:lnTo>
                    <a:pt x="168" y="76"/>
                  </a:lnTo>
                  <a:lnTo>
                    <a:pt x="168" y="72"/>
                  </a:lnTo>
                  <a:lnTo>
                    <a:pt x="168" y="76"/>
                  </a:lnTo>
                  <a:lnTo>
                    <a:pt x="164" y="76"/>
                  </a:lnTo>
                  <a:lnTo>
                    <a:pt x="168" y="76"/>
                  </a:lnTo>
                  <a:lnTo>
                    <a:pt x="164" y="78"/>
                  </a:lnTo>
                  <a:lnTo>
                    <a:pt x="164" y="82"/>
                  </a:lnTo>
                  <a:lnTo>
                    <a:pt x="160" y="82"/>
                  </a:lnTo>
                  <a:lnTo>
                    <a:pt x="160" y="86"/>
                  </a:lnTo>
                  <a:lnTo>
                    <a:pt x="158" y="86"/>
                  </a:lnTo>
                  <a:lnTo>
                    <a:pt x="160" y="86"/>
                  </a:lnTo>
                  <a:lnTo>
                    <a:pt x="158" y="90"/>
                  </a:lnTo>
                  <a:lnTo>
                    <a:pt x="154" y="90"/>
                  </a:lnTo>
                  <a:lnTo>
                    <a:pt x="154" y="94"/>
                  </a:lnTo>
                  <a:lnTo>
                    <a:pt x="154" y="98"/>
                  </a:lnTo>
                  <a:lnTo>
                    <a:pt x="154" y="102"/>
                  </a:lnTo>
                  <a:lnTo>
                    <a:pt x="158" y="102"/>
                  </a:lnTo>
                  <a:lnTo>
                    <a:pt x="158" y="98"/>
                  </a:lnTo>
                  <a:lnTo>
                    <a:pt x="158" y="94"/>
                  </a:lnTo>
                  <a:lnTo>
                    <a:pt x="160" y="94"/>
                  </a:lnTo>
                  <a:lnTo>
                    <a:pt x="164" y="94"/>
                  </a:lnTo>
                  <a:lnTo>
                    <a:pt x="164" y="98"/>
                  </a:lnTo>
                  <a:lnTo>
                    <a:pt x="164" y="102"/>
                  </a:lnTo>
                  <a:lnTo>
                    <a:pt x="168" y="106"/>
                  </a:lnTo>
                  <a:lnTo>
                    <a:pt x="164" y="106"/>
                  </a:lnTo>
                  <a:lnTo>
                    <a:pt x="164" y="108"/>
                  </a:lnTo>
                  <a:lnTo>
                    <a:pt x="164" y="112"/>
                  </a:lnTo>
                  <a:lnTo>
                    <a:pt x="168" y="112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4" y="120"/>
                  </a:lnTo>
                  <a:lnTo>
                    <a:pt x="160" y="120"/>
                  </a:lnTo>
                  <a:lnTo>
                    <a:pt x="160" y="124"/>
                  </a:lnTo>
                  <a:lnTo>
                    <a:pt x="164" y="128"/>
                  </a:lnTo>
                  <a:lnTo>
                    <a:pt x="168" y="128"/>
                  </a:lnTo>
                  <a:lnTo>
                    <a:pt x="164" y="132"/>
                  </a:lnTo>
                  <a:lnTo>
                    <a:pt x="164" y="134"/>
                  </a:lnTo>
                  <a:lnTo>
                    <a:pt x="164" y="138"/>
                  </a:lnTo>
                  <a:lnTo>
                    <a:pt x="168" y="138"/>
                  </a:lnTo>
                  <a:lnTo>
                    <a:pt x="172" y="142"/>
                  </a:lnTo>
                  <a:lnTo>
                    <a:pt x="176" y="142"/>
                  </a:lnTo>
                  <a:lnTo>
                    <a:pt x="176" y="138"/>
                  </a:lnTo>
                  <a:lnTo>
                    <a:pt x="176" y="142"/>
                  </a:lnTo>
                  <a:lnTo>
                    <a:pt x="176" y="146"/>
                  </a:lnTo>
                  <a:lnTo>
                    <a:pt x="172" y="146"/>
                  </a:lnTo>
                  <a:lnTo>
                    <a:pt x="176" y="146"/>
                  </a:lnTo>
                  <a:lnTo>
                    <a:pt x="176" y="150"/>
                  </a:lnTo>
                  <a:lnTo>
                    <a:pt x="172" y="150"/>
                  </a:lnTo>
                  <a:lnTo>
                    <a:pt x="168" y="150"/>
                  </a:lnTo>
                  <a:lnTo>
                    <a:pt x="168" y="154"/>
                  </a:lnTo>
                  <a:lnTo>
                    <a:pt x="164" y="154"/>
                  </a:lnTo>
                  <a:lnTo>
                    <a:pt x="160" y="158"/>
                  </a:lnTo>
                  <a:lnTo>
                    <a:pt x="160" y="162"/>
                  </a:lnTo>
                  <a:lnTo>
                    <a:pt x="158" y="162"/>
                  </a:lnTo>
                  <a:lnTo>
                    <a:pt x="154" y="162"/>
                  </a:lnTo>
                  <a:lnTo>
                    <a:pt x="150" y="162"/>
                  </a:lnTo>
                  <a:lnTo>
                    <a:pt x="146" y="162"/>
                  </a:lnTo>
                  <a:lnTo>
                    <a:pt x="142" y="162"/>
                  </a:lnTo>
                  <a:lnTo>
                    <a:pt x="142" y="158"/>
                  </a:lnTo>
                  <a:lnTo>
                    <a:pt x="138" y="158"/>
                  </a:lnTo>
                  <a:lnTo>
                    <a:pt x="142" y="158"/>
                  </a:lnTo>
                  <a:lnTo>
                    <a:pt x="142" y="154"/>
                  </a:lnTo>
                  <a:lnTo>
                    <a:pt x="138" y="154"/>
                  </a:lnTo>
                  <a:lnTo>
                    <a:pt x="136" y="158"/>
                  </a:lnTo>
                  <a:lnTo>
                    <a:pt x="136" y="154"/>
                  </a:lnTo>
                  <a:lnTo>
                    <a:pt x="136" y="158"/>
                  </a:lnTo>
                  <a:lnTo>
                    <a:pt x="132" y="158"/>
                  </a:lnTo>
                  <a:lnTo>
                    <a:pt x="132" y="154"/>
                  </a:lnTo>
                  <a:lnTo>
                    <a:pt x="128" y="154"/>
                  </a:lnTo>
                  <a:lnTo>
                    <a:pt x="124" y="154"/>
                  </a:lnTo>
                  <a:lnTo>
                    <a:pt x="120" y="158"/>
                  </a:lnTo>
                  <a:lnTo>
                    <a:pt x="116" y="158"/>
                  </a:lnTo>
                  <a:lnTo>
                    <a:pt x="114" y="162"/>
                  </a:lnTo>
                  <a:lnTo>
                    <a:pt x="114" y="164"/>
                  </a:lnTo>
                  <a:lnTo>
                    <a:pt x="110" y="164"/>
                  </a:lnTo>
                  <a:lnTo>
                    <a:pt x="110" y="168"/>
                  </a:lnTo>
                  <a:lnTo>
                    <a:pt x="114" y="168"/>
                  </a:lnTo>
                  <a:lnTo>
                    <a:pt x="114" y="172"/>
                  </a:lnTo>
                  <a:lnTo>
                    <a:pt x="114" y="176"/>
                  </a:lnTo>
                  <a:lnTo>
                    <a:pt x="110" y="172"/>
                  </a:lnTo>
                  <a:lnTo>
                    <a:pt x="106" y="176"/>
                  </a:lnTo>
                  <a:lnTo>
                    <a:pt x="102" y="176"/>
                  </a:lnTo>
                  <a:lnTo>
                    <a:pt x="98" y="176"/>
                  </a:lnTo>
                  <a:lnTo>
                    <a:pt x="94" y="176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close/>
                  <a:moveTo>
                    <a:pt x="50" y="108"/>
                  </a:moveTo>
                  <a:lnTo>
                    <a:pt x="50" y="106"/>
                  </a:lnTo>
                  <a:lnTo>
                    <a:pt x="50" y="102"/>
                  </a:lnTo>
                  <a:lnTo>
                    <a:pt x="50" y="106"/>
                  </a:lnTo>
                  <a:lnTo>
                    <a:pt x="54" y="106"/>
                  </a:lnTo>
                  <a:lnTo>
                    <a:pt x="54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0" y="108"/>
                  </a:lnTo>
                  <a:close/>
                  <a:moveTo>
                    <a:pt x="22" y="78"/>
                  </a:moveTo>
                  <a:lnTo>
                    <a:pt x="22" y="76"/>
                  </a:lnTo>
                  <a:lnTo>
                    <a:pt x="22" y="78"/>
                  </a:lnTo>
                  <a:lnTo>
                    <a:pt x="22" y="78"/>
                  </a:lnTo>
                  <a:lnTo>
                    <a:pt x="22" y="78"/>
                  </a:lnTo>
                  <a:close/>
                  <a:moveTo>
                    <a:pt x="50" y="102"/>
                  </a:moveTo>
                  <a:lnTo>
                    <a:pt x="46" y="102"/>
                  </a:lnTo>
                  <a:lnTo>
                    <a:pt x="46" y="98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close/>
                  <a:moveTo>
                    <a:pt x="190" y="182"/>
                  </a:moveTo>
                  <a:lnTo>
                    <a:pt x="190" y="180"/>
                  </a:lnTo>
                  <a:lnTo>
                    <a:pt x="190" y="176"/>
                  </a:lnTo>
                  <a:lnTo>
                    <a:pt x="190" y="172"/>
                  </a:lnTo>
                  <a:lnTo>
                    <a:pt x="194" y="172"/>
                  </a:lnTo>
                  <a:lnTo>
                    <a:pt x="194" y="168"/>
                  </a:lnTo>
                  <a:lnTo>
                    <a:pt x="198" y="168"/>
                  </a:lnTo>
                  <a:lnTo>
                    <a:pt x="198" y="164"/>
                  </a:lnTo>
                  <a:lnTo>
                    <a:pt x="202" y="164"/>
                  </a:lnTo>
                  <a:lnTo>
                    <a:pt x="202" y="168"/>
                  </a:lnTo>
                  <a:lnTo>
                    <a:pt x="202" y="172"/>
                  </a:lnTo>
                  <a:lnTo>
                    <a:pt x="202" y="180"/>
                  </a:lnTo>
                  <a:lnTo>
                    <a:pt x="202" y="182"/>
                  </a:lnTo>
                  <a:lnTo>
                    <a:pt x="202" y="186"/>
                  </a:lnTo>
                  <a:lnTo>
                    <a:pt x="202" y="190"/>
                  </a:lnTo>
                  <a:lnTo>
                    <a:pt x="198" y="190"/>
                  </a:lnTo>
                  <a:lnTo>
                    <a:pt x="198" y="194"/>
                  </a:lnTo>
                  <a:lnTo>
                    <a:pt x="194" y="194"/>
                  </a:lnTo>
                  <a:lnTo>
                    <a:pt x="190" y="190"/>
                  </a:lnTo>
                  <a:lnTo>
                    <a:pt x="194" y="190"/>
                  </a:lnTo>
                  <a:lnTo>
                    <a:pt x="190" y="190"/>
                  </a:lnTo>
                  <a:lnTo>
                    <a:pt x="190" y="186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2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61" name="Freeform 101">
              <a:extLst>
                <a:ext uri="{FF2B5EF4-FFF2-40B4-BE49-F238E27FC236}">
                  <a16:creationId xmlns:a16="http://schemas.microsoft.com/office/drawing/2014/main" id="{06594AF8-6ABD-8C13-201C-3CE9C38A43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52884" y="2247921"/>
              <a:ext cx="253269" cy="309223"/>
            </a:xfrm>
            <a:custGeom>
              <a:avLst/>
              <a:gdLst>
                <a:gd name="T0" fmla="*/ 26 w 130"/>
                <a:gd name="T1" fmla="*/ 142 h 164"/>
                <a:gd name="T2" fmla="*/ 32 w 130"/>
                <a:gd name="T3" fmla="*/ 128 h 164"/>
                <a:gd name="T4" fmla="*/ 18 w 130"/>
                <a:gd name="T5" fmla="*/ 128 h 164"/>
                <a:gd name="T6" fmla="*/ 6 w 130"/>
                <a:gd name="T7" fmla="*/ 120 h 164"/>
                <a:gd name="T8" fmla="*/ 4 w 130"/>
                <a:gd name="T9" fmla="*/ 108 h 164"/>
                <a:gd name="T10" fmla="*/ 6 w 130"/>
                <a:gd name="T11" fmla="*/ 94 h 164"/>
                <a:gd name="T12" fmla="*/ 4 w 130"/>
                <a:gd name="T13" fmla="*/ 86 h 164"/>
                <a:gd name="T14" fmla="*/ 4 w 130"/>
                <a:gd name="T15" fmla="*/ 76 h 164"/>
                <a:gd name="T16" fmla="*/ 14 w 130"/>
                <a:gd name="T17" fmla="*/ 68 h 164"/>
                <a:gd name="T18" fmla="*/ 14 w 130"/>
                <a:gd name="T19" fmla="*/ 56 h 164"/>
                <a:gd name="T20" fmla="*/ 18 w 130"/>
                <a:gd name="T21" fmla="*/ 50 h 164"/>
                <a:gd name="T22" fmla="*/ 18 w 130"/>
                <a:gd name="T23" fmla="*/ 38 h 164"/>
                <a:gd name="T24" fmla="*/ 30 w 130"/>
                <a:gd name="T25" fmla="*/ 30 h 164"/>
                <a:gd name="T26" fmla="*/ 32 w 130"/>
                <a:gd name="T27" fmla="*/ 30 h 164"/>
                <a:gd name="T28" fmla="*/ 40 w 130"/>
                <a:gd name="T29" fmla="*/ 34 h 164"/>
                <a:gd name="T30" fmla="*/ 48 w 130"/>
                <a:gd name="T31" fmla="*/ 26 h 164"/>
                <a:gd name="T32" fmla="*/ 52 w 130"/>
                <a:gd name="T33" fmla="*/ 30 h 164"/>
                <a:gd name="T34" fmla="*/ 44 w 130"/>
                <a:gd name="T35" fmla="*/ 20 h 164"/>
                <a:gd name="T36" fmla="*/ 44 w 130"/>
                <a:gd name="T37" fmla="*/ 16 h 164"/>
                <a:gd name="T38" fmla="*/ 36 w 130"/>
                <a:gd name="T39" fmla="*/ 4 h 164"/>
                <a:gd name="T40" fmla="*/ 36 w 130"/>
                <a:gd name="T41" fmla="*/ 0 h 164"/>
                <a:gd name="T42" fmla="*/ 52 w 130"/>
                <a:gd name="T43" fmla="*/ 4 h 164"/>
                <a:gd name="T44" fmla="*/ 56 w 130"/>
                <a:gd name="T45" fmla="*/ 12 h 164"/>
                <a:gd name="T46" fmla="*/ 74 w 130"/>
                <a:gd name="T47" fmla="*/ 16 h 164"/>
                <a:gd name="T48" fmla="*/ 74 w 130"/>
                <a:gd name="T49" fmla="*/ 24 h 164"/>
                <a:gd name="T50" fmla="*/ 86 w 130"/>
                <a:gd name="T51" fmla="*/ 20 h 164"/>
                <a:gd name="T52" fmla="*/ 100 w 130"/>
                <a:gd name="T53" fmla="*/ 12 h 164"/>
                <a:gd name="T54" fmla="*/ 92 w 130"/>
                <a:gd name="T55" fmla="*/ 16 h 164"/>
                <a:gd name="T56" fmla="*/ 108 w 130"/>
                <a:gd name="T57" fmla="*/ 20 h 164"/>
                <a:gd name="T58" fmla="*/ 114 w 130"/>
                <a:gd name="T59" fmla="*/ 26 h 164"/>
                <a:gd name="T60" fmla="*/ 122 w 130"/>
                <a:gd name="T61" fmla="*/ 38 h 164"/>
                <a:gd name="T62" fmla="*/ 122 w 130"/>
                <a:gd name="T63" fmla="*/ 52 h 164"/>
                <a:gd name="T64" fmla="*/ 126 w 130"/>
                <a:gd name="T65" fmla="*/ 60 h 164"/>
                <a:gd name="T66" fmla="*/ 126 w 130"/>
                <a:gd name="T67" fmla="*/ 76 h 164"/>
                <a:gd name="T68" fmla="*/ 126 w 130"/>
                <a:gd name="T69" fmla="*/ 90 h 164"/>
                <a:gd name="T70" fmla="*/ 122 w 130"/>
                <a:gd name="T71" fmla="*/ 86 h 164"/>
                <a:gd name="T72" fmla="*/ 104 w 130"/>
                <a:gd name="T73" fmla="*/ 94 h 164"/>
                <a:gd name="T74" fmla="*/ 92 w 130"/>
                <a:gd name="T75" fmla="*/ 106 h 164"/>
                <a:gd name="T76" fmla="*/ 96 w 130"/>
                <a:gd name="T77" fmla="*/ 108 h 164"/>
                <a:gd name="T78" fmla="*/ 100 w 130"/>
                <a:gd name="T79" fmla="*/ 120 h 164"/>
                <a:gd name="T80" fmla="*/ 112 w 130"/>
                <a:gd name="T81" fmla="*/ 134 h 164"/>
                <a:gd name="T82" fmla="*/ 100 w 130"/>
                <a:gd name="T83" fmla="*/ 142 h 164"/>
                <a:gd name="T84" fmla="*/ 100 w 130"/>
                <a:gd name="T85" fmla="*/ 154 h 164"/>
                <a:gd name="T86" fmla="*/ 100 w 130"/>
                <a:gd name="T87" fmla="*/ 158 h 164"/>
                <a:gd name="T88" fmla="*/ 82 w 130"/>
                <a:gd name="T89" fmla="*/ 158 h 164"/>
                <a:gd name="T90" fmla="*/ 66 w 130"/>
                <a:gd name="T91" fmla="*/ 158 h 164"/>
                <a:gd name="T92" fmla="*/ 58 w 130"/>
                <a:gd name="T93" fmla="*/ 158 h 164"/>
                <a:gd name="T94" fmla="*/ 44 w 130"/>
                <a:gd name="T95" fmla="*/ 154 h 164"/>
                <a:gd name="T96" fmla="*/ 40 w 130"/>
                <a:gd name="T97" fmla="*/ 154 h 164"/>
                <a:gd name="T98" fmla="*/ 32 w 130"/>
                <a:gd name="T99" fmla="*/ 158 h 164"/>
                <a:gd name="T100" fmla="*/ 118 w 130"/>
                <a:gd name="T101" fmla="*/ 26 h 164"/>
                <a:gd name="T102" fmla="*/ 112 w 130"/>
                <a:gd name="T103" fmla="*/ 24 h 164"/>
                <a:gd name="T104" fmla="*/ 118 w 130"/>
                <a:gd name="T105" fmla="*/ 26 h 164"/>
                <a:gd name="T106" fmla="*/ 74 w 130"/>
                <a:gd name="T107" fmla="*/ 16 h 164"/>
                <a:gd name="T108" fmla="*/ 40 w 130"/>
                <a:gd name="T109" fmla="*/ 8 h 164"/>
                <a:gd name="T110" fmla="*/ 104 w 130"/>
                <a:gd name="T111" fmla="*/ 20 h 164"/>
                <a:gd name="T112" fmla="*/ 104 w 130"/>
                <a:gd name="T113" fmla="*/ 8 h 164"/>
                <a:gd name="T114" fmla="*/ 108 w 130"/>
                <a:gd name="T115" fmla="*/ 1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0" h="164">
                  <a:moveTo>
                    <a:pt x="26" y="158"/>
                  </a:moveTo>
                  <a:lnTo>
                    <a:pt x="26" y="154"/>
                  </a:lnTo>
                  <a:lnTo>
                    <a:pt x="26" y="150"/>
                  </a:lnTo>
                  <a:lnTo>
                    <a:pt x="26" y="146"/>
                  </a:lnTo>
                  <a:lnTo>
                    <a:pt x="26" y="142"/>
                  </a:lnTo>
                  <a:lnTo>
                    <a:pt x="26" y="138"/>
                  </a:lnTo>
                  <a:lnTo>
                    <a:pt x="30" y="138"/>
                  </a:lnTo>
                  <a:lnTo>
                    <a:pt x="30" y="134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30" y="128"/>
                  </a:lnTo>
                  <a:lnTo>
                    <a:pt x="26" y="128"/>
                  </a:lnTo>
                  <a:lnTo>
                    <a:pt x="22" y="124"/>
                  </a:lnTo>
                  <a:lnTo>
                    <a:pt x="22" y="128"/>
                  </a:lnTo>
                  <a:lnTo>
                    <a:pt x="18" y="128"/>
                  </a:lnTo>
                  <a:lnTo>
                    <a:pt x="18" y="124"/>
                  </a:lnTo>
                  <a:lnTo>
                    <a:pt x="14" y="124"/>
                  </a:lnTo>
                  <a:lnTo>
                    <a:pt x="10" y="124"/>
                  </a:lnTo>
                  <a:lnTo>
                    <a:pt x="10" y="120"/>
                  </a:lnTo>
                  <a:lnTo>
                    <a:pt x="6" y="120"/>
                  </a:lnTo>
                  <a:lnTo>
                    <a:pt x="6" y="116"/>
                  </a:lnTo>
                  <a:lnTo>
                    <a:pt x="10" y="112"/>
                  </a:lnTo>
                  <a:lnTo>
                    <a:pt x="6" y="112"/>
                  </a:lnTo>
                  <a:lnTo>
                    <a:pt x="6" y="108"/>
                  </a:lnTo>
                  <a:lnTo>
                    <a:pt x="4" y="108"/>
                  </a:lnTo>
                  <a:lnTo>
                    <a:pt x="4" y="106"/>
                  </a:lnTo>
                  <a:lnTo>
                    <a:pt x="4" y="102"/>
                  </a:lnTo>
                  <a:lnTo>
                    <a:pt x="6" y="102"/>
                  </a:lnTo>
                  <a:lnTo>
                    <a:pt x="6" y="98"/>
                  </a:lnTo>
                  <a:lnTo>
                    <a:pt x="6" y="94"/>
                  </a:lnTo>
                  <a:lnTo>
                    <a:pt x="4" y="94"/>
                  </a:lnTo>
                  <a:lnTo>
                    <a:pt x="4" y="90"/>
                  </a:lnTo>
                  <a:lnTo>
                    <a:pt x="4" y="86"/>
                  </a:lnTo>
                  <a:lnTo>
                    <a:pt x="0" y="86"/>
                  </a:lnTo>
                  <a:lnTo>
                    <a:pt x="4" y="86"/>
                  </a:lnTo>
                  <a:lnTo>
                    <a:pt x="4" y="82"/>
                  </a:lnTo>
                  <a:lnTo>
                    <a:pt x="4" y="78"/>
                  </a:lnTo>
                  <a:lnTo>
                    <a:pt x="6" y="78"/>
                  </a:lnTo>
                  <a:lnTo>
                    <a:pt x="6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6" y="68"/>
                  </a:lnTo>
                  <a:lnTo>
                    <a:pt x="10" y="68"/>
                  </a:lnTo>
                  <a:lnTo>
                    <a:pt x="14" y="68"/>
                  </a:lnTo>
                  <a:lnTo>
                    <a:pt x="14" y="64"/>
                  </a:lnTo>
                  <a:lnTo>
                    <a:pt x="14" y="60"/>
                  </a:lnTo>
                  <a:lnTo>
                    <a:pt x="18" y="60"/>
                  </a:lnTo>
                  <a:lnTo>
                    <a:pt x="18" y="56"/>
                  </a:lnTo>
                  <a:lnTo>
                    <a:pt x="14" y="56"/>
                  </a:lnTo>
                  <a:lnTo>
                    <a:pt x="10" y="56"/>
                  </a:lnTo>
                  <a:lnTo>
                    <a:pt x="10" y="52"/>
                  </a:lnTo>
                  <a:lnTo>
                    <a:pt x="14" y="52"/>
                  </a:lnTo>
                  <a:lnTo>
                    <a:pt x="18" y="52"/>
                  </a:lnTo>
                  <a:lnTo>
                    <a:pt x="18" y="50"/>
                  </a:lnTo>
                  <a:lnTo>
                    <a:pt x="18" y="46"/>
                  </a:lnTo>
                  <a:lnTo>
                    <a:pt x="18" y="42"/>
                  </a:lnTo>
                  <a:lnTo>
                    <a:pt x="18" y="38"/>
                  </a:lnTo>
                  <a:lnTo>
                    <a:pt x="22" y="38"/>
                  </a:lnTo>
                  <a:lnTo>
                    <a:pt x="18" y="38"/>
                  </a:lnTo>
                  <a:lnTo>
                    <a:pt x="18" y="34"/>
                  </a:lnTo>
                  <a:lnTo>
                    <a:pt x="18" y="30"/>
                  </a:lnTo>
                  <a:lnTo>
                    <a:pt x="22" y="30"/>
                  </a:lnTo>
                  <a:lnTo>
                    <a:pt x="26" y="30"/>
                  </a:lnTo>
                  <a:lnTo>
                    <a:pt x="30" y="30"/>
                  </a:lnTo>
                  <a:lnTo>
                    <a:pt x="32" y="30"/>
                  </a:lnTo>
                  <a:lnTo>
                    <a:pt x="32" y="34"/>
                  </a:lnTo>
                  <a:lnTo>
                    <a:pt x="36" y="34"/>
                  </a:lnTo>
                  <a:lnTo>
                    <a:pt x="32" y="34"/>
                  </a:lnTo>
                  <a:lnTo>
                    <a:pt x="32" y="30"/>
                  </a:lnTo>
                  <a:lnTo>
                    <a:pt x="36" y="30"/>
                  </a:lnTo>
                  <a:lnTo>
                    <a:pt x="36" y="34"/>
                  </a:lnTo>
                  <a:lnTo>
                    <a:pt x="36" y="38"/>
                  </a:lnTo>
                  <a:lnTo>
                    <a:pt x="36" y="34"/>
                  </a:lnTo>
                  <a:lnTo>
                    <a:pt x="40" y="34"/>
                  </a:lnTo>
                  <a:lnTo>
                    <a:pt x="36" y="30"/>
                  </a:lnTo>
                  <a:lnTo>
                    <a:pt x="36" y="26"/>
                  </a:lnTo>
                  <a:lnTo>
                    <a:pt x="40" y="26"/>
                  </a:lnTo>
                  <a:lnTo>
                    <a:pt x="44" y="26"/>
                  </a:lnTo>
                  <a:lnTo>
                    <a:pt x="48" y="26"/>
                  </a:lnTo>
                  <a:lnTo>
                    <a:pt x="52" y="26"/>
                  </a:lnTo>
                  <a:lnTo>
                    <a:pt x="52" y="30"/>
                  </a:lnTo>
                  <a:lnTo>
                    <a:pt x="56" y="34"/>
                  </a:lnTo>
                  <a:lnTo>
                    <a:pt x="56" y="30"/>
                  </a:lnTo>
                  <a:lnTo>
                    <a:pt x="52" y="30"/>
                  </a:lnTo>
                  <a:lnTo>
                    <a:pt x="52" y="26"/>
                  </a:lnTo>
                  <a:lnTo>
                    <a:pt x="48" y="26"/>
                  </a:lnTo>
                  <a:lnTo>
                    <a:pt x="44" y="26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8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8" y="12"/>
                  </a:lnTo>
                  <a:lnTo>
                    <a:pt x="62" y="16"/>
                  </a:lnTo>
                  <a:lnTo>
                    <a:pt x="66" y="16"/>
                  </a:lnTo>
                  <a:lnTo>
                    <a:pt x="70" y="16"/>
                  </a:lnTo>
                  <a:lnTo>
                    <a:pt x="74" y="16"/>
                  </a:lnTo>
                  <a:lnTo>
                    <a:pt x="74" y="20"/>
                  </a:lnTo>
                  <a:lnTo>
                    <a:pt x="70" y="24"/>
                  </a:lnTo>
                  <a:lnTo>
                    <a:pt x="70" y="26"/>
                  </a:lnTo>
                  <a:lnTo>
                    <a:pt x="70" y="24"/>
                  </a:lnTo>
                  <a:lnTo>
                    <a:pt x="74" y="24"/>
                  </a:lnTo>
                  <a:lnTo>
                    <a:pt x="78" y="24"/>
                  </a:lnTo>
                  <a:lnTo>
                    <a:pt x="78" y="26"/>
                  </a:lnTo>
                  <a:lnTo>
                    <a:pt x="82" y="24"/>
                  </a:lnTo>
                  <a:lnTo>
                    <a:pt x="82" y="20"/>
                  </a:lnTo>
                  <a:lnTo>
                    <a:pt x="86" y="20"/>
                  </a:lnTo>
                  <a:lnTo>
                    <a:pt x="88" y="20"/>
                  </a:lnTo>
                  <a:lnTo>
                    <a:pt x="92" y="16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92" y="16"/>
                  </a:lnTo>
                  <a:lnTo>
                    <a:pt x="92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08" y="24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4" y="26"/>
                  </a:lnTo>
                  <a:lnTo>
                    <a:pt x="112" y="26"/>
                  </a:lnTo>
                  <a:lnTo>
                    <a:pt x="114" y="26"/>
                  </a:lnTo>
                  <a:lnTo>
                    <a:pt x="118" y="30"/>
                  </a:lnTo>
                  <a:lnTo>
                    <a:pt x="118" y="34"/>
                  </a:lnTo>
                  <a:lnTo>
                    <a:pt x="122" y="38"/>
                  </a:lnTo>
                  <a:lnTo>
                    <a:pt x="122" y="42"/>
                  </a:lnTo>
                  <a:lnTo>
                    <a:pt x="118" y="46"/>
                  </a:lnTo>
                  <a:lnTo>
                    <a:pt x="118" y="50"/>
                  </a:lnTo>
                  <a:lnTo>
                    <a:pt x="122" y="50"/>
                  </a:lnTo>
                  <a:lnTo>
                    <a:pt x="122" y="52"/>
                  </a:lnTo>
                  <a:lnTo>
                    <a:pt x="126" y="52"/>
                  </a:lnTo>
                  <a:lnTo>
                    <a:pt x="126" y="56"/>
                  </a:lnTo>
                  <a:lnTo>
                    <a:pt x="122" y="56"/>
                  </a:lnTo>
                  <a:lnTo>
                    <a:pt x="122" y="60"/>
                  </a:lnTo>
                  <a:lnTo>
                    <a:pt x="126" y="60"/>
                  </a:lnTo>
                  <a:lnTo>
                    <a:pt x="126" y="64"/>
                  </a:lnTo>
                  <a:lnTo>
                    <a:pt x="126" y="68"/>
                  </a:lnTo>
                  <a:lnTo>
                    <a:pt x="122" y="68"/>
                  </a:lnTo>
                  <a:lnTo>
                    <a:pt x="126" y="72"/>
                  </a:lnTo>
                  <a:lnTo>
                    <a:pt x="126" y="76"/>
                  </a:lnTo>
                  <a:lnTo>
                    <a:pt x="130" y="76"/>
                  </a:lnTo>
                  <a:lnTo>
                    <a:pt x="130" y="78"/>
                  </a:lnTo>
                  <a:lnTo>
                    <a:pt x="130" y="82"/>
                  </a:lnTo>
                  <a:lnTo>
                    <a:pt x="130" y="86"/>
                  </a:lnTo>
                  <a:lnTo>
                    <a:pt x="126" y="90"/>
                  </a:lnTo>
                  <a:lnTo>
                    <a:pt x="122" y="90"/>
                  </a:lnTo>
                  <a:lnTo>
                    <a:pt x="126" y="90"/>
                  </a:lnTo>
                  <a:lnTo>
                    <a:pt x="122" y="86"/>
                  </a:lnTo>
                  <a:lnTo>
                    <a:pt x="118" y="86"/>
                  </a:lnTo>
                  <a:lnTo>
                    <a:pt x="122" y="86"/>
                  </a:lnTo>
                  <a:lnTo>
                    <a:pt x="118" y="90"/>
                  </a:lnTo>
                  <a:lnTo>
                    <a:pt x="114" y="90"/>
                  </a:lnTo>
                  <a:lnTo>
                    <a:pt x="112" y="94"/>
                  </a:lnTo>
                  <a:lnTo>
                    <a:pt x="108" y="94"/>
                  </a:lnTo>
                  <a:lnTo>
                    <a:pt x="104" y="94"/>
                  </a:lnTo>
                  <a:lnTo>
                    <a:pt x="104" y="98"/>
                  </a:lnTo>
                  <a:lnTo>
                    <a:pt x="100" y="98"/>
                  </a:lnTo>
                  <a:lnTo>
                    <a:pt x="96" y="98"/>
                  </a:lnTo>
                  <a:lnTo>
                    <a:pt x="92" y="102"/>
                  </a:lnTo>
                  <a:lnTo>
                    <a:pt x="92" y="106"/>
                  </a:lnTo>
                  <a:lnTo>
                    <a:pt x="88" y="102"/>
                  </a:lnTo>
                  <a:lnTo>
                    <a:pt x="88" y="106"/>
                  </a:lnTo>
                  <a:lnTo>
                    <a:pt x="92" y="106"/>
                  </a:lnTo>
                  <a:lnTo>
                    <a:pt x="92" y="108"/>
                  </a:lnTo>
                  <a:lnTo>
                    <a:pt x="96" y="108"/>
                  </a:lnTo>
                  <a:lnTo>
                    <a:pt x="92" y="112"/>
                  </a:lnTo>
                  <a:lnTo>
                    <a:pt x="92" y="116"/>
                  </a:lnTo>
                  <a:lnTo>
                    <a:pt x="96" y="116"/>
                  </a:lnTo>
                  <a:lnTo>
                    <a:pt x="96" y="120"/>
                  </a:lnTo>
                  <a:lnTo>
                    <a:pt x="100" y="120"/>
                  </a:lnTo>
                  <a:lnTo>
                    <a:pt x="100" y="124"/>
                  </a:lnTo>
                  <a:lnTo>
                    <a:pt x="104" y="124"/>
                  </a:lnTo>
                  <a:lnTo>
                    <a:pt x="108" y="128"/>
                  </a:lnTo>
                  <a:lnTo>
                    <a:pt x="112" y="132"/>
                  </a:lnTo>
                  <a:lnTo>
                    <a:pt x="112" y="134"/>
                  </a:lnTo>
                  <a:lnTo>
                    <a:pt x="112" y="138"/>
                  </a:lnTo>
                  <a:lnTo>
                    <a:pt x="108" y="138"/>
                  </a:lnTo>
                  <a:lnTo>
                    <a:pt x="108" y="142"/>
                  </a:lnTo>
                  <a:lnTo>
                    <a:pt x="104" y="142"/>
                  </a:lnTo>
                  <a:lnTo>
                    <a:pt x="100" y="142"/>
                  </a:lnTo>
                  <a:lnTo>
                    <a:pt x="100" y="146"/>
                  </a:lnTo>
                  <a:lnTo>
                    <a:pt x="96" y="146"/>
                  </a:lnTo>
                  <a:lnTo>
                    <a:pt x="100" y="146"/>
                  </a:lnTo>
                  <a:lnTo>
                    <a:pt x="100" y="150"/>
                  </a:lnTo>
                  <a:lnTo>
                    <a:pt x="100" y="154"/>
                  </a:lnTo>
                  <a:lnTo>
                    <a:pt x="104" y="154"/>
                  </a:lnTo>
                  <a:lnTo>
                    <a:pt x="104" y="158"/>
                  </a:lnTo>
                  <a:lnTo>
                    <a:pt x="104" y="162"/>
                  </a:lnTo>
                  <a:lnTo>
                    <a:pt x="100" y="162"/>
                  </a:lnTo>
                  <a:lnTo>
                    <a:pt x="100" y="158"/>
                  </a:lnTo>
                  <a:lnTo>
                    <a:pt x="96" y="158"/>
                  </a:lnTo>
                  <a:lnTo>
                    <a:pt x="92" y="158"/>
                  </a:lnTo>
                  <a:lnTo>
                    <a:pt x="88" y="158"/>
                  </a:lnTo>
                  <a:lnTo>
                    <a:pt x="86" y="158"/>
                  </a:lnTo>
                  <a:lnTo>
                    <a:pt x="82" y="158"/>
                  </a:lnTo>
                  <a:lnTo>
                    <a:pt x="78" y="158"/>
                  </a:lnTo>
                  <a:lnTo>
                    <a:pt x="78" y="162"/>
                  </a:lnTo>
                  <a:lnTo>
                    <a:pt x="74" y="162"/>
                  </a:lnTo>
                  <a:lnTo>
                    <a:pt x="70" y="158"/>
                  </a:lnTo>
                  <a:lnTo>
                    <a:pt x="66" y="158"/>
                  </a:lnTo>
                  <a:lnTo>
                    <a:pt x="66" y="162"/>
                  </a:lnTo>
                  <a:lnTo>
                    <a:pt x="62" y="164"/>
                  </a:lnTo>
                  <a:lnTo>
                    <a:pt x="62" y="162"/>
                  </a:lnTo>
                  <a:lnTo>
                    <a:pt x="58" y="162"/>
                  </a:lnTo>
                  <a:lnTo>
                    <a:pt x="58" y="158"/>
                  </a:lnTo>
                  <a:lnTo>
                    <a:pt x="56" y="158"/>
                  </a:lnTo>
                  <a:lnTo>
                    <a:pt x="52" y="158"/>
                  </a:lnTo>
                  <a:lnTo>
                    <a:pt x="48" y="158"/>
                  </a:lnTo>
                  <a:lnTo>
                    <a:pt x="44" y="158"/>
                  </a:lnTo>
                  <a:lnTo>
                    <a:pt x="44" y="154"/>
                  </a:lnTo>
                  <a:lnTo>
                    <a:pt x="44" y="158"/>
                  </a:lnTo>
                  <a:lnTo>
                    <a:pt x="44" y="154"/>
                  </a:lnTo>
                  <a:lnTo>
                    <a:pt x="40" y="154"/>
                  </a:lnTo>
                  <a:lnTo>
                    <a:pt x="40" y="158"/>
                  </a:lnTo>
                  <a:lnTo>
                    <a:pt x="40" y="154"/>
                  </a:lnTo>
                  <a:lnTo>
                    <a:pt x="36" y="154"/>
                  </a:lnTo>
                  <a:lnTo>
                    <a:pt x="36" y="158"/>
                  </a:lnTo>
                  <a:lnTo>
                    <a:pt x="40" y="158"/>
                  </a:lnTo>
                  <a:lnTo>
                    <a:pt x="36" y="158"/>
                  </a:lnTo>
                  <a:lnTo>
                    <a:pt x="32" y="158"/>
                  </a:lnTo>
                  <a:lnTo>
                    <a:pt x="30" y="158"/>
                  </a:lnTo>
                  <a:lnTo>
                    <a:pt x="26" y="158"/>
                  </a:lnTo>
                  <a:lnTo>
                    <a:pt x="26" y="158"/>
                  </a:lnTo>
                  <a:lnTo>
                    <a:pt x="26" y="158"/>
                  </a:lnTo>
                  <a:close/>
                  <a:moveTo>
                    <a:pt x="118" y="26"/>
                  </a:moveTo>
                  <a:lnTo>
                    <a:pt x="114" y="26"/>
                  </a:lnTo>
                  <a:lnTo>
                    <a:pt x="112" y="26"/>
                  </a:lnTo>
                  <a:lnTo>
                    <a:pt x="114" y="26"/>
                  </a:lnTo>
                  <a:lnTo>
                    <a:pt x="114" y="24"/>
                  </a:lnTo>
                  <a:lnTo>
                    <a:pt x="112" y="24"/>
                  </a:lnTo>
                  <a:lnTo>
                    <a:pt x="112" y="20"/>
                  </a:lnTo>
                  <a:lnTo>
                    <a:pt x="114" y="20"/>
                  </a:lnTo>
                  <a:lnTo>
                    <a:pt x="114" y="24"/>
                  </a:lnTo>
                  <a:lnTo>
                    <a:pt x="118" y="24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close/>
                  <a:moveTo>
                    <a:pt x="78" y="12"/>
                  </a:moveTo>
                  <a:lnTo>
                    <a:pt x="78" y="16"/>
                  </a:lnTo>
                  <a:lnTo>
                    <a:pt x="74" y="16"/>
                  </a:lnTo>
                  <a:lnTo>
                    <a:pt x="74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close/>
                  <a:moveTo>
                    <a:pt x="40" y="8"/>
                  </a:move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close/>
                  <a:moveTo>
                    <a:pt x="104" y="20"/>
                  </a:moveTo>
                  <a:lnTo>
                    <a:pt x="104" y="16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close/>
                </a:path>
              </a:pathLst>
            </a:custGeom>
            <a:solidFill>
              <a:srgbClr val="FFFF00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62" name="Freeform 102">
              <a:extLst>
                <a:ext uri="{FF2B5EF4-FFF2-40B4-BE49-F238E27FC236}">
                  <a16:creationId xmlns:a16="http://schemas.microsoft.com/office/drawing/2014/main" id="{D1D59B7A-BB7B-D221-9888-241E96F4AE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8631" y="2760779"/>
              <a:ext cx="229890" cy="245116"/>
            </a:xfrm>
            <a:custGeom>
              <a:avLst/>
              <a:gdLst>
                <a:gd name="T0" fmla="*/ 6 w 118"/>
                <a:gd name="T1" fmla="*/ 48 h 130"/>
                <a:gd name="T2" fmla="*/ 6 w 118"/>
                <a:gd name="T3" fmla="*/ 34 h 130"/>
                <a:gd name="T4" fmla="*/ 26 w 118"/>
                <a:gd name="T5" fmla="*/ 18 h 130"/>
                <a:gd name="T6" fmla="*/ 44 w 118"/>
                <a:gd name="T7" fmla="*/ 8 h 130"/>
                <a:gd name="T8" fmla="*/ 66 w 118"/>
                <a:gd name="T9" fmla="*/ 4 h 130"/>
                <a:gd name="T10" fmla="*/ 86 w 118"/>
                <a:gd name="T11" fmla="*/ 12 h 130"/>
                <a:gd name="T12" fmla="*/ 96 w 118"/>
                <a:gd name="T13" fmla="*/ 8 h 130"/>
                <a:gd name="T14" fmla="*/ 86 w 118"/>
                <a:gd name="T15" fmla="*/ 18 h 130"/>
                <a:gd name="T16" fmla="*/ 62 w 118"/>
                <a:gd name="T17" fmla="*/ 18 h 130"/>
                <a:gd name="T18" fmla="*/ 62 w 118"/>
                <a:gd name="T19" fmla="*/ 30 h 130"/>
                <a:gd name="T20" fmla="*/ 60 w 118"/>
                <a:gd name="T21" fmla="*/ 38 h 130"/>
                <a:gd name="T22" fmla="*/ 52 w 118"/>
                <a:gd name="T23" fmla="*/ 34 h 130"/>
                <a:gd name="T24" fmla="*/ 40 w 118"/>
                <a:gd name="T25" fmla="*/ 38 h 130"/>
                <a:gd name="T26" fmla="*/ 44 w 118"/>
                <a:gd name="T27" fmla="*/ 52 h 130"/>
                <a:gd name="T28" fmla="*/ 36 w 118"/>
                <a:gd name="T29" fmla="*/ 56 h 130"/>
                <a:gd name="T30" fmla="*/ 48 w 118"/>
                <a:gd name="T31" fmla="*/ 60 h 130"/>
                <a:gd name="T32" fmla="*/ 60 w 118"/>
                <a:gd name="T33" fmla="*/ 74 h 130"/>
                <a:gd name="T34" fmla="*/ 48 w 118"/>
                <a:gd name="T35" fmla="*/ 74 h 130"/>
                <a:gd name="T36" fmla="*/ 44 w 118"/>
                <a:gd name="T37" fmla="*/ 82 h 130"/>
                <a:gd name="T38" fmla="*/ 44 w 118"/>
                <a:gd name="T39" fmla="*/ 98 h 130"/>
                <a:gd name="T40" fmla="*/ 36 w 118"/>
                <a:gd name="T41" fmla="*/ 102 h 130"/>
                <a:gd name="T42" fmla="*/ 26 w 118"/>
                <a:gd name="T43" fmla="*/ 90 h 130"/>
                <a:gd name="T44" fmla="*/ 22 w 118"/>
                <a:gd name="T45" fmla="*/ 72 h 130"/>
                <a:gd name="T46" fmla="*/ 40 w 118"/>
                <a:gd name="T47" fmla="*/ 74 h 130"/>
                <a:gd name="T48" fmla="*/ 36 w 118"/>
                <a:gd name="T49" fmla="*/ 64 h 130"/>
                <a:gd name="T50" fmla="*/ 18 w 118"/>
                <a:gd name="T51" fmla="*/ 60 h 130"/>
                <a:gd name="T52" fmla="*/ 66 w 118"/>
                <a:gd name="T53" fmla="*/ 22 h 130"/>
                <a:gd name="T54" fmla="*/ 82 w 118"/>
                <a:gd name="T55" fmla="*/ 26 h 130"/>
                <a:gd name="T56" fmla="*/ 74 w 118"/>
                <a:gd name="T57" fmla="*/ 34 h 130"/>
                <a:gd name="T58" fmla="*/ 2 w 118"/>
                <a:gd name="T59" fmla="*/ 42 h 130"/>
                <a:gd name="T60" fmla="*/ 0 w 118"/>
                <a:gd name="T61" fmla="*/ 38 h 130"/>
                <a:gd name="T62" fmla="*/ 92 w 118"/>
                <a:gd name="T63" fmla="*/ 52 h 130"/>
                <a:gd name="T64" fmla="*/ 60 w 118"/>
                <a:gd name="T65" fmla="*/ 68 h 130"/>
                <a:gd name="T66" fmla="*/ 48 w 118"/>
                <a:gd name="T67" fmla="*/ 52 h 130"/>
                <a:gd name="T68" fmla="*/ 62 w 118"/>
                <a:gd name="T69" fmla="*/ 72 h 130"/>
                <a:gd name="T70" fmla="*/ 60 w 118"/>
                <a:gd name="T71" fmla="*/ 68 h 130"/>
                <a:gd name="T72" fmla="*/ 14 w 118"/>
                <a:gd name="T73" fmla="*/ 60 h 130"/>
                <a:gd name="T74" fmla="*/ 90 w 118"/>
                <a:gd name="T75" fmla="*/ 72 h 130"/>
                <a:gd name="T76" fmla="*/ 90 w 118"/>
                <a:gd name="T77" fmla="*/ 72 h 130"/>
                <a:gd name="T78" fmla="*/ 14 w 118"/>
                <a:gd name="T79" fmla="*/ 68 h 130"/>
                <a:gd name="T80" fmla="*/ 10 w 118"/>
                <a:gd name="T81" fmla="*/ 64 h 130"/>
                <a:gd name="T82" fmla="*/ 74 w 118"/>
                <a:gd name="T83" fmla="*/ 78 h 130"/>
                <a:gd name="T84" fmla="*/ 18 w 118"/>
                <a:gd name="T85" fmla="*/ 78 h 130"/>
                <a:gd name="T86" fmla="*/ 100 w 118"/>
                <a:gd name="T87" fmla="*/ 78 h 130"/>
                <a:gd name="T88" fmla="*/ 92 w 118"/>
                <a:gd name="T89" fmla="*/ 82 h 130"/>
                <a:gd name="T90" fmla="*/ 62 w 118"/>
                <a:gd name="T91" fmla="*/ 82 h 130"/>
                <a:gd name="T92" fmla="*/ 74 w 118"/>
                <a:gd name="T93" fmla="*/ 78 h 130"/>
                <a:gd name="T94" fmla="*/ 66 w 118"/>
                <a:gd name="T95" fmla="*/ 82 h 130"/>
                <a:gd name="T96" fmla="*/ 74 w 118"/>
                <a:gd name="T97" fmla="*/ 94 h 130"/>
                <a:gd name="T98" fmla="*/ 100 w 118"/>
                <a:gd name="T99" fmla="*/ 94 h 130"/>
                <a:gd name="T100" fmla="*/ 104 w 118"/>
                <a:gd name="T101" fmla="*/ 94 h 130"/>
                <a:gd name="T102" fmla="*/ 78 w 118"/>
                <a:gd name="T103" fmla="*/ 102 h 130"/>
                <a:gd name="T104" fmla="*/ 66 w 118"/>
                <a:gd name="T105" fmla="*/ 102 h 130"/>
                <a:gd name="T106" fmla="*/ 112 w 118"/>
                <a:gd name="T107" fmla="*/ 108 h 130"/>
                <a:gd name="T108" fmla="*/ 44 w 118"/>
                <a:gd name="T109" fmla="*/ 108 h 130"/>
                <a:gd name="T110" fmla="*/ 104 w 118"/>
                <a:gd name="T111" fmla="*/ 124 h 130"/>
                <a:gd name="T112" fmla="*/ 62 w 118"/>
                <a:gd name="T113" fmla="*/ 120 h 130"/>
                <a:gd name="T114" fmla="*/ 82 w 118"/>
                <a:gd name="T115" fmla="*/ 124 h 130"/>
                <a:gd name="T116" fmla="*/ 78 w 118"/>
                <a:gd name="T117" fmla="*/ 130 h 130"/>
                <a:gd name="T118" fmla="*/ 56 w 118"/>
                <a:gd name="T119" fmla="*/ 12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8" h="130">
                  <a:moveTo>
                    <a:pt x="18" y="52"/>
                  </a:moveTo>
                  <a:lnTo>
                    <a:pt x="18" y="56"/>
                  </a:lnTo>
                  <a:lnTo>
                    <a:pt x="14" y="52"/>
                  </a:lnTo>
                  <a:lnTo>
                    <a:pt x="14" y="56"/>
                  </a:lnTo>
                  <a:lnTo>
                    <a:pt x="14" y="52"/>
                  </a:lnTo>
                  <a:lnTo>
                    <a:pt x="10" y="52"/>
                  </a:lnTo>
                  <a:lnTo>
                    <a:pt x="10" y="48"/>
                  </a:lnTo>
                  <a:lnTo>
                    <a:pt x="6" y="48"/>
                  </a:lnTo>
                  <a:lnTo>
                    <a:pt x="6" y="46"/>
                  </a:lnTo>
                  <a:lnTo>
                    <a:pt x="6" y="42"/>
                  </a:lnTo>
                  <a:lnTo>
                    <a:pt x="2" y="42"/>
                  </a:lnTo>
                  <a:lnTo>
                    <a:pt x="6" y="42"/>
                  </a:lnTo>
                  <a:lnTo>
                    <a:pt x="6" y="38"/>
                  </a:lnTo>
                  <a:lnTo>
                    <a:pt x="6" y="42"/>
                  </a:lnTo>
                  <a:lnTo>
                    <a:pt x="6" y="38"/>
                  </a:lnTo>
                  <a:lnTo>
                    <a:pt x="6" y="34"/>
                  </a:lnTo>
                  <a:lnTo>
                    <a:pt x="10" y="34"/>
                  </a:lnTo>
                  <a:lnTo>
                    <a:pt x="14" y="30"/>
                  </a:lnTo>
                  <a:lnTo>
                    <a:pt x="14" y="26"/>
                  </a:lnTo>
                  <a:lnTo>
                    <a:pt x="18" y="26"/>
                  </a:lnTo>
                  <a:lnTo>
                    <a:pt x="18" y="22"/>
                  </a:lnTo>
                  <a:lnTo>
                    <a:pt x="18" y="18"/>
                  </a:lnTo>
                  <a:lnTo>
                    <a:pt x="22" y="18"/>
                  </a:lnTo>
                  <a:lnTo>
                    <a:pt x="26" y="18"/>
                  </a:lnTo>
                  <a:lnTo>
                    <a:pt x="30" y="18"/>
                  </a:lnTo>
                  <a:lnTo>
                    <a:pt x="30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2" y="4"/>
                  </a:lnTo>
                  <a:lnTo>
                    <a:pt x="66" y="4"/>
                  </a:lnTo>
                  <a:lnTo>
                    <a:pt x="66" y="8"/>
                  </a:lnTo>
                  <a:lnTo>
                    <a:pt x="70" y="8"/>
                  </a:lnTo>
                  <a:lnTo>
                    <a:pt x="74" y="8"/>
                  </a:lnTo>
                  <a:lnTo>
                    <a:pt x="74" y="12"/>
                  </a:lnTo>
                  <a:lnTo>
                    <a:pt x="78" y="12"/>
                  </a:lnTo>
                  <a:lnTo>
                    <a:pt x="82" y="12"/>
                  </a:lnTo>
                  <a:lnTo>
                    <a:pt x="86" y="8"/>
                  </a:lnTo>
                  <a:lnTo>
                    <a:pt x="86" y="12"/>
                  </a:lnTo>
                  <a:lnTo>
                    <a:pt x="90" y="12"/>
                  </a:lnTo>
                  <a:lnTo>
                    <a:pt x="90" y="8"/>
                  </a:lnTo>
                  <a:lnTo>
                    <a:pt x="90" y="4"/>
                  </a:lnTo>
                  <a:lnTo>
                    <a:pt x="90" y="0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8"/>
                  </a:lnTo>
                  <a:lnTo>
                    <a:pt x="96" y="12"/>
                  </a:lnTo>
                  <a:lnTo>
                    <a:pt x="92" y="12"/>
                  </a:lnTo>
                  <a:lnTo>
                    <a:pt x="92" y="16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0" y="22"/>
                  </a:lnTo>
                  <a:lnTo>
                    <a:pt x="90" y="18"/>
                  </a:lnTo>
                  <a:lnTo>
                    <a:pt x="86" y="18"/>
                  </a:lnTo>
                  <a:lnTo>
                    <a:pt x="82" y="18"/>
                  </a:lnTo>
                  <a:lnTo>
                    <a:pt x="78" y="18"/>
                  </a:lnTo>
                  <a:lnTo>
                    <a:pt x="74" y="16"/>
                  </a:lnTo>
                  <a:lnTo>
                    <a:pt x="70" y="18"/>
                  </a:lnTo>
                  <a:lnTo>
                    <a:pt x="66" y="18"/>
                  </a:lnTo>
                  <a:lnTo>
                    <a:pt x="66" y="16"/>
                  </a:lnTo>
                  <a:lnTo>
                    <a:pt x="66" y="18"/>
                  </a:lnTo>
                  <a:lnTo>
                    <a:pt x="62" y="18"/>
                  </a:lnTo>
                  <a:lnTo>
                    <a:pt x="62" y="22"/>
                  </a:lnTo>
                  <a:lnTo>
                    <a:pt x="60" y="22"/>
                  </a:lnTo>
                  <a:lnTo>
                    <a:pt x="60" y="18"/>
                  </a:lnTo>
                  <a:lnTo>
                    <a:pt x="56" y="18"/>
                  </a:lnTo>
                  <a:lnTo>
                    <a:pt x="56" y="22"/>
                  </a:lnTo>
                  <a:lnTo>
                    <a:pt x="56" y="26"/>
                  </a:lnTo>
                  <a:lnTo>
                    <a:pt x="60" y="26"/>
                  </a:lnTo>
                  <a:lnTo>
                    <a:pt x="62" y="30"/>
                  </a:lnTo>
                  <a:lnTo>
                    <a:pt x="66" y="30"/>
                  </a:lnTo>
                  <a:lnTo>
                    <a:pt x="66" y="34"/>
                  </a:lnTo>
                  <a:lnTo>
                    <a:pt x="62" y="34"/>
                  </a:lnTo>
                  <a:lnTo>
                    <a:pt x="62" y="30"/>
                  </a:lnTo>
                  <a:lnTo>
                    <a:pt x="60" y="30"/>
                  </a:lnTo>
                  <a:lnTo>
                    <a:pt x="56" y="30"/>
                  </a:lnTo>
                  <a:lnTo>
                    <a:pt x="60" y="34"/>
                  </a:lnTo>
                  <a:lnTo>
                    <a:pt x="60" y="38"/>
                  </a:lnTo>
                  <a:lnTo>
                    <a:pt x="56" y="34"/>
                  </a:lnTo>
                  <a:lnTo>
                    <a:pt x="56" y="30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6" y="34"/>
                  </a:lnTo>
                  <a:lnTo>
                    <a:pt x="56" y="38"/>
                  </a:lnTo>
                  <a:lnTo>
                    <a:pt x="52" y="38"/>
                  </a:lnTo>
                  <a:lnTo>
                    <a:pt x="52" y="34"/>
                  </a:lnTo>
                  <a:lnTo>
                    <a:pt x="52" y="30"/>
                  </a:lnTo>
                  <a:lnTo>
                    <a:pt x="48" y="30"/>
                  </a:lnTo>
                  <a:lnTo>
                    <a:pt x="44" y="26"/>
                  </a:lnTo>
                  <a:lnTo>
                    <a:pt x="44" y="22"/>
                  </a:lnTo>
                  <a:lnTo>
                    <a:pt x="40" y="26"/>
                  </a:lnTo>
                  <a:lnTo>
                    <a:pt x="40" y="30"/>
                  </a:lnTo>
                  <a:lnTo>
                    <a:pt x="40" y="34"/>
                  </a:lnTo>
                  <a:lnTo>
                    <a:pt x="40" y="38"/>
                  </a:lnTo>
                  <a:lnTo>
                    <a:pt x="44" y="42"/>
                  </a:lnTo>
                  <a:lnTo>
                    <a:pt x="44" y="46"/>
                  </a:lnTo>
                  <a:lnTo>
                    <a:pt x="48" y="46"/>
                  </a:lnTo>
                  <a:lnTo>
                    <a:pt x="48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8" y="60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4"/>
                  </a:lnTo>
                  <a:lnTo>
                    <a:pt x="60" y="78"/>
                  </a:lnTo>
                  <a:lnTo>
                    <a:pt x="60" y="82"/>
                  </a:lnTo>
                  <a:lnTo>
                    <a:pt x="60" y="78"/>
                  </a:lnTo>
                  <a:lnTo>
                    <a:pt x="56" y="78"/>
                  </a:lnTo>
                  <a:lnTo>
                    <a:pt x="52" y="74"/>
                  </a:lnTo>
                  <a:lnTo>
                    <a:pt x="56" y="74"/>
                  </a:lnTo>
                  <a:lnTo>
                    <a:pt x="52" y="74"/>
                  </a:lnTo>
                  <a:lnTo>
                    <a:pt x="48" y="74"/>
                  </a:lnTo>
                  <a:lnTo>
                    <a:pt x="44" y="74"/>
                  </a:lnTo>
                  <a:lnTo>
                    <a:pt x="44" y="78"/>
                  </a:lnTo>
                  <a:lnTo>
                    <a:pt x="48" y="78"/>
                  </a:lnTo>
                  <a:lnTo>
                    <a:pt x="48" y="82"/>
                  </a:lnTo>
                  <a:lnTo>
                    <a:pt x="52" y="82"/>
                  </a:lnTo>
                  <a:lnTo>
                    <a:pt x="52" y="86"/>
                  </a:lnTo>
                  <a:lnTo>
                    <a:pt x="48" y="86"/>
                  </a:lnTo>
                  <a:lnTo>
                    <a:pt x="44" y="82"/>
                  </a:lnTo>
                  <a:lnTo>
                    <a:pt x="40" y="82"/>
                  </a:lnTo>
                  <a:lnTo>
                    <a:pt x="40" y="86"/>
                  </a:lnTo>
                  <a:lnTo>
                    <a:pt x="44" y="86"/>
                  </a:lnTo>
                  <a:lnTo>
                    <a:pt x="44" y="90"/>
                  </a:lnTo>
                  <a:lnTo>
                    <a:pt x="44" y="94"/>
                  </a:lnTo>
                  <a:lnTo>
                    <a:pt x="44" y="98"/>
                  </a:lnTo>
                  <a:lnTo>
                    <a:pt x="48" y="98"/>
                  </a:lnTo>
                  <a:lnTo>
                    <a:pt x="44" y="98"/>
                  </a:lnTo>
                  <a:lnTo>
                    <a:pt x="44" y="102"/>
                  </a:lnTo>
                  <a:lnTo>
                    <a:pt x="48" y="102"/>
                  </a:lnTo>
                  <a:lnTo>
                    <a:pt x="48" y="104"/>
                  </a:lnTo>
                  <a:lnTo>
                    <a:pt x="44" y="102"/>
                  </a:lnTo>
                  <a:lnTo>
                    <a:pt x="40" y="98"/>
                  </a:lnTo>
                  <a:lnTo>
                    <a:pt x="36" y="102"/>
                  </a:lnTo>
                  <a:lnTo>
                    <a:pt x="36" y="104"/>
                  </a:lnTo>
                  <a:lnTo>
                    <a:pt x="36" y="102"/>
                  </a:lnTo>
                  <a:lnTo>
                    <a:pt x="36" y="98"/>
                  </a:lnTo>
                  <a:lnTo>
                    <a:pt x="32" y="98"/>
                  </a:lnTo>
                  <a:lnTo>
                    <a:pt x="32" y="94"/>
                  </a:lnTo>
                  <a:lnTo>
                    <a:pt x="30" y="94"/>
                  </a:lnTo>
                  <a:lnTo>
                    <a:pt x="30" y="98"/>
                  </a:lnTo>
                  <a:lnTo>
                    <a:pt x="26" y="98"/>
                  </a:lnTo>
                  <a:lnTo>
                    <a:pt x="26" y="94"/>
                  </a:lnTo>
                  <a:lnTo>
                    <a:pt x="26" y="90"/>
                  </a:lnTo>
                  <a:lnTo>
                    <a:pt x="26" y="86"/>
                  </a:lnTo>
                  <a:lnTo>
                    <a:pt x="26" y="82"/>
                  </a:lnTo>
                  <a:lnTo>
                    <a:pt x="22" y="82"/>
                  </a:lnTo>
                  <a:lnTo>
                    <a:pt x="22" y="78"/>
                  </a:lnTo>
                  <a:lnTo>
                    <a:pt x="18" y="78"/>
                  </a:lnTo>
                  <a:lnTo>
                    <a:pt x="18" y="74"/>
                  </a:lnTo>
                  <a:lnTo>
                    <a:pt x="22" y="74"/>
                  </a:lnTo>
                  <a:lnTo>
                    <a:pt x="22" y="72"/>
                  </a:lnTo>
                  <a:lnTo>
                    <a:pt x="26" y="72"/>
                  </a:lnTo>
                  <a:lnTo>
                    <a:pt x="26" y="68"/>
                  </a:lnTo>
                  <a:lnTo>
                    <a:pt x="30" y="68"/>
                  </a:lnTo>
                  <a:lnTo>
                    <a:pt x="32" y="68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4"/>
                  </a:lnTo>
                  <a:lnTo>
                    <a:pt x="44" y="74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6" y="64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0" y="68"/>
                  </a:lnTo>
                  <a:lnTo>
                    <a:pt x="26" y="68"/>
                  </a:lnTo>
                  <a:lnTo>
                    <a:pt x="22" y="68"/>
                  </a:lnTo>
                  <a:lnTo>
                    <a:pt x="18" y="68"/>
                  </a:lnTo>
                  <a:lnTo>
                    <a:pt x="18" y="64"/>
                  </a:lnTo>
                  <a:lnTo>
                    <a:pt x="18" y="60"/>
                  </a:lnTo>
                  <a:lnTo>
                    <a:pt x="14" y="60"/>
                  </a:lnTo>
                  <a:lnTo>
                    <a:pt x="14" y="56"/>
                  </a:lnTo>
                  <a:lnTo>
                    <a:pt x="18" y="56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close/>
                  <a:moveTo>
                    <a:pt x="70" y="22"/>
                  </a:moveTo>
                  <a:lnTo>
                    <a:pt x="66" y="22"/>
                  </a:lnTo>
                  <a:lnTo>
                    <a:pt x="66" y="18"/>
                  </a:lnTo>
                  <a:lnTo>
                    <a:pt x="70" y="18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2"/>
                  </a:lnTo>
                  <a:close/>
                  <a:moveTo>
                    <a:pt x="82" y="26"/>
                  </a:moveTo>
                  <a:lnTo>
                    <a:pt x="86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close/>
                  <a:moveTo>
                    <a:pt x="82" y="34"/>
                  </a:moveTo>
                  <a:lnTo>
                    <a:pt x="78" y="38"/>
                  </a:lnTo>
                  <a:lnTo>
                    <a:pt x="78" y="42"/>
                  </a:lnTo>
                  <a:lnTo>
                    <a:pt x="78" y="38"/>
                  </a:lnTo>
                  <a:lnTo>
                    <a:pt x="74" y="38"/>
                  </a:lnTo>
                  <a:lnTo>
                    <a:pt x="74" y="34"/>
                  </a:lnTo>
                  <a:lnTo>
                    <a:pt x="78" y="34"/>
                  </a:lnTo>
                  <a:lnTo>
                    <a:pt x="78" y="38"/>
                  </a:lnTo>
                  <a:lnTo>
                    <a:pt x="78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close/>
                  <a:moveTo>
                    <a:pt x="0" y="38"/>
                  </a:moveTo>
                  <a:lnTo>
                    <a:pt x="2" y="42"/>
                  </a:lnTo>
                  <a:lnTo>
                    <a:pt x="0" y="42"/>
                  </a:lnTo>
                  <a:lnTo>
                    <a:pt x="2" y="42"/>
                  </a:lnTo>
                  <a:lnTo>
                    <a:pt x="2" y="46"/>
                  </a:lnTo>
                  <a:lnTo>
                    <a:pt x="2" y="48"/>
                  </a:lnTo>
                  <a:lnTo>
                    <a:pt x="0" y="46"/>
                  </a:lnTo>
                  <a:lnTo>
                    <a:pt x="0" y="42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close/>
                  <a:moveTo>
                    <a:pt x="92" y="48"/>
                  </a:moveTo>
                  <a:lnTo>
                    <a:pt x="96" y="52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0" y="56"/>
                  </a:lnTo>
                  <a:lnTo>
                    <a:pt x="90" y="52"/>
                  </a:lnTo>
                  <a:lnTo>
                    <a:pt x="92" y="52"/>
                  </a:lnTo>
                  <a:lnTo>
                    <a:pt x="90" y="52"/>
                  </a:lnTo>
                  <a:lnTo>
                    <a:pt x="86" y="52"/>
                  </a:lnTo>
                  <a:lnTo>
                    <a:pt x="86" y="48"/>
                  </a:lnTo>
                  <a:lnTo>
                    <a:pt x="90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close/>
                  <a:moveTo>
                    <a:pt x="60" y="68"/>
                  </a:moveTo>
                  <a:lnTo>
                    <a:pt x="56" y="68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8" y="52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2" y="64"/>
                  </a:lnTo>
                  <a:lnTo>
                    <a:pt x="62" y="68"/>
                  </a:lnTo>
                  <a:lnTo>
                    <a:pt x="62" y="72"/>
                  </a:lnTo>
                  <a:lnTo>
                    <a:pt x="66" y="72"/>
                  </a:lnTo>
                  <a:lnTo>
                    <a:pt x="66" y="74"/>
                  </a:lnTo>
                  <a:lnTo>
                    <a:pt x="62" y="74"/>
                  </a:lnTo>
                  <a:lnTo>
                    <a:pt x="62" y="72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close/>
                  <a:moveTo>
                    <a:pt x="66" y="60"/>
                  </a:moveTo>
                  <a:lnTo>
                    <a:pt x="66" y="56"/>
                  </a:lnTo>
                  <a:lnTo>
                    <a:pt x="70" y="60"/>
                  </a:lnTo>
                  <a:lnTo>
                    <a:pt x="66" y="60"/>
                  </a:lnTo>
                  <a:lnTo>
                    <a:pt x="66" y="60"/>
                  </a:lnTo>
                  <a:lnTo>
                    <a:pt x="66" y="60"/>
                  </a:lnTo>
                  <a:close/>
                  <a:moveTo>
                    <a:pt x="14" y="56"/>
                  </a:moveTo>
                  <a:lnTo>
                    <a:pt x="14" y="60"/>
                  </a:lnTo>
                  <a:lnTo>
                    <a:pt x="14" y="64"/>
                  </a:lnTo>
                  <a:lnTo>
                    <a:pt x="10" y="64"/>
                  </a:lnTo>
                  <a:lnTo>
                    <a:pt x="10" y="60"/>
                  </a:lnTo>
                  <a:lnTo>
                    <a:pt x="10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close/>
                  <a:moveTo>
                    <a:pt x="90" y="72"/>
                  </a:moveTo>
                  <a:lnTo>
                    <a:pt x="86" y="72"/>
                  </a:lnTo>
                  <a:lnTo>
                    <a:pt x="86" y="68"/>
                  </a:lnTo>
                  <a:lnTo>
                    <a:pt x="90" y="68"/>
                  </a:lnTo>
                  <a:lnTo>
                    <a:pt x="86" y="64"/>
                  </a:lnTo>
                  <a:lnTo>
                    <a:pt x="90" y="64"/>
                  </a:lnTo>
                  <a:lnTo>
                    <a:pt x="90" y="68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2"/>
                  </a:lnTo>
                  <a:close/>
                  <a:moveTo>
                    <a:pt x="14" y="68"/>
                  </a:moveTo>
                  <a:lnTo>
                    <a:pt x="10" y="68"/>
                  </a:lnTo>
                  <a:lnTo>
                    <a:pt x="10" y="64"/>
                  </a:lnTo>
                  <a:lnTo>
                    <a:pt x="14" y="64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68"/>
                  </a:lnTo>
                  <a:close/>
                  <a:moveTo>
                    <a:pt x="10" y="64"/>
                  </a:moveTo>
                  <a:lnTo>
                    <a:pt x="10" y="68"/>
                  </a:lnTo>
                  <a:lnTo>
                    <a:pt x="14" y="72"/>
                  </a:lnTo>
                  <a:lnTo>
                    <a:pt x="10" y="72"/>
                  </a:lnTo>
                  <a:lnTo>
                    <a:pt x="6" y="72"/>
                  </a:lnTo>
                  <a:lnTo>
                    <a:pt x="6" y="68"/>
                  </a:lnTo>
                  <a:lnTo>
                    <a:pt x="10" y="68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10" y="64"/>
                  </a:lnTo>
                  <a:close/>
                  <a:moveTo>
                    <a:pt x="74" y="78"/>
                  </a:moveTo>
                  <a:lnTo>
                    <a:pt x="70" y="78"/>
                  </a:lnTo>
                  <a:lnTo>
                    <a:pt x="70" y="74"/>
                  </a:lnTo>
                  <a:lnTo>
                    <a:pt x="74" y="74"/>
                  </a:lnTo>
                  <a:lnTo>
                    <a:pt x="74" y="78"/>
                  </a:lnTo>
                  <a:lnTo>
                    <a:pt x="74" y="78"/>
                  </a:lnTo>
                  <a:lnTo>
                    <a:pt x="74" y="78"/>
                  </a:lnTo>
                  <a:close/>
                  <a:moveTo>
                    <a:pt x="14" y="82"/>
                  </a:moveTo>
                  <a:lnTo>
                    <a:pt x="14" y="78"/>
                  </a:lnTo>
                  <a:lnTo>
                    <a:pt x="10" y="78"/>
                  </a:lnTo>
                  <a:lnTo>
                    <a:pt x="10" y="74"/>
                  </a:lnTo>
                  <a:lnTo>
                    <a:pt x="14" y="74"/>
                  </a:lnTo>
                  <a:lnTo>
                    <a:pt x="14" y="78"/>
                  </a:lnTo>
                  <a:lnTo>
                    <a:pt x="18" y="78"/>
                  </a:lnTo>
                  <a:lnTo>
                    <a:pt x="14" y="78"/>
                  </a:lnTo>
                  <a:lnTo>
                    <a:pt x="14" y="82"/>
                  </a:lnTo>
                  <a:lnTo>
                    <a:pt x="14" y="82"/>
                  </a:lnTo>
                  <a:lnTo>
                    <a:pt x="14" y="82"/>
                  </a:lnTo>
                  <a:close/>
                  <a:moveTo>
                    <a:pt x="100" y="82"/>
                  </a:moveTo>
                  <a:lnTo>
                    <a:pt x="100" y="78"/>
                  </a:lnTo>
                  <a:lnTo>
                    <a:pt x="96" y="78"/>
                  </a:lnTo>
                  <a:lnTo>
                    <a:pt x="100" y="78"/>
                  </a:lnTo>
                  <a:lnTo>
                    <a:pt x="104" y="78"/>
                  </a:lnTo>
                  <a:lnTo>
                    <a:pt x="100" y="78"/>
                  </a:lnTo>
                  <a:lnTo>
                    <a:pt x="100" y="82"/>
                  </a:lnTo>
                  <a:lnTo>
                    <a:pt x="100" y="82"/>
                  </a:lnTo>
                  <a:lnTo>
                    <a:pt x="100" y="82"/>
                  </a:lnTo>
                  <a:close/>
                  <a:moveTo>
                    <a:pt x="90" y="82"/>
                  </a:moveTo>
                  <a:lnTo>
                    <a:pt x="92" y="78"/>
                  </a:lnTo>
                  <a:lnTo>
                    <a:pt x="92" y="82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close/>
                  <a:moveTo>
                    <a:pt x="62" y="82"/>
                  </a:moveTo>
                  <a:lnTo>
                    <a:pt x="62" y="78"/>
                  </a:lnTo>
                  <a:lnTo>
                    <a:pt x="66" y="78"/>
                  </a:lnTo>
                  <a:lnTo>
                    <a:pt x="66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74" y="78"/>
                  </a:moveTo>
                  <a:lnTo>
                    <a:pt x="74" y="82"/>
                  </a:lnTo>
                  <a:lnTo>
                    <a:pt x="78" y="82"/>
                  </a:lnTo>
                  <a:lnTo>
                    <a:pt x="74" y="82"/>
                  </a:lnTo>
                  <a:lnTo>
                    <a:pt x="74" y="78"/>
                  </a:lnTo>
                  <a:lnTo>
                    <a:pt x="74" y="78"/>
                  </a:lnTo>
                  <a:lnTo>
                    <a:pt x="74" y="78"/>
                  </a:lnTo>
                  <a:close/>
                  <a:moveTo>
                    <a:pt x="66" y="82"/>
                  </a:moveTo>
                  <a:lnTo>
                    <a:pt x="66" y="86"/>
                  </a:lnTo>
                  <a:lnTo>
                    <a:pt x="62" y="86"/>
                  </a:lnTo>
                  <a:lnTo>
                    <a:pt x="66" y="86"/>
                  </a:lnTo>
                  <a:lnTo>
                    <a:pt x="66" y="82"/>
                  </a:lnTo>
                  <a:lnTo>
                    <a:pt x="66" y="82"/>
                  </a:lnTo>
                  <a:lnTo>
                    <a:pt x="66" y="82"/>
                  </a:lnTo>
                  <a:close/>
                  <a:moveTo>
                    <a:pt x="82" y="94"/>
                  </a:moveTo>
                  <a:lnTo>
                    <a:pt x="78" y="90"/>
                  </a:lnTo>
                  <a:lnTo>
                    <a:pt x="82" y="90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82" y="94"/>
                  </a:lnTo>
                  <a:close/>
                  <a:moveTo>
                    <a:pt x="78" y="94"/>
                  </a:moveTo>
                  <a:lnTo>
                    <a:pt x="74" y="94"/>
                  </a:lnTo>
                  <a:lnTo>
                    <a:pt x="74" y="90"/>
                  </a:lnTo>
                  <a:lnTo>
                    <a:pt x="78" y="90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8" y="94"/>
                  </a:lnTo>
                  <a:close/>
                  <a:moveTo>
                    <a:pt x="100" y="94"/>
                  </a:moveTo>
                  <a:lnTo>
                    <a:pt x="100" y="90"/>
                  </a:lnTo>
                  <a:lnTo>
                    <a:pt x="100" y="94"/>
                  </a:lnTo>
                  <a:lnTo>
                    <a:pt x="104" y="94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100" y="94"/>
                  </a:lnTo>
                  <a:close/>
                  <a:moveTo>
                    <a:pt x="100" y="102"/>
                  </a:moveTo>
                  <a:lnTo>
                    <a:pt x="100" y="98"/>
                  </a:lnTo>
                  <a:lnTo>
                    <a:pt x="104" y="98"/>
                  </a:lnTo>
                  <a:lnTo>
                    <a:pt x="104" y="94"/>
                  </a:lnTo>
                  <a:lnTo>
                    <a:pt x="108" y="94"/>
                  </a:lnTo>
                  <a:lnTo>
                    <a:pt x="108" y="98"/>
                  </a:lnTo>
                  <a:lnTo>
                    <a:pt x="104" y="98"/>
                  </a:lnTo>
                  <a:lnTo>
                    <a:pt x="100" y="98"/>
                  </a:lnTo>
                  <a:lnTo>
                    <a:pt x="100" y="102"/>
                  </a:lnTo>
                  <a:lnTo>
                    <a:pt x="100" y="102"/>
                  </a:lnTo>
                  <a:lnTo>
                    <a:pt x="100" y="102"/>
                  </a:lnTo>
                  <a:close/>
                  <a:moveTo>
                    <a:pt x="78" y="102"/>
                  </a:moveTo>
                  <a:lnTo>
                    <a:pt x="78" y="98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78" y="102"/>
                  </a:lnTo>
                  <a:close/>
                  <a:moveTo>
                    <a:pt x="62" y="102"/>
                  </a:moveTo>
                  <a:lnTo>
                    <a:pt x="62" y="98"/>
                  </a:lnTo>
                  <a:lnTo>
                    <a:pt x="66" y="98"/>
                  </a:lnTo>
                  <a:lnTo>
                    <a:pt x="66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close/>
                  <a:moveTo>
                    <a:pt x="118" y="104"/>
                  </a:moveTo>
                  <a:lnTo>
                    <a:pt x="118" y="108"/>
                  </a:lnTo>
                  <a:lnTo>
                    <a:pt x="116" y="112"/>
                  </a:lnTo>
                  <a:lnTo>
                    <a:pt x="112" y="112"/>
                  </a:lnTo>
                  <a:lnTo>
                    <a:pt x="112" y="108"/>
                  </a:lnTo>
                  <a:lnTo>
                    <a:pt x="116" y="108"/>
                  </a:lnTo>
                  <a:lnTo>
                    <a:pt x="116" y="104"/>
                  </a:lnTo>
                  <a:lnTo>
                    <a:pt x="118" y="104"/>
                  </a:lnTo>
                  <a:lnTo>
                    <a:pt x="118" y="104"/>
                  </a:lnTo>
                  <a:lnTo>
                    <a:pt x="118" y="104"/>
                  </a:lnTo>
                  <a:close/>
                  <a:moveTo>
                    <a:pt x="44" y="104"/>
                  </a:moveTo>
                  <a:lnTo>
                    <a:pt x="48" y="108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close/>
                  <a:moveTo>
                    <a:pt x="104" y="124"/>
                  </a:moveTo>
                  <a:lnTo>
                    <a:pt x="104" y="120"/>
                  </a:lnTo>
                  <a:lnTo>
                    <a:pt x="104" y="116"/>
                  </a:lnTo>
                  <a:lnTo>
                    <a:pt x="104" y="120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4"/>
                  </a:lnTo>
                  <a:close/>
                  <a:moveTo>
                    <a:pt x="56" y="128"/>
                  </a:moveTo>
                  <a:lnTo>
                    <a:pt x="52" y="128"/>
                  </a:lnTo>
                  <a:lnTo>
                    <a:pt x="52" y="120"/>
                  </a:lnTo>
                  <a:lnTo>
                    <a:pt x="56" y="120"/>
                  </a:lnTo>
                  <a:lnTo>
                    <a:pt x="60" y="120"/>
                  </a:lnTo>
                  <a:lnTo>
                    <a:pt x="62" y="120"/>
                  </a:lnTo>
                  <a:lnTo>
                    <a:pt x="60" y="124"/>
                  </a:lnTo>
                  <a:lnTo>
                    <a:pt x="62" y="124"/>
                  </a:lnTo>
                  <a:lnTo>
                    <a:pt x="66" y="124"/>
                  </a:lnTo>
                  <a:lnTo>
                    <a:pt x="70" y="124"/>
                  </a:lnTo>
                  <a:lnTo>
                    <a:pt x="74" y="124"/>
                  </a:lnTo>
                  <a:lnTo>
                    <a:pt x="78" y="124"/>
                  </a:lnTo>
                  <a:lnTo>
                    <a:pt x="82" y="128"/>
                  </a:lnTo>
                  <a:lnTo>
                    <a:pt x="82" y="124"/>
                  </a:lnTo>
                  <a:lnTo>
                    <a:pt x="86" y="124"/>
                  </a:lnTo>
                  <a:lnTo>
                    <a:pt x="86" y="128"/>
                  </a:lnTo>
                  <a:lnTo>
                    <a:pt x="90" y="128"/>
                  </a:lnTo>
                  <a:lnTo>
                    <a:pt x="92" y="128"/>
                  </a:lnTo>
                  <a:lnTo>
                    <a:pt x="92" y="130"/>
                  </a:lnTo>
                  <a:lnTo>
                    <a:pt x="90" y="130"/>
                  </a:lnTo>
                  <a:lnTo>
                    <a:pt x="82" y="130"/>
                  </a:lnTo>
                  <a:lnTo>
                    <a:pt x="78" y="130"/>
                  </a:lnTo>
                  <a:lnTo>
                    <a:pt x="74" y="130"/>
                  </a:lnTo>
                  <a:lnTo>
                    <a:pt x="70" y="130"/>
                  </a:lnTo>
                  <a:lnTo>
                    <a:pt x="66" y="130"/>
                  </a:lnTo>
                  <a:lnTo>
                    <a:pt x="66" y="128"/>
                  </a:lnTo>
                  <a:lnTo>
                    <a:pt x="62" y="128"/>
                  </a:lnTo>
                  <a:lnTo>
                    <a:pt x="60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63" name="Freeform 103">
              <a:extLst>
                <a:ext uri="{FF2B5EF4-FFF2-40B4-BE49-F238E27FC236}">
                  <a16:creationId xmlns:a16="http://schemas.microsoft.com/office/drawing/2014/main" id="{F71B2967-74BD-D967-0B37-3BCABE0B2F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2994" y="2466640"/>
              <a:ext cx="3896" cy="7542"/>
            </a:xfrm>
            <a:custGeom>
              <a:avLst/>
              <a:gdLst>
                <a:gd name="T0" fmla="*/ 0 w 2"/>
                <a:gd name="T1" fmla="*/ 4 h 4"/>
                <a:gd name="T2" fmla="*/ 0 w 2"/>
                <a:gd name="T3" fmla="*/ 4 h 4"/>
                <a:gd name="T4" fmla="*/ 0 w 2"/>
                <a:gd name="T5" fmla="*/ 4 h 4"/>
                <a:gd name="T6" fmla="*/ 0 w 2"/>
                <a:gd name="T7" fmla="*/ 4 h 4"/>
                <a:gd name="T8" fmla="*/ 0 w 2"/>
                <a:gd name="T9" fmla="*/ 4 h 4"/>
                <a:gd name="T10" fmla="*/ 0 w 2"/>
                <a:gd name="T11" fmla="*/ 4 h 4"/>
                <a:gd name="T12" fmla="*/ 0 w 2"/>
                <a:gd name="T13" fmla="*/ 0 h 4"/>
                <a:gd name="T14" fmla="*/ 2 w 2"/>
                <a:gd name="T15" fmla="*/ 0 h 4"/>
                <a:gd name="T16" fmla="*/ 0 w 2"/>
                <a:gd name="T17" fmla="*/ 4 h 4"/>
                <a:gd name="T18" fmla="*/ 0 w 2"/>
                <a:gd name="T19" fmla="*/ 4 h 4"/>
                <a:gd name="T20" fmla="*/ 0 w 2"/>
                <a:gd name="T21" fmla="*/ 4 h 4"/>
                <a:gd name="T22" fmla="*/ 0 w 2"/>
                <a:gd name="T23" fmla="*/ 4 h 4"/>
                <a:gd name="T24" fmla="*/ 0 w 2"/>
                <a:gd name="T2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64" name="Freeform 104">
              <a:extLst>
                <a:ext uri="{FF2B5EF4-FFF2-40B4-BE49-F238E27FC236}">
                  <a16:creationId xmlns:a16="http://schemas.microsoft.com/office/drawing/2014/main" id="{6B1E545F-09B2-78EE-C2A3-C640756AB7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7324" y="2508121"/>
              <a:ext cx="187029" cy="105588"/>
            </a:xfrm>
            <a:custGeom>
              <a:avLst/>
              <a:gdLst>
                <a:gd name="T0" fmla="*/ 74 w 96"/>
                <a:gd name="T1" fmla="*/ 42 h 56"/>
                <a:gd name="T2" fmla="*/ 70 w 96"/>
                <a:gd name="T3" fmla="*/ 46 h 56"/>
                <a:gd name="T4" fmla="*/ 66 w 96"/>
                <a:gd name="T5" fmla="*/ 46 h 56"/>
                <a:gd name="T6" fmla="*/ 66 w 96"/>
                <a:gd name="T7" fmla="*/ 46 h 56"/>
                <a:gd name="T8" fmla="*/ 62 w 96"/>
                <a:gd name="T9" fmla="*/ 50 h 56"/>
                <a:gd name="T10" fmla="*/ 58 w 96"/>
                <a:gd name="T11" fmla="*/ 50 h 56"/>
                <a:gd name="T12" fmla="*/ 56 w 96"/>
                <a:gd name="T13" fmla="*/ 50 h 56"/>
                <a:gd name="T14" fmla="*/ 52 w 96"/>
                <a:gd name="T15" fmla="*/ 50 h 56"/>
                <a:gd name="T16" fmla="*/ 44 w 96"/>
                <a:gd name="T17" fmla="*/ 52 h 56"/>
                <a:gd name="T18" fmla="*/ 40 w 96"/>
                <a:gd name="T19" fmla="*/ 52 h 56"/>
                <a:gd name="T20" fmla="*/ 36 w 96"/>
                <a:gd name="T21" fmla="*/ 52 h 56"/>
                <a:gd name="T22" fmla="*/ 32 w 96"/>
                <a:gd name="T23" fmla="*/ 56 h 56"/>
                <a:gd name="T24" fmla="*/ 30 w 96"/>
                <a:gd name="T25" fmla="*/ 56 h 56"/>
                <a:gd name="T26" fmla="*/ 22 w 96"/>
                <a:gd name="T27" fmla="*/ 52 h 56"/>
                <a:gd name="T28" fmla="*/ 18 w 96"/>
                <a:gd name="T29" fmla="*/ 52 h 56"/>
                <a:gd name="T30" fmla="*/ 14 w 96"/>
                <a:gd name="T31" fmla="*/ 50 h 56"/>
                <a:gd name="T32" fmla="*/ 10 w 96"/>
                <a:gd name="T33" fmla="*/ 46 h 56"/>
                <a:gd name="T34" fmla="*/ 10 w 96"/>
                <a:gd name="T35" fmla="*/ 46 h 56"/>
                <a:gd name="T36" fmla="*/ 6 w 96"/>
                <a:gd name="T37" fmla="*/ 42 h 56"/>
                <a:gd name="T38" fmla="*/ 2 w 96"/>
                <a:gd name="T39" fmla="*/ 38 h 56"/>
                <a:gd name="T40" fmla="*/ 2 w 96"/>
                <a:gd name="T41" fmla="*/ 34 h 56"/>
                <a:gd name="T42" fmla="*/ 0 w 96"/>
                <a:gd name="T43" fmla="*/ 34 h 56"/>
                <a:gd name="T44" fmla="*/ 2 w 96"/>
                <a:gd name="T45" fmla="*/ 30 h 56"/>
                <a:gd name="T46" fmla="*/ 2 w 96"/>
                <a:gd name="T47" fmla="*/ 26 h 56"/>
                <a:gd name="T48" fmla="*/ 2 w 96"/>
                <a:gd name="T49" fmla="*/ 24 h 56"/>
                <a:gd name="T50" fmla="*/ 6 w 96"/>
                <a:gd name="T51" fmla="*/ 20 h 56"/>
                <a:gd name="T52" fmla="*/ 6 w 96"/>
                <a:gd name="T53" fmla="*/ 20 h 56"/>
                <a:gd name="T54" fmla="*/ 6 w 96"/>
                <a:gd name="T55" fmla="*/ 16 h 56"/>
                <a:gd name="T56" fmla="*/ 10 w 96"/>
                <a:gd name="T57" fmla="*/ 16 h 56"/>
                <a:gd name="T58" fmla="*/ 14 w 96"/>
                <a:gd name="T59" fmla="*/ 16 h 56"/>
                <a:gd name="T60" fmla="*/ 14 w 96"/>
                <a:gd name="T61" fmla="*/ 12 h 56"/>
                <a:gd name="T62" fmla="*/ 18 w 96"/>
                <a:gd name="T63" fmla="*/ 12 h 56"/>
                <a:gd name="T64" fmla="*/ 18 w 96"/>
                <a:gd name="T65" fmla="*/ 12 h 56"/>
                <a:gd name="T66" fmla="*/ 26 w 96"/>
                <a:gd name="T67" fmla="*/ 16 h 56"/>
                <a:gd name="T68" fmla="*/ 32 w 96"/>
                <a:gd name="T69" fmla="*/ 16 h 56"/>
                <a:gd name="T70" fmla="*/ 36 w 96"/>
                <a:gd name="T71" fmla="*/ 16 h 56"/>
                <a:gd name="T72" fmla="*/ 36 w 96"/>
                <a:gd name="T73" fmla="*/ 16 h 56"/>
                <a:gd name="T74" fmla="*/ 36 w 96"/>
                <a:gd name="T75" fmla="*/ 12 h 56"/>
                <a:gd name="T76" fmla="*/ 40 w 96"/>
                <a:gd name="T77" fmla="*/ 8 h 56"/>
                <a:gd name="T78" fmla="*/ 44 w 96"/>
                <a:gd name="T79" fmla="*/ 8 h 56"/>
                <a:gd name="T80" fmla="*/ 48 w 96"/>
                <a:gd name="T81" fmla="*/ 8 h 56"/>
                <a:gd name="T82" fmla="*/ 56 w 96"/>
                <a:gd name="T83" fmla="*/ 8 h 56"/>
                <a:gd name="T84" fmla="*/ 56 w 96"/>
                <a:gd name="T85" fmla="*/ 8 h 56"/>
                <a:gd name="T86" fmla="*/ 58 w 96"/>
                <a:gd name="T87" fmla="*/ 4 h 56"/>
                <a:gd name="T88" fmla="*/ 62 w 96"/>
                <a:gd name="T89" fmla="*/ 0 h 56"/>
                <a:gd name="T90" fmla="*/ 66 w 96"/>
                <a:gd name="T91" fmla="*/ 0 h 56"/>
                <a:gd name="T92" fmla="*/ 70 w 96"/>
                <a:gd name="T93" fmla="*/ 0 h 56"/>
                <a:gd name="T94" fmla="*/ 78 w 96"/>
                <a:gd name="T95" fmla="*/ 0 h 56"/>
                <a:gd name="T96" fmla="*/ 82 w 96"/>
                <a:gd name="T97" fmla="*/ 4 h 56"/>
                <a:gd name="T98" fmla="*/ 84 w 96"/>
                <a:gd name="T99" fmla="*/ 4 h 56"/>
                <a:gd name="T100" fmla="*/ 84 w 96"/>
                <a:gd name="T101" fmla="*/ 0 h 56"/>
                <a:gd name="T102" fmla="*/ 88 w 96"/>
                <a:gd name="T103" fmla="*/ 4 h 56"/>
                <a:gd name="T104" fmla="*/ 92 w 96"/>
                <a:gd name="T105" fmla="*/ 8 h 56"/>
                <a:gd name="T106" fmla="*/ 96 w 96"/>
                <a:gd name="T107" fmla="*/ 8 h 56"/>
                <a:gd name="T108" fmla="*/ 92 w 96"/>
                <a:gd name="T109" fmla="*/ 16 h 56"/>
                <a:gd name="T110" fmla="*/ 88 w 96"/>
                <a:gd name="T111" fmla="*/ 16 h 56"/>
                <a:gd name="T112" fmla="*/ 84 w 96"/>
                <a:gd name="T113" fmla="*/ 20 h 56"/>
                <a:gd name="T114" fmla="*/ 84 w 96"/>
                <a:gd name="T115" fmla="*/ 20 h 56"/>
                <a:gd name="T116" fmla="*/ 84 w 96"/>
                <a:gd name="T117" fmla="*/ 24 h 56"/>
                <a:gd name="T118" fmla="*/ 82 w 96"/>
                <a:gd name="T119" fmla="*/ 26 h 56"/>
                <a:gd name="T120" fmla="*/ 78 w 96"/>
                <a:gd name="T121" fmla="*/ 30 h 56"/>
                <a:gd name="T122" fmla="*/ 78 w 96"/>
                <a:gd name="T123" fmla="*/ 34 h 56"/>
                <a:gd name="T124" fmla="*/ 78 w 96"/>
                <a:gd name="T125" fmla="*/ 3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6" h="56">
                  <a:moveTo>
                    <a:pt x="78" y="38"/>
                  </a:move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42"/>
                  </a:lnTo>
                  <a:lnTo>
                    <a:pt x="74" y="42"/>
                  </a:lnTo>
                  <a:lnTo>
                    <a:pt x="74" y="42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66" y="46"/>
                  </a:lnTo>
                  <a:lnTo>
                    <a:pt x="66" y="46"/>
                  </a:lnTo>
                  <a:lnTo>
                    <a:pt x="66" y="46"/>
                  </a:lnTo>
                  <a:lnTo>
                    <a:pt x="66" y="46"/>
                  </a:lnTo>
                  <a:lnTo>
                    <a:pt x="66" y="46"/>
                  </a:lnTo>
                  <a:lnTo>
                    <a:pt x="66" y="46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2" y="56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2" y="20"/>
                  </a:lnTo>
                  <a:lnTo>
                    <a:pt x="2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10" y="16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2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65" name="Freeform 105">
              <a:extLst>
                <a:ext uri="{FF2B5EF4-FFF2-40B4-BE49-F238E27FC236}">
                  <a16:creationId xmlns:a16="http://schemas.microsoft.com/office/drawing/2014/main" id="{0A282B95-3701-3335-154E-D6638EE8BA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045" y="1750147"/>
              <a:ext cx="303922" cy="139528"/>
            </a:xfrm>
            <a:custGeom>
              <a:avLst/>
              <a:gdLst>
                <a:gd name="T0" fmla="*/ 36 w 156"/>
                <a:gd name="T1" fmla="*/ 48 h 74"/>
                <a:gd name="T2" fmla="*/ 30 w 156"/>
                <a:gd name="T3" fmla="*/ 44 h 74"/>
                <a:gd name="T4" fmla="*/ 14 w 156"/>
                <a:gd name="T5" fmla="*/ 40 h 74"/>
                <a:gd name="T6" fmla="*/ 14 w 156"/>
                <a:gd name="T7" fmla="*/ 40 h 74"/>
                <a:gd name="T8" fmla="*/ 30 w 156"/>
                <a:gd name="T9" fmla="*/ 38 h 74"/>
                <a:gd name="T10" fmla="*/ 32 w 156"/>
                <a:gd name="T11" fmla="*/ 34 h 74"/>
                <a:gd name="T12" fmla="*/ 32 w 156"/>
                <a:gd name="T13" fmla="*/ 30 h 74"/>
                <a:gd name="T14" fmla="*/ 32 w 156"/>
                <a:gd name="T15" fmla="*/ 26 h 74"/>
                <a:gd name="T16" fmla="*/ 30 w 156"/>
                <a:gd name="T17" fmla="*/ 26 h 74"/>
                <a:gd name="T18" fmla="*/ 18 w 156"/>
                <a:gd name="T19" fmla="*/ 26 h 74"/>
                <a:gd name="T20" fmla="*/ 0 w 156"/>
                <a:gd name="T21" fmla="*/ 26 h 74"/>
                <a:gd name="T22" fmla="*/ 6 w 156"/>
                <a:gd name="T23" fmla="*/ 26 h 74"/>
                <a:gd name="T24" fmla="*/ 6 w 156"/>
                <a:gd name="T25" fmla="*/ 22 h 74"/>
                <a:gd name="T26" fmla="*/ 10 w 156"/>
                <a:gd name="T27" fmla="*/ 22 h 74"/>
                <a:gd name="T28" fmla="*/ 10 w 156"/>
                <a:gd name="T29" fmla="*/ 18 h 74"/>
                <a:gd name="T30" fmla="*/ 14 w 156"/>
                <a:gd name="T31" fmla="*/ 14 h 74"/>
                <a:gd name="T32" fmla="*/ 14 w 156"/>
                <a:gd name="T33" fmla="*/ 10 h 74"/>
                <a:gd name="T34" fmla="*/ 18 w 156"/>
                <a:gd name="T35" fmla="*/ 10 h 74"/>
                <a:gd name="T36" fmla="*/ 26 w 156"/>
                <a:gd name="T37" fmla="*/ 18 h 74"/>
                <a:gd name="T38" fmla="*/ 30 w 156"/>
                <a:gd name="T39" fmla="*/ 10 h 74"/>
                <a:gd name="T40" fmla="*/ 30 w 156"/>
                <a:gd name="T41" fmla="*/ 8 h 74"/>
                <a:gd name="T42" fmla="*/ 22 w 156"/>
                <a:gd name="T43" fmla="*/ 4 h 74"/>
                <a:gd name="T44" fmla="*/ 32 w 156"/>
                <a:gd name="T45" fmla="*/ 4 h 74"/>
                <a:gd name="T46" fmla="*/ 44 w 156"/>
                <a:gd name="T47" fmla="*/ 14 h 74"/>
                <a:gd name="T48" fmla="*/ 40 w 156"/>
                <a:gd name="T49" fmla="*/ 22 h 74"/>
                <a:gd name="T50" fmla="*/ 44 w 156"/>
                <a:gd name="T51" fmla="*/ 26 h 74"/>
                <a:gd name="T52" fmla="*/ 52 w 156"/>
                <a:gd name="T53" fmla="*/ 22 h 74"/>
                <a:gd name="T54" fmla="*/ 60 w 156"/>
                <a:gd name="T55" fmla="*/ 14 h 74"/>
                <a:gd name="T56" fmla="*/ 66 w 156"/>
                <a:gd name="T57" fmla="*/ 18 h 74"/>
                <a:gd name="T58" fmla="*/ 78 w 156"/>
                <a:gd name="T59" fmla="*/ 10 h 74"/>
                <a:gd name="T60" fmla="*/ 84 w 156"/>
                <a:gd name="T61" fmla="*/ 14 h 74"/>
                <a:gd name="T62" fmla="*/ 88 w 156"/>
                <a:gd name="T63" fmla="*/ 18 h 74"/>
                <a:gd name="T64" fmla="*/ 92 w 156"/>
                <a:gd name="T65" fmla="*/ 10 h 74"/>
                <a:gd name="T66" fmla="*/ 104 w 156"/>
                <a:gd name="T67" fmla="*/ 8 h 74"/>
                <a:gd name="T68" fmla="*/ 114 w 156"/>
                <a:gd name="T69" fmla="*/ 8 h 74"/>
                <a:gd name="T70" fmla="*/ 122 w 156"/>
                <a:gd name="T71" fmla="*/ 0 h 74"/>
                <a:gd name="T72" fmla="*/ 130 w 156"/>
                <a:gd name="T73" fmla="*/ 8 h 74"/>
                <a:gd name="T74" fmla="*/ 134 w 156"/>
                <a:gd name="T75" fmla="*/ 10 h 74"/>
                <a:gd name="T76" fmla="*/ 136 w 156"/>
                <a:gd name="T77" fmla="*/ 14 h 74"/>
                <a:gd name="T78" fmla="*/ 140 w 156"/>
                <a:gd name="T79" fmla="*/ 22 h 74"/>
                <a:gd name="T80" fmla="*/ 152 w 156"/>
                <a:gd name="T81" fmla="*/ 30 h 74"/>
                <a:gd name="T82" fmla="*/ 156 w 156"/>
                <a:gd name="T83" fmla="*/ 34 h 74"/>
                <a:gd name="T84" fmla="*/ 152 w 156"/>
                <a:gd name="T85" fmla="*/ 40 h 74"/>
                <a:gd name="T86" fmla="*/ 144 w 156"/>
                <a:gd name="T87" fmla="*/ 44 h 74"/>
                <a:gd name="T88" fmla="*/ 140 w 156"/>
                <a:gd name="T89" fmla="*/ 52 h 74"/>
                <a:gd name="T90" fmla="*/ 130 w 156"/>
                <a:gd name="T91" fmla="*/ 56 h 74"/>
                <a:gd name="T92" fmla="*/ 118 w 156"/>
                <a:gd name="T93" fmla="*/ 60 h 74"/>
                <a:gd name="T94" fmla="*/ 106 w 156"/>
                <a:gd name="T95" fmla="*/ 64 h 74"/>
                <a:gd name="T96" fmla="*/ 92 w 156"/>
                <a:gd name="T97" fmla="*/ 68 h 74"/>
                <a:gd name="T98" fmla="*/ 82 w 156"/>
                <a:gd name="T99" fmla="*/ 74 h 74"/>
                <a:gd name="T100" fmla="*/ 62 w 156"/>
                <a:gd name="T101" fmla="*/ 70 h 74"/>
                <a:gd name="T102" fmla="*/ 56 w 156"/>
                <a:gd name="T103" fmla="*/ 68 h 74"/>
                <a:gd name="T104" fmla="*/ 48 w 156"/>
                <a:gd name="T105" fmla="*/ 68 h 74"/>
                <a:gd name="T106" fmla="*/ 36 w 156"/>
                <a:gd name="T107" fmla="*/ 64 h 74"/>
                <a:gd name="T108" fmla="*/ 26 w 156"/>
                <a:gd name="T109" fmla="*/ 68 h 74"/>
                <a:gd name="T110" fmla="*/ 30 w 156"/>
                <a:gd name="T111" fmla="*/ 60 h 74"/>
                <a:gd name="T112" fmla="*/ 36 w 156"/>
                <a:gd name="T113" fmla="*/ 56 h 74"/>
                <a:gd name="T114" fmla="*/ 44 w 156"/>
                <a:gd name="T115" fmla="*/ 52 h 74"/>
                <a:gd name="T116" fmla="*/ 32 w 156"/>
                <a:gd name="T117" fmla="*/ 5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74">
                  <a:moveTo>
                    <a:pt x="32" y="52"/>
                  </a:moveTo>
                  <a:lnTo>
                    <a:pt x="36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0" y="48"/>
                  </a:lnTo>
                  <a:lnTo>
                    <a:pt x="30" y="44"/>
                  </a:lnTo>
                  <a:lnTo>
                    <a:pt x="30" y="40"/>
                  </a:lnTo>
                  <a:lnTo>
                    <a:pt x="26" y="40"/>
                  </a:lnTo>
                  <a:lnTo>
                    <a:pt x="22" y="40"/>
                  </a:lnTo>
                  <a:lnTo>
                    <a:pt x="18" y="40"/>
                  </a:lnTo>
                  <a:lnTo>
                    <a:pt x="14" y="40"/>
                  </a:lnTo>
                  <a:lnTo>
                    <a:pt x="10" y="44"/>
                  </a:lnTo>
                  <a:lnTo>
                    <a:pt x="6" y="44"/>
                  </a:lnTo>
                  <a:lnTo>
                    <a:pt x="6" y="40"/>
                  </a:lnTo>
                  <a:lnTo>
                    <a:pt x="10" y="40"/>
                  </a:lnTo>
                  <a:lnTo>
                    <a:pt x="14" y="40"/>
                  </a:lnTo>
                  <a:lnTo>
                    <a:pt x="14" y="38"/>
                  </a:lnTo>
                  <a:lnTo>
                    <a:pt x="18" y="38"/>
                  </a:lnTo>
                  <a:lnTo>
                    <a:pt x="22" y="38"/>
                  </a:lnTo>
                  <a:lnTo>
                    <a:pt x="26" y="38"/>
                  </a:lnTo>
                  <a:lnTo>
                    <a:pt x="30" y="38"/>
                  </a:lnTo>
                  <a:lnTo>
                    <a:pt x="32" y="38"/>
                  </a:lnTo>
                  <a:lnTo>
                    <a:pt x="36" y="38"/>
                  </a:lnTo>
                  <a:lnTo>
                    <a:pt x="40" y="34"/>
                  </a:lnTo>
                  <a:lnTo>
                    <a:pt x="36" y="34"/>
                  </a:lnTo>
                  <a:lnTo>
                    <a:pt x="32" y="34"/>
                  </a:lnTo>
                  <a:lnTo>
                    <a:pt x="30" y="34"/>
                  </a:lnTo>
                  <a:lnTo>
                    <a:pt x="26" y="34"/>
                  </a:lnTo>
                  <a:lnTo>
                    <a:pt x="30" y="34"/>
                  </a:lnTo>
                  <a:lnTo>
                    <a:pt x="30" y="30"/>
                  </a:lnTo>
                  <a:lnTo>
                    <a:pt x="32" y="30"/>
                  </a:lnTo>
                  <a:lnTo>
                    <a:pt x="36" y="30"/>
                  </a:lnTo>
                  <a:lnTo>
                    <a:pt x="36" y="26"/>
                  </a:lnTo>
                  <a:lnTo>
                    <a:pt x="40" y="26"/>
                  </a:lnTo>
                  <a:lnTo>
                    <a:pt x="36" y="26"/>
                  </a:lnTo>
                  <a:lnTo>
                    <a:pt x="32" y="26"/>
                  </a:lnTo>
                  <a:lnTo>
                    <a:pt x="30" y="26"/>
                  </a:lnTo>
                  <a:lnTo>
                    <a:pt x="32" y="26"/>
                  </a:lnTo>
                  <a:lnTo>
                    <a:pt x="32" y="22"/>
                  </a:lnTo>
                  <a:lnTo>
                    <a:pt x="32" y="26"/>
                  </a:lnTo>
                  <a:lnTo>
                    <a:pt x="30" y="26"/>
                  </a:lnTo>
                  <a:lnTo>
                    <a:pt x="26" y="26"/>
                  </a:lnTo>
                  <a:lnTo>
                    <a:pt x="22" y="26"/>
                  </a:lnTo>
                  <a:lnTo>
                    <a:pt x="22" y="22"/>
                  </a:lnTo>
                  <a:lnTo>
                    <a:pt x="22" y="26"/>
                  </a:lnTo>
                  <a:lnTo>
                    <a:pt x="18" y="26"/>
                  </a:lnTo>
                  <a:lnTo>
                    <a:pt x="14" y="26"/>
                  </a:lnTo>
                  <a:lnTo>
                    <a:pt x="10" y="26"/>
                  </a:lnTo>
                  <a:lnTo>
                    <a:pt x="6" y="26"/>
                  </a:lnTo>
                  <a:lnTo>
                    <a:pt x="2" y="26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6" y="22"/>
                  </a:lnTo>
                  <a:lnTo>
                    <a:pt x="6" y="26"/>
                  </a:lnTo>
                  <a:lnTo>
                    <a:pt x="10" y="26"/>
                  </a:lnTo>
                  <a:lnTo>
                    <a:pt x="6" y="26"/>
                  </a:lnTo>
                  <a:lnTo>
                    <a:pt x="6" y="22"/>
                  </a:lnTo>
                  <a:lnTo>
                    <a:pt x="10" y="22"/>
                  </a:lnTo>
                  <a:lnTo>
                    <a:pt x="6" y="22"/>
                  </a:lnTo>
                  <a:lnTo>
                    <a:pt x="6" y="18"/>
                  </a:lnTo>
                  <a:lnTo>
                    <a:pt x="2" y="18"/>
                  </a:lnTo>
                  <a:lnTo>
                    <a:pt x="6" y="18"/>
                  </a:lnTo>
                  <a:lnTo>
                    <a:pt x="10" y="18"/>
                  </a:lnTo>
                  <a:lnTo>
                    <a:pt x="10" y="22"/>
                  </a:lnTo>
                  <a:lnTo>
                    <a:pt x="14" y="22"/>
                  </a:lnTo>
                  <a:lnTo>
                    <a:pt x="14" y="18"/>
                  </a:lnTo>
                  <a:lnTo>
                    <a:pt x="18" y="18"/>
                  </a:lnTo>
                  <a:lnTo>
                    <a:pt x="14" y="18"/>
                  </a:lnTo>
                  <a:lnTo>
                    <a:pt x="10" y="18"/>
                  </a:lnTo>
                  <a:lnTo>
                    <a:pt x="6" y="14"/>
                  </a:lnTo>
                  <a:lnTo>
                    <a:pt x="10" y="14"/>
                  </a:lnTo>
                  <a:lnTo>
                    <a:pt x="14" y="14"/>
                  </a:lnTo>
                  <a:lnTo>
                    <a:pt x="18" y="18"/>
                  </a:lnTo>
                  <a:lnTo>
                    <a:pt x="14" y="14"/>
                  </a:lnTo>
                  <a:lnTo>
                    <a:pt x="10" y="14"/>
                  </a:lnTo>
                  <a:lnTo>
                    <a:pt x="10" y="10"/>
                  </a:lnTo>
                  <a:lnTo>
                    <a:pt x="14" y="10"/>
                  </a:lnTo>
                  <a:lnTo>
                    <a:pt x="14" y="14"/>
                  </a:lnTo>
                  <a:lnTo>
                    <a:pt x="14" y="10"/>
                  </a:lnTo>
                  <a:lnTo>
                    <a:pt x="10" y="10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8" y="8"/>
                  </a:lnTo>
                  <a:lnTo>
                    <a:pt x="18" y="10"/>
                  </a:lnTo>
                  <a:lnTo>
                    <a:pt x="22" y="10"/>
                  </a:lnTo>
                  <a:lnTo>
                    <a:pt x="22" y="14"/>
                  </a:lnTo>
                  <a:lnTo>
                    <a:pt x="26" y="10"/>
                  </a:lnTo>
                  <a:lnTo>
                    <a:pt x="26" y="14"/>
                  </a:lnTo>
                  <a:lnTo>
                    <a:pt x="26" y="18"/>
                  </a:lnTo>
                  <a:lnTo>
                    <a:pt x="26" y="14"/>
                  </a:lnTo>
                  <a:lnTo>
                    <a:pt x="30" y="14"/>
                  </a:lnTo>
                  <a:lnTo>
                    <a:pt x="30" y="18"/>
                  </a:lnTo>
                  <a:lnTo>
                    <a:pt x="30" y="14"/>
                  </a:lnTo>
                  <a:lnTo>
                    <a:pt x="30" y="10"/>
                  </a:lnTo>
                  <a:lnTo>
                    <a:pt x="26" y="10"/>
                  </a:lnTo>
                  <a:lnTo>
                    <a:pt x="22" y="10"/>
                  </a:lnTo>
                  <a:lnTo>
                    <a:pt x="22" y="8"/>
                  </a:lnTo>
                  <a:lnTo>
                    <a:pt x="26" y="8"/>
                  </a:lnTo>
                  <a:lnTo>
                    <a:pt x="30" y="8"/>
                  </a:lnTo>
                  <a:lnTo>
                    <a:pt x="26" y="8"/>
                  </a:lnTo>
                  <a:lnTo>
                    <a:pt x="22" y="8"/>
                  </a:lnTo>
                  <a:lnTo>
                    <a:pt x="18" y="8"/>
                  </a:lnTo>
                  <a:lnTo>
                    <a:pt x="18" y="4"/>
                  </a:lnTo>
                  <a:lnTo>
                    <a:pt x="22" y="4"/>
                  </a:lnTo>
                  <a:lnTo>
                    <a:pt x="18" y="4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10"/>
                  </a:lnTo>
                  <a:lnTo>
                    <a:pt x="44" y="10"/>
                  </a:lnTo>
                  <a:lnTo>
                    <a:pt x="44" y="14"/>
                  </a:lnTo>
                  <a:lnTo>
                    <a:pt x="40" y="14"/>
                  </a:lnTo>
                  <a:lnTo>
                    <a:pt x="44" y="14"/>
                  </a:lnTo>
                  <a:lnTo>
                    <a:pt x="44" y="18"/>
                  </a:lnTo>
                  <a:lnTo>
                    <a:pt x="44" y="22"/>
                  </a:lnTo>
                  <a:lnTo>
                    <a:pt x="40" y="22"/>
                  </a:lnTo>
                  <a:lnTo>
                    <a:pt x="40" y="18"/>
                  </a:lnTo>
                  <a:lnTo>
                    <a:pt x="36" y="18"/>
                  </a:lnTo>
                  <a:lnTo>
                    <a:pt x="40" y="22"/>
                  </a:lnTo>
                  <a:lnTo>
                    <a:pt x="44" y="22"/>
                  </a:lnTo>
                  <a:lnTo>
                    <a:pt x="44" y="26"/>
                  </a:lnTo>
                  <a:lnTo>
                    <a:pt x="48" y="26"/>
                  </a:lnTo>
                  <a:lnTo>
                    <a:pt x="48" y="30"/>
                  </a:lnTo>
                  <a:lnTo>
                    <a:pt x="48" y="34"/>
                  </a:lnTo>
                  <a:lnTo>
                    <a:pt x="48" y="26"/>
                  </a:lnTo>
                  <a:lnTo>
                    <a:pt x="52" y="22"/>
                  </a:lnTo>
                  <a:lnTo>
                    <a:pt x="56" y="22"/>
                  </a:lnTo>
                  <a:lnTo>
                    <a:pt x="56" y="26"/>
                  </a:lnTo>
                  <a:lnTo>
                    <a:pt x="60" y="22"/>
                  </a:lnTo>
                  <a:lnTo>
                    <a:pt x="60" y="18"/>
                  </a:lnTo>
                  <a:lnTo>
                    <a:pt x="60" y="14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4"/>
                  </a:lnTo>
                  <a:lnTo>
                    <a:pt x="66" y="14"/>
                  </a:lnTo>
                  <a:lnTo>
                    <a:pt x="66" y="18"/>
                  </a:lnTo>
                  <a:lnTo>
                    <a:pt x="70" y="18"/>
                  </a:lnTo>
                  <a:lnTo>
                    <a:pt x="70" y="14"/>
                  </a:lnTo>
                  <a:lnTo>
                    <a:pt x="70" y="10"/>
                  </a:lnTo>
                  <a:lnTo>
                    <a:pt x="74" y="10"/>
                  </a:lnTo>
                  <a:lnTo>
                    <a:pt x="78" y="10"/>
                  </a:lnTo>
                  <a:lnTo>
                    <a:pt x="78" y="8"/>
                  </a:lnTo>
                  <a:lnTo>
                    <a:pt x="82" y="8"/>
                  </a:lnTo>
                  <a:lnTo>
                    <a:pt x="82" y="10"/>
                  </a:lnTo>
                  <a:lnTo>
                    <a:pt x="84" y="10"/>
                  </a:lnTo>
                  <a:lnTo>
                    <a:pt x="84" y="14"/>
                  </a:lnTo>
                  <a:lnTo>
                    <a:pt x="88" y="14"/>
                  </a:lnTo>
                  <a:lnTo>
                    <a:pt x="88" y="18"/>
                  </a:lnTo>
                  <a:lnTo>
                    <a:pt x="88" y="22"/>
                  </a:lnTo>
                  <a:lnTo>
                    <a:pt x="92" y="22"/>
                  </a:lnTo>
                  <a:lnTo>
                    <a:pt x="88" y="18"/>
                  </a:lnTo>
                  <a:lnTo>
                    <a:pt x="88" y="14"/>
                  </a:lnTo>
                  <a:lnTo>
                    <a:pt x="84" y="10"/>
                  </a:lnTo>
                  <a:lnTo>
                    <a:pt x="88" y="8"/>
                  </a:lnTo>
                  <a:lnTo>
                    <a:pt x="88" y="10"/>
                  </a:lnTo>
                  <a:lnTo>
                    <a:pt x="92" y="10"/>
                  </a:lnTo>
                  <a:lnTo>
                    <a:pt x="96" y="10"/>
                  </a:lnTo>
                  <a:lnTo>
                    <a:pt x="96" y="14"/>
                  </a:lnTo>
                  <a:lnTo>
                    <a:pt x="100" y="14"/>
                  </a:lnTo>
                  <a:lnTo>
                    <a:pt x="100" y="10"/>
                  </a:lnTo>
                  <a:lnTo>
                    <a:pt x="104" y="8"/>
                  </a:lnTo>
                  <a:lnTo>
                    <a:pt x="106" y="8"/>
                  </a:lnTo>
                  <a:lnTo>
                    <a:pt x="106" y="10"/>
                  </a:lnTo>
                  <a:lnTo>
                    <a:pt x="110" y="10"/>
                  </a:lnTo>
                  <a:lnTo>
                    <a:pt x="110" y="8"/>
                  </a:lnTo>
                  <a:lnTo>
                    <a:pt x="114" y="8"/>
                  </a:lnTo>
                  <a:lnTo>
                    <a:pt x="110" y="4"/>
                  </a:lnTo>
                  <a:lnTo>
                    <a:pt x="110" y="0"/>
                  </a:lnTo>
                  <a:lnTo>
                    <a:pt x="114" y="0"/>
                  </a:lnTo>
                  <a:lnTo>
                    <a:pt x="118" y="0"/>
                  </a:lnTo>
                  <a:lnTo>
                    <a:pt x="122" y="0"/>
                  </a:lnTo>
                  <a:lnTo>
                    <a:pt x="122" y="4"/>
                  </a:lnTo>
                  <a:lnTo>
                    <a:pt x="122" y="8"/>
                  </a:lnTo>
                  <a:lnTo>
                    <a:pt x="126" y="8"/>
                  </a:lnTo>
                  <a:lnTo>
                    <a:pt x="130" y="10"/>
                  </a:lnTo>
                  <a:lnTo>
                    <a:pt x="130" y="8"/>
                  </a:lnTo>
                  <a:lnTo>
                    <a:pt x="134" y="8"/>
                  </a:lnTo>
                  <a:lnTo>
                    <a:pt x="134" y="4"/>
                  </a:lnTo>
                  <a:lnTo>
                    <a:pt x="136" y="4"/>
                  </a:lnTo>
                  <a:lnTo>
                    <a:pt x="134" y="8"/>
                  </a:lnTo>
                  <a:lnTo>
                    <a:pt x="134" y="10"/>
                  </a:lnTo>
                  <a:lnTo>
                    <a:pt x="130" y="10"/>
                  </a:lnTo>
                  <a:lnTo>
                    <a:pt x="134" y="10"/>
                  </a:lnTo>
                  <a:lnTo>
                    <a:pt x="136" y="10"/>
                  </a:lnTo>
                  <a:lnTo>
                    <a:pt x="140" y="14"/>
                  </a:lnTo>
                  <a:lnTo>
                    <a:pt x="136" y="14"/>
                  </a:lnTo>
                  <a:lnTo>
                    <a:pt x="136" y="18"/>
                  </a:lnTo>
                  <a:lnTo>
                    <a:pt x="140" y="18"/>
                  </a:lnTo>
                  <a:lnTo>
                    <a:pt x="144" y="18"/>
                  </a:lnTo>
                  <a:lnTo>
                    <a:pt x="144" y="22"/>
                  </a:lnTo>
                  <a:lnTo>
                    <a:pt x="140" y="22"/>
                  </a:lnTo>
                  <a:lnTo>
                    <a:pt x="140" y="26"/>
                  </a:lnTo>
                  <a:lnTo>
                    <a:pt x="144" y="22"/>
                  </a:lnTo>
                  <a:lnTo>
                    <a:pt x="148" y="22"/>
                  </a:lnTo>
                  <a:lnTo>
                    <a:pt x="152" y="26"/>
                  </a:lnTo>
                  <a:lnTo>
                    <a:pt x="152" y="30"/>
                  </a:lnTo>
                  <a:lnTo>
                    <a:pt x="156" y="30"/>
                  </a:lnTo>
                  <a:lnTo>
                    <a:pt x="152" y="34"/>
                  </a:lnTo>
                  <a:lnTo>
                    <a:pt x="148" y="34"/>
                  </a:lnTo>
                  <a:lnTo>
                    <a:pt x="152" y="34"/>
                  </a:lnTo>
                  <a:lnTo>
                    <a:pt x="156" y="34"/>
                  </a:lnTo>
                  <a:lnTo>
                    <a:pt x="156" y="38"/>
                  </a:lnTo>
                  <a:lnTo>
                    <a:pt x="152" y="38"/>
                  </a:lnTo>
                  <a:lnTo>
                    <a:pt x="148" y="38"/>
                  </a:lnTo>
                  <a:lnTo>
                    <a:pt x="152" y="38"/>
                  </a:lnTo>
                  <a:lnTo>
                    <a:pt x="152" y="40"/>
                  </a:lnTo>
                  <a:lnTo>
                    <a:pt x="148" y="40"/>
                  </a:lnTo>
                  <a:lnTo>
                    <a:pt x="152" y="40"/>
                  </a:lnTo>
                  <a:lnTo>
                    <a:pt x="148" y="40"/>
                  </a:lnTo>
                  <a:lnTo>
                    <a:pt x="148" y="44"/>
                  </a:lnTo>
                  <a:lnTo>
                    <a:pt x="144" y="44"/>
                  </a:lnTo>
                  <a:lnTo>
                    <a:pt x="140" y="44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40" y="48"/>
                  </a:lnTo>
                  <a:lnTo>
                    <a:pt x="140" y="52"/>
                  </a:lnTo>
                  <a:lnTo>
                    <a:pt x="136" y="52"/>
                  </a:lnTo>
                  <a:lnTo>
                    <a:pt x="134" y="56"/>
                  </a:lnTo>
                  <a:lnTo>
                    <a:pt x="136" y="56"/>
                  </a:lnTo>
                  <a:lnTo>
                    <a:pt x="134" y="56"/>
                  </a:lnTo>
                  <a:lnTo>
                    <a:pt x="130" y="56"/>
                  </a:lnTo>
                  <a:lnTo>
                    <a:pt x="130" y="52"/>
                  </a:lnTo>
                  <a:lnTo>
                    <a:pt x="130" y="56"/>
                  </a:lnTo>
                  <a:lnTo>
                    <a:pt x="126" y="56"/>
                  </a:lnTo>
                  <a:lnTo>
                    <a:pt x="122" y="56"/>
                  </a:lnTo>
                  <a:lnTo>
                    <a:pt x="118" y="60"/>
                  </a:lnTo>
                  <a:lnTo>
                    <a:pt x="114" y="60"/>
                  </a:lnTo>
                  <a:lnTo>
                    <a:pt x="114" y="64"/>
                  </a:lnTo>
                  <a:lnTo>
                    <a:pt x="110" y="64"/>
                  </a:lnTo>
                  <a:lnTo>
                    <a:pt x="106" y="68"/>
                  </a:lnTo>
                  <a:lnTo>
                    <a:pt x="106" y="64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96" y="68"/>
                  </a:lnTo>
                  <a:lnTo>
                    <a:pt x="92" y="68"/>
                  </a:lnTo>
                  <a:lnTo>
                    <a:pt x="92" y="70"/>
                  </a:lnTo>
                  <a:lnTo>
                    <a:pt x="92" y="74"/>
                  </a:lnTo>
                  <a:lnTo>
                    <a:pt x="88" y="74"/>
                  </a:lnTo>
                  <a:lnTo>
                    <a:pt x="84" y="74"/>
                  </a:lnTo>
                  <a:lnTo>
                    <a:pt x="82" y="74"/>
                  </a:lnTo>
                  <a:lnTo>
                    <a:pt x="78" y="74"/>
                  </a:lnTo>
                  <a:lnTo>
                    <a:pt x="74" y="74"/>
                  </a:lnTo>
                  <a:lnTo>
                    <a:pt x="70" y="74"/>
                  </a:lnTo>
                  <a:lnTo>
                    <a:pt x="66" y="70"/>
                  </a:lnTo>
                  <a:lnTo>
                    <a:pt x="62" y="70"/>
                  </a:lnTo>
                  <a:lnTo>
                    <a:pt x="60" y="70"/>
                  </a:lnTo>
                  <a:lnTo>
                    <a:pt x="56" y="70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0" y="64"/>
                  </a:lnTo>
                  <a:lnTo>
                    <a:pt x="26" y="68"/>
                  </a:lnTo>
                  <a:lnTo>
                    <a:pt x="26" y="64"/>
                  </a:lnTo>
                  <a:lnTo>
                    <a:pt x="26" y="60"/>
                  </a:lnTo>
                  <a:lnTo>
                    <a:pt x="26" y="64"/>
                  </a:lnTo>
                  <a:lnTo>
                    <a:pt x="30" y="64"/>
                  </a:lnTo>
                  <a:lnTo>
                    <a:pt x="30" y="60"/>
                  </a:lnTo>
                  <a:lnTo>
                    <a:pt x="32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66" name="Freeform 106">
              <a:extLst>
                <a:ext uri="{FF2B5EF4-FFF2-40B4-BE49-F238E27FC236}">
                  <a16:creationId xmlns:a16="http://schemas.microsoft.com/office/drawing/2014/main" id="{24FEE254-9CB8-138D-C670-DB9928FD53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0897" y="2232837"/>
              <a:ext cx="124686" cy="162154"/>
            </a:xfrm>
            <a:custGeom>
              <a:avLst/>
              <a:gdLst>
                <a:gd name="T0" fmla="*/ 20 w 64"/>
                <a:gd name="T1" fmla="*/ 46 h 86"/>
                <a:gd name="T2" fmla="*/ 16 w 64"/>
                <a:gd name="T3" fmla="*/ 46 h 86"/>
                <a:gd name="T4" fmla="*/ 12 w 64"/>
                <a:gd name="T5" fmla="*/ 46 h 86"/>
                <a:gd name="T6" fmla="*/ 12 w 64"/>
                <a:gd name="T7" fmla="*/ 42 h 86"/>
                <a:gd name="T8" fmla="*/ 8 w 64"/>
                <a:gd name="T9" fmla="*/ 38 h 86"/>
                <a:gd name="T10" fmla="*/ 8 w 64"/>
                <a:gd name="T11" fmla="*/ 34 h 86"/>
                <a:gd name="T12" fmla="*/ 12 w 64"/>
                <a:gd name="T13" fmla="*/ 34 h 86"/>
                <a:gd name="T14" fmla="*/ 12 w 64"/>
                <a:gd name="T15" fmla="*/ 30 h 86"/>
                <a:gd name="T16" fmla="*/ 8 w 64"/>
                <a:gd name="T17" fmla="*/ 30 h 86"/>
                <a:gd name="T18" fmla="*/ 8 w 64"/>
                <a:gd name="T19" fmla="*/ 26 h 86"/>
                <a:gd name="T20" fmla="*/ 12 w 64"/>
                <a:gd name="T21" fmla="*/ 26 h 86"/>
                <a:gd name="T22" fmla="*/ 20 w 64"/>
                <a:gd name="T23" fmla="*/ 24 h 86"/>
                <a:gd name="T24" fmla="*/ 26 w 64"/>
                <a:gd name="T25" fmla="*/ 26 h 86"/>
                <a:gd name="T26" fmla="*/ 30 w 64"/>
                <a:gd name="T27" fmla="*/ 20 h 86"/>
                <a:gd name="T28" fmla="*/ 30 w 64"/>
                <a:gd name="T29" fmla="*/ 16 h 86"/>
                <a:gd name="T30" fmla="*/ 30 w 64"/>
                <a:gd name="T31" fmla="*/ 12 h 86"/>
                <a:gd name="T32" fmla="*/ 38 w 64"/>
                <a:gd name="T33" fmla="*/ 4 h 86"/>
                <a:gd name="T34" fmla="*/ 42 w 64"/>
                <a:gd name="T35" fmla="*/ 4 h 86"/>
                <a:gd name="T36" fmla="*/ 42 w 64"/>
                <a:gd name="T37" fmla="*/ 8 h 86"/>
                <a:gd name="T38" fmla="*/ 46 w 64"/>
                <a:gd name="T39" fmla="*/ 8 h 86"/>
                <a:gd name="T40" fmla="*/ 46 w 64"/>
                <a:gd name="T41" fmla="*/ 4 h 86"/>
                <a:gd name="T42" fmla="*/ 50 w 64"/>
                <a:gd name="T43" fmla="*/ 4 h 86"/>
                <a:gd name="T44" fmla="*/ 50 w 64"/>
                <a:gd name="T45" fmla="*/ 8 h 86"/>
                <a:gd name="T46" fmla="*/ 42 w 64"/>
                <a:gd name="T47" fmla="*/ 16 h 86"/>
                <a:gd name="T48" fmla="*/ 38 w 64"/>
                <a:gd name="T49" fmla="*/ 20 h 86"/>
                <a:gd name="T50" fmla="*/ 38 w 64"/>
                <a:gd name="T51" fmla="*/ 24 h 86"/>
                <a:gd name="T52" fmla="*/ 46 w 64"/>
                <a:gd name="T53" fmla="*/ 26 h 86"/>
                <a:gd name="T54" fmla="*/ 54 w 64"/>
                <a:gd name="T55" fmla="*/ 24 h 86"/>
                <a:gd name="T56" fmla="*/ 60 w 64"/>
                <a:gd name="T57" fmla="*/ 30 h 86"/>
                <a:gd name="T58" fmla="*/ 64 w 64"/>
                <a:gd name="T59" fmla="*/ 30 h 86"/>
                <a:gd name="T60" fmla="*/ 60 w 64"/>
                <a:gd name="T61" fmla="*/ 38 h 86"/>
                <a:gd name="T62" fmla="*/ 64 w 64"/>
                <a:gd name="T63" fmla="*/ 46 h 86"/>
                <a:gd name="T64" fmla="*/ 64 w 64"/>
                <a:gd name="T65" fmla="*/ 50 h 86"/>
                <a:gd name="T66" fmla="*/ 60 w 64"/>
                <a:gd name="T67" fmla="*/ 60 h 86"/>
                <a:gd name="T68" fmla="*/ 60 w 64"/>
                <a:gd name="T69" fmla="*/ 68 h 86"/>
                <a:gd name="T70" fmla="*/ 54 w 64"/>
                <a:gd name="T71" fmla="*/ 72 h 86"/>
                <a:gd name="T72" fmla="*/ 54 w 64"/>
                <a:gd name="T73" fmla="*/ 68 h 86"/>
                <a:gd name="T74" fmla="*/ 46 w 64"/>
                <a:gd name="T75" fmla="*/ 72 h 86"/>
                <a:gd name="T76" fmla="*/ 38 w 64"/>
                <a:gd name="T77" fmla="*/ 76 h 86"/>
                <a:gd name="T78" fmla="*/ 30 w 64"/>
                <a:gd name="T79" fmla="*/ 76 h 86"/>
                <a:gd name="T80" fmla="*/ 30 w 64"/>
                <a:gd name="T81" fmla="*/ 82 h 86"/>
                <a:gd name="T82" fmla="*/ 20 w 64"/>
                <a:gd name="T83" fmla="*/ 82 h 86"/>
                <a:gd name="T84" fmla="*/ 12 w 64"/>
                <a:gd name="T85" fmla="*/ 86 h 86"/>
                <a:gd name="T86" fmla="*/ 12 w 64"/>
                <a:gd name="T87" fmla="*/ 82 h 86"/>
                <a:gd name="T88" fmla="*/ 8 w 64"/>
                <a:gd name="T89" fmla="*/ 82 h 86"/>
                <a:gd name="T90" fmla="*/ 16 w 64"/>
                <a:gd name="T91" fmla="*/ 76 h 86"/>
                <a:gd name="T92" fmla="*/ 4 w 64"/>
                <a:gd name="T93" fmla="*/ 78 h 86"/>
                <a:gd name="T94" fmla="*/ 4 w 64"/>
                <a:gd name="T95" fmla="*/ 76 h 86"/>
                <a:gd name="T96" fmla="*/ 8 w 64"/>
                <a:gd name="T97" fmla="*/ 72 h 86"/>
                <a:gd name="T98" fmla="*/ 0 w 64"/>
                <a:gd name="T99" fmla="*/ 68 h 86"/>
                <a:gd name="T100" fmla="*/ 12 w 64"/>
                <a:gd name="T101" fmla="*/ 68 h 86"/>
                <a:gd name="T102" fmla="*/ 16 w 64"/>
                <a:gd name="T103" fmla="*/ 60 h 86"/>
                <a:gd name="T104" fmla="*/ 26 w 64"/>
                <a:gd name="T105" fmla="*/ 60 h 86"/>
                <a:gd name="T106" fmla="*/ 24 w 64"/>
                <a:gd name="T107" fmla="*/ 60 h 86"/>
                <a:gd name="T108" fmla="*/ 12 w 64"/>
                <a:gd name="T109" fmla="*/ 60 h 86"/>
                <a:gd name="T110" fmla="*/ 16 w 64"/>
                <a:gd name="T111" fmla="*/ 56 h 86"/>
                <a:gd name="T112" fmla="*/ 24 w 64"/>
                <a:gd name="T113" fmla="*/ 50 h 86"/>
                <a:gd name="T114" fmla="*/ 8 w 64"/>
                <a:gd name="T115" fmla="*/ 30 h 86"/>
                <a:gd name="T116" fmla="*/ 4 w 64"/>
                <a:gd name="T117" fmla="*/ 30 h 86"/>
                <a:gd name="T118" fmla="*/ 8 w 64"/>
                <a:gd name="T119" fmla="*/ 3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4" h="86">
                  <a:moveTo>
                    <a:pt x="24" y="50"/>
                  </a:moveTo>
                  <a:lnTo>
                    <a:pt x="24" y="46"/>
                  </a:lnTo>
                  <a:lnTo>
                    <a:pt x="20" y="46"/>
                  </a:lnTo>
                  <a:lnTo>
                    <a:pt x="16" y="46"/>
                  </a:lnTo>
                  <a:lnTo>
                    <a:pt x="16" y="50"/>
                  </a:lnTo>
                  <a:lnTo>
                    <a:pt x="16" y="46"/>
                  </a:lnTo>
                  <a:lnTo>
                    <a:pt x="12" y="46"/>
                  </a:lnTo>
                  <a:lnTo>
                    <a:pt x="16" y="46"/>
                  </a:lnTo>
                  <a:lnTo>
                    <a:pt x="12" y="46"/>
                  </a:lnTo>
                  <a:lnTo>
                    <a:pt x="8" y="46"/>
                  </a:lnTo>
                  <a:lnTo>
                    <a:pt x="12" y="46"/>
                  </a:lnTo>
                  <a:lnTo>
                    <a:pt x="12" y="42"/>
                  </a:lnTo>
                  <a:lnTo>
                    <a:pt x="8" y="46"/>
                  </a:lnTo>
                  <a:lnTo>
                    <a:pt x="4" y="42"/>
                  </a:lnTo>
                  <a:lnTo>
                    <a:pt x="8" y="38"/>
                  </a:lnTo>
                  <a:lnTo>
                    <a:pt x="12" y="38"/>
                  </a:lnTo>
                  <a:lnTo>
                    <a:pt x="8" y="38"/>
                  </a:lnTo>
                  <a:lnTo>
                    <a:pt x="8" y="34"/>
                  </a:lnTo>
                  <a:lnTo>
                    <a:pt x="12" y="34"/>
                  </a:lnTo>
                  <a:lnTo>
                    <a:pt x="16" y="34"/>
                  </a:lnTo>
                  <a:lnTo>
                    <a:pt x="12" y="34"/>
                  </a:lnTo>
                  <a:lnTo>
                    <a:pt x="8" y="34"/>
                  </a:lnTo>
                  <a:lnTo>
                    <a:pt x="8" y="30"/>
                  </a:lnTo>
                  <a:lnTo>
                    <a:pt x="12" y="30"/>
                  </a:lnTo>
                  <a:lnTo>
                    <a:pt x="12" y="34"/>
                  </a:lnTo>
                  <a:lnTo>
                    <a:pt x="12" y="30"/>
                  </a:lnTo>
                  <a:lnTo>
                    <a:pt x="8" y="30"/>
                  </a:lnTo>
                  <a:lnTo>
                    <a:pt x="8" y="26"/>
                  </a:lnTo>
                  <a:lnTo>
                    <a:pt x="8" y="30"/>
                  </a:lnTo>
                  <a:lnTo>
                    <a:pt x="8" y="26"/>
                  </a:lnTo>
                  <a:lnTo>
                    <a:pt x="8" y="24"/>
                  </a:lnTo>
                  <a:lnTo>
                    <a:pt x="8" y="26"/>
                  </a:lnTo>
                  <a:lnTo>
                    <a:pt x="12" y="26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6"/>
                  </a:lnTo>
                  <a:lnTo>
                    <a:pt x="24" y="24"/>
                  </a:lnTo>
                  <a:lnTo>
                    <a:pt x="26" y="26"/>
                  </a:lnTo>
                  <a:lnTo>
                    <a:pt x="30" y="24"/>
                  </a:lnTo>
                  <a:lnTo>
                    <a:pt x="26" y="24"/>
                  </a:lnTo>
                  <a:lnTo>
                    <a:pt x="30" y="20"/>
                  </a:lnTo>
                  <a:lnTo>
                    <a:pt x="34" y="20"/>
                  </a:lnTo>
                  <a:lnTo>
                    <a:pt x="34" y="16"/>
                  </a:lnTo>
                  <a:lnTo>
                    <a:pt x="30" y="16"/>
                  </a:lnTo>
                  <a:lnTo>
                    <a:pt x="26" y="20"/>
                  </a:lnTo>
                  <a:lnTo>
                    <a:pt x="26" y="16"/>
                  </a:lnTo>
                  <a:lnTo>
                    <a:pt x="30" y="12"/>
                  </a:lnTo>
                  <a:lnTo>
                    <a:pt x="30" y="8"/>
                  </a:lnTo>
                  <a:lnTo>
                    <a:pt x="34" y="4"/>
                  </a:lnTo>
                  <a:lnTo>
                    <a:pt x="38" y="4"/>
                  </a:lnTo>
                  <a:lnTo>
                    <a:pt x="42" y="4"/>
                  </a:lnTo>
                  <a:lnTo>
                    <a:pt x="42" y="8"/>
                  </a:lnTo>
                  <a:lnTo>
                    <a:pt x="42" y="4"/>
                  </a:lnTo>
                  <a:lnTo>
                    <a:pt x="38" y="4"/>
                  </a:lnTo>
                  <a:lnTo>
                    <a:pt x="42" y="4"/>
                  </a:lnTo>
                  <a:lnTo>
                    <a:pt x="42" y="8"/>
                  </a:lnTo>
                  <a:lnTo>
                    <a:pt x="42" y="12"/>
                  </a:lnTo>
                  <a:lnTo>
                    <a:pt x="42" y="8"/>
                  </a:lnTo>
                  <a:lnTo>
                    <a:pt x="46" y="8"/>
                  </a:lnTo>
                  <a:lnTo>
                    <a:pt x="46" y="4"/>
                  </a:lnTo>
                  <a:lnTo>
                    <a:pt x="42" y="4"/>
                  </a:lnTo>
                  <a:lnTo>
                    <a:pt x="46" y="4"/>
                  </a:lnTo>
                  <a:lnTo>
                    <a:pt x="46" y="0"/>
                  </a:lnTo>
                  <a:lnTo>
                    <a:pt x="50" y="0"/>
                  </a:lnTo>
                  <a:lnTo>
                    <a:pt x="50" y="4"/>
                  </a:lnTo>
                  <a:lnTo>
                    <a:pt x="54" y="4"/>
                  </a:lnTo>
                  <a:lnTo>
                    <a:pt x="50" y="4"/>
                  </a:lnTo>
                  <a:lnTo>
                    <a:pt x="50" y="8"/>
                  </a:lnTo>
                  <a:lnTo>
                    <a:pt x="46" y="8"/>
                  </a:lnTo>
                  <a:lnTo>
                    <a:pt x="46" y="12"/>
                  </a:lnTo>
                  <a:lnTo>
                    <a:pt x="42" y="16"/>
                  </a:lnTo>
                  <a:lnTo>
                    <a:pt x="38" y="16"/>
                  </a:lnTo>
                  <a:lnTo>
                    <a:pt x="42" y="20"/>
                  </a:lnTo>
                  <a:lnTo>
                    <a:pt x="38" y="20"/>
                  </a:lnTo>
                  <a:lnTo>
                    <a:pt x="34" y="20"/>
                  </a:lnTo>
                  <a:lnTo>
                    <a:pt x="34" y="24"/>
                  </a:lnTo>
                  <a:lnTo>
                    <a:pt x="38" y="24"/>
                  </a:lnTo>
                  <a:lnTo>
                    <a:pt x="38" y="26"/>
                  </a:lnTo>
                  <a:lnTo>
                    <a:pt x="42" y="26"/>
                  </a:lnTo>
                  <a:lnTo>
                    <a:pt x="46" y="26"/>
                  </a:lnTo>
                  <a:lnTo>
                    <a:pt x="50" y="26"/>
                  </a:lnTo>
                  <a:lnTo>
                    <a:pt x="50" y="24"/>
                  </a:lnTo>
                  <a:lnTo>
                    <a:pt x="54" y="24"/>
                  </a:lnTo>
                  <a:lnTo>
                    <a:pt x="54" y="26"/>
                  </a:lnTo>
                  <a:lnTo>
                    <a:pt x="56" y="30"/>
                  </a:lnTo>
                  <a:lnTo>
                    <a:pt x="60" y="30"/>
                  </a:lnTo>
                  <a:lnTo>
                    <a:pt x="60" y="26"/>
                  </a:lnTo>
                  <a:lnTo>
                    <a:pt x="60" y="30"/>
                  </a:lnTo>
                  <a:lnTo>
                    <a:pt x="64" y="30"/>
                  </a:lnTo>
                  <a:lnTo>
                    <a:pt x="60" y="30"/>
                  </a:lnTo>
                  <a:lnTo>
                    <a:pt x="60" y="34"/>
                  </a:lnTo>
                  <a:lnTo>
                    <a:pt x="60" y="38"/>
                  </a:lnTo>
                  <a:lnTo>
                    <a:pt x="64" y="38"/>
                  </a:lnTo>
                  <a:lnTo>
                    <a:pt x="64" y="42"/>
                  </a:lnTo>
                  <a:lnTo>
                    <a:pt x="64" y="46"/>
                  </a:lnTo>
                  <a:lnTo>
                    <a:pt x="60" y="46"/>
                  </a:lnTo>
                  <a:lnTo>
                    <a:pt x="64" y="46"/>
                  </a:lnTo>
                  <a:lnTo>
                    <a:pt x="64" y="50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4" y="68"/>
                  </a:lnTo>
                  <a:lnTo>
                    <a:pt x="54" y="72"/>
                  </a:lnTo>
                  <a:lnTo>
                    <a:pt x="54" y="68"/>
                  </a:lnTo>
                  <a:lnTo>
                    <a:pt x="50" y="68"/>
                  </a:lnTo>
                  <a:lnTo>
                    <a:pt x="54" y="68"/>
                  </a:lnTo>
                  <a:lnTo>
                    <a:pt x="54" y="72"/>
                  </a:lnTo>
                  <a:lnTo>
                    <a:pt x="50" y="72"/>
                  </a:lnTo>
                  <a:lnTo>
                    <a:pt x="46" y="72"/>
                  </a:lnTo>
                  <a:lnTo>
                    <a:pt x="42" y="72"/>
                  </a:lnTo>
                  <a:lnTo>
                    <a:pt x="42" y="76"/>
                  </a:lnTo>
                  <a:lnTo>
                    <a:pt x="38" y="76"/>
                  </a:lnTo>
                  <a:lnTo>
                    <a:pt x="34" y="78"/>
                  </a:lnTo>
                  <a:lnTo>
                    <a:pt x="34" y="76"/>
                  </a:lnTo>
                  <a:lnTo>
                    <a:pt x="30" y="76"/>
                  </a:lnTo>
                  <a:lnTo>
                    <a:pt x="34" y="78"/>
                  </a:lnTo>
                  <a:lnTo>
                    <a:pt x="30" y="78"/>
                  </a:lnTo>
                  <a:lnTo>
                    <a:pt x="30" y="82"/>
                  </a:lnTo>
                  <a:lnTo>
                    <a:pt x="26" y="82"/>
                  </a:lnTo>
                  <a:lnTo>
                    <a:pt x="24" y="82"/>
                  </a:lnTo>
                  <a:lnTo>
                    <a:pt x="20" y="82"/>
                  </a:lnTo>
                  <a:lnTo>
                    <a:pt x="16" y="82"/>
                  </a:lnTo>
                  <a:lnTo>
                    <a:pt x="12" y="82"/>
                  </a:lnTo>
                  <a:lnTo>
                    <a:pt x="12" y="86"/>
                  </a:lnTo>
                  <a:lnTo>
                    <a:pt x="12" y="82"/>
                  </a:lnTo>
                  <a:lnTo>
                    <a:pt x="16" y="82"/>
                  </a:lnTo>
                  <a:lnTo>
                    <a:pt x="12" y="82"/>
                  </a:lnTo>
                  <a:lnTo>
                    <a:pt x="16" y="78"/>
                  </a:lnTo>
                  <a:lnTo>
                    <a:pt x="12" y="78"/>
                  </a:lnTo>
                  <a:lnTo>
                    <a:pt x="8" y="82"/>
                  </a:lnTo>
                  <a:lnTo>
                    <a:pt x="8" y="78"/>
                  </a:lnTo>
                  <a:lnTo>
                    <a:pt x="12" y="78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8" y="78"/>
                  </a:lnTo>
                  <a:lnTo>
                    <a:pt x="4" y="78"/>
                  </a:lnTo>
                  <a:lnTo>
                    <a:pt x="4" y="76"/>
                  </a:lnTo>
                  <a:lnTo>
                    <a:pt x="4" y="78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4" y="60"/>
                  </a:lnTo>
                  <a:lnTo>
                    <a:pt x="26" y="60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close/>
                  <a:moveTo>
                    <a:pt x="8" y="30"/>
                  </a:moveTo>
                  <a:lnTo>
                    <a:pt x="8" y="34"/>
                  </a:lnTo>
                  <a:lnTo>
                    <a:pt x="8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67" name="Freeform 107">
              <a:extLst>
                <a:ext uri="{FF2B5EF4-FFF2-40B4-BE49-F238E27FC236}">
                  <a16:creationId xmlns:a16="http://schemas.microsoft.com/office/drawing/2014/main" id="{D5FDE734-086B-265A-1B21-AD50401B0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0651" y="2278089"/>
              <a:ext cx="15586" cy="11313"/>
            </a:xfrm>
            <a:custGeom>
              <a:avLst/>
              <a:gdLst>
                <a:gd name="T0" fmla="*/ 0 w 8"/>
                <a:gd name="T1" fmla="*/ 6 h 6"/>
                <a:gd name="T2" fmla="*/ 0 w 8"/>
                <a:gd name="T3" fmla="*/ 6 h 6"/>
                <a:gd name="T4" fmla="*/ 0 w 8"/>
                <a:gd name="T5" fmla="*/ 2 h 6"/>
                <a:gd name="T6" fmla="*/ 0 w 8"/>
                <a:gd name="T7" fmla="*/ 2 h 6"/>
                <a:gd name="T8" fmla="*/ 0 w 8"/>
                <a:gd name="T9" fmla="*/ 2 h 6"/>
                <a:gd name="T10" fmla="*/ 0 w 8"/>
                <a:gd name="T11" fmla="*/ 2 h 6"/>
                <a:gd name="T12" fmla="*/ 4 w 8"/>
                <a:gd name="T13" fmla="*/ 0 h 6"/>
                <a:gd name="T14" fmla="*/ 4 w 8"/>
                <a:gd name="T15" fmla="*/ 0 h 6"/>
                <a:gd name="T16" fmla="*/ 4 w 8"/>
                <a:gd name="T17" fmla="*/ 0 h 6"/>
                <a:gd name="T18" fmla="*/ 4 w 8"/>
                <a:gd name="T19" fmla="*/ 0 h 6"/>
                <a:gd name="T20" fmla="*/ 4 w 8"/>
                <a:gd name="T21" fmla="*/ 0 h 6"/>
                <a:gd name="T22" fmla="*/ 4 w 8"/>
                <a:gd name="T23" fmla="*/ 0 h 6"/>
                <a:gd name="T24" fmla="*/ 4 w 8"/>
                <a:gd name="T25" fmla="*/ 0 h 6"/>
                <a:gd name="T26" fmla="*/ 4 w 8"/>
                <a:gd name="T27" fmla="*/ 0 h 6"/>
                <a:gd name="T28" fmla="*/ 4 w 8"/>
                <a:gd name="T29" fmla="*/ 0 h 6"/>
                <a:gd name="T30" fmla="*/ 4 w 8"/>
                <a:gd name="T31" fmla="*/ 0 h 6"/>
                <a:gd name="T32" fmla="*/ 4 w 8"/>
                <a:gd name="T33" fmla="*/ 0 h 6"/>
                <a:gd name="T34" fmla="*/ 8 w 8"/>
                <a:gd name="T35" fmla="*/ 0 h 6"/>
                <a:gd name="T36" fmla="*/ 8 w 8"/>
                <a:gd name="T37" fmla="*/ 0 h 6"/>
                <a:gd name="T38" fmla="*/ 4 w 8"/>
                <a:gd name="T39" fmla="*/ 2 h 6"/>
                <a:gd name="T40" fmla="*/ 4 w 8"/>
                <a:gd name="T41" fmla="*/ 2 h 6"/>
                <a:gd name="T42" fmla="*/ 4 w 8"/>
                <a:gd name="T43" fmla="*/ 2 h 6"/>
                <a:gd name="T44" fmla="*/ 4 w 8"/>
                <a:gd name="T45" fmla="*/ 2 h 6"/>
                <a:gd name="T46" fmla="*/ 4 w 8"/>
                <a:gd name="T47" fmla="*/ 2 h 6"/>
                <a:gd name="T48" fmla="*/ 0 w 8"/>
                <a:gd name="T49" fmla="*/ 6 h 6"/>
                <a:gd name="T50" fmla="*/ 0 w 8"/>
                <a:gd name="T51" fmla="*/ 6 h 6"/>
                <a:gd name="T52" fmla="*/ 0 w 8"/>
                <a:gd name="T53" fmla="*/ 6 h 6"/>
                <a:gd name="T54" fmla="*/ 0 w 8"/>
                <a:gd name="T55" fmla="*/ 6 h 6"/>
                <a:gd name="T56" fmla="*/ 0 w 8"/>
                <a:gd name="T57" fmla="*/ 6 h 6"/>
                <a:gd name="T58" fmla="*/ 0 w 8"/>
                <a:gd name="T59" fmla="*/ 6 h 6"/>
                <a:gd name="T60" fmla="*/ 0 w 8"/>
                <a:gd name="T6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" h="6">
                  <a:moveTo>
                    <a:pt x="0" y="6"/>
                  </a:moveTo>
                  <a:lnTo>
                    <a:pt x="0" y="6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68" name="Freeform 108">
              <a:extLst>
                <a:ext uri="{FF2B5EF4-FFF2-40B4-BE49-F238E27FC236}">
                  <a16:creationId xmlns:a16="http://schemas.microsoft.com/office/drawing/2014/main" id="{048C1D8E-2A20-0940-094F-055987E8D2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72366" y="2564686"/>
              <a:ext cx="327301" cy="388414"/>
            </a:xfrm>
            <a:custGeom>
              <a:avLst/>
              <a:gdLst>
                <a:gd name="T0" fmla="*/ 98 w 168"/>
                <a:gd name="T1" fmla="*/ 72 h 206"/>
                <a:gd name="T2" fmla="*/ 106 w 168"/>
                <a:gd name="T3" fmla="*/ 90 h 206"/>
                <a:gd name="T4" fmla="*/ 124 w 168"/>
                <a:gd name="T5" fmla="*/ 100 h 206"/>
                <a:gd name="T6" fmla="*/ 136 w 168"/>
                <a:gd name="T7" fmla="*/ 108 h 206"/>
                <a:gd name="T8" fmla="*/ 150 w 168"/>
                <a:gd name="T9" fmla="*/ 120 h 206"/>
                <a:gd name="T10" fmla="*/ 166 w 168"/>
                <a:gd name="T11" fmla="*/ 130 h 206"/>
                <a:gd name="T12" fmla="*/ 166 w 168"/>
                <a:gd name="T13" fmla="*/ 142 h 206"/>
                <a:gd name="T14" fmla="*/ 150 w 168"/>
                <a:gd name="T15" fmla="*/ 130 h 206"/>
                <a:gd name="T16" fmla="*/ 142 w 168"/>
                <a:gd name="T17" fmla="*/ 142 h 206"/>
                <a:gd name="T18" fmla="*/ 150 w 168"/>
                <a:gd name="T19" fmla="*/ 156 h 206"/>
                <a:gd name="T20" fmla="*/ 142 w 168"/>
                <a:gd name="T21" fmla="*/ 172 h 206"/>
                <a:gd name="T22" fmla="*/ 128 w 168"/>
                <a:gd name="T23" fmla="*/ 176 h 206"/>
                <a:gd name="T24" fmla="*/ 138 w 168"/>
                <a:gd name="T25" fmla="*/ 160 h 206"/>
                <a:gd name="T26" fmla="*/ 132 w 168"/>
                <a:gd name="T27" fmla="*/ 146 h 206"/>
                <a:gd name="T28" fmla="*/ 120 w 168"/>
                <a:gd name="T29" fmla="*/ 130 h 206"/>
                <a:gd name="T30" fmla="*/ 106 w 168"/>
                <a:gd name="T31" fmla="*/ 116 h 206"/>
                <a:gd name="T32" fmla="*/ 86 w 168"/>
                <a:gd name="T33" fmla="*/ 112 h 206"/>
                <a:gd name="T34" fmla="*/ 76 w 168"/>
                <a:gd name="T35" fmla="*/ 96 h 206"/>
                <a:gd name="T36" fmla="*/ 64 w 168"/>
                <a:gd name="T37" fmla="*/ 86 h 206"/>
                <a:gd name="T38" fmla="*/ 54 w 168"/>
                <a:gd name="T39" fmla="*/ 72 h 206"/>
                <a:gd name="T40" fmla="*/ 38 w 168"/>
                <a:gd name="T41" fmla="*/ 56 h 206"/>
                <a:gd name="T42" fmla="*/ 20 w 168"/>
                <a:gd name="T43" fmla="*/ 64 h 206"/>
                <a:gd name="T44" fmla="*/ 16 w 168"/>
                <a:gd name="T45" fmla="*/ 60 h 206"/>
                <a:gd name="T46" fmla="*/ 4 w 168"/>
                <a:gd name="T47" fmla="*/ 52 h 206"/>
                <a:gd name="T48" fmla="*/ 4 w 168"/>
                <a:gd name="T49" fmla="*/ 38 h 206"/>
                <a:gd name="T50" fmla="*/ 4 w 168"/>
                <a:gd name="T51" fmla="*/ 24 h 206"/>
                <a:gd name="T52" fmla="*/ 24 w 168"/>
                <a:gd name="T53" fmla="*/ 16 h 206"/>
                <a:gd name="T54" fmla="*/ 34 w 168"/>
                <a:gd name="T55" fmla="*/ 24 h 206"/>
                <a:gd name="T56" fmla="*/ 38 w 168"/>
                <a:gd name="T57" fmla="*/ 12 h 206"/>
                <a:gd name="T58" fmla="*/ 50 w 168"/>
                <a:gd name="T59" fmla="*/ 12 h 206"/>
                <a:gd name="T60" fmla="*/ 56 w 168"/>
                <a:gd name="T61" fmla="*/ 4 h 206"/>
                <a:gd name="T62" fmla="*/ 76 w 168"/>
                <a:gd name="T63" fmla="*/ 0 h 206"/>
                <a:gd name="T64" fmla="*/ 90 w 168"/>
                <a:gd name="T65" fmla="*/ 8 h 206"/>
                <a:gd name="T66" fmla="*/ 98 w 168"/>
                <a:gd name="T67" fmla="*/ 16 h 206"/>
                <a:gd name="T68" fmla="*/ 102 w 168"/>
                <a:gd name="T69" fmla="*/ 26 h 206"/>
                <a:gd name="T70" fmla="*/ 94 w 168"/>
                <a:gd name="T71" fmla="*/ 26 h 206"/>
                <a:gd name="T72" fmla="*/ 86 w 168"/>
                <a:gd name="T73" fmla="*/ 30 h 206"/>
                <a:gd name="T74" fmla="*/ 86 w 168"/>
                <a:gd name="T75" fmla="*/ 42 h 206"/>
                <a:gd name="T76" fmla="*/ 86 w 168"/>
                <a:gd name="T77" fmla="*/ 60 h 206"/>
                <a:gd name="T78" fmla="*/ 82 w 168"/>
                <a:gd name="T79" fmla="*/ 100 h 206"/>
                <a:gd name="T80" fmla="*/ 82 w 168"/>
                <a:gd name="T81" fmla="*/ 64 h 206"/>
                <a:gd name="T82" fmla="*/ 54 w 168"/>
                <a:gd name="T83" fmla="*/ 82 h 206"/>
                <a:gd name="T84" fmla="*/ 26 w 168"/>
                <a:gd name="T85" fmla="*/ 150 h 206"/>
                <a:gd name="T86" fmla="*/ 26 w 168"/>
                <a:gd name="T87" fmla="*/ 126 h 206"/>
                <a:gd name="T88" fmla="*/ 38 w 168"/>
                <a:gd name="T89" fmla="*/ 116 h 206"/>
                <a:gd name="T90" fmla="*/ 46 w 168"/>
                <a:gd name="T91" fmla="*/ 126 h 206"/>
                <a:gd name="T92" fmla="*/ 46 w 168"/>
                <a:gd name="T93" fmla="*/ 150 h 206"/>
                <a:gd name="T94" fmla="*/ 34 w 168"/>
                <a:gd name="T95" fmla="*/ 160 h 206"/>
                <a:gd name="T96" fmla="*/ 26 w 168"/>
                <a:gd name="T97" fmla="*/ 152 h 206"/>
                <a:gd name="T98" fmla="*/ 112 w 168"/>
                <a:gd name="T99" fmla="*/ 198 h 206"/>
                <a:gd name="T100" fmla="*/ 94 w 168"/>
                <a:gd name="T101" fmla="*/ 190 h 206"/>
                <a:gd name="T102" fmla="*/ 82 w 168"/>
                <a:gd name="T103" fmla="*/ 178 h 206"/>
                <a:gd name="T104" fmla="*/ 98 w 168"/>
                <a:gd name="T105" fmla="*/ 176 h 206"/>
                <a:gd name="T106" fmla="*/ 120 w 168"/>
                <a:gd name="T107" fmla="*/ 176 h 206"/>
                <a:gd name="T108" fmla="*/ 124 w 168"/>
                <a:gd name="T109" fmla="*/ 182 h 206"/>
                <a:gd name="T110" fmla="*/ 120 w 168"/>
                <a:gd name="T111" fmla="*/ 198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8" h="206">
                  <a:moveTo>
                    <a:pt x="86" y="64"/>
                  </a:moveTo>
                  <a:lnTo>
                    <a:pt x="90" y="64"/>
                  </a:lnTo>
                  <a:lnTo>
                    <a:pt x="94" y="64"/>
                  </a:lnTo>
                  <a:lnTo>
                    <a:pt x="94" y="68"/>
                  </a:lnTo>
                  <a:lnTo>
                    <a:pt x="98" y="68"/>
                  </a:lnTo>
                  <a:lnTo>
                    <a:pt x="98" y="72"/>
                  </a:lnTo>
                  <a:lnTo>
                    <a:pt x="102" y="72"/>
                  </a:lnTo>
                  <a:lnTo>
                    <a:pt x="102" y="76"/>
                  </a:lnTo>
                  <a:lnTo>
                    <a:pt x="106" y="80"/>
                  </a:lnTo>
                  <a:lnTo>
                    <a:pt x="106" y="82"/>
                  </a:lnTo>
                  <a:lnTo>
                    <a:pt x="106" y="86"/>
                  </a:lnTo>
                  <a:lnTo>
                    <a:pt x="106" y="90"/>
                  </a:lnTo>
                  <a:lnTo>
                    <a:pt x="110" y="90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16" y="100"/>
                  </a:lnTo>
                  <a:lnTo>
                    <a:pt x="120" y="100"/>
                  </a:lnTo>
                  <a:lnTo>
                    <a:pt x="124" y="100"/>
                  </a:lnTo>
                  <a:lnTo>
                    <a:pt x="124" y="104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6" y="100"/>
                  </a:lnTo>
                  <a:lnTo>
                    <a:pt x="136" y="104"/>
                  </a:lnTo>
                  <a:lnTo>
                    <a:pt x="136" y="108"/>
                  </a:lnTo>
                  <a:lnTo>
                    <a:pt x="132" y="108"/>
                  </a:lnTo>
                  <a:lnTo>
                    <a:pt x="132" y="112"/>
                  </a:lnTo>
                  <a:lnTo>
                    <a:pt x="136" y="112"/>
                  </a:lnTo>
                  <a:lnTo>
                    <a:pt x="142" y="116"/>
                  </a:lnTo>
                  <a:lnTo>
                    <a:pt x="146" y="116"/>
                  </a:lnTo>
                  <a:lnTo>
                    <a:pt x="150" y="120"/>
                  </a:lnTo>
                  <a:lnTo>
                    <a:pt x="154" y="120"/>
                  </a:lnTo>
                  <a:lnTo>
                    <a:pt x="154" y="122"/>
                  </a:lnTo>
                  <a:lnTo>
                    <a:pt x="158" y="126"/>
                  </a:lnTo>
                  <a:lnTo>
                    <a:pt x="162" y="126"/>
                  </a:lnTo>
                  <a:lnTo>
                    <a:pt x="162" y="130"/>
                  </a:lnTo>
                  <a:lnTo>
                    <a:pt x="166" y="130"/>
                  </a:lnTo>
                  <a:lnTo>
                    <a:pt x="168" y="134"/>
                  </a:lnTo>
                  <a:lnTo>
                    <a:pt x="168" y="138"/>
                  </a:lnTo>
                  <a:lnTo>
                    <a:pt x="168" y="142"/>
                  </a:lnTo>
                  <a:lnTo>
                    <a:pt x="168" y="146"/>
                  </a:lnTo>
                  <a:lnTo>
                    <a:pt x="168" y="142"/>
                  </a:lnTo>
                  <a:lnTo>
                    <a:pt x="166" y="142"/>
                  </a:lnTo>
                  <a:lnTo>
                    <a:pt x="162" y="142"/>
                  </a:lnTo>
                  <a:lnTo>
                    <a:pt x="162" y="138"/>
                  </a:lnTo>
                  <a:lnTo>
                    <a:pt x="162" y="134"/>
                  </a:lnTo>
                  <a:lnTo>
                    <a:pt x="158" y="134"/>
                  </a:lnTo>
                  <a:lnTo>
                    <a:pt x="154" y="134"/>
                  </a:lnTo>
                  <a:lnTo>
                    <a:pt x="150" y="130"/>
                  </a:lnTo>
                  <a:lnTo>
                    <a:pt x="154" y="130"/>
                  </a:lnTo>
                  <a:lnTo>
                    <a:pt x="150" y="130"/>
                  </a:lnTo>
                  <a:lnTo>
                    <a:pt x="146" y="130"/>
                  </a:lnTo>
                  <a:lnTo>
                    <a:pt x="146" y="134"/>
                  </a:lnTo>
                  <a:lnTo>
                    <a:pt x="142" y="138"/>
                  </a:lnTo>
                  <a:lnTo>
                    <a:pt x="142" y="142"/>
                  </a:lnTo>
                  <a:lnTo>
                    <a:pt x="142" y="146"/>
                  </a:lnTo>
                  <a:lnTo>
                    <a:pt x="146" y="146"/>
                  </a:lnTo>
                  <a:lnTo>
                    <a:pt x="146" y="150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50" y="156"/>
                  </a:lnTo>
                  <a:lnTo>
                    <a:pt x="150" y="160"/>
                  </a:lnTo>
                  <a:lnTo>
                    <a:pt x="146" y="160"/>
                  </a:lnTo>
                  <a:lnTo>
                    <a:pt x="142" y="160"/>
                  </a:lnTo>
                  <a:lnTo>
                    <a:pt x="142" y="164"/>
                  </a:lnTo>
                  <a:lnTo>
                    <a:pt x="142" y="168"/>
                  </a:lnTo>
                  <a:lnTo>
                    <a:pt x="142" y="172"/>
                  </a:lnTo>
                  <a:lnTo>
                    <a:pt x="138" y="172"/>
                  </a:lnTo>
                  <a:lnTo>
                    <a:pt x="136" y="176"/>
                  </a:lnTo>
                  <a:lnTo>
                    <a:pt x="136" y="178"/>
                  </a:lnTo>
                  <a:lnTo>
                    <a:pt x="132" y="178"/>
                  </a:lnTo>
                  <a:lnTo>
                    <a:pt x="128" y="178"/>
                  </a:lnTo>
                  <a:lnTo>
                    <a:pt x="128" y="176"/>
                  </a:lnTo>
                  <a:lnTo>
                    <a:pt x="132" y="172"/>
                  </a:lnTo>
                  <a:lnTo>
                    <a:pt x="132" y="168"/>
                  </a:lnTo>
                  <a:lnTo>
                    <a:pt x="132" y="164"/>
                  </a:lnTo>
                  <a:lnTo>
                    <a:pt x="136" y="164"/>
                  </a:lnTo>
                  <a:lnTo>
                    <a:pt x="138" y="164"/>
                  </a:lnTo>
                  <a:lnTo>
                    <a:pt x="138" y="160"/>
                  </a:lnTo>
                  <a:lnTo>
                    <a:pt x="136" y="160"/>
                  </a:lnTo>
                  <a:lnTo>
                    <a:pt x="136" y="156"/>
                  </a:lnTo>
                  <a:lnTo>
                    <a:pt x="136" y="152"/>
                  </a:lnTo>
                  <a:lnTo>
                    <a:pt x="136" y="150"/>
                  </a:lnTo>
                  <a:lnTo>
                    <a:pt x="132" y="150"/>
                  </a:lnTo>
                  <a:lnTo>
                    <a:pt x="132" y="146"/>
                  </a:lnTo>
                  <a:lnTo>
                    <a:pt x="132" y="142"/>
                  </a:lnTo>
                  <a:lnTo>
                    <a:pt x="128" y="138"/>
                  </a:lnTo>
                  <a:lnTo>
                    <a:pt x="124" y="138"/>
                  </a:lnTo>
                  <a:lnTo>
                    <a:pt x="120" y="138"/>
                  </a:lnTo>
                  <a:lnTo>
                    <a:pt x="120" y="134"/>
                  </a:lnTo>
                  <a:lnTo>
                    <a:pt x="120" y="130"/>
                  </a:lnTo>
                  <a:lnTo>
                    <a:pt x="116" y="126"/>
                  </a:lnTo>
                  <a:lnTo>
                    <a:pt x="112" y="126"/>
                  </a:lnTo>
                  <a:lnTo>
                    <a:pt x="110" y="122"/>
                  </a:lnTo>
                  <a:lnTo>
                    <a:pt x="106" y="122"/>
                  </a:lnTo>
                  <a:lnTo>
                    <a:pt x="106" y="120"/>
                  </a:lnTo>
                  <a:lnTo>
                    <a:pt x="106" y="116"/>
                  </a:lnTo>
                  <a:lnTo>
                    <a:pt x="102" y="116"/>
                  </a:lnTo>
                  <a:lnTo>
                    <a:pt x="98" y="116"/>
                  </a:lnTo>
                  <a:lnTo>
                    <a:pt x="94" y="116"/>
                  </a:lnTo>
                  <a:lnTo>
                    <a:pt x="90" y="116"/>
                  </a:lnTo>
                  <a:lnTo>
                    <a:pt x="90" y="112"/>
                  </a:lnTo>
                  <a:lnTo>
                    <a:pt x="86" y="112"/>
                  </a:lnTo>
                  <a:lnTo>
                    <a:pt x="86" y="108"/>
                  </a:lnTo>
                  <a:lnTo>
                    <a:pt x="82" y="108"/>
                  </a:lnTo>
                  <a:lnTo>
                    <a:pt x="80" y="104"/>
                  </a:lnTo>
                  <a:lnTo>
                    <a:pt x="80" y="100"/>
                  </a:lnTo>
                  <a:lnTo>
                    <a:pt x="76" y="100"/>
                  </a:lnTo>
                  <a:lnTo>
                    <a:pt x="76" y="96"/>
                  </a:lnTo>
                  <a:lnTo>
                    <a:pt x="72" y="96"/>
                  </a:lnTo>
                  <a:lnTo>
                    <a:pt x="72" y="94"/>
                  </a:lnTo>
                  <a:lnTo>
                    <a:pt x="68" y="94"/>
                  </a:lnTo>
                  <a:lnTo>
                    <a:pt x="64" y="94"/>
                  </a:lnTo>
                  <a:lnTo>
                    <a:pt x="64" y="90"/>
                  </a:lnTo>
                  <a:lnTo>
                    <a:pt x="64" y="86"/>
                  </a:lnTo>
                  <a:lnTo>
                    <a:pt x="60" y="86"/>
                  </a:lnTo>
                  <a:lnTo>
                    <a:pt x="60" y="82"/>
                  </a:lnTo>
                  <a:lnTo>
                    <a:pt x="56" y="82"/>
                  </a:lnTo>
                  <a:lnTo>
                    <a:pt x="56" y="80"/>
                  </a:lnTo>
                  <a:lnTo>
                    <a:pt x="56" y="76"/>
                  </a:lnTo>
                  <a:lnTo>
                    <a:pt x="54" y="72"/>
                  </a:lnTo>
                  <a:lnTo>
                    <a:pt x="54" y="68"/>
                  </a:lnTo>
                  <a:lnTo>
                    <a:pt x="54" y="64"/>
                  </a:lnTo>
                  <a:lnTo>
                    <a:pt x="50" y="60"/>
                  </a:lnTo>
                  <a:lnTo>
                    <a:pt x="46" y="60"/>
                  </a:lnTo>
                  <a:lnTo>
                    <a:pt x="42" y="56"/>
                  </a:lnTo>
                  <a:lnTo>
                    <a:pt x="38" y="56"/>
                  </a:lnTo>
                  <a:lnTo>
                    <a:pt x="30" y="52"/>
                  </a:lnTo>
                  <a:lnTo>
                    <a:pt x="26" y="56"/>
                  </a:lnTo>
                  <a:lnTo>
                    <a:pt x="26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0"/>
                  </a:lnTo>
                  <a:lnTo>
                    <a:pt x="8" y="46"/>
                  </a:lnTo>
                  <a:lnTo>
                    <a:pt x="4" y="46"/>
                  </a:lnTo>
                  <a:lnTo>
                    <a:pt x="0" y="42"/>
                  </a:lnTo>
                  <a:lnTo>
                    <a:pt x="0" y="38"/>
                  </a:lnTo>
                  <a:lnTo>
                    <a:pt x="4" y="38"/>
                  </a:lnTo>
                  <a:lnTo>
                    <a:pt x="8" y="38"/>
                  </a:lnTo>
                  <a:lnTo>
                    <a:pt x="8" y="34"/>
                  </a:lnTo>
                  <a:lnTo>
                    <a:pt x="8" y="30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6" y="12"/>
                  </a:lnTo>
                  <a:lnTo>
                    <a:pt x="26" y="16"/>
                  </a:lnTo>
                  <a:lnTo>
                    <a:pt x="30" y="20"/>
                  </a:lnTo>
                  <a:lnTo>
                    <a:pt x="34" y="20"/>
                  </a:lnTo>
                  <a:lnTo>
                    <a:pt x="30" y="24"/>
                  </a:lnTo>
                  <a:lnTo>
                    <a:pt x="34" y="24"/>
                  </a:lnTo>
                  <a:lnTo>
                    <a:pt x="34" y="26"/>
                  </a:lnTo>
                  <a:lnTo>
                    <a:pt x="34" y="24"/>
                  </a:lnTo>
                  <a:lnTo>
                    <a:pt x="34" y="20"/>
                  </a:lnTo>
                  <a:lnTo>
                    <a:pt x="38" y="20"/>
                  </a:lnTo>
                  <a:lnTo>
                    <a:pt x="38" y="16"/>
                  </a:lnTo>
                  <a:lnTo>
                    <a:pt x="38" y="12"/>
                  </a:lnTo>
                  <a:lnTo>
                    <a:pt x="42" y="12"/>
                  </a:lnTo>
                  <a:lnTo>
                    <a:pt x="42" y="16"/>
                  </a:lnTo>
                  <a:lnTo>
                    <a:pt x="46" y="16"/>
                  </a:lnTo>
                  <a:lnTo>
                    <a:pt x="50" y="16"/>
                  </a:lnTo>
                  <a:lnTo>
                    <a:pt x="54" y="16"/>
                  </a:lnTo>
                  <a:lnTo>
                    <a:pt x="50" y="12"/>
                  </a:lnTo>
                  <a:lnTo>
                    <a:pt x="50" y="8"/>
                  </a:lnTo>
                  <a:lnTo>
                    <a:pt x="54" y="8"/>
                  </a:lnTo>
                  <a:lnTo>
                    <a:pt x="54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2" y="4"/>
                  </a:lnTo>
                  <a:lnTo>
                    <a:pt x="82" y="8"/>
                  </a:lnTo>
                  <a:lnTo>
                    <a:pt x="86" y="8"/>
                  </a:lnTo>
                  <a:lnTo>
                    <a:pt x="90" y="8"/>
                  </a:lnTo>
                  <a:lnTo>
                    <a:pt x="94" y="12"/>
                  </a:lnTo>
                  <a:lnTo>
                    <a:pt x="98" y="12"/>
                  </a:lnTo>
                  <a:lnTo>
                    <a:pt x="102" y="12"/>
                  </a:lnTo>
                  <a:lnTo>
                    <a:pt x="98" y="16"/>
                  </a:lnTo>
                  <a:lnTo>
                    <a:pt x="98" y="20"/>
                  </a:lnTo>
                  <a:lnTo>
                    <a:pt x="98" y="16"/>
                  </a:lnTo>
                  <a:lnTo>
                    <a:pt x="98" y="20"/>
                  </a:lnTo>
                  <a:lnTo>
                    <a:pt x="102" y="20"/>
                  </a:lnTo>
                  <a:lnTo>
                    <a:pt x="98" y="20"/>
                  </a:lnTo>
                  <a:lnTo>
                    <a:pt x="98" y="24"/>
                  </a:lnTo>
                  <a:lnTo>
                    <a:pt x="102" y="24"/>
                  </a:lnTo>
                  <a:lnTo>
                    <a:pt x="102" y="26"/>
                  </a:lnTo>
                  <a:lnTo>
                    <a:pt x="106" y="26"/>
                  </a:lnTo>
                  <a:lnTo>
                    <a:pt x="106" y="30"/>
                  </a:lnTo>
                  <a:lnTo>
                    <a:pt x="102" y="30"/>
                  </a:lnTo>
                  <a:lnTo>
                    <a:pt x="102" y="26"/>
                  </a:lnTo>
                  <a:lnTo>
                    <a:pt x="98" y="26"/>
                  </a:lnTo>
                  <a:lnTo>
                    <a:pt x="94" y="26"/>
                  </a:lnTo>
                  <a:lnTo>
                    <a:pt x="94" y="30"/>
                  </a:lnTo>
                  <a:lnTo>
                    <a:pt x="90" y="30"/>
                  </a:lnTo>
                  <a:lnTo>
                    <a:pt x="86" y="30"/>
                  </a:lnTo>
                  <a:lnTo>
                    <a:pt x="82" y="34"/>
                  </a:lnTo>
                  <a:lnTo>
                    <a:pt x="82" y="30"/>
                  </a:lnTo>
                  <a:lnTo>
                    <a:pt x="86" y="30"/>
                  </a:lnTo>
                  <a:lnTo>
                    <a:pt x="82" y="30"/>
                  </a:lnTo>
                  <a:lnTo>
                    <a:pt x="82" y="34"/>
                  </a:lnTo>
                  <a:lnTo>
                    <a:pt x="80" y="34"/>
                  </a:lnTo>
                  <a:lnTo>
                    <a:pt x="80" y="38"/>
                  </a:lnTo>
                  <a:lnTo>
                    <a:pt x="82" y="42"/>
                  </a:lnTo>
                  <a:lnTo>
                    <a:pt x="86" y="42"/>
                  </a:lnTo>
                  <a:lnTo>
                    <a:pt x="82" y="46"/>
                  </a:lnTo>
                  <a:lnTo>
                    <a:pt x="80" y="50"/>
                  </a:lnTo>
                  <a:lnTo>
                    <a:pt x="82" y="52"/>
                  </a:lnTo>
                  <a:lnTo>
                    <a:pt x="82" y="56"/>
                  </a:lnTo>
                  <a:lnTo>
                    <a:pt x="82" y="60"/>
                  </a:lnTo>
                  <a:lnTo>
                    <a:pt x="86" y="60"/>
                  </a:lnTo>
                  <a:lnTo>
                    <a:pt x="86" y="64"/>
                  </a:lnTo>
                  <a:lnTo>
                    <a:pt x="86" y="64"/>
                  </a:lnTo>
                  <a:lnTo>
                    <a:pt x="86" y="64"/>
                  </a:lnTo>
                  <a:close/>
                  <a:moveTo>
                    <a:pt x="82" y="100"/>
                  </a:moveTo>
                  <a:lnTo>
                    <a:pt x="82" y="104"/>
                  </a:lnTo>
                  <a:lnTo>
                    <a:pt x="82" y="100"/>
                  </a:lnTo>
                  <a:lnTo>
                    <a:pt x="82" y="100"/>
                  </a:lnTo>
                  <a:lnTo>
                    <a:pt x="82" y="100"/>
                  </a:lnTo>
                  <a:close/>
                  <a:moveTo>
                    <a:pt x="82" y="64"/>
                  </a:moveTo>
                  <a:lnTo>
                    <a:pt x="82" y="60"/>
                  </a:lnTo>
                  <a:lnTo>
                    <a:pt x="82" y="64"/>
                  </a:lnTo>
                  <a:lnTo>
                    <a:pt x="82" y="64"/>
                  </a:lnTo>
                  <a:lnTo>
                    <a:pt x="82" y="64"/>
                  </a:lnTo>
                  <a:close/>
                  <a:moveTo>
                    <a:pt x="56" y="86"/>
                  </a:moveTo>
                  <a:lnTo>
                    <a:pt x="54" y="86"/>
                  </a:lnTo>
                  <a:lnTo>
                    <a:pt x="50" y="86"/>
                  </a:lnTo>
                  <a:lnTo>
                    <a:pt x="54" y="86"/>
                  </a:lnTo>
                  <a:lnTo>
                    <a:pt x="54" y="82"/>
                  </a:lnTo>
                  <a:lnTo>
                    <a:pt x="56" y="82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close/>
                  <a:moveTo>
                    <a:pt x="26" y="152"/>
                  </a:moveTo>
                  <a:lnTo>
                    <a:pt x="26" y="150"/>
                  </a:lnTo>
                  <a:lnTo>
                    <a:pt x="26" y="146"/>
                  </a:lnTo>
                  <a:lnTo>
                    <a:pt x="26" y="142"/>
                  </a:lnTo>
                  <a:lnTo>
                    <a:pt x="26" y="138"/>
                  </a:lnTo>
                  <a:lnTo>
                    <a:pt x="26" y="134"/>
                  </a:lnTo>
                  <a:lnTo>
                    <a:pt x="26" y="130"/>
                  </a:lnTo>
                  <a:lnTo>
                    <a:pt x="26" y="126"/>
                  </a:lnTo>
                  <a:lnTo>
                    <a:pt x="24" y="126"/>
                  </a:lnTo>
                  <a:lnTo>
                    <a:pt x="24" y="122"/>
                  </a:lnTo>
                  <a:lnTo>
                    <a:pt x="26" y="122"/>
                  </a:lnTo>
                  <a:lnTo>
                    <a:pt x="30" y="122"/>
                  </a:lnTo>
                  <a:lnTo>
                    <a:pt x="34" y="120"/>
                  </a:lnTo>
                  <a:lnTo>
                    <a:pt x="38" y="116"/>
                  </a:lnTo>
                  <a:lnTo>
                    <a:pt x="42" y="116"/>
                  </a:lnTo>
                  <a:lnTo>
                    <a:pt x="42" y="120"/>
                  </a:lnTo>
                  <a:lnTo>
                    <a:pt x="46" y="120"/>
                  </a:lnTo>
                  <a:lnTo>
                    <a:pt x="42" y="122"/>
                  </a:lnTo>
                  <a:lnTo>
                    <a:pt x="46" y="122"/>
                  </a:lnTo>
                  <a:lnTo>
                    <a:pt x="46" y="126"/>
                  </a:lnTo>
                  <a:lnTo>
                    <a:pt x="46" y="130"/>
                  </a:lnTo>
                  <a:lnTo>
                    <a:pt x="46" y="134"/>
                  </a:lnTo>
                  <a:lnTo>
                    <a:pt x="46" y="138"/>
                  </a:lnTo>
                  <a:lnTo>
                    <a:pt x="46" y="142"/>
                  </a:lnTo>
                  <a:lnTo>
                    <a:pt x="46" y="146"/>
                  </a:lnTo>
                  <a:lnTo>
                    <a:pt x="46" y="150"/>
                  </a:lnTo>
                  <a:lnTo>
                    <a:pt x="42" y="152"/>
                  </a:lnTo>
                  <a:lnTo>
                    <a:pt x="42" y="156"/>
                  </a:lnTo>
                  <a:lnTo>
                    <a:pt x="38" y="156"/>
                  </a:lnTo>
                  <a:lnTo>
                    <a:pt x="34" y="152"/>
                  </a:lnTo>
                  <a:lnTo>
                    <a:pt x="34" y="156"/>
                  </a:lnTo>
                  <a:lnTo>
                    <a:pt x="34" y="160"/>
                  </a:lnTo>
                  <a:lnTo>
                    <a:pt x="30" y="160"/>
                  </a:lnTo>
                  <a:lnTo>
                    <a:pt x="26" y="156"/>
                  </a:lnTo>
                  <a:lnTo>
                    <a:pt x="26" y="160"/>
                  </a:lnTo>
                  <a:lnTo>
                    <a:pt x="26" y="156"/>
                  </a:lnTo>
                  <a:lnTo>
                    <a:pt x="26" y="152"/>
                  </a:lnTo>
                  <a:lnTo>
                    <a:pt x="26" y="152"/>
                  </a:lnTo>
                  <a:lnTo>
                    <a:pt x="26" y="152"/>
                  </a:lnTo>
                  <a:close/>
                  <a:moveTo>
                    <a:pt x="120" y="206"/>
                  </a:moveTo>
                  <a:lnTo>
                    <a:pt x="120" y="202"/>
                  </a:lnTo>
                  <a:lnTo>
                    <a:pt x="116" y="202"/>
                  </a:lnTo>
                  <a:lnTo>
                    <a:pt x="112" y="202"/>
                  </a:lnTo>
                  <a:lnTo>
                    <a:pt x="112" y="198"/>
                  </a:lnTo>
                  <a:lnTo>
                    <a:pt x="110" y="198"/>
                  </a:lnTo>
                  <a:lnTo>
                    <a:pt x="110" y="194"/>
                  </a:lnTo>
                  <a:lnTo>
                    <a:pt x="106" y="194"/>
                  </a:lnTo>
                  <a:lnTo>
                    <a:pt x="102" y="194"/>
                  </a:lnTo>
                  <a:lnTo>
                    <a:pt x="98" y="190"/>
                  </a:lnTo>
                  <a:lnTo>
                    <a:pt x="94" y="190"/>
                  </a:lnTo>
                  <a:lnTo>
                    <a:pt x="94" y="186"/>
                  </a:lnTo>
                  <a:lnTo>
                    <a:pt x="90" y="186"/>
                  </a:lnTo>
                  <a:lnTo>
                    <a:pt x="86" y="186"/>
                  </a:lnTo>
                  <a:lnTo>
                    <a:pt x="82" y="186"/>
                  </a:lnTo>
                  <a:lnTo>
                    <a:pt x="82" y="182"/>
                  </a:lnTo>
                  <a:lnTo>
                    <a:pt x="82" y="178"/>
                  </a:lnTo>
                  <a:lnTo>
                    <a:pt x="86" y="176"/>
                  </a:lnTo>
                  <a:lnTo>
                    <a:pt x="90" y="176"/>
                  </a:lnTo>
                  <a:lnTo>
                    <a:pt x="90" y="178"/>
                  </a:lnTo>
                  <a:lnTo>
                    <a:pt x="90" y="176"/>
                  </a:lnTo>
                  <a:lnTo>
                    <a:pt x="94" y="176"/>
                  </a:lnTo>
                  <a:lnTo>
                    <a:pt x="98" y="176"/>
                  </a:lnTo>
                  <a:lnTo>
                    <a:pt x="102" y="178"/>
                  </a:lnTo>
                  <a:lnTo>
                    <a:pt x="106" y="178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16" y="176"/>
                  </a:lnTo>
                  <a:lnTo>
                    <a:pt x="120" y="176"/>
                  </a:lnTo>
                  <a:lnTo>
                    <a:pt x="124" y="176"/>
                  </a:lnTo>
                  <a:lnTo>
                    <a:pt x="128" y="172"/>
                  </a:lnTo>
                  <a:lnTo>
                    <a:pt x="128" y="176"/>
                  </a:lnTo>
                  <a:lnTo>
                    <a:pt x="128" y="178"/>
                  </a:lnTo>
                  <a:lnTo>
                    <a:pt x="124" y="178"/>
                  </a:lnTo>
                  <a:lnTo>
                    <a:pt x="124" y="182"/>
                  </a:lnTo>
                  <a:lnTo>
                    <a:pt x="124" y="186"/>
                  </a:lnTo>
                  <a:lnTo>
                    <a:pt x="120" y="186"/>
                  </a:lnTo>
                  <a:lnTo>
                    <a:pt x="120" y="190"/>
                  </a:lnTo>
                  <a:lnTo>
                    <a:pt x="124" y="194"/>
                  </a:lnTo>
                  <a:lnTo>
                    <a:pt x="124" y="198"/>
                  </a:lnTo>
                  <a:lnTo>
                    <a:pt x="120" y="198"/>
                  </a:lnTo>
                  <a:lnTo>
                    <a:pt x="120" y="202"/>
                  </a:lnTo>
                  <a:lnTo>
                    <a:pt x="120" y="206"/>
                  </a:lnTo>
                  <a:lnTo>
                    <a:pt x="120" y="206"/>
                  </a:lnTo>
                  <a:lnTo>
                    <a:pt x="120" y="206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69" name="Freeform 109">
              <a:extLst>
                <a:ext uri="{FF2B5EF4-FFF2-40B4-BE49-F238E27FC236}">
                  <a16:creationId xmlns:a16="http://schemas.microsoft.com/office/drawing/2014/main" id="{8128C969-0165-8551-9B02-52B33E1C3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9861" y="1531428"/>
              <a:ext cx="35068" cy="15084"/>
            </a:xfrm>
            <a:custGeom>
              <a:avLst/>
              <a:gdLst>
                <a:gd name="T0" fmla="*/ 2 w 18"/>
                <a:gd name="T1" fmla="*/ 8 h 8"/>
                <a:gd name="T2" fmla="*/ 2 w 18"/>
                <a:gd name="T3" fmla="*/ 8 h 8"/>
                <a:gd name="T4" fmla="*/ 2 w 18"/>
                <a:gd name="T5" fmla="*/ 8 h 8"/>
                <a:gd name="T6" fmla="*/ 0 w 18"/>
                <a:gd name="T7" fmla="*/ 8 h 8"/>
                <a:gd name="T8" fmla="*/ 0 w 18"/>
                <a:gd name="T9" fmla="*/ 8 h 8"/>
                <a:gd name="T10" fmla="*/ 2 w 18"/>
                <a:gd name="T11" fmla="*/ 8 h 8"/>
                <a:gd name="T12" fmla="*/ 2 w 18"/>
                <a:gd name="T13" fmla="*/ 8 h 8"/>
                <a:gd name="T14" fmla="*/ 2 w 18"/>
                <a:gd name="T15" fmla="*/ 8 h 8"/>
                <a:gd name="T16" fmla="*/ 6 w 18"/>
                <a:gd name="T17" fmla="*/ 4 h 8"/>
                <a:gd name="T18" fmla="*/ 6 w 18"/>
                <a:gd name="T19" fmla="*/ 4 h 8"/>
                <a:gd name="T20" fmla="*/ 10 w 18"/>
                <a:gd name="T21" fmla="*/ 4 h 8"/>
                <a:gd name="T22" fmla="*/ 10 w 18"/>
                <a:gd name="T23" fmla="*/ 4 h 8"/>
                <a:gd name="T24" fmla="*/ 10 w 18"/>
                <a:gd name="T25" fmla="*/ 4 h 8"/>
                <a:gd name="T26" fmla="*/ 10 w 18"/>
                <a:gd name="T27" fmla="*/ 4 h 8"/>
                <a:gd name="T28" fmla="*/ 10 w 18"/>
                <a:gd name="T29" fmla="*/ 4 h 8"/>
                <a:gd name="T30" fmla="*/ 10 w 18"/>
                <a:gd name="T31" fmla="*/ 0 h 8"/>
                <a:gd name="T32" fmla="*/ 10 w 18"/>
                <a:gd name="T33" fmla="*/ 0 h 8"/>
                <a:gd name="T34" fmla="*/ 10 w 18"/>
                <a:gd name="T35" fmla="*/ 0 h 8"/>
                <a:gd name="T36" fmla="*/ 10 w 18"/>
                <a:gd name="T37" fmla="*/ 0 h 8"/>
                <a:gd name="T38" fmla="*/ 14 w 18"/>
                <a:gd name="T39" fmla="*/ 0 h 8"/>
                <a:gd name="T40" fmla="*/ 14 w 18"/>
                <a:gd name="T41" fmla="*/ 0 h 8"/>
                <a:gd name="T42" fmla="*/ 18 w 18"/>
                <a:gd name="T43" fmla="*/ 0 h 8"/>
                <a:gd name="T44" fmla="*/ 18 w 18"/>
                <a:gd name="T45" fmla="*/ 0 h 8"/>
                <a:gd name="T46" fmla="*/ 18 w 18"/>
                <a:gd name="T47" fmla="*/ 0 h 8"/>
                <a:gd name="T48" fmla="*/ 18 w 18"/>
                <a:gd name="T49" fmla="*/ 0 h 8"/>
                <a:gd name="T50" fmla="*/ 18 w 18"/>
                <a:gd name="T51" fmla="*/ 0 h 8"/>
                <a:gd name="T52" fmla="*/ 18 w 18"/>
                <a:gd name="T53" fmla="*/ 0 h 8"/>
                <a:gd name="T54" fmla="*/ 18 w 18"/>
                <a:gd name="T55" fmla="*/ 4 h 8"/>
                <a:gd name="T56" fmla="*/ 18 w 18"/>
                <a:gd name="T57" fmla="*/ 4 h 8"/>
                <a:gd name="T58" fmla="*/ 18 w 18"/>
                <a:gd name="T59" fmla="*/ 4 h 8"/>
                <a:gd name="T60" fmla="*/ 14 w 18"/>
                <a:gd name="T61" fmla="*/ 4 h 8"/>
                <a:gd name="T62" fmla="*/ 14 w 18"/>
                <a:gd name="T63" fmla="*/ 4 h 8"/>
                <a:gd name="T64" fmla="*/ 10 w 18"/>
                <a:gd name="T65" fmla="*/ 4 h 8"/>
                <a:gd name="T66" fmla="*/ 10 w 18"/>
                <a:gd name="T67" fmla="*/ 4 h 8"/>
                <a:gd name="T68" fmla="*/ 10 w 18"/>
                <a:gd name="T69" fmla="*/ 4 h 8"/>
                <a:gd name="T70" fmla="*/ 10 w 18"/>
                <a:gd name="T71" fmla="*/ 4 h 8"/>
                <a:gd name="T72" fmla="*/ 10 w 18"/>
                <a:gd name="T73" fmla="*/ 4 h 8"/>
                <a:gd name="T74" fmla="*/ 10 w 18"/>
                <a:gd name="T75" fmla="*/ 4 h 8"/>
                <a:gd name="T76" fmla="*/ 6 w 18"/>
                <a:gd name="T77" fmla="*/ 4 h 8"/>
                <a:gd name="T78" fmla="*/ 6 w 18"/>
                <a:gd name="T79" fmla="*/ 4 h 8"/>
                <a:gd name="T80" fmla="*/ 6 w 18"/>
                <a:gd name="T81" fmla="*/ 4 h 8"/>
                <a:gd name="T82" fmla="*/ 2 w 18"/>
                <a:gd name="T83" fmla="*/ 8 h 8"/>
                <a:gd name="T84" fmla="*/ 2 w 18"/>
                <a:gd name="T85" fmla="*/ 8 h 8"/>
                <a:gd name="T86" fmla="*/ 2 w 18"/>
                <a:gd name="T87" fmla="*/ 8 h 8"/>
                <a:gd name="T88" fmla="*/ 2 w 18"/>
                <a:gd name="T89" fmla="*/ 8 h 8"/>
                <a:gd name="T90" fmla="*/ 2 w 18"/>
                <a:gd name="T91" fmla="*/ 8 h 8"/>
                <a:gd name="T92" fmla="*/ 2 w 18"/>
                <a:gd name="T93" fmla="*/ 8 h 8"/>
                <a:gd name="T94" fmla="*/ 2 w 18"/>
                <a:gd name="T95" fmla="*/ 8 h 8"/>
                <a:gd name="T96" fmla="*/ 2 w 18"/>
                <a:gd name="T9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" h="8">
                  <a:moveTo>
                    <a:pt x="2" y="8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6" y="4"/>
                  </a:lnTo>
                  <a:lnTo>
                    <a:pt x="6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70" name="Freeform 110">
              <a:extLst>
                <a:ext uri="{FF2B5EF4-FFF2-40B4-BE49-F238E27FC236}">
                  <a16:creationId xmlns:a16="http://schemas.microsoft.com/office/drawing/2014/main" id="{C6A870AF-24F4-3585-010D-BB06FE102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3699" y="2123478"/>
              <a:ext cx="194822" cy="98046"/>
            </a:xfrm>
            <a:custGeom>
              <a:avLst/>
              <a:gdLst>
                <a:gd name="T0" fmla="*/ 48 w 100"/>
                <a:gd name="T1" fmla="*/ 4 h 52"/>
                <a:gd name="T2" fmla="*/ 56 w 100"/>
                <a:gd name="T3" fmla="*/ 0 h 52"/>
                <a:gd name="T4" fmla="*/ 60 w 100"/>
                <a:gd name="T5" fmla="*/ 0 h 52"/>
                <a:gd name="T6" fmla="*/ 60 w 100"/>
                <a:gd name="T7" fmla="*/ 0 h 52"/>
                <a:gd name="T8" fmla="*/ 64 w 100"/>
                <a:gd name="T9" fmla="*/ 4 h 52"/>
                <a:gd name="T10" fmla="*/ 68 w 100"/>
                <a:gd name="T11" fmla="*/ 4 h 52"/>
                <a:gd name="T12" fmla="*/ 78 w 100"/>
                <a:gd name="T13" fmla="*/ 10 h 52"/>
                <a:gd name="T14" fmla="*/ 82 w 100"/>
                <a:gd name="T15" fmla="*/ 10 h 52"/>
                <a:gd name="T16" fmla="*/ 86 w 100"/>
                <a:gd name="T17" fmla="*/ 10 h 52"/>
                <a:gd name="T18" fmla="*/ 90 w 100"/>
                <a:gd name="T19" fmla="*/ 10 h 52"/>
                <a:gd name="T20" fmla="*/ 94 w 100"/>
                <a:gd name="T21" fmla="*/ 14 h 52"/>
                <a:gd name="T22" fmla="*/ 98 w 100"/>
                <a:gd name="T23" fmla="*/ 18 h 52"/>
                <a:gd name="T24" fmla="*/ 94 w 100"/>
                <a:gd name="T25" fmla="*/ 26 h 52"/>
                <a:gd name="T26" fmla="*/ 98 w 100"/>
                <a:gd name="T27" fmla="*/ 30 h 52"/>
                <a:gd name="T28" fmla="*/ 100 w 100"/>
                <a:gd name="T29" fmla="*/ 36 h 52"/>
                <a:gd name="T30" fmla="*/ 100 w 100"/>
                <a:gd name="T31" fmla="*/ 40 h 52"/>
                <a:gd name="T32" fmla="*/ 94 w 100"/>
                <a:gd name="T33" fmla="*/ 48 h 52"/>
                <a:gd name="T34" fmla="*/ 94 w 100"/>
                <a:gd name="T35" fmla="*/ 52 h 52"/>
                <a:gd name="T36" fmla="*/ 82 w 100"/>
                <a:gd name="T37" fmla="*/ 48 h 52"/>
                <a:gd name="T38" fmla="*/ 78 w 100"/>
                <a:gd name="T39" fmla="*/ 52 h 52"/>
                <a:gd name="T40" fmla="*/ 78 w 100"/>
                <a:gd name="T41" fmla="*/ 52 h 52"/>
                <a:gd name="T42" fmla="*/ 74 w 100"/>
                <a:gd name="T43" fmla="*/ 52 h 52"/>
                <a:gd name="T44" fmla="*/ 72 w 100"/>
                <a:gd name="T45" fmla="*/ 48 h 52"/>
                <a:gd name="T46" fmla="*/ 68 w 100"/>
                <a:gd name="T47" fmla="*/ 44 h 52"/>
                <a:gd name="T48" fmla="*/ 60 w 100"/>
                <a:gd name="T49" fmla="*/ 40 h 52"/>
                <a:gd name="T50" fmla="*/ 56 w 100"/>
                <a:gd name="T51" fmla="*/ 40 h 52"/>
                <a:gd name="T52" fmla="*/ 56 w 100"/>
                <a:gd name="T53" fmla="*/ 36 h 52"/>
                <a:gd name="T54" fmla="*/ 48 w 100"/>
                <a:gd name="T55" fmla="*/ 40 h 52"/>
                <a:gd name="T56" fmla="*/ 46 w 100"/>
                <a:gd name="T57" fmla="*/ 40 h 52"/>
                <a:gd name="T58" fmla="*/ 42 w 100"/>
                <a:gd name="T59" fmla="*/ 40 h 52"/>
                <a:gd name="T60" fmla="*/ 34 w 100"/>
                <a:gd name="T61" fmla="*/ 36 h 52"/>
                <a:gd name="T62" fmla="*/ 34 w 100"/>
                <a:gd name="T63" fmla="*/ 36 h 52"/>
                <a:gd name="T64" fmla="*/ 30 w 100"/>
                <a:gd name="T65" fmla="*/ 40 h 52"/>
                <a:gd name="T66" fmla="*/ 26 w 100"/>
                <a:gd name="T67" fmla="*/ 36 h 52"/>
                <a:gd name="T68" fmla="*/ 22 w 100"/>
                <a:gd name="T69" fmla="*/ 36 h 52"/>
                <a:gd name="T70" fmla="*/ 22 w 100"/>
                <a:gd name="T71" fmla="*/ 36 h 52"/>
                <a:gd name="T72" fmla="*/ 16 w 100"/>
                <a:gd name="T73" fmla="*/ 36 h 52"/>
                <a:gd name="T74" fmla="*/ 4 w 100"/>
                <a:gd name="T75" fmla="*/ 40 h 52"/>
                <a:gd name="T76" fmla="*/ 4 w 100"/>
                <a:gd name="T77" fmla="*/ 40 h 52"/>
                <a:gd name="T78" fmla="*/ 0 w 100"/>
                <a:gd name="T79" fmla="*/ 44 h 52"/>
                <a:gd name="T80" fmla="*/ 0 w 100"/>
                <a:gd name="T81" fmla="*/ 40 h 52"/>
                <a:gd name="T82" fmla="*/ 0 w 100"/>
                <a:gd name="T83" fmla="*/ 32 h 52"/>
                <a:gd name="T84" fmla="*/ 0 w 100"/>
                <a:gd name="T85" fmla="*/ 32 h 52"/>
                <a:gd name="T86" fmla="*/ 0 w 100"/>
                <a:gd name="T87" fmla="*/ 30 h 52"/>
                <a:gd name="T88" fmla="*/ 4 w 100"/>
                <a:gd name="T89" fmla="*/ 26 h 52"/>
                <a:gd name="T90" fmla="*/ 4 w 100"/>
                <a:gd name="T91" fmla="*/ 22 h 52"/>
                <a:gd name="T92" fmla="*/ 4 w 100"/>
                <a:gd name="T93" fmla="*/ 18 h 52"/>
                <a:gd name="T94" fmla="*/ 8 w 100"/>
                <a:gd name="T95" fmla="*/ 10 h 52"/>
                <a:gd name="T96" fmla="*/ 12 w 100"/>
                <a:gd name="T97" fmla="*/ 10 h 52"/>
                <a:gd name="T98" fmla="*/ 16 w 100"/>
                <a:gd name="T99" fmla="*/ 10 h 52"/>
                <a:gd name="T100" fmla="*/ 22 w 100"/>
                <a:gd name="T101" fmla="*/ 6 h 52"/>
                <a:gd name="T102" fmla="*/ 26 w 100"/>
                <a:gd name="T103" fmla="*/ 14 h 52"/>
                <a:gd name="T104" fmla="*/ 30 w 100"/>
                <a:gd name="T105" fmla="*/ 14 h 52"/>
                <a:gd name="T106" fmla="*/ 30 w 100"/>
                <a:gd name="T107" fmla="*/ 22 h 52"/>
                <a:gd name="T108" fmla="*/ 38 w 100"/>
                <a:gd name="T109" fmla="*/ 26 h 52"/>
                <a:gd name="T110" fmla="*/ 42 w 100"/>
                <a:gd name="T111" fmla="*/ 22 h 52"/>
                <a:gd name="T112" fmla="*/ 48 w 100"/>
                <a:gd name="T113" fmla="*/ 18 h 52"/>
                <a:gd name="T114" fmla="*/ 46 w 100"/>
                <a:gd name="T115" fmla="*/ 6 h 52"/>
                <a:gd name="T116" fmla="*/ 46 w 100"/>
                <a:gd name="T117" fmla="*/ 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0" h="52">
                  <a:moveTo>
                    <a:pt x="46" y="4"/>
                  </a:moveTo>
                  <a:lnTo>
                    <a:pt x="46" y="4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4" y="10"/>
                  </a:lnTo>
                  <a:lnTo>
                    <a:pt x="94" y="14"/>
                  </a:lnTo>
                  <a:lnTo>
                    <a:pt x="90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4" y="22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8" y="26"/>
                  </a:lnTo>
                  <a:lnTo>
                    <a:pt x="98" y="26"/>
                  </a:lnTo>
                  <a:lnTo>
                    <a:pt x="98" y="26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8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4" y="44"/>
                  </a:lnTo>
                  <a:lnTo>
                    <a:pt x="94" y="48"/>
                  </a:lnTo>
                  <a:lnTo>
                    <a:pt x="94" y="48"/>
                  </a:lnTo>
                  <a:lnTo>
                    <a:pt x="94" y="48"/>
                  </a:lnTo>
                  <a:lnTo>
                    <a:pt x="94" y="48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2" y="48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4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8" y="18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4"/>
                  </a:lnTo>
                  <a:lnTo>
                    <a:pt x="46" y="10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71" name="Freeform 111">
              <a:extLst>
                <a:ext uri="{FF2B5EF4-FFF2-40B4-BE49-F238E27FC236}">
                  <a16:creationId xmlns:a16="http://schemas.microsoft.com/office/drawing/2014/main" id="{58D3A31C-FA30-7E5E-3BC5-23831721A9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65906" y="2191356"/>
              <a:ext cx="167547" cy="105588"/>
            </a:xfrm>
            <a:custGeom>
              <a:avLst/>
              <a:gdLst>
                <a:gd name="T0" fmla="*/ 38 w 86"/>
                <a:gd name="T1" fmla="*/ 50 h 56"/>
                <a:gd name="T2" fmla="*/ 34 w 86"/>
                <a:gd name="T3" fmla="*/ 46 h 56"/>
                <a:gd name="T4" fmla="*/ 26 w 86"/>
                <a:gd name="T5" fmla="*/ 46 h 56"/>
                <a:gd name="T6" fmla="*/ 26 w 86"/>
                <a:gd name="T7" fmla="*/ 42 h 56"/>
                <a:gd name="T8" fmla="*/ 30 w 86"/>
                <a:gd name="T9" fmla="*/ 38 h 56"/>
                <a:gd name="T10" fmla="*/ 26 w 86"/>
                <a:gd name="T11" fmla="*/ 30 h 56"/>
                <a:gd name="T12" fmla="*/ 22 w 86"/>
                <a:gd name="T13" fmla="*/ 30 h 56"/>
                <a:gd name="T14" fmla="*/ 18 w 86"/>
                <a:gd name="T15" fmla="*/ 30 h 56"/>
                <a:gd name="T16" fmla="*/ 8 w 86"/>
                <a:gd name="T17" fmla="*/ 26 h 56"/>
                <a:gd name="T18" fmla="*/ 8 w 86"/>
                <a:gd name="T19" fmla="*/ 26 h 56"/>
                <a:gd name="T20" fmla="*/ 4 w 86"/>
                <a:gd name="T21" fmla="*/ 16 h 56"/>
                <a:gd name="T22" fmla="*/ 4 w 86"/>
                <a:gd name="T23" fmla="*/ 12 h 56"/>
                <a:gd name="T24" fmla="*/ 4 w 86"/>
                <a:gd name="T25" fmla="*/ 8 h 56"/>
                <a:gd name="T26" fmla="*/ 8 w 86"/>
                <a:gd name="T27" fmla="*/ 8 h 56"/>
                <a:gd name="T28" fmla="*/ 8 w 86"/>
                <a:gd name="T29" fmla="*/ 4 h 56"/>
                <a:gd name="T30" fmla="*/ 18 w 86"/>
                <a:gd name="T31" fmla="*/ 0 h 56"/>
                <a:gd name="T32" fmla="*/ 22 w 86"/>
                <a:gd name="T33" fmla="*/ 0 h 56"/>
                <a:gd name="T34" fmla="*/ 26 w 86"/>
                <a:gd name="T35" fmla="*/ 0 h 56"/>
                <a:gd name="T36" fmla="*/ 30 w 86"/>
                <a:gd name="T37" fmla="*/ 0 h 56"/>
                <a:gd name="T38" fmla="*/ 30 w 86"/>
                <a:gd name="T39" fmla="*/ 0 h 56"/>
                <a:gd name="T40" fmla="*/ 34 w 86"/>
                <a:gd name="T41" fmla="*/ 0 h 56"/>
                <a:gd name="T42" fmla="*/ 38 w 86"/>
                <a:gd name="T43" fmla="*/ 0 h 56"/>
                <a:gd name="T44" fmla="*/ 44 w 86"/>
                <a:gd name="T45" fmla="*/ 0 h 56"/>
                <a:gd name="T46" fmla="*/ 48 w 86"/>
                <a:gd name="T47" fmla="*/ 4 h 56"/>
                <a:gd name="T48" fmla="*/ 52 w 86"/>
                <a:gd name="T49" fmla="*/ 4 h 56"/>
                <a:gd name="T50" fmla="*/ 56 w 86"/>
                <a:gd name="T51" fmla="*/ 0 h 56"/>
                <a:gd name="T52" fmla="*/ 60 w 86"/>
                <a:gd name="T53" fmla="*/ 0 h 56"/>
                <a:gd name="T54" fmla="*/ 60 w 86"/>
                <a:gd name="T55" fmla="*/ 4 h 56"/>
                <a:gd name="T56" fmla="*/ 68 w 86"/>
                <a:gd name="T57" fmla="*/ 8 h 56"/>
                <a:gd name="T58" fmla="*/ 74 w 86"/>
                <a:gd name="T59" fmla="*/ 12 h 56"/>
                <a:gd name="T60" fmla="*/ 78 w 86"/>
                <a:gd name="T61" fmla="*/ 16 h 56"/>
                <a:gd name="T62" fmla="*/ 82 w 86"/>
                <a:gd name="T63" fmla="*/ 16 h 56"/>
                <a:gd name="T64" fmla="*/ 78 w 86"/>
                <a:gd name="T65" fmla="*/ 24 h 56"/>
                <a:gd name="T66" fmla="*/ 82 w 86"/>
                <a:gd name="T67" fmla="*/ 24 h 56"/>
                <a:gd name="T68" fmla="*/ 82 w 86"/>
                <a:gd name="T69" fmla="*/ 26 h 56"/>
                <a:gd name="T70" fmla="*/ 78 w 86"/>
                <a:gd name="T71" fmla="*/ 30 h 56"/>
                <a:gd name="T72" fmla="*/ 70 w 86"/>
                <a:gd name="T73" fmla="*/ 34 h 56"/>
                <a:gd name="T74" fmla="*/ 70 w 86"/>
                <a:gd name="T75" fmla="*/ 38 h 56"/>
                <a:gd name="T76" fmla="*/ 68 w 86"/>
                <a:gd name="T77" fmla="*/ 42 h 56"/>
                <a:gd name="T78" fmla="*/ 68 w 86"/>
                <a:gd name="T79" fmla="*/ 46 h 56"/>
                <a:gd name="T80" fmla="*/ 70 w 86"/>
                <a:gd name="T81" fmla="*/ 50 h 56"/>
                <a:gd name="T82" fmla="*/ 68 w 86"/>
                <a:gd name="T83" fmla="*/ 50 h 56"/>
                <a:gd name="T84" fmla="*/ 64 w 86"/>
                <a:gd name="T85" fmla="*/ 50 h 56"/>
                <a:gd name="T86" fmla="*/ 60 w 86"/>
                <a:gd name="T87" fmla="*/ 50 h 56"/>
                <a:gd name="T88" fmla="*/ 60 w 86"/>
                <a:gd name="T89" fmla="*/ 50 h 56"/>
                <a:gd name="T90" fmla="*/ 56 w 86"/>
                <a:gd name="T91" fmla="*/ 52 h 56"/>
                <a:gd name="T92" fmla="*/ 52 w 86"/>
                <a:gd name="T93" fmla="*/ 52 h 56"/>
                <a:gd name="T94" fmla="*/ 48 w 86"/>
                <a:gd name="T95" fmla="*/ 52 h 56"/>
                <a:gd name="T96" fmla="*/ 44 w 86"/>
                <a:gd name="T97" fmla="*/ 52 h 56"/>
                <a:gd name="T98" fmla="*/ 42 w 86"/>
                <a:gd name="T99" fmla="*/ 52 h 56"/>
                <a:gd name="T100" fmla="*/ 38 w 86"/>
                <a:gd name="T101" fmla="*/ 52 h 56"/>
                <a:gd name="T102" fmla="*/ 4 w 86"/>
                <a:gd name="T103" fmla="*/ 24 h 56"/>
                <a:gd name="T104" fmla="*/ 4 w 86"/>
                <a:gd name="T105" fmla="*/ 20 h 56"/>
                <a:gd name="T106" fmla="*/ 4 w 86"/>
                <a:gd name="T107" fmla="*/ 16 h 56"/>
                <a:gd name="T108" fmla="*/ 4 w 86"/>
                <a:gd name="T109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6" h="56">
                  <a:moveTo>
                    <a:pt x="38" y="52"/>
                  </a:moveTo>
                  <a:lnTo>
                    <a:pt x="38" y="52"/>
                  </a:lnTo>
                  <a:lnTo>
                    <a:pt x="38" y="52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70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8" y="12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2" y="20"/>
                  </a:lnTo>
                  <a:lnTo>
                    <a:pt x="82" y="24"/>
                  </a:lnTo>
                  <a:lnTo>
                    <a:pt x="78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6" y="24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68" y="42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70" y="46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4" y="46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close/>
                  <a:moveTo>
                    <a:pt x="4" y="26"/>
                  </a:moveTo>
                  <a:lnTo>
                    <a:pt x="0" y="26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72" name="Freeform 112">
              <a:extLst>
                <a:ext uri="{FF2B5EF4-FFF2-40B4-BE49-F238E27FC236}">
                  <a16:creationId xmlns:a16="http://schemas.microsoft.com/office/drawing/2014/main" id="{6FF17F15-821E-6429-2787-86625B262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2884" y="2447785"/>
              <a:ext cx="19482" cy="26397"/>
            </a:xfrm>
            <a:custGeom>
              <a:avLst/>
              <a:gdLst>
                <a:gd name="T0" fmla="*/ 6 w 10"/>
                <a:gd name="T1" fmla="*/ 10 h 14"/>
                <a:gd name="T2" fmla="*/ 6 w 10"/>
                <a:gd name="T3" fmla="*/ 14 h 14"/>
                <a:gd name="T4" fmla="*/ 6 w 10"/>
                <a:gd name="T5" fmla="*/ 14 h 14"/>
                <a:gd name="T6" fmla="*/ 6 w 10"/>
                <a:gd name="T7" fmla="*/ 14 h 14"/>
                <a:gd name="T8" fmla="*/ 6 w 10"/>
                <a:gd name="T9" fmla="*/ 14 h 14"/>
                <a:gd name="T10" fmla="*/ 6 w 10"/>
                <a:gd name="T11" fmla="*/ 10 h 14"/>
                <a:gd name="T12" fmla="*/ 6 w 10"/>
                <a:gd name="T13" fmla="*/ 10 h 14"/>
                <a:gd name="T14" fmla="*/ 4 w 10"/>
                <a:gd name="T15" fmla="*/ 10 h 14"/>
                <a:gd name="T16" fmla="*/ 4 w 10"/>
                <a:gd name="T17" fmla="*/ 14 h 14"/>
                <a:gd name="T18" fmla="*/ 4 w 10"/>
                <a:gd name="T19" fmla="*/ 14 h 14"/>
                <a:gd name="T20" fmla="*/ 4 w 10"/>
                <a:gd name="T21" fmla="*/ 14 h 14"/>
                <a:gd name="T22" fmla="*/ 0 w 10"/>
                <a:gd name="T23" fmla="*/ 14 h 14"/>
                <a:gd name="T24" fmla="*/ 0 w 10"/>
                <a:gd name="T25" fmla="*/ 10 h 14"/>
                <a:gd name="T26" fmla="*/ 0 w 10"/>
                <a:gd name="T27" fmla="*/ 10 h 14"/>
                <a:gd name="T28" fmla="*/ 0 w 10"/>
                <a:gd name="T29" fmla="*/ 10 h 14"/>
                <a:gd name="T30" fmla="*/ 0 w 10"/>
                <a:gd name="T31" fmla="*/ 10 h 14"/>
                <a:gd name="T32" fmla="*/ 0 w 10"/>
                <a:gd name="T33" fmla="*/ 10 h 14"/>
                <a:gd name="T34" fmla="*/ 0 w 10"/>
                <a:gd name="T35" fmla="*/ 10 h 14"/>
                <a:gd name="T36" fmla="*/ 0 w 10"/>
                <a:gd name="T37" fmla="*/ 10 h 14"/>
                <a:gd name="T38" fmla="*/ 0 w 10"/>
                <a:gd name="T39" fmla="*/ 6 h 14"/>
                <a:gd name="T40" fmla="*/ 0 w 10"/>
                <a:gd name="T41" fmla="*/ 6 h 14"/>
                <a:gd name="T42" fmla="*/ 0 w 10"/>
                <a:gd name="T43" fmla="*/ 6 h 14"/>
                <a:gd name="T44" fmla="*/ 0 w 10"/>
                <a:gd name="T45" fmla="*/ 6 h 14"/>
                <a:gd name="T46" fmla="*/ 0 w 10"/>
                <a:gd name="T47" fmla="*/ 6 h 14"/>
                <a:gd name="T48" fmla="*/ 0 w 10"/>
                <a:gd name="T49" fmla="*/ 2 h 14"/>
                <a:gd name="T50" fmla="*/ 0 w 10"/>
                <a:gd name="T51" fmla="*/ 2 h 14"/>
                <a:gd name="T52" fmla="*/ 0 w 10"/>
                <a:gd name="T53" fmla="*/ 2 h 14"/>
                <a:gd name="T54" fmla="*/ 0 w 10"/>
                <a:gd name="T55" fmla="*/ 0 h 14"/>
                <a:gd name="T56" fmla="*/ 0 w 10"/>
                <a:gd name="T57" fmla="*/ 0 h 14"/>
                <a:gd name="T58" fmla="*/ 4 w 10"/>
                <a:gd name="T59" fmla="*/ 0 h 14"/>
                <a:gd name="T60" fmla="*/ 4 w 10"/>
                <a:gd name="T61" fmla="*/ 0 h 14"/>
                <a:gd name="T62" fmla="*/ 4 w 10"/>
                <a:gd name="T63" fmla="*/ 0 h 14"/>
                <a:gd name="T64" fmla="*/ 4 w 10"/>
                <a:gd name="T65" fmla="*/ 0 h 14"/>
                <a:gd name="T66" fmla="*/ 4 w 10"/>
                <a:gd name="T67" fmla="*/ 0 h 14"/>
                <a:gd name="T68" fmla="*/ 4 w 10"/>
                <a:gd name="T69" fmla="*/ 0 h 14"/>
                <a:gd name="T70" fmla="*/ 4 w 10"/>
                <a:gd name="T71" fmla="*/ 0 h 14"/>
                <a:gd name="T72" fmla="*/ 4 w 10"/>
                <a:gd name="T73" fmla="*/ 0 h 14"/>
                <a:gd name="T74" fmla="*/ 4 w 10"/>
                <a:gd name="T75" fmla="*/ 0 h 14"/>
                <a:gd name="T76" fmla="*/ 4 w 10"/>
                <a:gd name="T77" fmla="*/ 2 h 14"/>
                <a:gd name="T78" fmla="*/ 4 w 10"/>
                <a:gd name="T79" fmla="*/ 2 h 14"/>
                <a:gd name="T80" fmla="*/ 4 w 10"/>
                <a:gd name="T81" fmla="*/ 2 h 14"/>
                <a:gd name="T82" fmla="*/ 6 w 10"/>
                <a:gd name="T83" fmla="*/ 2 h 14"/>
                <a:gd name="T84" fmla="*/ 6 w 10"/>
                <a:gd name="T85" fmla="*/ 2 h 14"/>
                <a:gd name="T86" fmla="*/ 6 w 10"/>
                <a:gd name="T87" fmla="*/ 6 h 14"/>
                <a:gd name="T88" fmla="*/ 6 w 10"/>
                <a:gd name="T89" fmla="*/ 6 h 14"/>
                <a:gd name="T90" fmla="*/ 6 w 10"/>
                <a:gd name="T91" fmla="*/ 6 h 14"/>
                <a:gd name="T92" fmla="*/ 6 w 10"/>
                <a:gd name="T93" fmla="*/ 6 h 14"/>
                <a:gd name="T94" fmla="*/ 10 w 10"/>
                <a:gd name="T95" fmla="*/ 6 h 14"/>
                <a:gd name="T96" fmla="*/ 10 w 10"/>
                <a:gd name="T97" fmla="*/ 6 h 14"/>
                <a:gd name="T98" fmla="*/ 10 w 10"/>
                <a:gd name="T99" fmla="*/ 6 h 14"/>
                <a:gd name="T100" fmla="*/ 10 w 10"/>
                <a:gd name="T101" fmla="*/ 6 h 14"/>
                <a:gd name="T102" fmla="*/ 6 w 10"/>
                <a:gd name="T103" fmla="*/ 10 h 14"/>
                <a:gd name="T104" fmla="*/ 6 w 10"/>
                <a:gd name="T105" fmla="*/ 10 h 14"/>
                <a:gd name="T106" fmla="*/ 6 w 10"/>
                <a:gd name="T107" fmla="*/ 10 h 14"/>
                <a:gd name="T108" fmla="*/ 6 w 10"/>
                <a:gd name="T109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" h="14">
                  <a:moveTo>
                    <a:pt x="6" y="10"/>
                  </a:move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73" name="Freeform 113">
              <a:extLst>
                <a:ext uri="{FF2B5EF4-FFF2-40B4-BE49-F238E27FC236}">
                  <a16:creationId xmlns:a16="http://schemas.microsoft.com/office/drawing/2014/main" id="{F1C8AB5E-00B1-07CA-AD90-6011F5664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8113" y="2738153"/>
              <a:ext cx="66239" cy="56565"/>
            </a:xfrm>
            <a:custGeom>
              <a:avLst/>
              <a:gdLst>
                <a:gd name="T0" fmla="*/ 0 w 34"/>
                <a:gd name="T1" fmla="*/ 12 h 30"/>
                <a:gd name="T2" fmla="*/ 4 w 34"/>
                <a:gd name="T3" fmla="*/ 12 h 30"/>
                <a:gd name="T4" fmla="*/ 4 w 34"/>
                <a:gd name="T5" fmla="*/ 8 h 30"/>
                <a:gd name="T6" fmla="*/ 4 w 34"/>
                <a:gd name="T7" fmla="*/ 8 h 30"/>
                <a:gd name="T8" fmla="*/ 4 w 34"/>
                <a:gd name="T9" fmla="*/ 4 h 30"/>
                <a:gd name="T10" fmla="*/ 8 w 34"/>
                <a:gd name="T11" fmla="*/ 4 h 30"/>
                <a:gd name="T12" fmla="*/ 12 w 34"/>
                <a:gd name="T13" fmla="*/ 4 h 30"/>
                <a:gd name="T14" fmla="*/ 12 w 34"/>
                <a:gd name="T15" fmla="*/ 4 h 30"/>
                <a:gd name="T16" fmla="*/ 16 w 34"/>
                <a:gd name="T17" fmla="*/ 4 h 30"/>
                <a:gd name="T18" fmla="*/ 16 w 34"/>
                <a:gd name="T19" fmla="*/ 4 h 30"/>
                <a:gd name="T20" fmla="*/ 20 w 34"/>
                <a:gd name="T21" fmla="*/ 0 h 30"/>
                <a:gd name="T22" fmla="*/ 22 w 34"/>
                <a:gd name="T23" fmla="*/ 0 h 30"/>
                <a:gd name="T24" fmla="*/ 22 w 34"/>
                <a:gd name="T25" fmla="*/ 0 h 30"/>
                <a:gd name="T26" fmla="*/ 26 w 34"/>
                <a:gd name="T27" fmla="*/ 0 h 30"/>
                <a:gd name="T28" fmla="*/ 26 w 34"/>
                <a:gd name="T29" fmla="*/ 4 h 30"/>
                <a:gd name="T30" fmla="*/ 30 w 34"/>
                <a:gd name="T31" fmla="*/ 4 h 30"/>
                <a:gd name="T32" fmla="*/ 34 w 34"/>
                <a:gd name="T33" fmla="*/ 8 h 30"/>
                <a:gd name="T34" fmla="*/ 34 w 34"/>
                <a:gd name="T35" fmla="*/ 12 h 30"/>
                <a:gd name="T36" fmla="*/ 34 w 34"/>
                <a:gd name="T37" fmla="*/ 12 h 30"/>
                <a:gd name="T38" fmla="*/ 34 w 34"/>
                <a:gd name="T39" fmla="*/ 12 h 30"/>
                <a:gd name="T40" fmla="*/ 34 w 34"/>
                <a:gd name="T41" fmla="*/ 16 h 30"/>
                <a:gd name="T42" fmla="*/ 34 w 34"/>
                <a:gd name="T43" fmla="*/ 16 h 30"/>
                <a:gd name="T44" fmla="*/ 34 w 34"/>
                <a:gd name="T45" fmla="*/ 20 h 30"/>
                <a:gd name="T46" fmla="*/ 34 w 34"/>
                <a:gd name="T47" fmla="*/ 20 h 30"/>
                <a:gd name="T48" fmla="*/ 34 w 34"/>
                <a:gd name="T49" fmla="*/ 20 h 30"/>
                <a:gd name="T50" fmla="*/ 30 w 34"/>
                <a:gd name="T51" fmla="*/ 24 h 30"/>
                <a:gd name="T52" fmla="*/ 30 w 34"/>
                <a:gd name="T53" fmla="*/ 24 h 30"/>
                <a:gd name="T54" fmla="*/ 30 w 34"/>
                <a:gd name="T55" fmla="*/ 26 h 30"/>
                <a:gd name="T56" fmla="*/ 26 w 34"/>
                <a:gd name="T57" fmla="*/ 26 h 30"/>
                <a:gd name="T58" fmla="*/ 26 w 34"/>
                <a:gd name="T59" fmla="*/ 24 h 30"/>
                <a:gd name="T60" fmla="*/ 22 w 34"/>
                <a:gd name="T61" fmla="*/ 24 h 30"/>
                <a:gd name="T62" fmla="*/ 20 w 34"/>
                <a:gd name="T63" fmla="*/ 26 h 30"/>
                <a:gd name="T64" fmla="*/ 20 w 34"/>
                <a:gd name="T65" fmla="*/ 30 h 30"/>
                <a:gd name="T66" fmla="*/ 16 w 34"/>
                <a:gd name="T67" fmla="*/ 30 h 30"/>
                <a:gd name="T68" fmla="*/ 16 w 34"/>
                <a:gd name="T69" fmla="*/ 30 h 30"/>
                <a:gd name="T70" fmla="*/ 12 w 34"/>
                <a:gd name="T71" fmla="*/ 30 h 30"/>
                <a:gd name="T72" fmla="*/ 12 w 34"/>
                <a:gd name="T73" fmla="*/ 30 h 30"/>
                <a:gd name="T74" fmla="*/ 8 w 34"/>
                <a:gd name="T75" fmla="*/ 30 h 30"/>
                <a:gd name="T76" fmla="*/ 8 w 34"/>
                <a:gd name="T77" fmla="*/ 30 h 30"/>
                <a:gd name="T78" fmla="*/ 4 w 34"/>
                <a:gd name="T79" fmla="*/ 30 h 30"/>
                <a:gd name="T80" fmla="*/ 4 w 34"/>
                <a:gd name="T81" fmla="*/ 30 h 30"/>
                <a:gd name="T82" fmla="*/ 4 w 34"/>
                <a:gd name="T83" fmla="*/ 30 h 30"/>
                <a:gd name="T84" fmla="*/ 0 w 34"/>
                <a:gd name="T85" fmla="*/ 26 h 30"/>
                <a:gd name="T86" fmla="*/ 0 w 34"/>
                <a:gd name="T87" fmla="*/ 24 h 30"/>
                <a:gd name="T88" fmla="*/ 0 w 34"/>
                <a:gd name="T89" fmla="*/ 20 h 30"/>
                <a:gd name="T90" fmla="*/ 0 w 34"/>
                <a:gd name="T91" fmla="*/ 20 h 30"/>
                <a:gd name="T92" fmla="*/ 0 w 34"/>
                <a:gd name="T93" fmla="*/ 20 h 30"/>
                <a:gd name="T94" fmla="*/ 0 w 34"/>
                <a:gd name="T95" fmla="*/ 20 h 30"/>
                <a:gd name="T96" fmla="*/ 0 w 34"/>
                <a:gd name="T97" fmla="*/ 16 h 30"/>
                <a:gd name="T98" fmla="*/ 0 w 34"/>
                <a:gd name="T99" fmla="*/ 12 h 30"/>
                <a:gd name="T100" fmla="*/ 0 w 34"/>
                <a:gd name="T101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" h="30"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0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74" name="Freeform 114">
              <a:extLst>
                <a:ext uri="{FF2B5EF4-FFF2-40B4-BE49-F238E27FC236}">
                  <a16:creationId xmlns:a16="http://schemas.microsoft.com/office/drawing/2014/main" id="{BD39A348-2F40-CF3A-78F4-F6B452D66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5660" y="2508121"/>
              <a:ext cx="93515" cy="120672"/>
            </a:xfrm>
            <a:custGeom>
              <a:avLst/>
              <a:gdLst>
                <a:gd name="T0" fmla="*/ 22 w 48"/>
                <a:gd name="T1" fmla="*/ 42 h 64"/>
                <a:gd name="T2" fmla="*/ 22 w 48"/>
                <a:gd name="T3" fmla="*/ 38 h 64"/>
                <a:gd name="T4" fmla="*/ 22 w 48"/>
                <a:gd name="T5" fmla="*/ 34 h 64"/>
                <a:gd name="T6" fmla="*/ 20 w 48"/>
                <a:gd name="T7" fmla="*/ 30 h 64"/>
                <a:gd name="T8" fmla="*/ 16 w 48"/>
                <a:gd name="T9" fmla="*/ 26 h 64"/>
                <a:gd name="T10" fmla="*/ 16 w 48"/>
                <a:gd name="T11" fmla="*/ 24 h 64"/>
                <a:gd name="T12" fmla="*/ 12 w 48"/>
                <a:gd name="T13" fmla="*/ 20 h 64"/>
                <a:gd name="T14" fmla="*/ 8 w 48"/>
                <a:gd name="T15" fmla="*/ 16 h 64"/>
                <a:gd name="T16" fmla="*/ 4 w 48"/>
                <a:gd name="T17" fmla="*/ 8 h 64"/>
                <a:gd name="T18" fmla="*/ 0 w 48"/>
                <a:gd name="T19" fmla="*/ 4 h 64"/>
                <a:gd name="T20" fmla="*/ 4 w 48"/>
                <a:gd name="T21" fmla="*/ 4 h 64"/>
                <a:gd name="T22" fmla="*/ 16 w 48"/>
                <a:gd name="T23" fmla="*/ 0 h 64"/>
                <a:gd name="T24" fmla="*/ 20 w 48"/>
                <a:gd name="T25" fmla="*/ 4 h 64"/>
                <a:gd name="T26" fmla="*/ 20 w 48"/>
                <a:gd name="T27" fmla="*/ 4 h 64"/>
                <a:gd name="T28" fmla="*/ 22 w 48"/>
                <a:gd name="T29" fmla="*/ 8 h 64"/>
                <a:gd name="T30" fmla="*/ 26 w 48"/>
                <a:gd name="T31" fmla="*/ 4 h 64"/>
                <a:gd name="T32" fmla="*/ 26 w 48"/>
                <a:gd name="T33" fmla="*/ 8 h 64"/>
                <a:gd name="T34" fmla="*/ 30 w 48"/>
                <a:gd name="T35" fmla="*/ 8 h 64"/>
                <a:gd name="T36" fmla="*/ 34 w 48"/>
                <a:gd name="T37" fmla="*/ 12 h 64"/>
                <a:gd name="T38" fmla="*/ 34 w 48"/>
                <a:gd name="T39" fmla="*/ 12 h 64"/>
                <a:gd name="T40" fmla="*/ 34 w 48"/>
                <a:gd name="T41" fmla="*/ 12 h 64"/>
                <a:gd name="T42" fmla="*/ 36 w 48"/>
                <a:gd name="T43" fmla="*/ 20 h 64"/>
                <a:gd name="T44" fmla="*/ 36 w 48"/>
                <a:gd name="T45" fmla="*/ 24 h 64"/>
                <a:gd name="T46" fmla="*/ 36 w 48"/>
                <a:gd name="T47" fmla="*/ 24 h 64"/>
                <a:gd name="T48" fmla="*/ 40 w 48"/>
                <a:gd name="T49" fmla="*/ 26 h 64"/>
                <a:gd name="T50" fmla="*/ 40 w 48"/>
                <a:gd name="T51" fmla="*/ 26 h 64"/>
                <a:gd name="T52" fmla="*/ 40 w 48"/>
                <a:gd name="T53" fmla="*/ 34 h 64"/>
                <a:gd name="T54" fmla="*/ 48 w 48"/>
                <a:gd name="T55" fmla="*/ 38 h 64"/>
                <a:gd name="T56" fmla="*/ 48 w 48"/>
                <a:gd name="T57" fmla="*/ 42 h 64"/>
                <a:gd name="T58" fmla="*/ 48 w 48"/>
                <a:gd name="T59" fmla="*/ 42 h 64"/>
                <a:gd name="T60" fmla="*/ 48 w 48"/>
                <a:gd name="T61" fmla="*/ 46 h 64"/>
                <a:gd name="T62" fmla="*/ 44 w 48"/>
                <a:gd name="T63" fmla="*/ 46 h 64"/>
                <a:gd name="T64" fmla="*/ 40 w 48"/>
                <a:gd name="T65" fmla="*/ 46 h 64"/>
                <a:gd name="T66" fmla="*/ 36 w 48"/>
                <a:gd name="T67" fmla="*/ 42 h 64"/>
                <a:gd name="T68" fmla="*/ 36 w 48"/>
                <a:gd name="T69" fmla="*/ 46 h 64"/>
                <a:gd name="T70" fmla="*/ 36 w 48"/>
                <a:gd name="T71" fmla="*/ 42 h 64"/>
                <a:gd name="T72" fmla="*/ 34 w 48"/>
                <a:gd name="T73" fmla="*/ 42 h 64"/>
                <a:gd name="T74" fmla="*/ 34 w 48"/>
                <a:gd name="T75" fmla="*/ 50 h 64"/>
                <a:gd name="T76" fmla="*/ 30 w 48"/>
                <a:gd name="T77" fmla="*/ 54 h 64"/>
                <a:gd name="T78" fmla="*/ 30 w 48"/>
                <a:gd name="T79" fmla="*/ 54 h 64"/>
                <a:gd name="T80" fmla="*/ 26 w 48"/>
                <a:gd name="T81" fmla="*/ 56 h 64"/>
                <a:gd name="T82" fmla="*/ 26 w 48"/>
                <a:gd name="T83" fmla="*/ 60 h 64"/>
                <a:gd name="T84" fmla="*/ 22 w 48"/>
                <a:gd name="T85" fmla="*/ 60 h 64"/>
                <a:gd name="T86" fmla="*/ 22 w 48"/>
                <a:gd name="T87" fmla="*/ 60 h 64"/>
                <a:gd name="T88" fmla="*/ 22 w 48"/>
                <a:gd name="T89" fmla="*/ 64 h 64"/>
                <a:gd name="T90" fmla="*/ 22 w 48"/>
                <a:gd name="T91" fmla="*/ 56 h 64"/>
                <a:gd name="T92" fmla="*/ 22 w 48"/>
                <a:gd name="T93" fmla="*/ 54 h 64"/>
                <a:gd name="T94" fmla="*/ 22 w 48"/>
                <a:gd name="T95" fmla="*/ 5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8" h="64">
                  <a:moveTo>
                    <a:pt x="22" y="50"/>
                  </a:moveTo>
                  <a:lnTo>
                    <a:pt x="22" y="50"/>
                  </a:lnTo>
                  <a:lnTo>
                    <a:pt x="22" y="46"/>
                  </a:lnTo>
                  <a:lnTo>
                    <a:pt x="22" y="42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30"/>
                  </a:lnTo>
                  <a:lnTo>
                    <a:pt x="40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8" y="34"/>
                  </a:lnTo>
                  <a:lnTo>
                    <a:pt x="48" y="38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4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6"/>
                  </a:lnTo>
                  <a:lnTo>
                    <a:pt x="48" y="46"/>
                  </a:lnTo>
                  <a:lnTo>
                    <a:pt x="48" y="46"/>
                  </a:lnTo>
                  <a:lnTo>
                    <a:pt x="48" y="46"/>
                  </a:lnTo>
                  <a:lnTo>
                    <a:pt x="48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2"/>
                  </a:lnTo>
                  <a:lnTo>
                    <a:pt x="44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6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2" y="64"/>
                  </a:lnTo>
                  <a:lnTo>
                    <a:pt x="22" y="64"/>
                  </a:lnTo>
                  <a:lnTo>
                    <a:pt x="22" y="64"/>
                  </a:lnTo>
                  <a:lnTo>
                    <a:pt x="22" y="64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2" y="50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75" name="Freeform 115">
              <a:extLst>
                <a:ext uri="{FF2B5EF4-FFF2-40B4-BE49-F238E27FC236}">
                  <a16:creationId xmlns:a16="http://schemas.microsoft.com/office/drawing/2014/main" id="{94A69D1E-4D31-AE2D-5445-7052259871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86644" y="2312028"/>
              <a:ext cx="101307" cy="113130"/>
            </a:xfrm>
            <a:custGeom>
              <a:avLst/>
              <a:gdLst>
                <a:gd name="T0" fmla="*/ 30 w 52"/>
                <a:gd name="T1" fmla="*/ 26 h 60"/>
                <a:gd name="T2" fmla="*/ 34 w 52"/>
                <a:gd name="T3" fmla="*/ 22 h 60"/>
                <a:gd name="T4" fmla="*/ 34 w 52"/>
                <a:gd name="T5" fmla="*/ 16 h 60"/>
                <a:gd name="T6" fmla="*/ 26 w 52"/>
                <a:gd name="T7" fmla="*/ 8 h 60"/>
                <a:gd name="T8" fmla="*/ 26 w 52"/>
                <a:gd name="T9" fmla="*/ 16 h 60"/>
                <a:gd name="T10" fmla="*/ 22 w 52"/>
                <a:gd name="T11" fmla="*/ 18 h 60"/>
                <a:gd name="T12" fmla="*/ 22 w 52"/>
                <a:gd name="T13" fmla="*/ 22 h 60"/>
                <a:gd name="T14" fmla="*/ 20 w 52"/>
                <a:gd name="T15" fmla="*/ 18 h 60"/>
                <a:gd name="T16" fmla="*/ 22 w 52"/>
                <a:gd name="T17" fmla="*/ 12 h 60"/>
                <a:gd name="T18" fmla="*/ 26 w 52"/>
                <a:gd name="T19" fmla="*/ 8 h 60"/>
                <a:gd name="T20" fmla="*/ 38 w 52"/>
                <a:gd name="T21" fmla="*/ 0 h 60"/>
                <a:gd name="T22" fmla="*/ 48 w 52"/>
                <a:gd name="T23" fmla="*/ 0 h 60"/>
                <a:gd name="T24" fmla="*/ 52 w 52"/>
                <a:gd name="T25" fmla="*/ 12 h 60"/>
                <a:gd name="T26" fmla="*/ 52 w 52"/>
                <a:gd name="T27" fmla="*/ 18 h 60"/>
                <a:gd name="T28" fmla="*/ 44 w 52"/>
                <a:gd name="T29" fmla="*/ 18 h 60"/>
                <a:gd name="T30" fmla="*/ 52 w 52"/>
                <a:gd name="T31" fmla="*/ 26 h 60"/>
                <a:gd name="T32" fmla="*/ 48 w 52"/>
                <a:gd name="T33" fmla="*/ 30 h 60"/>
                <a:gd name="T34" fmla="*/ 44 w 52"/>
                <a:gd name="T35" fmla="*/ 34 h 60"/>
                <a:gd name="T36" fmla="*/ 38 w 52"/>
                <a:gd name="T37" fmla="*/ 42 h 60"/>
                <a:gd name="T38" fmla="*/ 38 w 52"/>
                <a:gd name="T39" fmla="*/ 48 h 60"/>
                <a:gd name="T40" fmla="*/ 38 w 52"/>
                <a:gd name="T41" fmla="*/ 56 h 60"/>
                <a:gd name="T42" fmla="*/ 34 w 52"/>
                <a:gd name="T43" fmla="*/ 56 h 60"/>
                <a:gd name="T44" fmla="*/ 30 w 52"/>
                <a:gd name="T45" fmla="*/ 56 h 60"/>
                <a:gd name="T46" fmla="*/ 30 w 52"/>
                <a:gd name="T47" fmla="*/ 48 h 60"/>
                <a:gd name="T48" fmla="*/ 26 w 52"/>
                <a:gd name="T49" fmla="*/ 44 h 60"/>
                <a:gd name="T50" fmla="*/ 20 w 52"/>
                <a:gd name="T51" fmla="*/ 44 h 60"/>
                <a:gd name="T52" fmla="*/ 16 w 52"/>
                <a:gd name="T53" fmla="*/ 44 h 60"/>
                <a:gd name="T54" fmla="*/ 16 w 52"/>
                <a:gd name="T55" fmla="*/ 44 h 60"/>
                <a:gd name="T56" fmla="*/ 4 w 52"/>
                <a:gd name="T57" fmla="*/ 44 h 60"/>
                <a:gd name="T58" fmla="*/ 8 w 52"/>
                <a:gd name="T59" fmla="*/ 42 h 60"/>
                <a:gd name="T60" fmla="*/ 8 w 52"/>
                <a:gd name="T61" fmla="*/ 42 h 60"/>
                <a:gd name="T62" fmla="*/ 12 w 52"/>
                <a:gd name="T63" fmla="*/ 42 h 60"/>
                <a:gd name="T64" fmla="*/ 12 w 52"/>
                <a:gd name="T65" fmla="*/ 42 h 60"/>
                <a:gd name="T66" fmla="*/ 12 w 52"/>
                <a:gd name="T67" fmla="*/ 38 h 60"/>
                <a:gd name="T68" fmla="*/ 8 w 52"/>
                <a:gd name="T69" fmla="*/ 38 h 60"/>
                <a:gd name="T70" fmla="*/ 12 w 52"/>
                <a:gd name="T71" fmla="*/ 34 h 60"/>
                <a:gd name="T72" fmla="*/ 16 w 52"/>
                <a:gd name="T73" fmla="*/ 22 h 60"/>
                <a:gd name="T74" fmla="*/ 22 w 52"/>
                <a:gd name="T75" fmla="*/ 26 h 60"/>
                <a:gd name="T76" fmla="*/ 22 w 52"/>
                <a:gd name="T77" fmla="*/ 18 h 60"/>
                <a:gd name="T78" fmla="*/ 26 w 52"/>
                <a:gd name="T79" fmla="*/ 18 h 60"/>
                <a:gd name="T80" fmla="*/ 30 w 52"/>
                <a:gd name="T81" fmla="*/ 22 h 60"/>
                <a:gd name="T82" fmla="*/ 22 w 52"/>
                <a:gd name="T83" fmla="*/ 22 h 60"/>
                <a:gd name="T84" fmla="*/ 30 w 52"/>
                <a:gd name="T85" fmla="*/ 26 h 60"/>
                <a:gd name="T86" fmla="*/ 26 w 52"/>
                <a:gd name="T87" fmla="*/ 26 h 60"/>
                <a:gd name="T88" fmla="*/ 30 w 52"/>
                <a:gd name="T89" fmla="*/ 22 h 60"/>
                <a:gd name="T90" fmla="*/ 34 w 52"/>
                <a:gd name="T91" fmla="*/ 22 h 60"/>
                <a:gd name="T92" fmla="*/ 8 w 52"/>
                <a:gd name="T93" fmla="*/ 38 h 60"/>
                <a:gd name="T94" fmla="*/ 8 w 52"/>
                <a:gd name="T95" fmla="*/ 42 h 60"/>
                <a:gd name="T96" fmla="*/ 8 w 52"/>
                <a:gd name="T97" fmla="*/ 38 h 60"/>
                <a:gd name="T98" fmla="*/ 8 w 52"/>
                <a:gd name="T99" fmla="*/ 44 h 60"/>
                <a:gd name="T100" fmla="*/ 8 w 52"/>
                <a:gd name="T101" fmla="*/ 48 h 60"/>
                <a:gd name="T102" fmla="*/ 0 w 52"/>
                <a:gd name="T103" fmla="*/ 48 h 60"/>
                <a:gd name="T104" fmla="*/ 26 w 52"/>
                <a:gd name="T105" fmla="*/ 4 h 60"/>
                <a:gd name="T106" fmla="*/ 26 w 52"/>
                <a:gd name="T107" fmla="*/ 4 h 60"/>
                <a:gd name="T108" fmla="*/ 20 w 52"/>
                <a:gd name="T109" fmla="*/ 12 h 60"/>
                <a:gd name="T110" fmla="*/ 22 w 52"/>
                <a:gd name="T111" fmla="*/ 8 h 60"/>
                <a:gd name="T112" fmla="*/ 20 w 52"/>
                <a:gd name="T113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" h="60">
                  <a:moveTo>
                    <a:pt x="26" y="26"/>
                  </a:moveTo>
                  <a:lnTo>
                    <a:pt x="26" y="26"/>
                  </a:lnTo>
                  <a:lnTo>
                    <a:pt x="26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0" y="18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26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4" y="18"/>
                  </a:lnTo>
                  <a:lnTo>
                    <a:pt x="44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48" y="26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2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4"/>
                  </a:lnTo>
                  <a:lnTo>
                    <a:pt x="38" y="44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8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4" y="56"/>
                  </a:lnTo>
                  <a:lnTo>
                    <a:pt x="34" y="60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4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0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close/>
                  <a:moveTo>
                    <a:pt x="22" y="22"/>
                  </a:moveTo>
                  <a:lnTo>
                    <a:pt x="22" y="22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close/>
                  <a:moveTo>
                    <a:pt x="30" y="22"/>
                  </a:moveTo>
                  <a:lnTo>
                    <a:pt x="30" y="22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2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close/>
                  <a:moveTo>
                    <a:pt x="8" y="38"/>
                  </a:move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close/>
                  <a:moveTo>
                    <a:pt x="0" y="44"/>
                  </a:move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close/>
                  <a:moveTo>
                    <a:pt x="26" y="4"/>
                  </a:move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close/>
                  <a:moveTo>
                    <a:pt x="20" y="12"/>
                  </a:move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76" name="Freeform 116">
              <a:extLst>
                <a:ext uri="{FF2B5EF4-FFF2-40B4-BE49-F238E27FC236}">
                  <a16:creationId xmlns:a16="http://schemas.microsoft.com/office/drawing/2014/main" id="{A90853EF-E19F-9038-EFF5-61D939958D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21712" y="1531428"/>
              <a:ext cx="728634" cy="599591"/>
            </a:xfrm>
            <a:custGeom>
              <a:avLst/>
              <a:gdLst>
                <a:gd name="T0" fmla="*/ 104 w 374"/>
                <a:gd name="T1" fmla="*/ 154 h 318"/>
                <a:gd name="T2" fmla="*/ 120 w 374"/>
                <a:gd name="T3" fmla="*/ 132 h 318"/>
                <a:gd name="T4" fmla="*/ 120 w 374"/>
                <a:gd name="T5" fmla="*/ 116 h 318"/>
                <a:gd name="T6" fmla="*/ 142 w 374"/>
                <a:gd name="T7" fmla="*/ 102 h 318"/>
                <a:gd name="T8" fmla="*/ 150 w 374"/>
                <a:gd name="T9" fmla="*/ 94 h 318"/>
                <a:gd name="T10" fmla="*/ 146 w 374"/>
                <a:gd name="T11" fmla="*/ 82 h 318"/>
                <a:gd name="T12" fmla="*/ 164 w 374"/>
                <a:gd name="T13" fmla="*/ 82 h 318"/>
                <a:gd name="T14" fmla="*/ 184 w 374"/>
                <a:gd name="T15" fmla="*/ 72 h 318"/>
                <a:gd name="T16" fmla="*/ 180 w 374"/>
                <a:gd name="T17" fmla="*/ 56 h 318"/>
                <a:gd name="T18" fmla="*/ 202 w 374"/>
                <a:gd name="T19" fmla="*/ 42 h 318"/>
                <a:gd name="T20" fmla="*/ 232 w 374"/>
                <a:gd name="T21" fmla="*/ 30 h 318"/>
                <a:gd name="T22" fmla="*/ 254 w 374"/>
                <a:gd name="T23" fmla="*/ 22 h 318"/>
                <a:gd name="T24" fmla="*/ 276 w 374"/>
                <a:gd name="T25" fmla="*/ 8 h 318"/>
                <a:gd name="T26" fmla="*/ 296 w 374"/>
                <a:gd name="T27" fmla="*/ 22 h 318"/>
                <a:gd name="T28" fmla="*/ 318 w 374"/>
                <a:gd name="T29" fmla="*/ 8 h 318"/>
                <a:gd name="T30" fmla="*/ 332 w 374"/>
                <a:gd name="T31" fmla="*/ 22 h 318"/>
                <a:gd name="T32" fmla="*/ 374 w 374"/>
                <a:gd name="T33" fmla="*/ 22 h 318"/>
                <a:gd name="T34" fmla="*/ 358 w 374"/>
                <a:gd name="T35" fmla="*/ 34 h 318"/>
                <a:gd name="T36" fmla="*/ 348 w 374"/>
                <a:gd name="T37" fmla="*/ 38 h 318"/>
                <a:gd name="T38" fmla="*/ 296 w 374"/>
                <a:gd name="T39" fmla="*/ 56 h 318"/>
                <a:gd name="T40" fmla="*/ 232 w 374"/>
                <a:gd name="T41" fmla="*/ 52 h 318"/>
                <a:gd name="T42" fmla="*/ 168 w 374"/>
                <a:gd name="T43" fmla="*/ 90 h 318"/>
                <a:gd name="T44" fmla="*/ 128 w 374"/>
                <a:gd name="T45" fmla="*/ 162 h 318"/>
                <a:gd name="T46" fmla="*/ 112 w 374"/>
                <a:gd name="T47" fmla="*/ 236 h 318"/>
                <a:gd name="T48" fmla="*/ 90 w 374"/>
                <a:gd name="T49" fmla="*/ 292 h 318"/>
                <a:gd name="T50" fmla="*/ 72 w 374"/>
                <a:gd name="T51" fmla="*/ 294 h 318"/>
                <a:gd name="T52" fmla="*/ 12 w 374"/>
                <a:gd name="T53" fmla="*/ 292 h 318"/>
                <a:gd name="T54" fmla="*/ 14 w 374"/>
                <a:gd name="T55" fmla="*/ 284 h 318"/>
                <a:gd name="T56" fmla="*/ 30 w 374"/>
                <a:gd name="T57" fmla="*/ 262 h 318"/>
                <a:gd name="T58" fmla="*/ 14 w 374"/>
                <a:gd name="T59" fmla="*/ 258 h 318"/>
                <a:gd name="T60" fmla="*/ 34 w 374"/>
                <a:gd name="T61" fmla="*/ 246 h 318"/>
                <a:gd name="T62" fmla="*/ 8 w 374"/>
                <a:gd name="T63" fmla="*/ 238 h 318"/>
                <a:gd name="T64" fmla="*/ 8 w 374"/>
                <a:gd name="T65" fmla="*/ 228 h 318"/>
                <a:gd name="T66" fmla="*/ 30 w 374"/>
                <a:gd name="T67" fmla="*/ 224 h 318"/>
                <a:gd name="T68" fmla="*/ 44 w 374"/>
                <a:gd name="T69" fmla="*/ 210 h 318"/>
                <a:gd name="T70" fmla="*/ 52 w 374"/>
                <a:gd name="T71" fmla="*/ 206 h 318"/>
                <a:gd name="T72" fmla="*/ 64 w 374"/>
                <a:gd name="T73" fmla="*/ 192 h 318"/>
                <a:gd name="T74" fmla="*/ 86 w 374"/>
                <a:gd name="T75" fmla="*/ 180 h 318"/>
                <a:gd name="T76" fmla="*/ 284 w 374"/>
                <a:gd name="T77" fmla="*/ 4 h 318"/>
                <a:gd name="T78" fmla="*/ 206 w 374"/>
                <a:gd name="T79" fmla="*/ 26 h 318"/>
                <a:gd name="T80" fmla="*/ 354 w 374"/>
                <a:gd name="T81" fmla="*/ 38 h 318"/>
                <a:gd name="T82" fmla="*/ 176 w 374"/>
                <a:gd name="T83" fmla="*/ 60 h 318"/>
                <a:gd name="T84" fmla="*/ 124 w 374"/>
                <a:gd name="T85" fmla="*/ 76 h 318"/>
                <a:gd name="T86" fmla="*/ 130 w 374"/>
                <a:gd name="T87" fmla="*/ 106 h 318"/>
                <a:gd name="T88" fmla="*/ 104 w 374"/>
                <a:gd name="T89" fmla="*/ 154 h 318"/>
                <a:gd name="T90" fmla="*/ 52 w 374"/>
                <a:gd name="T91" fmla="*/ 194 h 318"/>
                <a:gd name="T92" fmla="*/ 42 w 374"/>
                <a:gd name="T93" fmla="*/ 202 h 318"/>
                <a:gd name="T94" fmla="*/ 12 w 374"/>
                <a:gd name="T95" fmla="*/ 222 h 318"/>
                <a:gd name="T96" fmla="*/ 12 w 374"/>
                <a:gd name="T97" fmla="*/ 262 h 318"/>
                <a:gd name="T98" fmla="*/ 248 w 374"/>
                <a:gd name="T99" fmla="*/ 16 h 318"/>
                <a:gd name="T100" fmla="*/ 270 w 374"/>
                <a:gd name="T101" fmla="*/ 16 h 318"/>
                <a:gd name="T102" fmla="*/ 228 w 374"/>
                <a:gd name="T103" fmla="*/ 30 h 318"/>
                <a:gd name="T104" fmla="*/ 194 w 374"/>
                <a:gd name="T105" fmla="*/ 38 h 318"/>
                <a:gd name="T106" fmla="*/ 176 w 374"/>
                <a:gd name="T107" fmla="*/ 42 h 318"/>
                <a:gd name="T108" fmla="*/ 154 w 374"/>
                <a:gd name="T109" fmla="*/ 56 h 318"/>
                <a:gd name="T110" fmla="*/ 146 w 374"/>
                <a:gd name="T111" fmla="*/ 60 h 318"/>
                <a:gd name="T112" fmla="*/ 158 w 374"/>
                <a:gd name="T113" fmla="*/ 56 h 318"/>
                <a:gd name="T114" fmla="*/ 134 w 374"/>
                <a:gd name="T115" fmla="*/ 76 h 318"/>
                <a:gd name="T116" fmla="*/ 108 w 374"/>
                <a:gd name="T117" fmla="*/ 132 h 318"/>
                <a:gd name="T118" fmla="*/ 44 w 374"/>
                <a:gd name="T119" fmla="*/ 194 h 318"/>
                <a:gd name="T120" fmla="*/ 8 w 374"/>
                <a:gd name="T121" fmla="*/ 262 h 318"/>
                <a:gd name="T122" fmla="*/ 8 w 374"/>
                <a:gd name="T123" fmla="*/ 28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4" h="318">
                  <a:moveTo>
                    <a:pt x="82" y="168"/>
                  </a:moveTo>
                  <a:lnTo>
                    <a:pt x="86" y="168"/>
                  </a:lnTo>
                  <a:lnTo>
                    <a:pt x="82" y="168"/>
                  </a:lnTo>
                  <a:lnTo>
                    <a:pt x="86" y="164"/>
                  </a:lnTo>
                  <a:lnTo>
                    <a:pt x="90" y="164"/>
                  </a:lnTo>
                  <a:lnTo>
                    <a:pt x="94" y="168"/>
                  </a:lnTo>
                  <a:lnTo>
                    <a:pt x="94" y="164"/>
                  </a:lnTo>
                  <a:lnTo>
                    <a:pt x="98" y="164"/>
                  </a:lnTo>
                  <a:lnTo>
                    <a:pt x="102" y="164"/>
                  </a:lnTo>
                  <a:lnTo>
                    <a:pt x="98" y="164"/>
                  </a:lnTo>
                  <a:lnTo>
                    <a:pt x="94" y="164"/>
                  </a:lnTo>
                  <a:lnTo>
                    <a:pt x="94" y="162"/>
                  </a:lnTo>
                  <a:lnTo>
                    <a:pt x="98" y="162"/>
                  </a:lnTo>
                  <a:lnTo>
                    <a:pt x="102" y="162"/>
                  </a:lnTo>
                  <a:lnTo>
                    <a:pt x="102" y="158"/>
                  </a:lnTo>
                  <a:lnTo>
                    <a:pt x="98" y="158"/>
                  </a:lnTo>
                  <a:lnTo>
                    <a:pt x="102" y="158"/>
                  </a:lnTo>
                  <a:lnTo>
                    <a:pt x="104" y="154"/>
                  </a:lnTo>
                  <a:lnTo>
                    <a:pt x="102" y="154"/>
                  </a:lnTo>
                  <a:lnTo>
                    <a:pt x="102" y="158"/>
                  </a:lnTo>
                  <a:lnTo>
                    <a:pt x="94" y="162"/>
                  </a:lnTo>
                  <a:lnTo>
                    <a:pt x="94" y="158"/>
                  </a:lnTo>
                  <a:lnTo>
                    <a:pt x="98" y="158"/>
                  </a:lnTo>
                  <a:lnTo>
                    <a:pt x="94" y="158"/>
                  </a:lnTo>
                  <a:lnTo>
                    <a:pt x="98" y="154"/>
                  </a:lnTo>
                  <a:lnTo>
                    <a:pt x="102" y="154"/>
                  </a:lnTo>
                  <a:lnTo>
                    <a:pt x="104" y="154"/>
                  </a:lnTo>
                  <a:lnTo>
                    <a:pt x="108" y="154"/>
                  </a:lnTo>
                  <a:lnTo>
                    <a:pt x="112" y="150"/>
                  </a:lnTo>
                  <a:lnTo>
                    <a:pt x="116" y="146"/>
                  </a:lnTo>
                  <a:lnTo>
                    <a:pt x="112" y="150"/>
                  </a:lnTo>
                  <a:lnTo>
                    <a:pt x="108" y="150"/>
                  </a:lnTo>
                  <a:lnTo>
                    <a:pt x="112" y="150"/>
                  </a:lnTo>
                  <a:lnTo>
                    <a:pt x="112" y="146"/>
                  </a:lnTo>
                  <a:lnTo>
                    <a:pt x="108" y="146"/>
                  </a:lnTo>
                  <a:lnTo>
                    <a:pt x="108" y="150"/>
                  </a:lnTo>
                  <a:lnTo>
                    <a:pt x="104" y="150"/>
                  </a:lnTo>
                  <a:lnTo>
                    <a:pt x="108" y="146"/>
                  </a:lnTo>
                  <a:lnTo>
                    <a:pt x="112" y="146"/>
                  </a:lnTo>
                  <a:lnTo>
                    <a:pt x="108" y="142"/>
                  </a:lnTo>
                  <a:lnTo>
                    <a:pt x="112" y="142"/>
                  </a:lnTo>
                  <a:lnTo>
                    <a:pt x="108" y="142"/>
                  </a:lnTo>
                  <a:lnTo>
                    <a:pt x="108" y="138"/>
                  </a:lnTo>
                  <a:lnTo>
                    <a:pt x="108" y="136"/>
                  </a:lnTo>
                  <a:lnTo>
                    <a:pt x="112" y="136"/>
                  </a:lnTo>
                  <a:lnTo>
                    <a:pt x="112" y="138"/>
                  </a:lnTo>
                  <a:lnTo>
                    <a:pt x="116" y="138"/>
                  </a:lnTo>
                  <a:lnTo>
                    <a:pt x="112" y="138"/>
                  </a:lnTo>
                  <a:lnTo>
                    <a:pt x="112" y="136"/>
                  </a:lnTo>
                  <a:lnTo>
                    <a:pt x="112" y="132"/>
                  </a:lnTo>
                  <a:lnTo>
                    <a:pt x="116" y="132"/>
                  </a:lnTo>
                  <a:lnTo>
                    <a:pt x="120" y="132"/>
                  </a:lnTo>
                  <a:lnTo>
                    <a:pt x="120" y="136"/>
                  </a:lnTo>
                  <a:lnTo>
                    <a:pt x="120" y="132"/>
                  </a:lnTo>
                  <a:lnTo>
                    <a:pt x="116" y="132"/>
                  </a:lnTo>
                  <a:lnTo>
                    <a:pt x="116" y="128"/>
                  </a:lnTo>
                  <a:lnTo>
                    <a:pt x="112" y="128"/>
                  </a:lnTo>
                  <a:lnTo>
                    <a:pt x="116" y="128"/>
                  </a:lnTo>
                  <a:lnTo>
                    <a:pt x="120" y="128"/>
                  </a:lnTo>
                  <a:lnTo>
                    <a:pt x="120" y="124"/>
                  </a:lnTo>
                  <a:lnTo>
                    <a:pt x="124" y="124"/>
                  </a:lnTo>
                  <a:lnTo>
                    <a:pt x="128" y="124"/>
                  </a:lnTo>
                  <a:lnTo>
                    <a:pt x="124" y="124"/>
                  </a:lnTo>
                  <a:lnTo>
                    <a:pt x="124" y="128"/>
                  </a:lnTo>
                  <a:lnTo>
                    <a:pt x="128" y="124"/>
                  </a:lnTo>
                  <a:lnTo>
                    <a:pt x="130" y="124"/>
                  </a:lnTo>
                  <a:lnTo>
                    <a:pt x="134" y="124"/>
                  </a:lnTo>
                  <a:lnTo>
                    <a:pt x="134" y="120"/>
                  </a:lnTo>
                  <a:lnTo>
                    <a:pt x="130" y="124"/>
                  </a:lnTo>
                  <a:lnTo>
                    <a:pt x="128" y="124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16" y="124"/>
                  </a:lnTo>
                  <a:lnTo>
                    <a:pt x="120" y="124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16" y="120"/>
                  </a:lnTo>
                  <a:lnTo>
                    <a:pt x="120" y="120"/>
                  </a:lnTo>
                  <a:lnTo>
                    <a:pt x="120" y="116"/>
                  </a:lnTo>
                  <a:lnTo>
                    <a:pt x="116" y="116"/>
                  </a:lnTo>
                  <a:lnTo>
                    <a:pt x="120" y="116"/>
                  </a:lnTo>
                  <a:lnTo>
                    <a:pt x="124" y="116"/>
                  </a:lnTo>
                  <a:lnTo>
                    <a:pt x="128" y="116"/>
                  </a:lnTo>
                  <a:lnTo>
                    <a:pt x="124" y="116"/>
                  </a:lnTo>
                  <a:lnTo>
                    <a:pt x="120" y="116"/>
                  </a:lnTo>
                  <a:lnTo>
                    <a:pt x="120" y="112"/>
                  </a:lnTo>
                  <a:lnTo>
                    <a:pt x="124" y="112"/>
                  </a:lnTo>
                  <a:lnTo>
                    <a:pt x="120" y="112"/>
                  </a:lnTo>
                  <a:lnTo>
                    <a:pt x="124" y="112"/>
                  </a:lnTo>
                  <a:lnTo>
                    <a:pt x="128" y="112"/>
                  </a:lnTo>
                  <a:lnTo>
                    <a:pt x="130" y="112"/>
                  </a:lnTo>
                  <a:lnTo>
                    <a:pt x="128" y="112"/>
                  </a:lnTo>
                  <a:lnTo>
                    <a:pt x="124" y="112"/>
                  </a:lnTo>
                  <a:lnTo>
                    <a:pt x="128" y="112"/>
                  </a:lnTo>
                  <a:lnTo>
                    <a:pt x="124" y="112"/>
                  </a:lnTo>
                  <a:lnTo>
                    <a:pt x="124" y="108"/>
                  </a:lnTo>
                  <a:lnTo>
                    <a:pt x="128" y="108"/>
                  </a:lnTo>
                  <a:lnTo>
                    <a:pt x="130" y="108"/>
                  </a:lnTo>
                  <a:lnTo>
                    <a:pt x="128" y="108"/>
                  </a:lnTo>
                  <a:lnTo>
                    <a:pt x="124" y="108"/>
                  </a:lnTo>
                  <a:lnTo>
                    <a:pt x="128" y="106"/>
                  </a:lnTo>
                  <a:lnTo>
                    <a:pt x="130" y="108"/>
                  </a:lnTo>
                  <a:lnTo>
                    <a:pt x="134" y="106"/>
                  </a:lnTo>
                  <a:lnTo>
                    <a:pt x="138" y="106"/>
                  </a:lnTo>
                  <a:lnTo>
                    <a:pt x="134" y="106"/>
                  </a:lnTo>
                  <a:lnTo>
                    <a:pt x="134" y="102"/>
                  </a:lnTo>
                  <a:lnTo>
                    <a:pt x="138" y="102"/>
                  </a:lnTo>
                  <a:lnTo>
                    <a:pt x="142" y="102"/>
                  </a:lnTo>
                  <a:lnTo>
                    <a:pt x="138" y="102"/>
                  </a:lnTo>
                  <a:lnTo>
                    <a:pt x="142" y="102"/>
                  </a:lnTo>
                  <a:lnTo>
                    <a:pt x="146" y="102"/>
                  </a:lnTo>
                  <a:lnTo>
                    <a:pt x="150" y="102"/>
                  </a:lnTo>
                  <a:lnTo>
                    <a:pt x="154" y="106"/>
                  </a:lnTo>
                  <a:lnTo>
                    <a:pt x="154" y="102"/>
                  </a:lnTo>
                  <a:lnTo>
                    <a:pt x="150" y="102"/>
                  </a:lnTo>
                  <a:lnTo>
                    <a:pt x="154" y="102"/>
                  </a:lnTo>
                  <a:lnTo>
                    <a:pt x="158" y="102"/>
                  </a:lnTo>
                  <a:lnTo>
                    <a:pt x="150" y="102"/>
                  </a:lnTo>
                  <a:lnTo>
                    <a:pt x="150" y="98"/>
                  </a:lnTo>
                  <a:lnTo>
                    <a:pt x="150" y="102"/>
                  </a:lnTo>
                  <a:lnTo>
                    <a:pt x="146" y="98"/>
                  </a:lnTo>
                  <a:lnTo>
                    <a:pt x="150" y="98"/>
                  </a:lnTo>
                  <a:lnTo>
                    <a:pt x="146" y="98"/>
                  </a:lnTo>
                  <a:lnTo>
                    <a:pt x="142" y="98"/>
                  </a:lnTo>
                  <a:lnTo>
                    <a:pt x="142" y="102"/>
                  </a:lnTo>
                  <a:lnTo>
                    <a:pt x="138" y="98"/>
                  </a:lnTo>
                  <a:lnTo>
                    <a:pt x="134" y="98"/>
                  </a:lnTo>
                  <a:lnTo>
                    <a:pt x="138" y="98"/>
                  </a:lnTo>
                  <a:lnTo>
                    <a:pt x="138" y="94"/>
                  </a:lnTo>
                  <a:lnTo>
                    <a:pt x="142" y="94"/>
                  </a:lnTo>
                  <a:lnTo>
                    <a:pt x="146" y="94"/>
                  </a:lnTo>
                  <a:lnTo>
                    <a:pt x="142" y="94"/>
                  </a:lnTo>
                  <a:lnTo>
                    <a:pt x="146" y="90"/>
                  </a:lnTo>
                  <a:lnTo>
                    <a:pt x="146" y="94"/>
                  </a:lnTo>
                  <a:lnTo>
                    <a:pt x="150" y="94"/>
                  </a:lnTo>
                  <a:lnTo>
                    <a:pt x="154" y="94"/>
                  </a:lnTo>
                  <a:lnTo>
                    <a:pt x="154" y="98"/>
                  </a:lnTo>
                  <a:lnTo>
                    <a:pt x="158" y="98"/>
                  </a:lnTo>
                  <a:lnTo>
                    <a:pt x="154" y="98"/>
                  </a:lnTo>
                  <a:lnTo>
                    <a:pt x="154" y="94"/>
                  </a:lnTo>
                  <a:lnTo>
                    <a:pt x="158" y="94"/>
                  </a:lnTo>
                  <a:lnTo>
                    <a:pt x="158" y="90"/>
                  </a:lnTo>
                  <a:lnTo>
                    <a:pt x="154" y="90"/>
                  </a:lnTo>
                  <a:lnTo>
                    <a:pt x="154" y="94"/>
                  </a:lnTo>
                  <a:lnTo>
                    <a:pt x="150" y="94"/>
                  </a:lnTo>
                  <a:lnTo>
                    <a:pt x="150" y="90"/>
                  </a:lnTo>
                  <a:lnTo>
                    <a:pt x="150" y="86"/>
                  </a:lnTo>
                  <a:lnTo>
                    <a:pt x="154" y="90"/>
                  </a:lnTo>
                  <a:lnTo>
                    <a:pt x="154" y="86"/>
                  </a:lnTo>
                  <a:lnTo>
                    <a:pt x="150" y="86"/>
                  </a:lnTo>
                  <a:lnTo>
                    <a:pt x="154" y="86"/>
                  </a:lnTo>
                  <a:lnTo>
                    <a:pt x="158" y="90"/>
                  </a:lnTo>
                  <a:lnTo>
                    <a:pt x="158" y="86"/>
                  </a:lnTo>
                  <a:lnTo>
                    <a:pt x="154" y="86"/>
                  </a:lnTo>
                  <a:lnTo>
                    <a:pt x="150" y="86"/>
                  </a:lnTo>
                  <a:lnTo>
                    <a:pt x="146" y="90"/>
                  </a:lnTo>
                  <a:lnTo>
                    <a:pt x="142" y="90"/>
                  </a:lnTo>
                  <a:lnTo>
                    <a:pt x="142" y="86"/>
                  </a:lnTo>
                  <a:lnTo>
                    <a:pt x="146" y="86"/>
                  </a:lnTo>
                  <a:lnTo>
                    <a:pt x="142" y="86"/>
                  </a:lnTo>
                  <a:lnTo>
                    <a:pt x="146" y="86"/>
                  </a:lnTo>
                  <a:lnTo>
                    <a:pt x="146" y="82"/>
                  </a:lnTo>
                  <a:lnTo>
                    <a:pt x="142" y="86"/>
                  </a:lnTo>
                  <a:lnTo>
                    <a:pt x="142" y="82"/>
                  </a:lnTo>
                  <a:lnTo>
                    <a:pt x="146" y="82"/>
                  </a:lnTo>
                  <a:lnTo>
                    <a:pt x="150" y="82"/>
                  </a:lnTo>
                  <a:lnTo>
                    <a:pt x="154" y="82"/>
                  </a:lnTo>
                  <a:lnTo>
                    <a:pt x="158" y="82"/>
                  </a:lnTo>
                  <a:lnTo>
                    <a:pt x="160" y="78"/>
                  </a:lnTo>
                  <a:lnTo>
                    <a:pt x="158" y="78"/>
                  </a:lnTo>
                  <a:lnTo>
                    <a:pt x="154" y="78"/>
                  </a:lnTo>
                  <a:lnTo>
                    <a:pt x="150" y="82"/>
                  </a:lnTo>
                  <a:lnTo>
                    <a:pt x="150" y="78"/>
                  </a:lnTo>
                  <a:lnTo>
                    <a:pt x="154" y="78"/>
                  </a:lnTo>
                  <a:lnTo>
                    <a:pt x="154" y="76"/>
                  </a:lnTo>
                  <a:lnTo>
                    <a:pt x="158" y="76"/>
                  </a:lnTo>
                  <a:lnTo>
                    <a:pt x="158" y="78"/>
                  </a:lnTo>
                  <a:lnTo>
                    <a:pt x="154" y="78"/>
                  </a:lnTo>
                  <a:lnTo>
                    <a:pt x="158" y="78"/>
                  </a:lnTo>
                  <a:lnTo>
                    <a:pt x="158" y="76"/>
                  </a:lnTo>
                  <a:lnTo>
                    <a:pt x="160" y="76"/>
                  </a:lnTo>
                  <a:lnTo>
                    <a:pt x="160" y="78"/>
                  </a:lnTo>
                  <a:lnTo>
                    <a:pt x="160" y="82"/>
                  </a:lnTo>
                  <a:lnTo>
                    <a:pt x="164" y="82"/>
                  </a:lnTo>
                  <a:lnTo>
                    <a:pt x="164" y="86"/>
                  </a:lnTo>
                  <a:lnTo>
                    <a:pt x="168" y="86"/>
                  </a:lnTo>
                  <a:lnTo>
                    <a:pt x="164" y="82"/>
                  </a:lnTo>
                  <a:lnTo>
                    <a:pt x="164" y="78"/>
                  </a:lnTo>
                  <a:lnTo>
                    <a:pt x="164" y="82"/>
                  </a:lnTo>
                  <a:lnTo>
                    <a:pt x="168" y="82"/>
                  </a:lnTo>
                  <a:lnTo>
                    <a:pt x="168" y="78"/>
                  </a:lnTo>
                  <a:lnTo>
                    <a:pt x="164" y="78"/>
                  </a:lnTo>
                  <a:lnTo>
                    <a:pt x="168" y="78"/>
                  </a:lnTo>
                  <a:lnTo>
                    <a:pt x="164" y="78"/>
                  </a:lnTo>
                  <a:lnTo>
                    <a:pt x="164" y="76"/>
                  </a:lnTo>
                  <a:lnTo>
                    <a:pt x="168" y="76"/>
                  </a:lnTo>
                  <a:lnTo>
                    <a:pt x="164" y="76"/>
                  </a:lnTo>
                  <a:lnTo>
                    <a:pt x="160" y="76"/>
                  </a:lnTo>
                  <a:lnTo>
                    <a:pt x="164" y="76"/>
                  </a:lnTo>
                  <a:lnTo>
                    <a:pt x="160" y="76"/>
                  </a:lnTo>
                  <a:lnTo>
                    <a:pt x="160" y="72"/>
                  </a:lnTo>
                  <a:lnTo>
                    <a:pt x="168" y="76"/>
                  </a:lnTo>
                  <a:lnTo>
                    <a:pt x="172" y="78"/>
                  </a:lnTo>
                  <a:lnTo>
                    <a:pt x="172" y="76"/>
                  </a:lnTo>
                  <a:lnTo>
                    <a:pt x="168" y="76"/>
                  </a:lnTo>
                  <a:lnTo>
                    <a:pt x="164" y="72"/>
                  </a:lnTo>
                  <a:lnTo>
                    <a:pt x="168" y="72"/>
                  </a:lnTo>
                  <a:lnTo>
                    <a:pt x="172" y="72"/>
                  </a:lnTo>
                  <a:lnTo>
                    <a:pt x="176" y="72"/>
                  </a:lnTo>
                  <a:lnTo>
                    <a:pt x="180" y="76"/>
                  </a:lnTo>
                  <a:lnTo>
                    <a:pt x="180" y="72"/>
                  </a:lnTo>
                  <a:lnTo>
                    <a:pt x="176" y="72"/>
                  </a:lnTo>
                  <a:lnTo>
                    <a:pt x="180" y="72"/>
                  </a:lnTo>
                  <a:lnTo>
                    <a:pt x="184" y="72"/>
                  </a:lnTo>
                  <a:lnTo>
                    <a:pt x="180" y="72"/>
                  </a:lnTo>
                  <a:lnTo>
                    <a:pt x="184" y="72"/>
                  </a:lnTo>
                  <a:lnTo>
                    <a:pt x="184" y="68"/>
                  </a:lnTo>
                  <a:lnTo>
                    <a:pt x="180" y="68"/>
                  </a:lnTo>
                  <a:lnTo>
                    <a:pt x="176" y="68"/>
                  </a:lnTo>
                  <a:lnTo>
                    <a:pt x="176" y="72"/>
                  </a:lnTo>
                  <a:lnTo>
                    <a:pt x="176" y="68"/>
                  </a:lnTo>
                  <a:lnTo>
                    <a:pt x="172" y="68"/>
                  </a:lnTo>
                  <a:lnTo>
                    <a:pt x="168" y="72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68" y="64"/>
                  </a:lnTo>
                  <a:lnTo>
                    <a:pt x="172" y="64"/>
                  </a:lnTo>
                  <a:lnTo>
                    <a:pt x="176" y="64"/>
                  </a:lnTo>
                  <a:lnTo>
                    <a:pt x="180" y="64"/>
                  </a:lnTo>
                  <a:lnTo>
                    <a:pt x="184" y="64"/>
                  </a:lnTo>
                  <a:lnTo>
                    <a:pt x="180" y="64"/>
                  </a:lnTo>
                  <a:lnTo>
                    <a:pt x="176" y="60"/>
                  </a:lnTo>
                  <a:lnTo>
                    <a:pt x="180" y="60"/>
                  </a:lnTo>
                  <a:lnTo>
                    <a:pt x="184" y="60"/>
                  </a:lnTo>
                  <a:lnTo>
                    <a:pt x="188" y="60"/>
                  </a:lnTo>
                  <a:lnTo>
                    <a:pt x="184" y="60"/>
                  </a:lnTo>
                  <a:lnTo>
                    <a:pt x="180" y="60"/>
                  </a:lnTo>
                  <a:lnTo>
                    <a:pt x="184" y="60"/>
                  </a:lnTo>
                  <a:lnTo>
                    <a:pt x="184" y="56"/>
                  </a:lnTo>
                  <a:lnTo>
                    <a:pt x="184" y="60"/>
                  </a:lnTo>
                  <a:lnTo>
                    <a:pt x="188" y="60"/>
                  </a:lnTo>
                  <a:lnTo>
                    <a:pt x="184" y="56"/>
                  </a:lnTo>
                  <a:lnTo>
                    <a:pt x="180" y="56"/>
                  </a:lnTo>
                  <a:lnTo>
                    <a:pt x="184" y="52"/>
                  </a:lnTo>
                  <a:lnTo>
                    <a:pt x="188" y="52"/>
                  </a:lnTo>
                  <a:lnTo>
                    <a:pt x="190" y="52"/>
                  </a:lnTo>
                  <a:lnTo>
                    <a:pt x="188" y="50"/>
                  </a:lnTo>
                  <a:lnTo>
                    <a:pt x="190" y="50"/>
                  </a:lnTo>
                  <a:lnTo>
                    <a:pt x="190" y="46"/>
                  </a:lnTo>
                  <a:lnTo>
                    <a:pt x="190" y="42"/>
                  </a:lnTo>
                  <a:lnTo>
                    <a:pt x="194" y="46"/>
                  </a:lnTo>
                  <a:lnTo>
                    <a:pt x="194" y="50"/>
                  </a:lnTo>
                  <a:lnTo>
                    <a:pt x="198" y="50"/>
                  </a:lnTo>
                  <a:lnTo>
                    <a:pt x="202" y="50"/>
                  </a:lnTo>
                  <a:lnTo>
                    <a:pt x="198" y="46"/>
                  </a:lnTo>
                  <a:lnTo>
                    <a:pt x="194" y="46"/>
                  </a:lnTo>
                  <a:lnTo>
                    <a:pt x="194" y="42"/>
                  </a:lnTo>
                  <a:lnTo>
                    <a:pt x="198" y="42"/>
                  </a:lnTo>
                  <a:lnTo>
                    <a:pt x="202" y="42"/>
                  </a:lnTo>
                  <a:lnTo>
                    <a:pt x="202" y="46"/>
                  </a:lnTo>
                  <a:lnTo>
                    <a:pt x="206" y="46"/>
                  </a:lnTo>
                  <a:lnTo>
                    <a:pt x="210" y="50"/>
                  </a:lnTo>
                  <a:lnTo>
                    <a:pt x="206" y="50"/>
                  </a:lnTo>
                  <a:lnTo>
                    <a:pt x="210" y="50"/>
                  </a:lnTo>
                  <a:lnTo>
                    <a:pt x="210" y="46"/>
                  </a:lnTo>
                  <a:lnTo>
                    <a:pt x="206" y="46"/>
                  </a:lnTo>
                  <a:lnTo>
                    <a:pt x="202" y="46"/>
                  </a:lnTo>
                  <a:lnTo>
                    <a:pt x="202" y="42"/>
                  </a:lnTo>
                  <a:lnTo>
                    <a:pt x="206" y="42"/>
                  </a:lnTo>
                  <a:lnTo>
                    <a:pt x="202" y="42"/>
                  </a:lnTo>
                  <a:lnTo>
                    <a:pt x="202" y="38"/>
                  </a:lnTo>
                  <a:lnTo>
                    <a:pt x="206" y="38"/>
                  </a:lnTo>
                  <a:lnTo>
                    <a:pt x="206" y="34"/>
                  </a:lnTo>
                  <a:lnTo>
                    <a:pt x="214" y="34"/>
                  </a:lnTo>
                  <a:lnTo>
                    <a:pt x="214" y="38"/>
                  </a:lnTo>
                  <a:lnTo>
                    <a:pt x="214" y="42"/>
                  </a:lnTo>
                  <a:lnTo>
                    <a:pt x="210" y="42"/>
                  </a:lnTo>
                  <a:lnTo>
                    <a:pt x="210" y="46"/>
                  </a:lnTo>
                  <a:lnTo>
                    <a:pt x="214" y="46"/>
                  </a:lnTo>
                  <a:lnTo>
                    <a:pt x="214" y="42"/>
                  </a:lnTo>
                  <a:lnTo>
                    <a:pt x="214" y="38"/>
                  </a:lnTo>
                  <a:lnTo>
                    <a:pt x="218" y="34"/>
                  </a:lnTo>
                  <a:lnTo>
                    <a:pt x="218" y="30"/>
                  </a:lnTo>
                  <a:lnTo>
                    <a:pt x="220" y="30"/>
                  </a:lnTo>
                  <a:lnTo>
                    <a:pt x="220" y="34"/>
                  </a:lnTo>
                  <a:lnTo>
                    <a:pt x="220" y="38"/>
                  </a:lnTo>
                  <a:lnTo>
                    <a:pt x="220" y="42"/>
                  </a:lnTo>
                  <a:lnTo>
                    <a:pt x="220" y="46"/>
                  </a:lnTo>
                  <a:lnTo>
                    <a:pt x="218" y="46"/>
                  </a:lnTo>
                  <a:lnTo>
                    <a:pt x="218" y="50"/>
                  </a:lnTo>
                  <a:lnTo>
                    <a:pt x="220" y="46"/>
                  </a:lnTo>
                  <a:lnTo>
                    <a:pt x="224" y="42"/>
                  </a:lnTo>
                  <a:lnTo>
                    <a:pt x="228" y="42"/>
                  </a:lnTo>
                  <a:lnTo>
                    <a:pt x="224" y="42"/>
                  </a:lnTo>
                  <a:lnTo>
                    <a:pt x="224" y="38"/>
                  </a:lnTo>
                  <a:lnTo>
                    <a:pt x="228" y="34"/>
                  </a:lnTo>
                  <a:lnTo>
                    <a:pt x="232" y="30"/>
                  </a:lnTo>
                  <a:lnTo>
                    <a:pt x="232" y="34"/>
                  </a:lnTo>
                  <a:lnTo>
                    <a:pt x="228" y="34"/>
                  </a:lnTo>
                  <a:lnTo>
                    <a:pt x="232" y="34"/>
                  </a:lnTo>
                  <a:lnTo>
                    <a:pt x="236" y="30"/>
                  </a:lnTo>
                  <a:lnTo>
                    <a:pt x="240" y="30"/>
                  </a:lnTo>
                  <a:lnTo>
                    <a:pt x="240" y="34"/>
                  </a:lnTo>
                  <a:lnTo>
                    <a:pt x="244" y="34"/>
                  </a:lnTo>
                  <a:lnTo>
                    <a:pt x="244" y="38"/>
                  </a:lnTo>
                  <a:lnTo>
                    <a:pt x="248" y="38"/>
                  </a:lnTo>
                  <a:lnTo>
                    <a:pt x="248" y="34"/>
                  </a:lnTo>
                  <a:lnTo>
                    <a:pt x="244" y="30"/>
                  </a:lnTo>
                  <a:lnTo>
                    <a:pt x="248" y="30"/>
                  </a:lnTo>
                  <a:lnTo>
                    <a:pt x="248" y="26"/>
                  </a:lnTo>
                  <a:lnTo>
                    <a:pt x="244" y="26"/>
                  </a:lnTo>
                  <a:lnTo>
                    <a:pt x="244" y="30"/>
                  </a:lnTo>
                  <a:lnTo>
                    <a:pt x="240" y="30"/>
                  </a:lnTo>
                  <a:lnTo>
                    <a:pt x="236" y="26"/>
                  </a:lnTo>
                  <a:lnTo>
                    <a:pt x="236" y="22"/>
                  </a:lnTo>
                  <a:lnTo>
                    <a:pt x="240" y="22"/>
                  </a:lnTo>
                  <a:lnTo>
                    <a:pt x="244" y="22"/>
                  </a:lnTo>
                  <a:lnTo>
                    <a:pt x="248" y="22"/>
                  </a:lnTo>
                  <a:lnTo>
                    <a:pt x="250" y="22"/>
                  </a:lnTo>
                  <a:lnTo>
                    <a:pt x="250" y="26"/>
                  </a:lnTo>
                  <a:lnTo>
                    <a:pt x="254" y="26"/>
                  </a:lnTo>
                  <a:lnTo>
                    <a:pt x="250" y="26"/>
                  </a:lnTo>
                  <a:lnTo>
                    <a:pt x="250" y="22"/>
                  </a:lnTo>
                  <a:lnTo>
                    <a:pt x="254" y="22"/>
                  </a:lnTo>
                  <a:lnTo>
                    <a:pt x="258" y="26"/>
                  </a:lnTo>
                  <a:lnTo>
                    <a:pt x="254" y="26"/>
                  </a:lnTo>
                  <a:lnTo>
                    <a:pt x="250" y="26"/>
                  </a:lnTo>
                  <a:lnTo>
                    <a:pt x="250" y="30"/>
                  </a:lnTo>
                  <a:lnTo>
                    <a:pt x="250" y="26"/>
                  </a:lnTo>
                  <a:lnTo>
                    <a:pt x="254" y="26"/>
                  </a:lnTo>
                  <a:lnTo>
                    <a:pt x="258" y="26"/>
                  </a:lnTo>
                  <a:lnTo>
                    <a:pt x="258" y="30"/>
                  </a:lnTo>
                  <a:lnTo>
                    <a:pt x="262" y="30"/>
                  </a:lnTo>
                  <a:lnTo>
                    <a:pt x="266" y="30"/>
                  </a:lnTo>
                  <a:lnTo>
                    <a:pt x="262" y="30"/>
                  </a:lnTo>
                  <a:lnTo>
                    <a:pt x="262" y="26"/>
                  </a:lnTo>
                  <a:lnTo>
                    <a:pt x="266" y="26"/>
                  </a:lnTo>
                  <a:lnTo>
                    <a:pt x="266" y="22"/>
                  </a:lnTo>
                  <a:lnTo>
                    <a:pt x="270" y="20"/>
                  </a:lnTo>
                  <a:lnTo>
                    <a:pt x="274" y="20"/>
                  </a:lnTo>
                  <a:lnTo>
                    <a:pt x="274" y="16"/>
                  </a:lnTo>
                  <a:lnTo>
                    <a:pt x="276" y="20"/>
                  </a:lnTo>
                  <a:lnTo>
                    <a:pt x="276" y="16"/>
                  </a:lnTo>
                  <a:lnTo>
                    <a:pt x="276" y="12"/>
                  </a:lnTo>
                  <a:lnTo>
                    <a:pt x="280" y="12"/>
                  </a:lnTo>
                  <a:lnTo>
                    <a:pt x="280" y="16"/>
                  </a:lnTo>
                  <a:lnTo>
                    <a:pt x="284" y="16"/>
                  </a:lnTo>
                  <a:lnTo>
                    <a:pt x="284" y="12"/>
                  </a:lnTo>
                  <a:lnTo>
                    <a:pt x="280" y="12"/>
                  </a:lnTo>
                  <a:lnTo>
                    <a:pt x="276" y="12"/>
                  </a:lnTo>
                  <a:lnTo>
                    <a:pt x="276" y="8"/>
                  </a:lnTo>
                  <a:lnTo>
                    <a:pt x="280" y="8"/>
                  </a:lnTo>
                  <a:lnTo>
                    <a:pt x="280" y="12"/>
                  </a:lnTo>
                  <a:lnTo>
                    <a:pt x="284" y="8"/>
                  </a:lnTo>
                  <a:lnTo>
                    <a:pt x="280" y="8"/>
                  </a:lnTo>
                  <a:lnTo>
                    <a:pt x="280" y="4"/>
                  </a:lnTo>
                  <a:lnTo>
                    <a:pt x="284" y="4"/>
                  </a:lnTo>
                  <a:lnTo>
                    <a:pt x="284" y="8"/>
                  </a:lnTo>
                  <a:lnTo>
                    <a:pt x="288" y="8"/>
                  </a:lnTo>
                  <a:lnTo>
                    <a:pt x="288" y="4"/>
                  </a:lnTo>
                  <a:lnTo>
                    <a:pt x="288" y="8"/>
                  </a:lnTo>
                  <a:lnTo>
                    <a:pt x="292" y="8"/>
                  </a:lnTo>
                  <a:lnTo>
                    <a:pt x="292" y="4"/>
                  </a:lnTo>
                  <a:lnTo>
                    <a:pt x="296" y="4"/>
                  </a:lnTo>
                  <a:lnTo>
                    <a:pt x="296" y="8"/>
                  </a:lnTo>
                  <a:lnTo>
                    <a:pt x="300" y="8"/>
                  </a:lnTo>
                  <a:lnTo>
                    <a:pt x="296" y="12"/>
                  </a:lnTo>
                  <a:lnTo>
                    <a:pt x="292" y="16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20"/>
                  </a:lnTo>
                  <a:lnTo>
                    <a:pt x="288" y="20"/>
                  </a:lnTo>
                  <a:lnTo>
                    <a:pt x="288" y="22"/>
                  </a:lnTo>
                  <a:lnTo>
                    <a:pt x="288" y="26"/>
                  </a:lnTo>
                  <a:lnTo>
                    <a:pt x="288" y="30"/>
                  </a:lnTo>
                  <a:lnTo>
                    <a:pt x="288" y="26"/>
                  </a:lnTo>
                  <a:lnTo>
                    <a:pt x="292" y="26"/>
                  </a:lnTo>
                  <a:lnTo>
                    <a:pt x="296" y="22"/>
                  </a:lnTo>
                  <a:lnTo>
                    <a:pt x="296" y="20"/>
                  </a:lnTo>
                  <a:lnTo>
                    <a:pt x="300" y="16"/>
                  </a:lnTo>
                  <a:lnTo>
                    <a:pt x="304" y="16"/>
                  </a:lnTo>
                  <a:lnTo>
                    <a:pt x="306" y="12"/>
                  </a:lnTo>
                  <a:lnTo>
                    <a:pt x="306" y="8"/>
                  </a:lnTo>
                  <a:lnTo>
                    <a:pt x="310" y="8"/>
                  </a:lnTo>
                  <a:lnTo>
                    <a:pt x="310" y="4"/>
                  </a:lnTo>
                  <a:lnTo>
                    <a:pt x="310" y="8"/>
                  </a:lnTo>
                  <a:lnTo>
                    <a:pt x="310" y="12"/>
                  </a:lnTo>
                  <a:lnTo>
                    <a:pt x="306" y="12"/>
                  </a:lnTo>
                  <a:lnTo>
                    <a:pt x="306" y="16"/>
                  </a:lnTo>
                  <a:lnTo>
                    <a:pt x="306" y="12"/>
                  </a:lnTo>
                  <a:lnTo>
                    <a:pt x="310" y="12"/>
                  </a:lnTo>
                  <a:lnTo>
                    <a:pt x="310" y="16"/>
                  </a:lnTo>
                  <a:lnTo>
                    <a:pt x="310" y="20"/>
                  </a:lnTo>
                  <a:lnTo>
                    <a:pt x="310" y="22"/>
                  </a:lnTo>
                  <a:lnTo>
                    <a:pt x="310" y="20"/>
                  </a:lnTo>
                  <a:lnTo>
                    <a:pt x="314" y="20"/>
                  </a:lnTo>
                  <a:lnTo>
                    <a:pt x="318" y="20"/>
                  </a:lnTo>
                  <a:lnTo>
                    <a:pt x="314" y="16"/>
                  </a:lnTo>
                  <a:lnTo>
                    <a:pt x="318" y="16"/>
                  </a:lnTo>
                  <a:lnTo>
                    <a:pt x="318" y="12"/>
                  </a:lnTo>
                  <a:lnTo>
                    <a:pt x="322" y="12"/>
                  </a:lnTo>
                  <a:lnTo>
                    <a:pt x="322" y="8"/>
                  </a:lnTo>
                  <a:lnTo>
                    <a:pt x="326" y="8"/>
                  </a:lnTo>
                  <a:lnTo>
                    <a:pt x="322" y="8"/>
                  </a:lnTo>
                  <a:lnTo>
                    <a:pt x="318" y="8"/>
                  </a:lnTo>
                  <a:lnTo>
                    <a:pt x="318" y="4"/>
                  </a:lnTo>
                  <a:lnTo>
                    <a:pt x="322" y="4"/>
                  </a:lnTo>
                  <a:lnTo>
                    <a:pt x="326" y="0"/>
                  </a:lnTo>
                  <a:lnTo>
                    <a:pt x="326" y="4"/>
                  </a:lnTo>
                  <a:lnTo>
                    <a:pt x="330" y="4"/>
                  </a:lnTo>
                  <a:lnTo>
                    <a:pt x="332" y="4"/>
                  </a:lnTo>
                  <a:lnTo>
                    <a:pt x="336" y="4"/>
                  </a:lnTo>
                  <a:lnTo>
                    <a:pt x="336" y="8"/>
                  </a:lnTo>
                  <a:lnTo>
                    <a:pt x="332" y="12"/>
                  </a:lnTo>
                  <a:lnTo>
                    <a:pt x="330" y="12"/>
                  </a:lnTo>
                  <a:lnTo>
                    <a:pt x="326" y="12"/>
                  </a:lnTo>
                  <a:lnTo>
                    <a:pt x="330" y="12"/>
                  </a:lnTo>
                  <a:lnTo>
                    <a:pt x="332" y="12"/>
                  </a:lnTo>
                  <a:lnTo>
                    <a:pt x="330" y="12"/>
                  </a:lnTo>
                  <a:lnTo>
                    <a:pt x="326" y="16"/>
                  </a:lnTo>
                  <a:lnTo>
                    <a:pt x="330" y="16"/>
                  </a:lnTo>
                  <a:lnTo>
                    <a:pt x="332" y="12"/>
                  </a:lnTo>
                  <a:lnTo>
                    <a:pt x="332" y="16"/>
                  </a:lnTo>
                  <a:lnTo>
                    <a:pt x="330" y="16"/>
                  </a:lnTo>
                  <a:lnTo>
                    <a:pt x="330" y="20"/>
                  </a:lnTo>
                  <a:lnTo>
                    <a:pt x="332" y="20"/>
                  </a:lnTo>
                  <a:lnTo>
                    <a:pt x="330" y="20"/>
                  </a:lnTo>
                  <a:lnTo>
                    <a:pt x="332" y="20"/>
                  </a:lnTo>
                  <a:lnTo>
                    <a:pt x="332" y="16"/>
                  </a:lnTo>
                  <a:lnTo>
                    <a:pt x="336" y="20"/>
                  </a:lnTo>
                  <a:lnTo>
                    <a:pt x="332" y="20"/>
                  </a:lnTo>
                  <a:lnTo>
                    <a:pt x="332" y="22"/>
                  </a:lnTo>
                  <a:lnTo>
                    <a:pt x="332" y="26"/>
                  </a:lnTo>
                  <a:lnTo>
                    <a:pt x="330" y="30"/>
                  </a:lnTo>
                  <a:lnTo>
                    <a:pt x="332" y="30"/>
                  </a:lnTo>
                  <a:lnTo>
                    <a:pt x="332" y="26"/>
                  </a:lnTo>
                  <a:lnTo>
                    <a:pt x="332" y="22"/>
                  </a:lnTo>
                  <a:lnTo>
                    <a:pt x="332" y="20"/>
                  </a:lnTo>
                  <a:lnTo>
                    <a:pt x="336" y="20"/>
                  </a:lnTo>
                  <a:lnTo>
                    <a:pt x="336" y="16"/>
                  </a:lnTo>
                  <a:lnTo>
                    <a:pt x="336" y="12"/>
                  </a:lnTo>
                  <a:lnTo>
                    <a:pt x="340" y="8"/>
                  </a:lnTo>
                  <a:lnTo>
                    <a:pt x="344" y="8"/>
                  </a:lnTo>
                  <a:lnTo>
                    <a:pt x="348" y="8"/>
                  </a:lnTo>
                  <a:lnTo>
                    <a:pt x="348" y="12"/>
                  </a:lnTo>
                  <a:lnTo>
                    <a:pt x="350" y="12"/>
                  </a:lnTo>
                  <a:lnTo>
                    <a:pt x="354" y="12"/>
                  </a:lnTo>
                  <a:lnTo>
                    <a:pt x="354" y="16"/>
                  </a:lnTo>
                  <a:lnTo>
                    <a:pt x="354" y="12"/>
                  </a:lnTo>
                  <a:lnTo>
                    <a:pt x="358" y="12"/>
                  </a:lnTo>
                  <a:lnTo>
                    <a:pt x="362" y="12"/>
                  </a:lnTo>
                  <a:lnTo>
                    <a:pt x="362" y="16"/>
                  </a:lnTo>
                  <a:lnTo>
                    <a:pt x="358" y="16"/>
                  </a:lnTo>
                  <a:lnTo>
                    <a:pt x="362" y="16"/>
                  </a:lnTo>
                  <a:lnTo>
                    <a:pt x="366" y="16"/>
                  </a:lnTo>
                  <a:lnTo>
                    <a:pt x="366" y="20"/>
                  </a:lnTo>
                  <a:lnTo>
                    <a:pt x="370" y="20"/>
                  </a:lnTo>
                  <a:lnTo>
                    <a:pt x="374" y="20"/>
                  </a:lnTo>
                  <a:lnTo>
                    <a:pt x="374" y="22"/>
                  </a:lnTo>
                  <a:lnTo>
                    <a:pt x="370" y="22"/>
                  </a:lnTo>
                  <a:lnTo>
                    <a:pt x="366" y="22"/>
                  </a:lnTo>
                  <a:lnTo>
                    <a:pt x="362" y="26"/>
                  </a:lnTo>
                  <a:lnTo>
                    <a:pt x="358" y="26"/>
                  </a:lnTo>
                  <a:lnTo>
                    <a:pt x="358" y="30"/>
                  </a:lnTo>
                  <a:lnTo>
                    <a:pt x="354" y="30"/>
                  </a:lnTo>
                  <a:lnTo>
                    <a:pt x="354" y="26"/>
                  </a:lnTo>
                  <a:lnTo>
                    <a:pt x="350" y="26"/>
                  </a:lnTo>
                  <a:lnTo>
                    <a:pt x="348" y="26"/>
                  </a:lnTo>
                  <a:lnTo>
                    <a:pt x="344" y="26"/>
                  </a:lnTo>
                  <a:lnTo>
                    <a:pt x="340" y="26"/>
                  </a:lnTo>
                  <a:lnTo>
                    <a:pt x="344" y="30"/>
                  </a:lnTo>
                  <a:lnTo>
                    <a:pt x="348" y="30"/>
                  </a:lnTo>
                  <a:lnTo>
                    <a:pt x="350" y="30"/>
                  </a:lnTo>
                  <a:lnTo>
                    <a:pt x="354" y="30"/>
                  </a:lnTo>
                  <a:lnTo>
                    <a:pt x="350" y="30"/>
                  </a:lnTo>
                  <a:lnTo>
                    <a:pt x="350" y="34"/>
                  </a:lnTo>
                  <a:lnTo>
                    <a:pt x="348" y="34"/>
                  </a:lnTo>
                  <a:lnTo>
                    <a:pt x="350" y="34"/>
                  </a:lnTo>
                  <a:lnTo>
                    <a:pt x="354" y="34"/>
                  </a:lnTo>
                  <a:lnTo>
                    <a:pt x="350" y="38"/>
                  </a:lnTo>
                  <a:lnTo>
                    <a:pt x="354" y="38"/>
                  </a:lnTo>
                  <a:lnTo>
                    <a:pt x="358" y="38"/>
                  </a:lnTo>
                  <a:lnTo>
                    <a:pt x="362" y="38"/>
                  </a:lnTo>
                  <a:lnTo>
                    <a:pt x="358" y="38"/>
                  </a:lnTo>
                  <a:lnTo>
                    <a:pt x="362" y="38"/>
                  </a:lnTo>
                  <a:lnTo>
                    <a:pt x="358" y="34"/>
                  </a:lnTo>
                  <a:lnTo>
                    <a:pt x="362" y="34"/>
                  </a:lnTo>
                  <a:lnTo>
                    <a:pt x="362" y="38"/>
                  </a:lnTo>
                  <a:lnTo>
                    <a:pt x="366" y="38"/>
                  </a:lnTo>
                  <a:lnTo>
                    <a:pt x="366" y="34"/>
                  </a:lnTo>
                  <a:lnTo>
                    <a:pt x="370" y="34"/>
                  </a:lnTo>
                  <a:lnTo>
                    <a:pt x="370" y="38"/>
                  </a:lnTo>
                  <a:lnTo>
                    <a:pt x="370" y="42"/>
                  </a:lnTo>
                  <a:lnTo>
                    <a:pt x="366" y="42"/>
                  </a:lnTo>
                  <a:lnTo>
                    <a:pt x="362" y="42"/>
                  </a:lnTo>
                  <a:lnTo>
                    <a:pt x="362" y="38"/>
                  </a:lnTo>
                  <a:lnTo>
                    <a:pt x="358" y="38"/>
                  </a:lnTo>
                  <a:lnTo>
                    <a:pt x="362" y="42"/>
                  </a:lnTo>
                  <a:lnTo>
                    <a:pt x="358" y="42"/>
                  </a:lnTo>
                  <a:lnTo>
                    <a:pt x="354" y="46"/>
                  </a:lnTo>
                  <a:lnTo>
                    <a:pt x="350" y="46"/>
                  </a:lnTo>
                  <a:lnTo>
                    <a:pt x="348" y="50"/>
                  </a:lnTo>
                  <a:lnTo>
                    <a:pt x="348" y="52"/>
                  </a:lnTo>
                  <a:lnTo>
                    <a:pt x="344" y="52"/>
                  </a:lnTo>
                  <a:lnTo>
                    <a:pt x="344" y="56"/>
                  </a:lnTo>
                  <a:lnTo>
                    <a:pt x="344" y="52"/>
                  </a:lnTo>
                  <a:lnTo>
                    <a:pt x="340" y="52"/>
                  </a:lnTo>
                  <a:lnTo>
                    <a:pt x="340" y="50"/>
                  </a:lnTo>
                  <a:lnTo>
                    <a:pt x="344" y="50"/>
                  </a:lnTo>
                  <a:lnTo>
                    <a:pt x="344" y="46"/>
                  </a:lnTo>
                  <a:lnTo>
                    <a:pt x="348" y="46"/>
                  </a:lnTo>
                  <a:lnTo>
                    <a:pt x="348" y="42"/>
                  </a:lnTo>
                  <a:lnTo>
                    <a:pt x="348" y="38"/>
                  </a:lnTo>
                  <a:lnTo>
                    <a:pt x="344" y="38"/>
                  </a:lnTo>
                  <a:lnTo>
                    <a:pt x="340" y="38"/>
                  </a:lnTo>
                  <a:lnTo>
                    <a:pt x="336" y="34"/>
                  </a:lnTo>
                  <a:lnTo>
                    <a:pt x="332" y="34"/>
                  </a:lnTo>
                  <a:lnTo>
                    <a:pt x="332" y="30"/>
                  </a:lnTo>
                  <a:lnTo>
                    <a:pt x="330" y="30"/>
                  </a:lnTo>
                  <a:lnTo>
                    <a:pt x="330" y="26"/>
                  </a:lnTo>
                  <a:lnTo>
                    <a:pt x="326" y="26"/>
                  </a:lnTo>
                  <a:lnTo>
                    <a:pt x="322" y="30"/>
                  </a:lnTo>
                  <a:lnTo>
                    <a:pt x="318" y="30"/>
                  </a:lnTo>
                  <a:lnTo>
                    <a:pt x="318" y="34"/>
                  </a:lnTo>
                  <a:lnTo>
                    <a:pt x="314" y="30"/>
                  </a:lnTo>
                  <a:lnTo>
                    <a:pt x="310" y="30"/>
                  </a:lnTo>
                  <a:lnTo>
                    <a:pt x="306" y="30"/>
                  </a:lnTo>
                  <a:lnTo>
                    <a:pt x="306" y="34"/>
                  </a:lnTo>
                  <a:lnTo>
                    <a:pt x="304" y="38"/>
                  </a:lnTo>
                  <a:lnTo>
                    <a:pt x="300" y="38"/>
                  </a:lnTo>
                  <a:lnTo>
                    <a:pt x="304" y="38"/>
                  </a:lnTo>
                  <a:lnTo>
                    <a:pt x="304" y="42"/>
                  </a:lnTo>
                  <a:lnTo>
                    <a:pt x="300" y="42"/>
                  </a:lnTo>
                  <a:lnTo>
                    <a:pt x="300" y="46"/>
                  </a:lnTo>
                  <a:lnTo>
                    <a:pt x="300" y="50"/>
                  </a:lnTo>
                  <a:lnTo>
                    <a:pt x="300" y="52"/>
                  </a:lnTo>
                  <a:lnTo>
                    <a:pt x="300" y="56"/>
                  </a:lnTo>
                  <a:lnTo>
                    <a:pt x="296" y="56"/>
                  </a:lnTo>
                  <a:lnTo>
                    <a:pt x="296" y="60"/>
                  </a:lnTo>
                  <a:lnTo>
                    <a:pt x="296" y="56"/>
                  </a:lnTo>
                  <a:lnTo>
                    <a:pt x="292" y="56"/>
                  </a:lnTo>
                  <a:lnTo>
                    <a:pt x="292" y="60"/>
                  </a:lnTo>
                  <a:lnTo>
                    <a:pt x="288" y="60"/>
                  </a:lnTo>
                  <a:lnTo>
                    <a:pt x="288" y="64"/>
                  </a:lnTo>
                  <a:lnTo>
                    <a:pt x="288" y="68"/>
                  </a:lnTo>
                  <a:lnTo>
                    <a:pt x="284" y="64"/>
                  </a:lnTo>
                  <a:lnTo>
                    <a:pt x="280" y="64"/>
                  </a:lnTo>
                  <a:lnTo>
                    <a:pt x="276" y="64"/>
                  </a:lnTo>
                  <a:lnTo>
                    <a:pt x="276" y="60"/>
                  </a:lnTo>
                  <a:lnTo>
                    <a:pt x="274" y="60"/>
                  </a:lnTo>
                  <a:lnTo>
                    <a:pt x="270" y="60"/>
                  </a:lnTo>
                  <a:lnTo>
                    <a:pt x="270" y="64"/>
                  </a:lnTo>
                  <a:lnTo>
                    <a:pt x="266" y="64"/>
                  </a:lnTo>
                  <a:lnTo>
                    <a:pt x="262" y="64"/>
                  </a:lnTo>
                  <a:lnTo>
                    <a:pt x="258" y="64"/>
                  </a:lnTo>
                  <a:lnTo>
                    <a:pt x="254" y="60"/>
                  </a:lnTo>
                  <a:lnTo>
                    <a:pt x="250" y="64"/>
                  </a:lnTo>
                  <a:lnTo>
                    <a:pt x="250" y="60"/>
                  </a:lnTo>
                  <a:lnTo>
                    <a:pt x="248" y="56"/>
                  </a:lnTo>
                  <a:lnTo>
                    <a:pt x="248" y="52"/>
                  </a:lnTo>
                  <a:lnTo>
                    <a:pt x="244" y="52"/>
                  </a:lnTo>
                  <a:lnTo>
                    <a:pt x="240" y="50"/>
                  </a:lnTo>
                  <a:lnTo>
                    <a:pt x="236" y="50"/>
                  </a:lnTo>
                  <a:lnTo>
                    <a:pt x="232" y="50"/>
                  </a:lnTo>
                  <a:lnTo>
                    <a:pt x="232" y="52"/>
                  </a:lnTo>
                  <a:lnTo>
                    <a:pt x="232" y="56"/>
                  </a:lnTo>
                  <a:lnTo>
                    <a:pt x="232" y="52"/>
                  </a:lnTo>
                  <a:lnTo>
                    <a:pt x="228" y="52"/>
                  </a:lnTo>
                  <a:lnTo>
                    <a:pt x="224" y="52"/>
                  </a:lnTo>
                  <a:lnTo>
                    <a:pt x="218" y="52"/>
                  </a:lnTo>
                  <a:lnTo>
                    <a:pt x="220" y="56"/>
                  </a:lnTo>
                  <a:lnTo>
                    <a:pt x="220" y="60"/>
                  </a:lnTo>
                  <a:lnTo>
                    <a:pt x="220" y="64"/>
                  </a:lnTo>
                  <a:lnTo>
                    <a:pt x="218" y="68"/>
                  </a:lnTo>
                  <a:lnTo>
                    <a:pt x="220" y="68"/>
                  </a:lnTo>
                  <a:lnTo>
                    <a:pt x="218" y="72"/>
                  </a:lnTo>
                  <a:lnTo>
                    <a:pt x="214" y="72"/>
                  </a:lnTo>
                  <a:lnTo>
                    <a:pt x="210" y="72"/>
                  </a:lnTo>
                  <a:lnTo>
                    <a:pt x="202" y="68"/>
                  </a:lnTo>
                  <a:lnTo>
                    <a:pt x="198" y="68"/>
                  </a:lnTo>
                  <a:lnTo>
                    <a:pt x="194" y="68"/>
                  </a:lnTo>
                  <a:lnTo>
                    <a:pt x="190" y="68"/>
                  </a:lnTo>
                  <a:lnTo>
                    <a:pt x="188" y="72"/>
                  </a:lnTo>
                  <a:lnTo>
                    <a:pt x="190" y="72"/>
                  </a:lnTo>
                  <a:lnTo>
                    <a:pt x="190" y="76"/>
                  </a:lnTo>
                  <a:lnTo>
                    <a:pt x="188" y="78"/>
                  </a:lnTo>
                  <a:lnTo>
                    <a:pt x="188" y="82"/>
                  </a:lnTo>
                  <a:lnTo>
                    <a:pt x="184" y="82"/>
                  </a:lnTo>
                  <a:lnTo>
                    <a:pt x="184" y="78"/>
                  </a:lnTo>
                  <a:lnTo>
                    <a:pt x="180" y="78"/>
                  </a:lnTo>
                  <a:lnTo>
                    <a:pt x="176" y="78"/>
                  </a:lnTo>
                  <a:lnTo>
                    <a:pt x="168" y="82"/>
                  </a:lnTo>
                  <a:lnTo>
                    <a:pt x="168" y="86"/>
                  </a:lnTo>
                  <a:lnTo>
                    <a:pt x="168" y="90"/>
                  </a:lnTo>
                  <a:lnTo>
                    <a:pt x="164" y="94"/>
                  </a:lnTo>
                  <a:lnTo>
                    <a:pt x="160" y="94"/>
                  </a:lnTo>
                  <a:lnTo>
                    <a:pt x="160" y="98"/>
                  </a:lnTo>
                  <a:lnTo>
                    <a:pt x="164" y="98"/>
                  </a:lnTo>
                  <a:lnTo>
                    <a:pt x="164" y="102"/>
                  </a:lnTo>
                  <a:lnTo>
                    <a:pt x="164" y="106"/>
                  </a:lnTo>
                  <a:lnTo>
                    <a:pt x="160" y="108"/>
                  </a:lnTo>
                  <a:lnTo>
                    <a:pt x="158" y="112"/>
                  </a:lnTo>
                  <a:lnTo>
                    <a:pt x="154" y="116"/>
                  </a:lnTo>
                  <a:lnTo>
                    <a:pt x="150" y="116"/>
                  </a:lnTo>
                  <a:lnTo>
                    <a:pt x="150" y="120"/>
                  </a:lnTo>
                  <a:lnTo>
                    <a:pt x="154" y="124"/>
                  </a:lnTo>
                  <a:lnTo>
                    <a:pt x="146" y="128"/>
                  </a:lnTo>
                  <a:lnTo>
                    <a:pt x="142" y="128"/>
                  </a:lnTo>
                  <a:lnTo>
                    <a:pt x="138" y="128"/>
                  </a:lnTo>
                  <a:lnTo>
                    <a:pt x="138" y="132"/>
                  </a:lnTo>
                  <a:lnTo>
                    <a:pt x="142" y="136"/>
                  </a:lnTo>
                  <a:lnTo>
                    <a:pt x="138" y="136"/>
                  </a:lnTo>
                  <a:lnTo>
                    <a:pt x="138" y="138"/>
                  </a:lnTo>
                  <a:lnTo>
                    <a:pt x="138" y="142"/>
                  </a:lnTo>
                  <a:lnTo>
                    <a:pt x="138" y="146"/>
                  </a:lnTo>
                  <a:lnTo>
                    <a:pt x="134" y="150"/>
                  </a:lnTo>
                  <a:lnTo>
                    <a:pt x="134" y="154"/>
                  </a:lnTo>
                  <a:lnTo>
                    <a:pt x="130" y="154"/>
                  </a:lnTo>
                  <a:lnTo>
                    <a:pt x="130" y="158"/>
                  </a:lnTo>
                  <a:lnTo>
                    <a:pt x="130" y="162"/>
                  </a:lnTo>
                  <a:lnTo>
                    <a:pt x="128" y="162"/>
                  </a:lnTo>
                  <a:lnTo>
                    <a:pt x="128" y="164"/>
                  </a:lnTo>
                  <a:lnTo>
                    <a:pt x="130" y="164"/>
                  </a:lnTo>
                  <a:lnTo>
                    <a:pt x="134" y="164"/>
                  </a:lnTo>
                  <a:lnTo>
                    <a:pt x="134" y="168"/>
                  </a:lnTo>
                  <a:lnTo>
                    <a:pt x="134" y="172"/>
                  </a:lnTo>
                  <a:lnTo>
                    <a:pt x="130" y="176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2" y="180"/>
                  </a:lnTo>
                  <a:lnTo>
                    <a:pt x="108" y="184"/>
                  </a:lnTo>
                  <a:lnTo>
                    <a:pt x="104" y="188"/>
                  </a:lnTo>
                  <a:lnTo>
                    <a:pt x="104" y="192"/>
                  </a:lnTo>
                  <a:lnTo>
                    <a:pt x="104" y="194"/>
                  </a:lnTo>
                  <a:lnTo>
                    <a:pt x="102" y="194"/>
                  </a:lnTo>
                  <a:lnTo>
                    <a:pt x="104" y="198"/>
                  </a:lnTo>
                  <a:lnTo>
                    <a:pt x="104" y="202"/>
                  </a:lnTo>
                  <a:lnTo>
                    <a:pt x="104" y="206"/>
                  </a:lnTo>
                  <a:lnTo>
                    <a:pt x="104" y="210"/>
                  </a:lnTo>
                  <a:lnTo>
                    <a:pt x="104" y="214"/>
                  </a:lnTo>
                  <a:lnTo>
                    <a:pt x="104" y="218"/>
                  </a:lnTo>
                  <a:lnTo>
                    <a:pt x="108" y="218"/>
                  </a:lnTo>
                  <a:lnTo>
                    <a:pt x="108" y="222"/>
                  </a:lnTo>
                  <a:lnTo>
                    <a:pt x="104" y="224"/>
                  </a:lnTo>
                  <a:lnTo>
                    <a:pt x="104" y="228"/>
                  </a:lnTo>
                  <a:lnTo>
                    <a:pt x="104" y="232"/>
                  </a:lnTo>
                  <a:lnTo>
                    <a:pt x="108" y="236"/>
                  </a:lnTo>
                  <a:lnTo>
                    <a:pt x="112" y="236"/>
                  </a:lnTo>
                  <a:lnTo>
                    <a:pt x="112" y="238"/>
                  </a:lnTo>
                  <a:lnTo>
                    <a:pt x="116" y="238"/>
                  </a:lnTo>
                  <a:lnTo>
                    <a:pt x="116" y="242"/>
                  </a:lnTo>
                  <a:lnTo>
                    <a:pt x="112" y="242"/>
                  </a:lnTo>
                  <a:lnTo>
                    <a:pt x="112" y="246"/>
                  </a:lnTo>
                  <a:lnTo>
                    <a:pt x="108" y="246"/>
                  </a:lnTo>
                  <a:lnTo>
                    <a:pt x="104" y="246"/>
                  </a:lnTo>
                  <a:lnTo>
                    <a:pt x="108" y="250"/>
                  </a:lnTo>
                  <a:lnTo>
                    <a:pt x="108" y="254"/>
                  </a:lnTo>
                  <a:lnTo>
                    <a:pt x="108" y="258"/>
                  </a:lnTo>
                  <a:lnTo>
                    <a:pt x="112" y="258"/>
                  </a:lnTo>
                  <a:lnTo>
                    <a:pt x="112" y="262"/>
                  </a:lnTo>
                  <a:lnTo>
                    <a:pt x="108" y="264"/>
                  </a:lnTo>
                  <a:lnTo>
                    <a:pt x="108" y="268"/>
                  </a:lnTo>
                  <a:lnTo>
                    <a:pt x="108" y="272"/>
                  </a:lnTo>
                  <a:lnTo>
                    <a:pt x="104" y="272"/>
                  </a:lnTo>
                  <a:lnTo>
                    <a:pt x="102" y="272"/>
                  </a:lnTo>
                  <a:lnTo>
                    <a:pt x="102" y="276"/>
                  </a:lnTo>
                  <a:lnTo>
                    <a:pt x="102" y="280"/>
                  </a:lnTo>
                  <a:lnTo>
                    <a:pt x="98" y="280"/>
                  </a:lnTo>
                  <a:lnTo>
                    <a:pt x="102" y="284"/>
                  </a:lnTo>
                  <a:lnTo>
                    <a:pt x="102" y="288"/>
                  </a:lnTo>
                  <a:lnTo>
                    <a:pt x="102" y="292"/>
                  </a:lnTo>
                  <a:lnTo>
                    <a:pt x="98" y="294"/>
                  </a:lnTo>
                  <a:lnTo>
                    <a:pt x="94" y="294"/>
                  </a:lnTo>
                  <a:lnTo>
                    <a:pt x="94" y="292"/>
                  </a:lnTo>
                  <a:lnTo>
                    <a:pt x="90" y="292"/>
                  </a:lnTo>
                  <a:lnTo>
                    <a:pt x="86" y="292"/>
                  </a:lnTo>
                  <a:lnTo>
                    <a:pt x="86" y="288"/>
                  </a:lnTo>
                  <a:lnTo>
                    <a:pt x="82" y="284"/>
                  </a:lnTo>
                  <a:lnTo>
                    <a:pt x="86" y="284"/>
                  </a:lnTo>
                  <a:lnTo>
                    <a:pt x="82" y="280"/>
                  </a:lnTo>
                  <a:lnTo>
                    <a:pt x="82" y="276"/>
                  </a:lnTo>
                  <a:lnTo>
                    <a:pt x="82" y="272"/>
                  </a:lnTo>
                  <a:lnTo>
                    <a:pt x="86" y="276"/>
                  </a:lnTo>
                  <a:lnTo>
                    <a:pt x="86" y="272"/>
                  </a:lnTo>
                  <a:lnTo>
                    <a:pt x="82" y="272"/>
                  </a:lnTo>
                  <a:lnTo>
                    <a:pt x="82" y="276"/>
                  </a:lnTo>
                  <a:lnTo>
                    <a:pt x="82" y="280"/>
                  </a:lnTo>
                  <a:lnTo>
                    <a:pt x="82" y="276"/>
                  </a:lnTo>
                  <a:lnTo>
                    <a:pt x="78" y="276"/>
                  </a:lnTo>
                  <a:lnTo>
                    <a:pt x="78" y="280"/>
                  </a:lnTo>
                  <a:lnTo>
                    <a:pt x="78" y="284"/>
                  </a:lnTo>
                  <a:lnTo>
                    <a:pt x="82" y="284"/>
                  </a:lnTo>
                  <a:lnTo>
                    <a:pt x="82" y="288"/>
                  </a:lnTo>
                  <a:lnTo>
                    <a:pt x="78" y="288"/>
                  </a:lnTo>
                  <a:lnTo>
                    <a:pt x="78" y="292"/>
                  </a:lnTo>
                  <a:lnTo>
                    <a:pt x="74" y="292"/>
                  </a:lnTo>
                  <a:lnTo>
                    <a:pt x="74" y="294"/>
                  </a:lnTo>
                  <a:lnTo>
                    <a:pt x="72" y="294"/>
                  </a:lnTo>
                  <a:lnTo>
                    <a:pt x="72" y="292"/>
                  </a:lnTo>
                  <a:lnTo>
                    <a:pt x="68" y="292"/>
                  </a:lnTo>
                  <a:lnTo>
                    <a:pt x="72" y="292"/>
                  </a:lnTo>
                  <a:lnTo>
                    <a:pt x="72" y="294"/>
                  </a:lnTo>
                  <a:lnTo>
                    <a:pt x="68" y="294"/>
                  </a:lnTo>
                  <a:lnTo>
                    <a:pt x="64" y="298"/>
                  </a:lnTo>
                  <a:lnTo>
                    <a:pt x="64" y="302"/>
                  </a:lnTo>
                  <a:lnTo>
                    <a:pt x="60" y="302"/>
                  </a:lnTo>
                  <a:lnTo>
                    <a:pt x="60" y="306"/>
                  </a:lnTo>
                  <a:lnTo>
                    <a:pt x="56" y="306"/>
                  </a:lnTo>
                  <a:lnTo>
                    <a:pt x="52" y="310"/>
                  </a:lnTo>
                  <a:lnTo>
                    <a:pt x="48" y="310"/>
                  </a:lnTo>
                  <a:lnTo>
                    <a:pt x="48" y="314"/>
                  </a:lnTo>
                  <a:lnTo>
                    <a:pt x="44" y="314"/>
                  </a:lnTo>
                  <a:lnTo>
                    <a:pt x="42" y="314"/>
                  </a:lnTo>
                  <a:lnTo>
                    <a:pt x="38" y="314"/>
                  </a:lnTo>
                  <a:lnTo>
                    <a:pt x="34" y="314"/>
                  </a:lnTo>
                  <a:lnTo>
                    <a:pt x="34" y="318"/>
                  </a:lnTo>
                  <a:lnTo>
                    <a:pt x="30" y="314"/>
                  </a:lnTo>
                  <a:lnTo>
                    <a:pt x="26" y="314"/>
                  </a:lnTo>
                  <a:lnTo>
                    <a:pt x="26" y="310"/>
                  </a:lnTo>
                  <a:lnTo>
                    <a:pt x="30" y="310"/>
                  </a:lnTo>
                  <a:lnTo>
                    <a:pt x="26" y="310"/>
                  </a:lnTo>
                  <a:lnTo>
                    <a:pt x="22" y="310"/>
                  </a:lnTo>
                  <a:lnTo>
                    <a:pt x="18" y="310"/>
                  </a:lnTo>
                  <a:lnTo>
                    <a:pt x="18" y="306"/>
                  </a:lnTo>
                  <a:lnTo>
                    <a:pt x="14" y="306"/>
                  </a:lnTo>
                  <a:lnTo>
                    <a:pt x="12" y="302"/>
                  </a:lnTo>
                  <a:lnTo>
                    <a:pt x="12" y="298"/>
                  </a:lnTo>
                  <a:lnTo>
                    <a:pt x="12" y="294"/>
                  </a:lnTo>
                  <a:lnTo>
                    <a:pt x="12" y="292"/>
                  </a:lnTo>
                  <a:lnTo>
                    <a:pt x="14" y="294"/>
                  </a:lnTo>
                  <a:lnTo>
                    <a:pt x="18" y="294"/>
                  </a:lnTo>
                  <a:lnTo>
                    <a:pt x="18" y="298"/>
                  </a:lnTo>
                  <a:lnTo>
                    <a:pt x="22" y="294"/>
                  </a:lnTo>
                  <a:lnTo>
                    <a:pt x="18" y="294"/>
                  </a:lnTo>
                  <a:lnTo>
                    <a:pt x="22" y="294"/>
                  </a:lnTo>
                  <a:lnTo>
                    <a:pt x="22" y="292"/>
                  </a:lnTo>
                  <a:lnTo>
                    <a:pt x="26" y="292"/>
                  </a:lnTo>
                  <a:lnTo>
                    <a:pt x="22" y="292"/>
                  </a:lnTo>
                  <a:lnTo>
                    <a:pt x="18" y="294"/>
                  </a:lnTo>
                  <a:lnTo>
                    <a:pt x="18" y="292"/>
                  </a:lnTo>
                  <a:lnTo>
                    <a:pt x="14" y="292"/>
                  </a:lnTo>
                  <a:lnTo>
                    <a:pt x="18" y="292"/>
                  </a:lnTo>
                  <a:lnTo>
                    <a:pt x="18" y="288"/>
                  </a:lnTo>
                  <a:lnTo>
                    <a:pt x="22" y="288"/>
                  </a:lnTo>
                  <a:lnTo>
                    <a:pt x="26" y="288"/>
                  </a:lnTo>
                  <a:lnTo>
                    <a:pt x="22" y="288"/>
                  </a:lnTo>
                  <a:lnTo>
                    <a:pt x="18" y="288"/>
                  </a:lnTo>
                  <a:lnTo>
                    <a:pt x="18" y="284"/>
                  </a:lnTo>
                  <a:lnTo>
                    <a:pt x="22" y="284"/>
                  </a:lnTo>
                  <a:lnTo>
                    <a:pt x="22" y="280"/>
                  </a:lnTo>
                  <a:lnTo>
                    <a:pt x="26" y="280"/>
                  </a:lnTo>
                  <a:lnTo>
                    <a:pt x="22" y="280"/>
                  </a:lnTo>
                  <a:lnTo>
                    <a:pt x="18" y="284"/>
                  </a:lnTo>
                  <a:lnTo>
                    <a:pt x="14" y="284"/>
                  </a:lnTo>
                  <a:lnTo>
                    <a:pt x="18" y="284"/>
                  </a:lnTo>
                  <a:lnTo>
                    <a:pt x="14" y="284"/>
                  </a:lnTo>
                  <a:lnTo>
                    <a:pt x="14" y="288"/>
                  </a:lnTo>
                  <a:lnTo>
                    <a:pt x="12" y="288"/>
                  </a:lnTo>
                  <a:lnTo>
                    <a:pt x="12" y="284"/>
                  </a:lnTo>
                  <a:lnTo>
                    <a:pt x="12" y="288"/>
                  </a:lnTo>
                  <a:lnTo>
                    <a:pt x="8" y="288"/>
                  </a:lnTo>
                  <a:lnTo>
                    <a:pt x="8" y="284"/>
                  </a:lnTo>
                  <a:lnTo>
                    <a:pt x="8" y="280"/>
                  </a:lnTo>
                  <a:lnTo>
                    <a:pt x="12" y="276"/>
                  </a:lnTo>
                  <a:lnTo>
                    <a:pt x="12" y="280"/>
                  </a:lnTo>
                  <a:lnTo>
                    <a:pt x="12" y="276"/>
                  </a:lnTo>
                  <a:lnTo>
                    <a:pt x="14" y="276"/>
                  </a:lnTo>
                  <a:lnTo>
                    <a:pt x="18" y="276"/>
                  </a:lnTo>
                  <a:lnTo>
                    <a:pt x="22" y="272"/>
                  </a:lnTo>
                  <a:lnTo>
                    <a:pt x="18" y="276"/>
                  </a:lnTo>
                  <a:lnTo>
                    <a:pt x="14" y="276"/>
                  </a:lnTo>
                  <a:lnTo>
                    <a:pt x="14" y="272"/>
                  </a:lnTo>
                  <a:lnTo>
                    <a:pt x="18" y="272"/>
                  </a:lnTo>
                  <a:lnTo>
                    <a:pt x="18" y="268"/>
                  </a:lnTo>
                  <a:lnTo>
                    <a:pt x="18" y="264"/>
                  </a:lnTo>
                  <a:lnTo>
                    <a:pt x="22" y="264"/>
                  </a:lnTo>
                  <a:lnTo>
                    <a:pt x="22" y="262"/>
                  </a:lnTo>
                  <a:lnTo>
                    <a:pt x="26" y="262"/>
                  </a:lnTo>
                  <a:lnTo>
                    <a:pt x="26" y="264"/>
                  </a:lnTo>
                  <a:lnTo>
                    <a:pt x="26" y="268"/>
                  </a:lnTo>
                  <a:lnTo>
                    <a:pt x="26" y="264"/>
                  </a:lnTo>
                  <a:lnTo>
                    <a:pt x="26" y="262"/>
                  </a:lnTo>
                  <a:lnTo>
                    <a:pt x="30" y="262"/>
                  </a:lnTo>
                  <a:lnTo>
                    <a:pt x="30" y="258"/>
                  </a:lnTo>
                  <a:lnTo>
                    <a:pt x="34" y="262"/>
                  </a:lnTo>
                  <a:lnTo>
                    <a:pt x="34" y="258"/>
                  </a:lnTo>
                  <a:lnTo>
                    <a:pt x="30" y="258"/>
                  </a:lnTo>
                  <a:lnTo>
                    <a:pt x="34" y="258"/>
                  </a:lnTo>
                  <a:lnTo>
                    <a:pt x="30" y="258"/>
                  </a:lnTo>
                  <a:lnTo>
                    <a:pt x="26" y="262"/>
                  </a:lnTo>
                  <a:lnTo>
                    <a:pt x="22" y="262"/>
                  </a:lnTo>
                  <a:lnTo>
                    <a:pt x="18" y="262"/>
                  </a:lnTo>
                  <a:lnTo>
                    <a:pt x="18" y="264"/>
                  </a:lnTo>
                  <a:lnTo>
                    <a:pt x="14" y="268"/>
                  </a:lnTo>
                  <a:lnTo>
                    <a:pt x="14" y="272"/>
                  </a:lnTo>
                  <a:lnTo>
                    <a:pt x="14" y="268"/>
                  </a:lnTo>
                  <a:lnTo>
                    <a:pt x="12" y="268"/>
                  </a:lnTo>
                  <a:lnTo>
                    <a:pt x="12" y="264"/>
                  </a:lnTo>
                  <a:lnTo>
                    <a:pt x="14" y="262"/>
                  </a:lnTo>
                  <a:lnTo>
                    <a:pt x="12" y="262"/>
                  </a:lnTo>
                  <a:lnTo>
                    <a:pt x="12" y="264"/>
                  </a:lnTo>
                  <a:lnTo>
                    <a:pt x="12" y="268"/>
                  </a:lnTo>
                  <a:lnTo>
                    <a:pt x="8" y="268"/>
                  </a:lnTo>
                  <a:lnTo>
                    <a:pt x="8" y="264"/>
                  </a:lnTo>
                  <a:lnTo>
                    <a:pt x="8" y="262"/>
                  </a:lnTo>
                  <a:lnTo>
                    <a:pt x="8" y="258"/>
                  </a:lnTo>
                  <a:lnTo>
                    <a:pt x="8" y="262"/>
                  </a:lnTo>
                  <a:lnTo>
                    <a:pt x="12" y="262"/>
                  </a:lnTo>
                  <a:lnTo>
                    <a:pt x="14" y="262"/>
                  </a:lnTo>
                  <a:lnTo>
                    <a:pt x="14" y="258"/>
                  </a:lnTo>
                  <a:lnTo>
                    <a:pt x="14" y="254"/>
                  </a:lnTo>
                  <a:lnTo>
                    <a:pt x="12" y="254"/>
                  </a:lnTo>
                  <a:lnTo>
                    <a:pt x="12" y="258"/>
                  </a:lnTo>
                  <a:lnTo>
                    <a:pt x="8" y="258"/>
                  </a:lnTo>
                  <a:lnTo>
                    <a:pt x="4" y="254"/>
                  </a:lnTo>
                  <a:lnTo>
                    <a:pt x="8" y="258"/>
                  </a:lnTo>
                  <a:lnTo>
                    <a:pt x="4" y="254"/>
                  </a:lnTo>
                  <a:lnTo>
                    <a:pt x="8" y="254"/>
                  </a:lnTo>
                  <a:lnTo>
                    <a:pt x="8" y="258"/>
                  </a:lnTo>
                  <a:lnTo>
                    <a:pt x="12" y="258"/>
                  </a:lnTo>
                  <a:lnTo>
                    <a:pt x="12" y="254"/>
                  </a:lnTo>
                  <a:lnTo>
                    <a:pt x="8" y="254"/>
                  </a:lnTo>
                  <a:lnTo>
                    <a:pt x="8" y="250"/>
                  </a:lnTo>
                  <a:lnTo>
                    <a:pt x="12" y="250"/>
                  </a:lnTo>
                  <a:lnTo>
                    <a:pt x="8" y="250"/>
                  </a:lnTo>
                  <a:lnTo>
                    <a:pt x="4" y="250"/>
                  </a:lnTo>
                  <a:lnTo>
                    <a:pt x="4" y="246"/>
                  </a:lnTo>
                  <a:lnTo>
                    <a:pt x="8" y="246"/>
                  </a:lnTo>
                  <a:lnTo>
                    <a:pt x="12" y="246"/>
                  </a:lnTo>
                  <a:lnTo>
                    <a:pt x="14" y="246"/>
                  </a:lnTo>
                  <a:lnTo>
                    <a:pt x="18" y="246"/>
                  </a:lnTo>
                  <a:lnTo>
                    <a:pt x="22" y="246"/>
                  </a:lnTo>
                  <a:lnTo>
                    <a:pt x="26" y="246"/>
                  </a:lnTo>
                  <a:lnTo>
                    <a:pt x="26" y="242"/>
                  </a:lnTo>
                  <a:lnTo>
                    <a:pt x="30" y="242"/>
                  </a:lnTo>
                  <a:lnTo>
                    <a:pt x="30" y="246"/>
                  </a:lnTo>
                  <a:lnTo>
                    <a:pt x="34" y="246"/>
                  </a:lnTo>
                  <a:lnTo>
                    <a:pt x="34" y="250"/>
                  </a:lnTo>
                  <a:lnTo>
                    <a:pt x="34" y="246"/>
                  </a:lnTo>
                  <a:lnTo>
                    <a:pt x="38" y="246"/>
                  </a:lnTo>
                  <a:lnTo>
                    <a:pt x="38" y="242"/>
                  </a:lnTo>
                  <a:lnTo>
                    <a:pt x="38" y="238"/>
                  </a:lnTo>
                  <a:lnTo>
                    <a:pt x="42" y="238"/>
                  </a:lnTo>
                  <a:lnTo>
                    <a:pt x="42" y="236"/>
                  </a:lnTo>
                  <a:lnTo>
                    <a:pt x="38" y="238"/>
                  </a:lnTo>
                  <a:lnTo>
                    <a:pt x="38" y="242"/>
                  </a:lnTo>
                  <a:lnTo>
                    <a:pt x="34" y="242"/>
                  </a:lnTo>
                  <a:lnTo>
                    <a:pt x="30" y="246"/>
                  </a:lnTo>
                  <a:lnTo>
                    <a:pt x="30" y="242"/>
                  </a:lnTo>
                  <a:lnTo>
                    <a:pt x="26" y="242"/>
                  </a:lnTo>
                  <a:lnTo>
                    <a:pt x="26" y="238"/>
                  </a:lnTo>
                  <a:lnTo>
                    <a:pt x="26" y="242"/>
                  </a:lnTo>
                  <a:lnTo>
                    <a:pt x="22" y="246"/>
                  </a:lnTo>
                  <a:lnTo>
                    <a:pt x="22" y="242"/>
                  </a:lnTo>
                  <a:lnTo>
                    <a:pt x="18" y="242"/>
                  </a:lnTo>
                  <a:lnTo>
                    <a:pt x="14" y="242"/>
                  </a:lnTo>
                  <a:lnTo>
                    <a:pt x="12" y="242"/>
                  </a:lnTo>
                  <a:lnTo>
                    <a:pt x="12" y="246"/>
                  </a:lnTo>
                  <a:lnTo>
                    <a:pt x="8" y="246"/>
                  </a:lnTo>
                  <a:lnTo>
                    <a:pt x="8" y="242"/>
                  </a:lnTo>
                  <a:lnTo>
                    <a:pt x="4" y="242"/>
                  </a:lnTo>
                  <a:lnTo>
                    <a:pt x="8" y="242"/>
                  </a:lnTo>
                  <a:lnTo>
                    <a:pt x="4" y="242"/>
                  </a:lnTo>
                  <a:lnTo>
                    <a:pt x="8" y="238"/>
                  </a:lnTo>
                  <a:lnTo>
                    <a:pt x="12" y="238"/>
                  </a:lnTo>
                  <a:lnTo>
                    <a:pt x="8" y="238"/>
                  </a:lnTo>
                  <a:lnTo>
                    <a:pt x="4" y="238"/>
                  </a:lnTo>
                  <a:lnTo>
                    <a:pt x="8" y="236"/>
                  </a:lnTo>
                  <a:lnTo>
                    <a:pt x="8" y="238"/>
                  </a:lnTo>
                  <a:lnTo>
                    <a:pt x="12" y="238"/>
                  </a:lnTo>
                  <a:lnTo>
                    <a:pt x="14" y="238"/>
                  </a:lnTo>
                  <a:lnTo>
                    <a:pt x="14" y="236"/>
                  </a:lnTo>
                  <a:lnTo>
                    <a:pt x="12" y="236"/>
                  </a:lnTo>
                  <a:lnTo>
                    <a:pt x="12" y="238"/>
                  </a:lnTo>
                  <a:lnTo>
                    <a:pt x="8" y="236"/>
                  </a:lnTo>
                  <a:lnTo>
                    <a:pt x="4" y="236"/>
                  </a:lnTo>
                  <a:lnTo>
                    <a:pt x="8" y="232"/>
                  </a:lnTo>
                  <a:lnTo>
                    <a:pt x="4" y="232"/>
                  </a:lnTo>
                  <a:lnTo>
                    <a:pt x="8" y="228"/>
                  </a:lnTo>
                  <a:lnTo>
                    <a:pt x="12" y="228"/>
                  </a:lnTo>
                  <a:lnTo>
                    <a:pt x="14" y="228"/>
                  </a:lnTo>
                  <a:lnTo>
                    <a:pt x="18" y="228"/>
                  </a:lnTo>
                  <a:lnTo>
                    <a:pt x="22" y="228"/>
                  </a:lnTo>
                  <a:lnTo>
                    <a:pt x="26" y="228"/>
                  </a:lnTo>
                  <a:lnTo>
                    <a:pt x="30" y="228"/>
                  </a:lnTo>
                  <a:lnTo>
                    <a:pt x="26" y="228"/>
                  </a:lnTo>
                  <a:lnTo>
                    <a:pt x="22" y="228"/>
                  </a:lnTo>
                  <a:lnTo>
                    <a:pt x="18" y="228"/>
                  </a:lnTo>
                  <a:lnTo>
                    <a:pt x="14" y="228"/>
                  </a:lnTo>
                  <a:lnTo>
                    <a:pt x="12" y="228"/>
                  </a:lnTo>
                  <a:lnTo>
                    <a:pt x="8" y="228"/>
                  </a:lnTo>
                  <a:lnTo>
                    <a:pt x="4" y="228"/>
                  </a:lnTo>
                  <a:lnTo>
                    <a:pt x="8" y="224"/>
                  </a:lnTo>
                  <a:lnTo>
                    <a:pt x="8" y="222"/>
                  </a:lnTo>
                  <a:lnTo>
                    <a:pt x="4" y="222"/>
                  </a:lnTo>
                  <a:lnTo>
                    <a:pt x="8" y="222"/>
                  </a:lnTo>
                  <a:lnTo>
                    <a:pt x="12" y="224"/>
                  </a:lnTo>
                  <a:lnTo>
                    <a:pt x="12" y="222"/>
                  </a:lnTo>
                  <a:lnTo>
                    <a:pt x="8" y="222"/>
                  </a:lnTo>
                  <a:lnTo>
                    <a:pt x="12" y="222"/>
                  </a:lnTo>
                  <a:lnTo>
                    <a:pt x="14" y="222"/>
                  </a:lnTo>
                  <a:lnTo>
                    <a:pt x="18" y="222"/>
                  </a:lnTo>
                  <a:lnTo>
                    <a:pt x="22" y="224"/>
                  </a:lnTo>
                  <a:lnTo>
                    <a:pt x="18" y="224"/>
                  </a:lnTo>
                  <a:lnTo>
                    <a:pt x="18" y="222"/>
                  </a:lnTo>
                  <a:lnTo>
                    <a:pt x="14" y="222"/>
                  </a:lnTo>
                  <a:lnTo>
                    <a:pt x="18" y="222"/>
                  </a:lnTo>
                  <a:lnTo>
                    <a:pt x="18" y="218"/>
                  </a:lnTo>
                  <a:lnTo>
                    <a:pt x="22" y="218"/>
                  </a:lnTo>
                  <a:lnTo>
                    <a:pt x="26" y="222"/>
                  </a:lnTo>
                  <a:lnTo>
                    <a:pt x="26" y="218"/>
                  </a:lnTo>
                  <a:lnTo>
                    <a:pt x="22" y="218"/>
                  </a:lnTo>
                  <a:lnTo>
                    <a:pt x="26" y="214"/>
                  </a:lnTo>
                  <a:lnTo>
                    <a:pt x="30" y="218"/>
                  </a:lnTo>
                  <a:lnTo>
                    <a:pt x="34" y="218"/>
                  </a:lnTo>
                  <a:lnTo>
                    <a:pt x="34" y="222"/>
                  </a:lnTo>
                  <a:lnTo>
                    <a:pt x="30" y="222"/>
                  </a:lnTo>
                  <a:lnTo>
                    <a:pt x="30" y="224"/>
                  </a:lnTo>
                  <a:lnTo>
                    <a:pt x="34" y="224"/>
                  </a:lnTo>
                  <a:lnTo>
                    <a:pt x="34" y="222"/>
                  </a:lnTo>
                  <a:lnTo>
                    <a:pt x="30" y="222"/>
                  </a:lnTo>
                  <a:lnTo>
                    <a:pt x="34" y="222"/>
                  </a:lnTo>
                  <a:lnTo>
                    <a:pt x="34" y="218"/>
                  </a:lnTo>
                  <a:lnTo>
                    <a:pt x="38" y="218"/>
                  </a:lnTo>
                  <a:lnTo>
                    <a:pt x="38" y="222"/>
                  </a:lnTo>
                  <a:lnTo>
                    <a:pt x="38" y="218"/>
                  </a:lnTo>
                  <a:lnTo>
                    <a:pt x="34" y="218"/>
                  </a:lnTo>
                  <a:lnTo>
                    <a:pt x="30" y="218"/>
                  </a:lnTo>
                  <a:lnTo>
                    <a:pt x="30" y="214"/>
                  </a:lnTo>
                  <a:lnTo>
                    <a:pt x="26" y="214"/>
                  </a:lnTo>
                  <a:lnTo>
                    <a:pt x="22" y="214"/>
                  </a:lnTo>
                  <a:lnTo>
                    <a:pt x="26" y="214"/>
                  </a:lnTo>
                  <a:lnTo>
                    <a:pt x="22" y="214"/>
                  </a:lnTo>
                  <a:lnTo>
                    <a:pt x="22" y="210"/>
                  </a:lnTo>
                  <a:lnTo>
                    <a:pt x="26" y="210"/>
                  </a:lnTo>
                  <a:lnTo>
                    <a:pt x="30" y="210"/>
                  </a:lnTo>
                  <a:lnTo>
                    <a:pt x="34" y="210"/>
                  </a:lnTo>
                  <a:lnTo>
                    <a:pt x="38" y="210"/>
                  </a:lnTo>
                  <a:lnTo>
                    <a:pt x="42" y="214"/>
                  </a:lnTo>
                  <a:lnTo>
                    <a:pt x="42" y="210"/>
                  </a:lnTo>
                  <a:lnTo>
                    <a:pt x="42" y="214"/>
                  </a:lnTo>
                  <a:lnTo>
                    <a:pt x="38" y="214"/>
                  </a:lnTo>
                  <a:lnTo>
                    <a:pt x="38" y="210"/>
                  </a:lnTo>
                  <a:lnTo>
                    <a:pt x="42" y="210"/>
                  </a:lnTo>
                  <a:lnTo>
                    <a:pt x="44" y="210"/>
                  </a:lnTo>
                  <a:lnTo>
                    <a:pt x="44" y="206"/>
                  </a:lnTo>
                  <a:lnTo>
                    <a:pt x="48" y="210"/>
                  </a:lnTo>
                  <a:lnTo>
                    <a:pt x="48" y="206"/>
                  </a:lnTo>
                  <a:lnTo>
                    <a:pt x="44" y="206"/>
                  </a:lnTo>
                  <a:lnTo>
                    <a:pt x="42" y="210"/>
                  </a:lnTo>
                  <a:lnTo>
                    <a:pt x="38" y="210"/>
                  </a:lnTo>
                  <a:lnTo>
                    <a:pt x="38" y="206"/>
                  </a:lnTo>
                  <a:lnTo>
                    <a:pt x="42" y="206"/>
                  </a:lnTo>
                  <a:lnTo>
                    <a:pt x="38" y="206"/>
                  </a:lnTo>
                  <a:lnTo>
                    <a:pt x="34" y="206"/>
                  </a:lnTo>
                  <a:lnTo>
                    <a:pt x="30" y="210"/>
                  </a:lnTo>
                  <a:lnTo>
                    <a:pt x="30" y="206"/>
                  </a:lnTo>
                  <a:lnTo>
                    <a:pt x="34" y="206"/>
                  </a:lnTo>
                  <a:lnTo>
                    <a:pt x="30" y="202"/>
                  </a:lnTo>
                  <a:lnTo>
                    <a:pt x="34" y="202"/>
                  </a:lnTo>
                  <a:lnTo>
                    <a:pt x="38" y="202"/>
                  </a:lnTo>
                  <a:lnTo>
                    <a:pt x="42" y="202"/>
                  </a:lnTo>
                  <a:lnTo>
                    <a:pt x="44" y="202"/>
                  </a:lnTo>
                  <a:lnTo>
                    <a:pt x="42" y="202"/>
                  </a:lnTo>
                  <a:lnTo>
                    <a:pt x="44" y="202"/>
                  </a:lnTo>
                  <a:lnTo>
                    <a:pt x="48" y="202"/>
                  </a:lnTo>
                  <a:lnTo>
                    <a:pt x="48" y="206"/>
                  </a:lnTo>
                  <a:lnTo>
                    <a:pt x="52" y="206"/>
                  </a:lnTo>
                  <a:lnTo>
                    <a:pt x="52" y="210"/>
                  </a:lnTo>
                  <a:lnTo>
                    <a:pt x="56" y="210"/>
                  </a:lnTo>
                  <a:lnTo>
                    <a:pt x="52" y="210"/>
                  </a:lnTo>
                  <a:lnTo>
                    <a:pt x="52" y="206"/>
                  </a:lnTo>
                  <a:lnTo>
                    <a:pt x="48" y="206"/>
                  </a:lnTo>
                  <a:lnTo>
                    <a:pt x="48" y="202"/>
                  </a:lnTo>
                  <a:lnTo>
                    <a:pt x="44" y="202"/>
                  </a:lnTo>
                  <a:lnTo>
                    <a:pt x="44" y="198"/>
                  </a:lnTo>
                  <a:lnTo>
                    <a:pt x="48" y="198"/>
                  </a:lnTo>
                  <a:lnTo>
                    <a:pt x="48" y="202"/>
                  </a:lnTo>
                  <a:lnTo>
                    <a:pt x="52" y="202"/>
                  </a:lnTo>
                  <a:lnTo>
                    <a:pt x="52" y="206"/>
                  </a:lnTo>
                  <a:lnTo>
                    <a:pt x="52" y="202"/>
                  </a:lnTo>
                  <a:lnTo>
                    <a:pt x="56" y="202"/>
                  </a:lnTo>
                  <a:lnTo>
                    <a:pt x="52" y="202"/>
                  </a:lnTo>
                  <a:lnTo>
                    <a:pt x="48" y="202"/>
                  </a:lnTo>
                  <a:lnTo>
                    <a:pt x="48" y="198"/>
                  </a:lnTo>
                  <a:lnTo>
                    <a:pt x="52" y="198"/>
                  </a:lnTo>
                  <a:lnTo>
                    <a:pt x="56" y="198"/>
                  </a:lnTo>
                  <a:lnTo>
                    <a:pt x="60" y="198"/>
                  </a:lnTo>
                  <a:lnTo>
                    <a:pt x="56" y="198"/>
                  </a:lnTo>
                  <a:lnTo>
                    <a:pt x="52" y="194"/>
                  </a:lnTo>
                  <a:lnTo>
                    <a:pt x="56" y="194"/>
                  </a:lnTo>
                  <a:lnTo>
                    <a:pt x="56" y="192"/>
                  </a:lnTo>
                  <a:lnTo>
                    <a:pt x="60" y="192"/>
                  </a:lnTo>
                  <a:lnTo>
                    <a:pt x="64" y="192"/>
                  </a:lnTo>
                  <a:lnTo>
                    <a:pt x="64" y="194"/>
                  </a:lnTo>
                  <a:lnTo>
                    <a:pt x="68" y="194"/>
                  </a:lnTo>
                  <a:lnTo>
                    <a:pt x="68" y="192"/>
                  </a:lnTo>
                  <a:lnTo>
                    <a:pt x="64" y="194"/>
                  </a:lnTo>
                  <a:lnTo>
                    <a:pt x="64" y="192"/>
                  </a:lnTo>
                  <a:lnTo>
                    <a:pt x="64" y="188"/>
                  </a:lnTo>
                  <a:lnTo>
                    <a:pt x="68" y="188"/>
                  </a:lnTo>
                  <a:lnTo>
                    <a:pt x="72" y="188"/>
                  </a:lnTo>
                  <a:lnTo>
                    <a:pt x="74" y="192"/>
                  </a:lnTo>
                  <a:lnTo>
                    <a:pt x="74" y="194"/>
                  </a:lnTo>
                  <a:lnTo>
                    <a:pt x="78" y="194"/>
                  </a:lnTo>
                  <a:lnTo>
                    <a:pt x="74" y="194"/>
                  </a:lnTo>
                  <a:lnTo>
                    <a:pt x="74" y="192"/>
                  </a:lnTo>
                  <a:lnTo>
                    <a:pt x="78" y="192"/>
                  </a:lnTo>
                  <a:lnTo>
                    <a:pt x="82" y="192"/>
                  </a:lnTo>
                  <a:lnTo>
                    <a:pt x="86" y="192"/>
                  </a:lnTo>
                  <a:lnTo>
                    <a:pt x="86" y="188"/>
                  </a:lnTo>
                  <a:lnTo>
                    <a:pt x="82" y="188"/>
                  </a:lnTo>
                  <a:lnTo>
                    <a:pt x="86" y="188"/>
                  </a:lnTo>
                  <a:lnTo>
                    <a:pt x="86" y="184"/>
                  </a:lnTo>
                  <a:lnTo>
                    <a:pt x="90" y="184"/>
                  </a:lnTo>
                  <a:lnTo>
                    <a:pt x="94" y="184"/>
                  </a:lnTo>
                  <a:lnTo>
                    <a:pt x="94" y="180"/>
                  </a:lnTo>
                  <a:lnTo>
                    <a:pt x="90" y="180"/>
                  </a:lnTo>
                  <a:lnTo>
                    <a:pt x="94" y="180"/>
                  </a:lnTo>
                  <a:lnTo>
                    <a:pt x="98" y="176"/>
                  </a:lnTo>
                  <a:lnTo>
                    <a:pt x="94" y="176"/>
                  </a:lnTo>
                  <a:lnTo>
                    <a:pt x="90" y="176"/>
                  </a:lnTo>
                  <a:lnTo>
                    <a:pt x="90" y="180"/>
                  </a:lnTo>
                  <a:lnTo>
                    <a:pt x="86" y="180"/>
                  </a:lnTo>
                  <a:lnTo>
                    <a:pt x="82" y="184"/>
                  </a:lnTo>
                  <a:lnTo>
                    <a:pt x="86" y="180"/>
                  </a:lnTo>
                  <a:lnTo>
                    <a:pt x="90" y="180"/>
                  </a:lnTo>
                  <a:lnTo>
                    <a:pt x="90" y="184"/>
                  </a:lnTo>
                  <a:lnTo>
                    <a:pt x="86" y="184"/>
                  </a:lnTo>
                  <a:lnTo>
                    <a:pt x="82" y="188"/>
                  </a:lnTo>
                  <a:lnTo>
                    <a:pt x="78" y="188"/>
                  </a:lnTo>
                  <a:lnTo>
                    <a:pt x="74" y="192"/>
                  </a:lnTo>
                  <a:lnTo>
                    <a:pt x="72" y="188"/>
                  </a:lnTo>
                  <a:lnTo>
                    <a:pt x="72" y="184"/>
                  </a:lnTo>
                  <a:lnTo>
                    <a:pt x="74" y="184"/>
                  </a:lnTo>
                  <a:lnTo>
                    <a:pt x="72" y="184"/>
                  </a:lnTo>
                  <a:lnTo>
                    <a:pt x="68" y="188"/>
                  </a:lnTo>
                  <a:lnTo>
                    <a:pt x="68" y="184"/>
                  </a:lnTo>
                  <a:lnTo>
                    <a:pt x="72" y="184"/>
                  </a:lnTo>
                  <a:lnTo>
                    <a:pt x="72" y="180"/>
                  </a:lnTo>
                  <a:lnTo>
                    <a:pt x="74" y="180"/>
                  </a:lnTo>
                  <a:lnTo>
                    <a:pt x="78" y="180"/>
                  </a:lnTo>
                  <a:lnTo>
                    <a:pt x="74" y="180"/>
                  </a:lnTo>
                  <a:lnTo>
                    <a:pt x="74" y="176"/>
                  </a:lnTo>
                  <a:lnTo>
                    <a:pt x="78" y="172"/>
                  </a:lnTo>
                  <a:lnTo>
                    <a:pt x="82" y="168"/>
                  </a:lnTo>
                  <a:lnTo>
                    <a:pt x="82" y="168"/>
                  </a:lnTo>
                  <a:lnTo>
                    <a:pt x="82" y="168"/>
                  </a:lnTo>
                  <a:close/>
                  <a:moveTo>
                    <a:pt x="284" y="4"/>
                  </a:moveTo>
                  <a:lnTo>
                    <a:pt x="284" y="0"/>
                  </a:lnTo>
                  <a:lnTo>
                    <a:pt x="284" y="4"/>
                  </a:lnTo>
                  <a:lnTo>
                    <a:pt x="284" y="4"/>
                  </a:lnTo>
                  <a:lnTo>
                    <a:pt x="284" y="4"/>
                  </a:lnTo>
                  <a:close/>
                  <a:moveTo>
                    <a:pt x="270" y="16"/>
                  </a:moveTo>
                  <a:lnTo>
                    <a:pt x="270" y="12"/>
                  </a:lnTo>
                  <a:lnTo>
                    <a:pt x="274" y="12"/>
                  </a:lnTo>
                  <a:lnTo>
                    <a:pt x="276" y="16"/>
                  </a:lnTo>
                  <a:lnTo>
                    <a:pt x="274" y="16"/>
                  </a:lnTo>
                  <a:lnTo>
                    <a:pt x="270" y="16"/>
                  </a:lnTo>
                  <a:lnTo>
                    <a:pt x="270" y="16"/>
                  </a:lnTo>
                  <a:lnTo>
                    <a:pt x="270" y="16"/>
                  </a:lnTo>
                  <a:close/>
                  <a:moveTo>
                    <a:pt x="258" y="22"/>
                  </a:moveTo>
                  <a:lnTo>
                    <a:pt x="254" y="22"/>
                  </a:lnTo>
                  <a:lnTo>
                    <a:pt x="250" y="22"/>
                  </a:lnTo>
                  <a:lnTo>
                    <a:pt x="250" y="20"/>
                  </a:lnTo>
                  <a:lnTo>
                    <a:pt x="254" y="20"/>
                  </a:lnTo>
                  <a:lnTo>
                    <a:pt x="258" y="22"/>
                  </a:lnTo>
                  <a:lnTo>
                    <a:pt x="258" y="22"/>
                  </a:lnTo>
                  <a:lnTo>
                    <a:pt x="258" y="22"/>
                  </a:lnTo>
                  <a:close/>
                  <a:moveTo>
                    <a:pt x="244" y="22"/>
                  </a:moveTo>
                  <a:lnTo>
                    <a:pt x="240" y="22"/>
                  </a:lnTo>
                  <a:lnTo>
                    <a:pt x="240" y="20"/>
                  </a:lnTo>
                  <a:lnTo>
                    <a:pt x="244" y="20"/>
                  </a:lnTo>
                  <a:lnTo>
                    <a:pt x="244" y="22"/>
                  </a:lnTo>
                  <a:lnTo>
                    <a:pt x="244" y="22"/>
                  </a:lnTo>
                  <a:lnTo>
                    <a:pt x="244" y="22"/>
                  </a:lnTo>
                  <a:close/>
                  <a:moveTo>
                    <a:pt x="206" y="26"/>
                  </a:moveTo>
                  <a:lnTo>
                    <a:pt x="202" y="26"/>
                  </a:lnTo>
                  <a:lnTo>
                    <a:pt x="206" y="22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close/>
                  <a:moveTo>
                    <a:pt x="198" y="30"/>
                  </a:moveTo>
                  <a:lnTo>
                    <a:pt x="198" y="26"/>
                  </a:lnTo>
                  <a:lnTo>
                    <a:pt x="202" y="26"/>
                  </a:lnTo>
                  <a:lnTo>
                    <a:pt x="202" y="30"/>
                  </a:lnTo>
                  <a:lnTo>
                    <a:pt x="198" y="30"/>
                  </a:lnTo>
                  <a:lnTo>
                    <a:pt x="198" y="30"/>
                  </a:lnTo>
                  <a:lnTo>
                    <a:pt x="198" y="30"/>
                  </a:lnTo>
                  <a:close/>
                  <a:moveTo>
                    <a:pt x="228" y="30"/>
                  </a:moveTo>
                  <a:lnTo>
                    <a:pt x="232" y="30"/>
                  </a:lnTo>
                  <a:lnTo>
                    <a:pt x="228" y="30"/>
                  </a:lnTo>
                  <a:lnTo>
                    <a:pt x="228" y="30"/>
                  </a:lnTo>
                  <a:lnTo>
                    <a:pt x="228" y="30"/>
                  </a:lnTo>
                  <a:close/>
                  <a:moveTo>
                    <a:pt x="210" y="34"/>
                  </a:moveTo>
                  <a:lnTo>
                    <a:pt x="214" y="30"/>
                  </a:lnTo>
                  <a:lnTo>
                    <a:pt x="218" y="30"/>
                  </a:lnTo>
                  <a:lnTo>
                    <a:pt x="214" y="34"/>
                  </a:lnTo>
                  <a:lnTo>
                    <a:pt x="210" y="34"/>
                  </a:lnTo>
                  <a:lnTo>
                    <a:pt x="210" y="34"/>
                  </a:lnTo>
                  <a:lnTo>
                    <a:pt x="210" y="34"/>
                  </a:lnTo>
                  <a:close/>
                  <a:moveTo>
                    <a:pt x="354" y="38"/>
                  </a:moveTo>
                  <a:lnTo>
                    <a:pt x="354" y="34"/>
                  </a:lnTo>
                  <a:lnTo>
                    <a:pt x="358" y="34"/>
                  </a:lnTo>
                  <a:lnTo>
                    <a:pt x="354" y="38"/>
                  </a:lnTo>
                  <a:lnTo>
                    <a:pt x="354" y="38"/>
                  </a:lnTo>
                  <a:lnTo>
                    <a:pt x="354" y="38"/>
                  </a:lnTo>
                  <a:close/>
                  <a:moveTo>
                    <a:pt x="224" y="34"/>
                  </a:moveTo>
                  <a:lnTo>
                    <a:pt x="228" y="34"/>
                  </a:lnTo>
                  <a:lnTo>
                    <a:pt x="224" y="34"/>
                  </a:lnTo>
                  <a:lnTo>
                    <a:pt x="224" y="34"/>
                  </a:lnTo>
                  <a:lnTo>
                    <a:pt x="224" y="34"/>
                  </a:lnTo>
                  <a:close/>
                  <a:moveTo>
                    <a:pt x="202" y="42"/>
                  </a:moveTo>
                  <a:lnTo>
                    <a:pt x="202" y="38"/>
                  </a:lnTo>
                  <a:lnTo>
                    <a:pt x="202" y="42"/>
                  </a:lnTo>
                  <a:lnTo>
                    <a:pt x="202" y="42"/>
                  </a:lnTo>
                  <a:lnTo>
                    <a:pt x="202" y="42"/>
                  </a:lnTo>
                  <a:close/>
                  <a:moveTo>
                    <a:pt x="180" y="56"/>
                  </a:moveTo>
                  <a:lnTo>
                    <a:pt x="180" y="52"/>
                  </a:lnTo>
                  <a:lnTo>
                    <a:pt x="184" y="52"/>
                  </a:lnTo>
                  <a:lnTo>
                    <a:pt x="180" y="56"/>
                  </a:lnTo>
                  <a:lnTo>
                    <a:pt x="180" y="56"/>
                  </a:lnTo>
                  <a:lnTo>
                    <a:pt x="180" y="56"/>
                  </a:lnTo>
                  <a:close/>
                  <a:moveTo>
                    <a:pt x="168" y="60"/>
                  </a:moveTo>
                  <a:lnTo>
                    <a:pt x="164" y="56"/>
                  </a:lnTo>
                  <a:lnTo>
                    <a:pt x="168" y="56"/>
                  </a:lnTo>
                  <a:lnTo>
                    <a:pt x="168" y="60"/>
                  </a:lnTo>
                  <a:lnTo>
                    <a:pt x="168" y="60"/>
                  </a:lnTo>
                  <a:lnTo>
                    <a:pt x="168" y="60"/>
                  </a:lnTo>
                  <a:close/>
                  <a:moveTo>
                    <a:pt x="176" y="60"/>
                  </a:moveTo>
                  <a:lnTo>
                    <a:pt x="176" y="56"/>
                  </a:lnTo>
                  <a:lnTo>
                    <a:pt x="180" y="56"/>
                  </a:lnTo>
                  <a:lnTo>
                    <a:pt x="180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close/>
                  <a:moveTo>
                    <a:pt x="172" y="64"/>
                  </a:moveTo>
                  <a:lnTo>
                    <a:pt x="172" y="60"/>
                  </a:lnTo>
                  <a:lnTo>
                    <a:pt x="176" y="60"/>
                  </a:lnTo>
                  <a:lnTo>
                    <a:pt x="172" y="60"/>
                  </a:lnTo>
                  <a:lnTo>
                    <a:pt x="172" y="64"/>
                  </a:lnTo>
                  <a:lnTo>
                    <a:pt x="172" y="64"/>
                  </a:lnTo>
                  <a:lnTo>
                    <a:pt x="172" y="64"/>
                  </a:lnTo>
                  <a:close/>
                  <a:moveTo>
                    <a:pt x="160" y="72"/>
                  </a:moveTo>
                  <a:lnTo>
                    <a:pt x="160" y="68"/>
                  </a:lnTo>
                  <a:lnTo>
                    <a:pt x="164" y="68"/>
                  </a:lnTo>
                  <a:lnTo>
                    <a:pt x="164" y="72"/>
                  </a:lnTo>
                  <a:lnTo>
                    <a:pt x="160" y="72"/>
                  </a:lnTo>
                  <a:lnTo>
                    <a:pt x="160" y="72"/>
                  </a:lnTo>
                  <a:lnTo>
                    <a:pt x="160" y="72"/>
                  </a:lnTo>
                  <a:close/>
                  <a:moveTo>
                    <a:pt x="134" y="76"/>
                  </a:moveTo>
                  <a:lnTo>
                    <a:pt x="130" y="76"/>
                  </a:lnTo>
                  <a:lnTo>
                    <a:pt x="130" y="72"/>
                  </a:lnTo>
                  <a:lnTo>
                    <a:pt x="134" y="72"/>
                  </a:lnTo>
                  <a:lnTo>
                    <a:pt x="134" y="76"/>
                  </a:lnTo>
                  <a:lnTo>
                    <a:pt x="134" y="76"/>
                  </a:lnTo>
                  <a:lnTo>
                    <a:pt x="134" y="76"/>
                  </a:lnTo>
                  <a:close/>
                  <a:moveTo>
                    <a:pt x="120" y="82"/>
                  </a:moveTo>
                  <a:lnTo>
                    <a:pt x="120" y="78"/>
                  </a:lnTo>
                  <a:lnTo>
                    <a:pt x="120" y="76"/>
                  </a:lnTo>
                  <a:lnTo>
                    <a:pt x="124" y="76"/>
                  </a:lnTo>
                  <a:lnTo>
                    <a:pt x="124" y="78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20" y="82"/>
                  </a:lnTo>
                  <a:close/>
                  <a:moveTo>
                    <a:pt x="116" y="86"/>
                  </a:moveTo>
                  <a:lnTo>
                    <a:pt x="116" y="82"/>
                  </a:lnTo>
                  <a:lnTo>
                    <a:pt x="116" y="78"/>
                  </a:lnTo>
                  <a:lnTo>
                    <a:pt x="120" y="78"/>
                  </a:lnTo>
                  <a:lnTo>
                    <a:pt x="120" y="82"/>
                  </a:lnTo>
                  <a:lnTo>
                    <a:pt x="116" y="82"/>
                  </a:lnTo>
                  <a:lnTo>
                    <a:pt x="116" y="86"/>
                  </a:lnTo>
                  <a:lnTo>
                    <a:pt x="116" y="86"/>
                  </a:lnTo>
                  <a:lnTo>
                    <a:pt x="116" y="86"/>
                  </a:lnTo>
                  <a:close/>
                  <a:moveTo>
                    <a:pt x="154" y="82"/>
                  </a:moveTo>
                  <a:lnTo>
                    <a:pt x="154" y="78"/>
                  </a:lnTo>
                  <a:lnTo>
                    <a:pt x="158" y="78"/>
                  </a:lnTo>
                  <a:lnTo>
                    <a:pt x="158" y="82"/>
                  </a:lnTo>
                  <a:lnTo>
                    <a:pt x="154" y="82"/>
                  </a:lnTo>
                  <a:lnTo>
                    <a:pt x="154" y="82"/>
                  </a:lnTo>
                  <a:lnTo>
                    <a:pt x="154" y="82"/>
                  </a:lnTo>
                  <a:close/>
                  <a:moveTo>
                    <a:pt x="146" y="82"/>
                  </a:moveTo>
                  <a:lnTo>
                    <a:pt x="150" y="82"/>
                  </a:lnTo>
                  <a:lnTo>
                    <a:pt x="146" y="82"/>
                  </a:lnTo>
                  <a:lnTo>
                    <a:pt x="146" y="82"/>
                  </a:lnTo>
                  <a:lnTo>
                    <a:pt x="146" y="82"/>
                  </a:lnTo>
                  <a:close/>
                  <a:moveTo>
                    <a:pt x="134" y="106"/>
                  </a:moveTo>
                  <a:lnTo>
                    <a:pt x="130" y="106"/>
                  </a:lnTo>
                  <a:lnTo>
                    <a:pt x="130" y="102"/>
                  </a:lnTo>
                  <a:lnTo>
                    <a:pt x="134" y="102"/>
                  </a:lnTo>
                  <a:lnTo>
                    <a:pt x="134" y="106"/>
                  </a:lnTo>
                  <a:lnTo>
                    <a:pt x="134" y="106"/>
                  </a:lnTo>
                  <a:lnTo>
                    <a:pt x="134" y="106"/>
                  </a:lnTo>
                  <a:close/>
                  <a:moveTo>
                    <a:pt x="102" y="138"/>
                  </a:moveTo>
                  <a:lnTo>
                    <a:pt x="104" y="138"/>
                  </a:lnTo>
                  <a:lnTo>
                    <a:pt x="102" y="138"/>
                  </a:lnTo>
                  <a:lnTo>
                    <a:pt x="102" y="138"/>
                  </a:lnTo>
                  <a:lnTo>
                    <a:pt x="102" y="138"/>
                  </a:lnTo>
                  <a:close/>
                  <a:moveTo>
                    <a:pt x="104" y="150"/>
                  </a:moveTo>
                  <a:lnTo>
                    <a:pt x="104" y="146"/>
                  </a:lnTo>
                  <a:lnTo>
                    <a:pt x="104" y="142"/>
                  </a:lnTo>
                  <a:lnTo>
                    <a:pt x="104" y="138"/>
                  </a:lnTo>
                  <a:lnTo>
                    <a:pt x="108" y="138"/>
                  </a:lnTo>
                  <a:lnTo>
                    <a:pt x="108" y="142"/>
                  </a:lnTo>
                  <a:lnTo>
                    <a:pt x="108" y="146"/>
                  </a:lnTo>
                  <a:lnTo>
                    <a:pt x="104" y="146"/>
                  </a:lnTo>
                  <a:lnTo>
                    <a:pt x="104" y="150"/>
                  </a:lnTo>
                  <a:lnTo>
                    <a:pt x="104" y="150"/>
                  </a:lnTo>
                  <a:lnTo>
                    <a:pt x="104" y="150"/>
                  </a:lnTo>
                  <a:close/>
                  <a:moveTo>
                    <a:pt x="104" y="154"/>
                  </a:moveTo>
                  <a:lnTo>
                    <a:pt x="102" y="154"/>
                  </a:lnTo>
                  <a:lnTo>
                    <a:pt x="104" y="150"/>
                  </a:lnTo>
                  <a:lnTo>
                    <a:pt x="108" y="150"/>
                  </a:lnTo>
                  <a:lnTo>
                    <a:pt x="108" y="154"/>
                  </a:lnTo>
                  <a:lnTo>
                    <a:pt x="104" y="154"/>
                  </a:lnTo>
                  <a:lnTo>
                    <a:pt x="104" y="154"/>
                  </a:lnTo>
                  <a:lnTo>
                    <a:pt x="104" y="154"/>
                  </a:lnTo>
                  <a:close/>
                  <a:moveTo>
                    <a:pt x="86" y="158"/>
                  </a:moveTo>
                  <a:lnTo>
                    <a:pt x="90" y="154"/>
                  </a:lnTo>
                  <a:lnTo>
                    <a:pt x="86" y="158"/>
                  </a:lnTo>
                  <a:lnTo>
                    <a:pt x="86" y="158"/>
                  </a:lnTo>
                  <a:lnTo>
                    <a:pt x="86" y="158"/>
                  </a:lnTo>
                  <a:close/>
                  <a:moveTo>
                    <a:pt x="90" y="158"/>
                  </a:moveTo>
                  <a:lnTo>
                    <a:pt x="86" y="158"/>
                  </a:lnTo>
                  <a:lnTo>
                    <a:pt x="90" y="154"/>
                  </a:lnTo>
                  <a:lnTo>
                    <a:pt x="94" y="158"/>
                  </a:lnTo>
                  <a:lnTo>
                    <a:pt x="90" y="158"/>
                  </a:lnTo>
                  <a:lnTo>
                    <a:pt x="90" y="158"/>
                  </a:lnTo>
                  <a:lnTo>
                    <a:pt x="90" y="158"/>
                  </a:lnTo>
                  <a:close/>
                  <a:moveTo>
                    <a:pt x="94" y="164"/>
                  </a:moveTo>
                  <a:lnTo>
                    <a:pt x="90" y="164"/>
                  </a:lnTo>
                  <a:lnTo>
                    <a:pt x="90" y="162"/>
                  </a:lnTo>
                  <a:lnTo>
                    <a:pt x="94" y="164"/>
                  </a:lnTo>
                  <a:lnTo>
                    <a:pt x="94" y="164"/>
                  </a:lnTo>
                  <a:lnTo>
                    <a:pt x="94" y="164"/>
                  </a:lnTo>
                  <a:close/>
                  <a:moveTo>
                    <a:pt x="52" y="194"/>
                  </a:moveTo>
                  <a:lnTo>
                    <a:pt x="52" y="192"/>
                  </a:lnTo>
                  <a:lnTo>
                    <a:pt x="56" y="192"/>
                  </a:lnTo>
                  <a:lnTo>
                    <a:pt x="56" y="194"/>
                  </a:lnTo>
                  <a:lnTo>
                    <a:pt x="52" y="194"/>
                  </a:lnTo>
                  <a:lnTo>
                    <a:pt x="52" y="194"/>
                  </a:lnTo>
                  <a:lnTo>
                    <a:pt x="52" y="194"/>
                  </a:lnTo>
                  <a:close/>
                  <a:moveTo>
                    <a:pt x="52" y="198"/>
                  </a:moveTo>
                  <a:lnTo>
                    <a:pt x="48" y="194"/>
                  </a:lnTo>
                  <a:lnTo>
                    <a:pt x="52" y="194"/>
                  </a:lnTo>
                  <a:lnTo>
                    <a:pt x="56" y="198"/>
                  </a:lnTo>
                  <a:lnTo>
                    <a:pt x="52" y="198"/>
                  </a:lnTo>
                  <a:lnTo>
                    <a:pt x="52" y="198"/>
                  </a:lnTo>
                  <a:lnTo>
                    <a:pt x="52" y="198"/>
                  </a:lnTo>
                  <a:close/>
                  <a:moveTo>
                    <a:pt x="44" y="198"/>
                  </a:moveTo>
                  <a:lnTo>
                    <a:pt x="48" y="194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4" y="198"/>
                  </a:lnTo>
                  <a:lnTo>
                    <a:pt x="44" y="198"/>
                  </a:lnTo>
                  <a:close/>
                  <a:moveTo>
                    <a:pt x="44" y="202"/>
                  </a:moveTo>
                  <a:lnTo>
                    <a:pt x="42" y="202"/>
                  </a:lnTo>
                  <a:lnTo>
                    <a:pt x="42" y="198"/>
                  </a:lnTo>
                  <a:lnTo>
                    <a:pt x="44" y="198"/>
                  </a:lnTo>
                  <a:lnTo>
                    <a:pt x="44" y="202"/>
                  </a:lnTo>
                  <a:lnTo>
                    <a:pt x="44" y="202"/>
                  </a:lnTo>
                  <a:lnTo>
                    <a:pt x="44" y="202"/>
                  </a:lnTo>
                  <a:close/>
                  <a:moveTo>
                    <a:pt x="42" y="202"/>
                  </a:moveTo>
                  <a:lnTo>
                    <a:pt x="38" y="202"/>
                  </a:lnTo>
                  <a:lnTo>
                    <a:pt x="38" y="198"/>
                  </a:lnTo>
                  <a:lnTo>
                    <a:pt x="42" y="198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2" y="202"/>
                  </a:lnTo>
                  <a:close/>
                  <a:moveTo>
                    <a:pt x="26" y="210"/>
                  </a:moveTo>
                  <a:lnTo>
                    <a:pt x="30" y="206"/>
                  </a:lnTo>
                  <a:lnTo>
                    <a:pt x="30" y="210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26" y="210"/>
                  </a:lnTo>
                  <a:close/>
                  <a:moveTo>
                    <a:pt x="22" y="218"/>
                  </a:moveTo>
                  <a:lnTo>
                    <a:pt x="18" y="218"/>
                  </a:lnTo>
                  <a:lnTo>
                    <a:pt x="18" y="214"/>
                  </a:lnTo>
                  <a:lnTo>
                    <a:pt x="22" y="214"/>
                  </a:lnTo>
                  <a:lnTo>
                    <a:pt x="22" y="218"/>
                  </a:lnTo>
                  <a:lnTo>
                    <a:pt x="22" y="218"/>
                  </a:lnTo>
                  <a:lnTo>
                    <a:pt x="22" y="218"/>
                  </a:lnTo>
                  <a:close/>
                  <a:moveTo>
                    <a:pt x="14" y="222"/>
                  </a:moveTo>
                  <a:lnTo>
                    <a:pt x="14" y="218"/>
                  </a:lnTo>
                  <a:lnTo>
                    <a:pt x="14" y="214"/>
                  </a:lnTo>
                  <a:lnTo>
                    <a:pt x="18" y="214"/>
                  </a:lnTo>
                  <a:lnTo>
                    <a:pt x="18" y="218"/>
                  </a:lnTo>
                  <a:lnTo>
                    <a:pt x="14" y="218"/>
                  </a:lnTo>
                  <a:lnTo>
                    <a:pt x="14" y="222"/>
                  </a:lnTo>
                  <a:lnTo>
                    <a:pt x="14" y="222"/>
                  </a:lnTo>
                  <a:lnTo>
                    <a:pt x="14" y="222"/>
                  </a:lnTo>
                  <a:close/>
                  <a:moveTo>
                    <a:pt x="12" y="222"/>
                  </a:moveTo>
                  <a:lnTo>
                    <a:pt x="12" y="218"/>
                  </a:lnTo>
                  <a:lnTo>
                    <a:pt x="14" y="218"/>
                  </a:lnTo>
                  <a:lnTo>
                    <a:pt x="14" y="222"/>
                  </a:lnTo>
                  <a:lnTo>
                    <a:pt x="12" y="222"/>
                  </a:lnTo>
                  <a:lnTo>
                    <a:pt x="12" y="222"/>
                  </a:lnTo>
                  <a:lnTo>
                    <a:pt x="12" y="222"/>
                  </a:lnTo>
                  <a:close/>
                  <a:moveTo>
                    <a:pt x="4" y="232"/>
                  </a:moveTo>
                  <a:lnTo>
                    <a:pt x="4" y="228"/>
                  </a:lnTo>
                  <a:lnTo>
                    <a:pt x="0" y="228"/>
                  </a:lnTo>
                  <a:lnTo>
                    <a:pt x="4" y="228"/>
                  </a:lnTo>
                  <a:lnTo>
                    <a:pt x="8" y="228"/>
                  </a:lnTo>
                  <a:lnTo>
                    <a:pt x="4" y="228"/>
                  </a:lnTo>
                  <a:lnTo>
                    <a:pt x="4" y="232"/>
                  </a:lnTo>
                  <a:lnTo>
                    <a:pt x="4" y="232"/>
                  </a:lnTo>
                  <a:lnTo>
                    <a:pt x="4" y="232"/>
                  </a:lnTo>
                  <a:close/>
                  <a:moveTo>
                    <a:pt x="0" y="246"/>
                  </a:moveTo>
                  <a:lnTo>
                    <a:pt x="0" y="242"/>
                  </a:lnTo>
                  <a:lnTo>
                    <a:pt x="4" y="242"/>
                  </a:lnTo>
                  <a:lnTo>
                    <a:pt x="4" y="246"/>
                  </a:lnTo>
                  <a:lnTo>
                    <a:pt x="0" y="246"/>
                  </a:lnTo>
                  <a:lnTo>
                    <a:pt x="0" y="246"/>
                  </a:lnTo>
                  <a:lnTo>
                    <a:pt x="0" y="246"/>
                  </a:lnTo>
                  <a:close/>
                  <a:moveTo>
                    <a:pt x="12" y="262"/>
                  </a:moveTo>
                  <a:lnTo>
                    <a:pt x="8" y="258"/>
                  </a:lnTo>
                  <a:lnTo>
                    <a:pt x="12" y="258"/>
                  </a:lnTo>
                  <a:lnTo>
                    <a:pt x="12" y="254"/>
                  </a:lnTo>
                  <a:lnTo>
                    <a:pt x="14" y="254"/>
                  </a:lnTo>
                  <a:lnTo>
                    <a:pt x="14" y="262"/>
                  </a:lnTo>
                  <a:lnTo>
                    <a:pt x="12" y="262"/>
                  </a:lnTo>
                  <a:lnTo>
                    <a:pt x="12" y="262"/>
                  </a:lnTo>
                  <a:lnTo>
                    <a:pt x="12" y="262"/>
                  </a:lnTo>
                  <a:close/>
                  <a:moveTo>
                    <a:pt x="296" y="8"/>
                  </a:moveTo>
                  <a:lnTo>
                    <a:pt x="292" y="4"/>
                  </a:lnTo>
                  <a:lnTo>
                    <a:pt x="296" y="4"/>
                  </a:lnTo>
                  <a:lnTo>
                    <a:pt x="292" y="4"/>
                  </a:lnTo>
                  <a:lnTo>
                    <a:pt x="296" y="0"/>
                  </a:lnTo>
                  <a:lnTo>
                    <a:pt x="300" y="0"/>
                  </a:lnTo>
                  <a:lnTo>
                    <a:pt x="304" y="0"/>
                  </a:lnTo>
                  <a:lnTo>
                    <a:pt x="304" y="4"/>
                  </a:lnTo>
                  <a:lnTo>
                    <a:pt x="300" y="4"/>
                  </a:lnTo>
                  <a:lnTo>
                    <a:pt x="304" y="4"/>
                  </a:lnTo>
                  <a:lnTo>
                    <a:pt x="300" y="4"/>
                  </a:lnTo>
                  <a:lnTo>
                    <a:pt x="296" y="8"/>
                  </a:lnTo>
                  <a:lnTo>
                    <a:pt x="296" y="8"/>
                  </a:lnTo>
                  <a:lnTo>
                    <a:pt x="296" y="8"/>
                  </a:lnTo>
                  <a:close/>
                  <a:moveTo>
                    <a:pt x="274" y="8"/>
                  </a:moveTo>
                  <a:lnTo>
                    <a:pt x="274" y="4"/>
                  </a:lnTo>
                  <a:lnTo>
                    <a:pt x="276" y="4"/>
                  </a:lnTo>
                  <a:lnTo>
                    <a:pt x="276" y="8"/>
                  </a:lnTo>
                  <a:lnTo>
                    <a:pt x="274" y="8"/>
                  </a:lnTo>
                  <a:lnTo>
                    <a:pt x="274" y="8"/>
                  </a:lnTo>
                  <a:lnTo>
                    <a:pt x="274" y="8"/>
                  </a:lnTo>
                  <a:close/>
                  <a:moveTo>
                    <a:pt x="248" y="20"/>
                  </a:moveTo>
                  <a:lnTo>
                    <a:pt x="248" y="16"/>
                  </a:lnTo>
                  <a:lnTo>
                    <a:pt x="244" y="16"/>
                  </a:lnTo>
                  <a:lnTo>
                    <a:pt x="244" y="12"/>
                  </a:lnTo>
                  <a:lnTo>
                    <a:pt x="248" y="12"/>
                  </a:lnTo>
                  <a:lnTo>
                    <a:pt x="248" y="16"/>
                  </a:lnTo>
                  <a:lnTo>
                    <a:pt x="250" y="12"/>
                  </a:lnTo>
                  <a:lnTo>
                    <a:pt x="254" y="12"/>
                  </a:lnTo>
                  <a:lnTo>
                    <a:pt x="254" y="16"/>
                  </a:lnTo>
                  <a:lnTo>
                    <a:pt x="258" y="16"/>
                  </a:lnTo>
                  <a:lnTo>
                    <a:pt x="258" y="12"/>
                  </a:lnTo>
                  <a:lnTo>
                    <a:pt x="254" y="12"/>
                  </a:lnTo>
                  <a:lnTo>
                    <a:pt x="258" y="12"/>
                  </a:lnTo>
                  <a:lnTo>
                    <a:pt x="262" y="12"/>
                  </a:lnTo>
                  <a:lnTo>
                    <a:pt x="266" y="12"/>
                  </a:lnTo>
                  <a:lnTo>
                    <a:pt x="266" y="8"/>
                  </a:lnTo>
                  <a:lnTo>
                    <a:pt x="262" y="8"/>
                  </a:lnTo>
                  <a:lnTo>
                    <a:pt x="266" y="8"/>
                  </a:lnTo>
                  <a:lnTo>
                    <a:pt x="266" y="12"/>
                  </a:lnTo>
                  <a:lnTo>
                    <a:pt x="262" y="12"/>
                  </a:lnTo>
                  <a:lnTo>
                    <a:pt x="262" y="16"/>
                  </a:lnTo>
                  <a:lnTo>
                    <a:pt x="258" y="16"/>
                  </a:lnTo>
                  <a:lnTo>
                    <a:pt x="254" y="16"/>
                  </a:lnTo>
                  <a:lnTo>
                    <a:pt x="250" y="20"/>
                  </a:lnTo>
                  <a:lnTo>
                    <a:pt x="248" y="16"/>
                  </a:lnTo>
                  <a:lnTo>
                    <a:pt x="248" y="20"/>
                  </a:lnTo>
                  <a:lnTo>
                    <a:pt x="248" y="20"/>
                  </a:lnTo>
                  <a:lnTo>
                    <a:pt x="248" y="20"/>
                  </a:lnTo>
                  <a:close/>
                  <a:moveTo>
                    <a:pt x="262" y="22"/>
                  </a:moveTo>
                  <a:lnTo>
                    <a:pt x="258" y="20"/>
                  </a:lnTo>
                  <a:lnTo>
                    <a:pt x="262" y="16"/>
                  </a:lnTo>
                  <a:lnTo>
                    <a:pt x="266" y="16"/>
                  </a:lnTo>
                  <a:lnTo>
                    <a:pt x="270" y="16"/>
                  </a:lnTo>
                  <a:lnTo>
                    <a:pt x="270" y="20"/>
                  </a:lnTo>
                  <a:lnTo>
                    <a:pt x="266" y="20"/>
                  </a:lnTo>
                  <a:lnTo>
                    <a:pt x="266" y="22"/>
                  </a:lnTo>
                  <a:lnTo>
                    <a:pt x="262" y="22"/>
                  </a:lnTo>
                  <a:lnTo>
                    <a:pt x="262" y="22"/>
                  </a:lnTo>
                  <a:lnTo>
                    <a:pt x="262" y="22"/>
                  </a:lnTo>
                  <a:close/>
                  <a:moveTo>
                    <a:pt x="218" y="30"/>
                  </a:moveTo>
                  <a:lnTo>
                    <a:pt x="214" y="30"/>
                  </a:lnTo>
                  <a:lnTo>
                    <a:pt x="214" y="26"/>
                  </a:lnTo>
                  <a:lnTo>
                    <a:pt x="214" y="22"/>
                  </a:lnTo>
                  <a:lnTo>
                    <a:pt x="210" y="22"/>
                  </a:lnTo>
                  <a:lnTo>
                    <a:pt x="214" y="22"/>
                  </a:lnTo>
                  <a:lnTo>
                    <a:pt x="214" y="26"/>
                  </a:lnTo>
                  <a:lnTo>
                    <a:pt x="218" y="26"/>
                  </a:lnTo>
                  <a:lnTo>
                    <a:pt x="218" y="30"/>
                  </a:lnTo>
                  <a:lnTo>
                    <a:pt x="218" y="30"/>
                  </a:lnTo>
                  <a:lnTo>
                    <a:pt x="218" y="30"/>
                  </a:lnTo>
                  <a:close/>
                  <a:moveTo>
                    <a:pt x="224" y="30"/>
                  </a:moveTo>
                  <a:lnTo>
                    <a:pt x="224" y="26"/>
                  </a:lnTo>
                  <a:lnTo>
                    <a:pt x="224" y="30"/>
                  </a:lnTo>
                  <a:lnTo>
                    <a:pt x="224" y="26"/>
                  </a:lnTo>
                  <a:lnTo>
                    <a:pt x="220" y="26"/>
                  </a:lnTo>
                  <a:lnTo>
                    <a:pt x="224" y="26"/>
                  </a:lnTo>
                  <a:lnTo>
                    <a:pt x="224" y="22"/>
                  </a:lnTo>
                  <a:lnTo>
                    <a:pt x="228" y="22"/>
                  </a:lnTo>
                  <a:lnTo>
                    <a:pt x="228" y="26"/>
                  </a:lnTo>
                  <a:lnTo>
                    <a:pt x="228" y="30"/>
                  </a:lnTo>
                  <a:lnTo>
                    <a:pt x="224" y="30"/>
                  </a:lnTo>
                  <a:lnTo>
                    <a:pt x="224" y="30"/>
                  </a:lnTo>
                  <a:lnTo>
                    <a:pt x="224" y="30"/>
                  </a:lnTo>
                  <a:close/>
                  <a:moveTo>
                    <a:pt x="210" y="26"/>
                  </a:moveTo>
                  <a:lnTo>
                    <a:pt x="206" y="26"/>
                  </a:lnTo>
                  <a:lnTo>
                    <a:pt x="210" y="26"/>
                  </a:lnTo>
                  <a:lnTo>
                    <a:pt x="210" y="26"/>
                  </a:lnTo>
                  <a:lnTo>
                    <a:pt x="210" y="26"/>
                  </a:lnTo>
                  <a:close/>
                  <a:moveTo>
                    <a:pt x="206" y="34"/>
                  </a:moveTo>
                  <a:lnTo>
                    <a:pt x="202" y="34"/>
                  </a:lnTo>
                  <a:lnTo>
                    <a:pt x="198" y="34"/>
                  </a:lnTo>
                  <a:lnTo>
                    <a:pt x="198" y="30"/>
                  </a:lnTo>
                  <a:lnTo>
                    <a:pt x="202" y="30"/>
                  </a:lnTo>
                  <a:lnTo>
                    <a:pt x="206" y="30"/>
                  </a:lnTo>
                  <a:lnTo>
                    <a:pt x="206" y="26"/>
                  </a:lnTo>
                  <a:lnTo>
                    <a:pt x="206" y="30"/>
                  </a:lnTo>
                  <a:lnTo>
                    <a:pt x="210" y="30"/>
                  </a:lnTo>
                  <a:lnTo>
                    <a:pt x="214" y="30"/>
                  </a:lnTo>
                  <a:lnTo>
                    <a:pt x="210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close/>
                  <a:moveTo>
                    <a:pt x="194" y="38"/>
                  </a:moveTo>
                  <a:lnTo>
                    <a:pt x="198" y="38"/>
                  </a:lnTo>
                  <a:lnTo>
                    <a:pt x="194" y="38"/>
                  </a:lnTo>
                  <a:lnTo>
                    <a:pt x="194" y="34"/>
                  </a:lnTo>
                  <a:lnTo>
                    <a:pt x="194" y="38"/>
                  </a:lnTo>
                  <a:lnTo>
                    <a:pt x="198" y="38"/>
                  </a:lnTo>
                  <a:lnTo>
                    <a:pt x="198" y="34"/>
                  </a:lnTo>
                  <a:lnTo>
                    <a:pt x="202" y="34"/>
                  </a:lnTo>
                  <a:lnTo>
                    <a:pt x="202" y="38"/>
                  </a:lnTo>
                  <a:lnTo>
                    <a:pt x="198" y="38"/>
                  </a:lnTo>
                  <a:lnTo>
                    <a:pt x="198" y="42"/>
                  </a:lnTo>
                  <a:lnTo>
                    <a:pt x="202" y="42"/>
                  </a:lnTo>
                  <a:lnTo>
                    <a:pt x="198" y="42"/>
                  </a:lnTo>
                  <a:lnTo>
                    <a:pt x="194" y="42"/>
                  </a:lnTo>
                  <a:lnTo>
                    <a:pt x="190" y="42"/>
                  </a:lnTo>
                  <a:lnTo>
                    <a:pt x="188" y="42"/>
                  </a:lnTo>
                  <a:lnTo>
                    <a:pt x="190" y="38"/>
                  </a:lnTo>
                  <a:lnTo>
                    <a:pt x="190" y="42"/>
                  </a:lnTo>
                  <a:lnTo>
                    <a:pt x="190" y="38"/>
                  </a:lnTo>
                  <a:lnTo>
                    <a:pt x="194" y="38"/>
                  </a:lnTo>
                  <a:lnTo>
                    <a:pt x="194" y="38"/>
                  </a:lnTo>
                  <a:lnTo>
                    <a:pt x="194" y="38"/>
                  </a:lnTo>
                  <a:close/>
                  <a:moveTo>
                    <a:pt x="172" y="50"/>
                  </a:moveTo>
                  <a:lnTo>
                    <a:pt x="176" y="50"/>
                  </a:lnTo>
                  <a:lnTo>
                    <a:pt x="172" y="50"/>
                  </a:lnTo>
                  <a:lnTo>
                    <a:pt x="176" y="50"/>
                  </a:lnTo>
                  <a:lnTo>
                    <a:pt x="176" y="46"/>
                  </a:lnTo>
                  <a:lnTo>
                    <a:pt x="172" y="46"/>
                  </a:lnTo>
                  <a:lnTo>
                    <a:pt x="176" y="46"/>
                  </a:lnTo>
                  <a:lnTo>
                    <a:pt x="180" y="46"/>
                  </a:lnTo>
                  <a:lnTo>
                    <a:pt x="176" y="46"/>
                  </a:lnTo>
                  <a:lnTo>
                    <a:pt x="176" y="42"/>
                  </a:lnTo>
                  <a:lnTo>
                    <a:pt x="180" y="46"/>
                  </a:lnTo>
                  <a:lnTo>
                    <a:pt x="180" y="42"/>
                  </a:lnTo>
                  <a:lnTo>
                    <a:pt x="184" y="42"/>
                  </a:lnTo>
                  <a:lnTo>
                    <a:pt x="184" y="46"/>
                  </a:lnTo>
                  <a:lnTo>
                    <a:pt x="184" y="42"/>
                  </a:lnTo>
                  <a:lnTo>
                    <a:pt x="180" y="42"/>
                  </a:lnTo>
                  <a:lnTo>
                    <a:pt x="184" y="42"/>
                  </a:lnTo>
                  <a:lnTo>
                    <a:pt x="188" y="42"/>
                  </a:lnTo>
                  <a:lnTo>
                    <a:pt x="190" y="46"/>
                  </a:lnTo>
                  <a:lnTo>
                    <a:pt x="188" y="46"/>
                  </a:lnTo>
                  <a:lnTo>
                    <a:pt x="188" y="50"/>
                  </a:lnTo>
                  <a:lnTo>
                    <a:pt x="188" y="52"/>
                  </a:lnTo>
                  <a:lnTo>
                    <a:pt x="184" y="52"/>
                  </a:lnTo>
                  <a:lnTo>
                    <a:pt x="180" y="50"/>
                  </a:lnTo>
                  <a:lnTo>
                    <a:pt x="180" y="52"/>
                  </a:lnTo>
                  <a:lnTo>
                    <a:pt x="176" y="52"/>
                  </a:lnTo>
                  <a:lnTo>
                    <a:pt x="176" y="56"/>
                  </a:lnTo>
                  <a:lnTo>
                    <a:pt x="176" y="52"/>
                  </a:lnTo>
                  <a:lnTo>
                    <a:pt x="172" y="52"/>
                  </a:lnTo>
                  <a:lnTo>
                    <a:pt x="176" y="52"/>
                  </a:lnTo>
                  <a:lnTo>
                    <a:pt x="176" y="50"/>
                  </a:lnTo>
                  <a:lnTo>
                    <a:pt x="176" y="52"/>
                  </a:lnTo>
                  <a:lnTo>
                    <a:pt x="172" y="50"/>
                  </a:lnTo>
                  <a:lnTo>
                    <a:pt x="172" y="50"/>
                  </a:lnTo>
                  <a:lnTo>
                    <a:pt x="172" y="50"/>
                  </a:lnTo>
                  <a:close/>
                  <a:moveTo>
                    <a:pt x="154" y="60"/>
                  </a:moveTo>
                  <a:lnTo>
                    <a:pt x="154" y="56"/>
                  </a:lnTo>
                  <a:lnTo>
                    <a:pt x="154" y="52"/>
                  </a:lnTo>
                  <a:lnTo>
                    <a:pt x="158" y="52"/>
                  </a:lnTo>
                  <a:lnTo>
                    <a:pt x="158" y="50"/>
                  </a:lnTo>
                  <a:lnTo>
                    <a:pt x="160" y="50"/>
                  </a:lnTo>
                  <a:lnTo>
                    <a:pt x="160" y="52"/>
                  </a:lnTo>
                  <a:lnTo>
                    <a:pt x="158" y="52"/>
                  </a:lnTo>
                  <a:lnTo>
                    <a:pt x="158" y="56"/>
                  </a:lnTo>
                  <a:lnTo>
                    <a:pt x="154" y="56"/>
                  </a:lnTo>
                  <a:lnTo>
                    <a:pt x="154" y="60"/>
                  </a:lnTo>
                  <a:lnTo>
                    <a:pt x="154" y="60"/>
                  </a:lnTo>
                  <a:lnTo>
                    <a:pt x="154" y="60"/>
                  </a:lnTo>
                  <a:close/>
                  <a:moveTo>
                    <a:pt x="138" y="64"/>
                  </a:moveTo>
                  <a:lnTo>
                    <a:pt x="138" y="60"/>
                  </a:lnTo>
                  <a:lnTo>
                    <a:pt x="142" y="60"/>
                  </a:lnTo>
                  <a:lnTo>
                    <a:pt x="146" y="60"/>
                  </a:lnTo>
                  <a:lnTo>
                    <a:pt x="150" y="60"/>
                  </a:lnTo>
                  <a:lnTo>
                    <a:pt x="146" y="60"/>
                  </a:lnTo>
                  <a:lnTo>
                    <a:pt x="146" y="56"/>
                  </a:lnTo>
                  <a:lnTo>
                    <a:pt x="150" y="56"/>
                  </a:lnTo>
                  <a:lnTo>
                    <a:pt x="150" y="60"/>
                  </a:lnTo>
                  <a:lnTo>
                    <a:pt x="150" y="64"/>
                  </a:lnTo>
                  <a:lnTo>
                    <a:pt x="146" y="68"/>
                  </a:lnTo>
                  <a:lnTo>
                    <a:pt x="142" y="68"/>
                  </a:lnTo>
                  <a:lnTo>
                    <a:pt x="142" y="64"/>
                  </a:lnTo>
                  <a:lnTo>
                    <a:pt x="146" y="64"/>
                  </a:lnTo>
                  <a:lnTo>
                    <a:pt x="150" y="64"/>
                  </a:lnTo>
                  <a:lnTo>
                    <a:pt x="146" y="60"/>
                  </a:lnTo>
                  <a:lnTo>
                    <a:pt x="146" y="64"/>
                  </a:lnTo>
                  <a:lnTo>
                    <a:pt x="142" y="64"/>
                  </a:lnTo>
                  <a:lnTo>
                    <a:pt x="138" y="64"/>
                  </a:lnTo>
                  <a:lnTo>
                    <a:pt x="138" y="64"/>
                  </a:lnTo>
                  <a:lnTo>
                    <a:pt x="138" y="64"/>
                  </a:lnTo>
                  <a:close/>
                  <a:moveTo>
                    <a:pt x="168" y="68"/>
                  </a:moveTo>
                  <a:lnTo>
                    <a:pt x="164" y="68"/>
                  </a:lnTo>
                  <a:lnTo>
                    <a:pt x="160" y="68"/>
                  </a:lnTo>
                  <a:lnTo>
                    <a:pt x="160" y="72"/>
                  </a:lnTo>
                  <a:lnTo>
                    <a:pt x="158" y="72"/>
                  </a:lnTo>
                  <a:lnTo>
                    <a:pt x="154" y="72"/>
                  </a:lnTo>
                  <a:lnTo>
                    <a:pt x="150" y="72"/>
                  </a:lnTo>
                  <a:lnTo>
                    <a:pt x="154" y="72"/>
                  </a:lnTo>
                  <a:lnTo>
                    <a:pt x="154" y="68"/>
                  </a:lnTo>
                  <a:lnTo>
                    <a:pt x="154" y="72"/>
                  </a:lnTo>
                  <a:lnTo>
                    <a:pt x="150" y="72"/>
                  </a:lnTo>
                  <a:lnTo>
                    <a:pt x="146" y="76"/>
                  </a:lnTo>
                  <a:lnTo>
                    <a:pt x="146" y="72"/>
                  </a:lnTo>
                  <a:lnTo>
                    <a:pt x="150" y="68"/>
                  </a:lnTo>
                  <a:lnTo>
                    <a:pt x="154" y="64"/>
                  </a:lnTo>
                  <a:lnTo>
                    <a:pt x="158" y="64"/>
                  </a:lnTo>
                  <a:lnTo>
                    <a:pt x="154" y="64"/>
                  </a:lnTo>
                  <a:lnTo>
                    <a:pt x="154" y="60"/>
                  </a:lnTo>
                  <a:lnTo>
                    <a:pt x="154" y="64"/>
                  </a:lnTo>
                  <a:lnTo>
                    <a:pt x="154" y="60"/>
                  </a:lnTo>
                  <a:lnTo>
                    <a:pt x="154" y="56"/>
                  </a:lnTo>
                  <a:lnTo>
                    <a:pt x="158" y="56"/>
                  </a:lnTo>
                  <a:lnTo>
                    <a:pt x="158" y="60"/>
                  </a:lnTo>
                  <a:lnTo>
                    <a:pt x="160" y="60"/>
                  </a:lnTo>
                  <a:lnTo>
                    <a:pt x="160" y="64"/>
                  </a:lnTo>
                  <a:lnTo>
                    <a:pt x="158" y="64"/>
                  </a:lnTo>
                  <a:lnTo>
                    <a:pt x="158" y="68"/>
                  </a:lnTo>
                  <a:lnTo>
                    <a:pt x="158" y="64"/>
                  </a:lnTo>
                  <a:lnTo>
                    <a:pt x="160" y="64"/>
                  </a:lnTo>
                  <a:lnTo>
                    <a:pt x="160" y="60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8" y="68"/>
                  </a:lnTo>
                  <a:lnTo>
                    <a:pt x="168" y="68"/>
                  </a:lnTo>
                  <a:close/>
                  <a:moveTo>
                    <a:pt x="134" y="76"/>
                  </a:moveTo>
                  <a:lnTo>
                    <a:pt x="134" y="72"/>
                  </a:lnTo>
                  <a:lnTo>
                    <a:pt x="138" y="72"/>
                  </a:lnTo>
                  <a:lnTo>
                    <a:pt x="142" y="72"/>
                  </a:lnTo>
                  <a:lnTo>
                    <a:pt x="146" y="72"/>
                  </a:lnTo>
                  <a:lnTo>
                    <a:pt x="146" y="68"/>
                  </a:lnTo>
                  <a:lnTo>
                    <a:pt x="150" y="68"/>
                  </a:lnTo>
                  <a:lnTo>
                    <a:pt x="146" y="72"/>
                  </a:lnTo>
                  <a:lnTo>
                    <a:pt x="142" y="76"/>
                  </a:lnTo>
                  <a:lnTo>
                    <a:pt x="138" y="76"/>
                  </a:lnTo>
                  <a:lnTo>
                    <a:pt x="134" y="76"/>
                  </a:lnTo>
                  <a:lnTo>
                    <a:pt x="134" y="76"/>
                  </a:lnTo>
                  <a:lnTo>
                    <a:pt x="134" y="76"/>
                  </a:lnTo>
                  <a:close/>
                  <a:moveTo>
                    <a:pt x="124" y="78"/>
                  </a:moveTo>
                  <a:lnTo>
                    <a:pt x="124" y="76"/>
                  </a:lnTo>
                  <a:lnTo>
                    <a:pt x="128" y="76"/>
                  </a:lnTo>
                  <a:lnTo>
                    <a:pt x="130" y="76"/>
                  </a:lnTo>
                  <a:lnTo>
                    <a:pt x="134" y="76"/>
                  </a:lnTo>
                  <a:lnTo>
                    <a:pt x="130" y="76"/>
                  </a:lnTo>
                  <a:lnTo>
                    <a:pt x="130" y="78"/>
                  </a:lnTo>
                  <a:lnTo>
                    <a:pt x="128" y="78"/>
                  </a:lnTo>
                  <a:lnTo>
                    <a:pt x="124" y="78"/>
                  </a:lnTo>
                  <a:lnTo>
                    <a:pt x="124" y="78"/>
                  </a:lnTo>
                  <a:lnTo>
                    <a:pt x="124" y="78"/>
                  </a:lnTo>
                  <a:close/>
                  <a:moveTo>
                    <a:pt x="108" y="132"/>
                  </a:moveTo>
                  <a:lnTo>
                    <a:pt x="108" y="128"/>
                  </a:lnTo>
                  <a:lnTo>
                    <a:pt x="108" y="124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08" y="132"/>
                  </a:lnTo>
                  <a:lnTo>
                    <a:pt x="108" y="132"/>
                  </a:lnTo>
                  <a:close/>
                  <a:moveTo>
                    <a:pt x="108" y="132"/>
                  </a:moveTo>
                  <a:lnTo>
                    <a:pt x="112" y="132"/>
                  </a:lnTo>
                  <a:lnTo>
                    <a:pt x="112" y="128"/>
                  </a:lnTo>
                  <a:lnTo>
                    <a:pt x="116" y="128"/>
                  </a:lnTo>
                  <a:lnTo>
                    <a:pt x="116" y="132"/>
                  </a:lnTo>
                  <a:lnTo>
                    <a:pt x="112" y="132"/>
                  </a:lnTo>
                  <a:lnTo>
                    <a:pt x="108" y="132"/>
                  </a:lnTo>
                  <a:lnTo>
                    <a:pt x="108" y="132"/>
                  </a:lnTo>
                  <a:lnTo>
                    <a:pt x="108" y="132"/>
                  </a:lnTo>
                  <a:close/>
                  <a:moveTo>
                    <a:pt x="52" y="188"/>
                  </a:moveTo>
                  <a:lnTo>
                    <a:pt x="48" y="188"/>
                  </a:lnTo>
                  <a:lnTo>
                    <a:pt x="48" y="184"/>
                  </a:lnTo>
                  <a:lnTo>
                    <a:pt x="52" y="184"/>
                  </a:lnTo>
                  <a:lnTo>
                    <a:pt x="56" y="184"/>
                  </a:lnTo>
                  <a:lnTo>
                    <a:pt x="60" y="184"/>
                  </a:lnTo>
                  <a:lnTo>
                    <a:pt x="56" y="184"/>
                  </a:lnTo>
                  <a:lnTo>
                    <a:pt x="56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2" y="188"/>
                  </a:lnTo>
                  <a:close/>
                  <a:moveTo>
                    <a:pt x="52" y="192"/>
                  </a:moveTo>
                  <a:lnTo>
                    <a:pt x="48" y="192"/>
                  </a:lnTo>
                  <a:lnTo>
                    <a:pt x="52" y="192"/>
                  </a:lnTo>
                  <a:lnTo>
                    <a:pt x="52" y="188"/>
                  </a:lnTo>
                  <a:lnTo>
                    <a:pt x="56" y="188"/>
                  </a:lnTo>
                  <a:lnTo>
                    <a:pt x="60" y="188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52" y="192"/>
                  </a:lnTo>
                  <a:lnTo>
                    <a:pt x="52" y="192"/>
                  </a:lnTo>
                  <a:close/>
                  <a:moveTo>
                    <a:pt x="44" y="194"/>
                  </a:moveTo>
                  <a:lnTo>
                    <a:pt x="44" y="192"/>
                  </a:lnTo>
                  <a:lnTo>
                    <a:pt x="48" y="192"/>
                  </a:lnTo>
                  <a:lnTo>
                    <a:pt x="48" y="194"/>
                  </a:lnTo>
                  <a:lnTo>
                    <a:pt x="44" y="194"/>
                  </a:lnTo>
                  <a:lnTo>
                    <a:pt x="44" y="194"/>
                  </a:lnTo>
                  <a:lnTo>
                    <a:pt x="44" y="194"/>
                  </a:lnTo>
                  <a:close/>
                  <a:moveTo>
                    <a:pt x="8" y="258"/>
                  </a:moveTo>
                  <a:lnTo>
                    <a:pt x="4" y="258"/>
                  </a:lnTo>
                  <a:lnTo>
                    <a:pt x="4" y="254"/>
                  </a:lnTo>
                  <a:lnTo>
                    <a:pt x="0" y="254"/>
                  </a:lnTo>
                  <a:lnTo>
                    <a:pt x="4" y="254"/>
                  </a:lnTo>
                  <a:lnTo>
                    <a:pt x="4" y="258"/>
                  </a:lnTo>
                  <a:lnTo>
                    <a:pt x="8" y="258"/>
                  </a:lnTo>
                  <a:lnTo>
                    <a:pt x="8" y="258"/>
                  </a:lnTo>
                  <a:lnTo>
                    <a:pt x="8" y="258"/>
                  </a:lnTo>
                  <a:close/>
                  <a:moveTo>
                    <a:pt x="8" y="258"/>
                  </a:moveTo>
                  <a:lnTo>
                    <a:pt x="4" y="258"/>
                  </a:lnTo>
                  <a:lnTo>
                    <a:pt x="8" y="258"/>
                  </a:lnTo>
                  <a:lnTo>
                    <a:pt x="8" y="258"/>
                  </a:lnTo>
                  <a:lnTo>
                    <a:pt x="8" y="258"/>
                  </a:lnTo>
                  <a:close/>
                  <a:moveTo>
                    <a:pt x="8" y="262"/>
                  </a:moveTo>
                  <a:lnTo>
                    <a:pt x="4" y="262"/>
                  </a:lnTo>
                  <a:lnTo>
                    <a:pt x="4" y="258"/>
                  </a:lnTo>
                  <a:lnTo>
                    <a:pt x="8" y="258"/>
                  </a:lnTo>
                  <a:lnTo>
                    <a:pt x="8" y="262"/>
                  </a:lnTo>
                  <a:lnTo>
                    <a:pt x="8" y="262"/>
                  </a:lnTo>
                  <a:lnTo>
                    <a:pt x="8" y="262"/>
                  </a:lnTo>
                  <a:close/>
                  <a:moveTo>
                    <a:pt x="4" y="264"/>
                  </a:moveTo>
                  <a:lnTo>
                    <a:pt x="4" y="262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4" y="264"/>
                  </a:lnTo>
                  <a:close/>
                  <a:moveTo>
                    <a:pt x="12" y="272"/>
                  </a:moveTo>
                  <a:lnTo>
                    <a:pt x="8" y="272"/>
                  </a:lnTo>
                  <a:lnTo>
                    <a:pt x="12" y="268"/>
                  </a:lnTo>
                  <a:lnTo>
                    <a:pt x="12" y="272"/>
                  </a:lnTo>
                  <a:lnTo>
                    <a:pt x="12" y="272"/>
                  </a:lnTo>
                  <a:lnTo>
                    <a:pt x="12" y="272"/>
                  </a:lnTo>
                  <a:close/>
                  <a:moveTo>
                    <a:pt x="8" y="276"/>
                  </a:moveTo>
                  <a:lnTo>
                    <a:pt x="8" y="272"/>
                  </a:lnTo>
                  <a:lnTo>
                    <a:pt x="12" y="272"/>
                  </a:lnTo>
                  <a:lnTo>
                    <a:pt x="12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8" y="276"/>
                  </a:lnTo>
                  <a:close/>
                  <a:moveTo>
                    <a:pt x="8" y="280"/>
                  </a:moveTo>
                  <a:lnTo>
                    <a:pt x="4" y="280"/>
                  </a:lnTo>
                  <a:lnTo>
                    <a:pt x="4" y="276"/>
                  </a:lnTo>
                  <a:lnTo>
                    <a:pt x="4" y="272"/>
                  </a:lnTo>
                  <a:lnTo>
                    <a:pt x="8" y="272"/>
                  </a:lnTo>
                  <a:lnTo>
                    <a:pt x="8" y="276"/>
                  </a:lnTo>
                  <a:lnTo>
                    <a:pt x="8" y="280"/>
                  </a:lnTo>
                  <a:lnTo>
                    <a:pt x="8" y="280"/>
                  </a:lnTo>
                  <a:lnTo>
                    <a:pt x="8" y="280"/>
                  </a:lnTo>
                  <a:close/>
                  <a:moveTo>
                    <a:pt x="8" y="292"/>
                  </a:moveTo>
                  <a:lnTo>
                    <a:pt x="4" y="288"/>
                  </a:lnTo>
                  <a:lnTo>
                    <a:pt x="8" y="288"/>
                  </a:lnTo>
                  <a:lnTo>
                    <a:pt x="8" y="284"/>
                  </a:lnTo>
                  <a:lnTo>
                    <a:pt x="8" y="288"/>
                  </a:lnTo>
                  <a:lnTo>
                    <a:pt x="8" y="292"/>
                  </a:lnTo>
                  <a:lnTo>
                    <a:pt x="8" y="292"/>
                  </a:lnTo>
                  <a:lnTo>
                    <a:pt x="8" y="292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77" name="Freeform 117">
              <a:extLst>
                <a:ext uri="{FF2B5EF4-FFF2-40B4-BE49-F238E27FC236}">
                  <a16:creationId xmlns:a16="http://schemas.microsoft.com/office/drawing/2014/main" id="{19CF7967-77B9-3B60-6147-7DFA7D5D67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6670" y="2255463"/>
              <a:ext cx="276647" cy="233803"/>
            </a:xfrm>
            <a:custGeom>
              <a:avLst/>
              <a:gdLst>
                <a:gd name="T0" fmla="*/ 118 w 142"/>
                <a:gd name="T1" fmla="*/ 120 h 124"/>
                <a:gd name="T2" fmla="*/ 116 w 142"/>
                <a:gd name="T3" fmla="*/ 124 h 124"/>
                <a:gd name="T4" fmla="*/ 104 w 142"/>
                <a:gd name="T5" fmla="*/ 116 h 124"/>
                <a:gd name="T6" fmla="*/ 96 w 142"/>
                <a:gd name="T7" fmla="*/ 120 h 124"/>
                <a:gd name="T8" fmla="*/ 90 w 142"/>
                <a:gd name="T9" fmla="*/ 116 h 124"/>
                <a:gd name="T10" fmla="*/ 78 w 142"/>
                <a:gd name="T11" fmla="*/ 120 h 124"/>
                <a:gd name="T12" fmla="*/ 74 w 142"/>
                <a:gd name="T13" fmla="*/ 112 h 124"/>
                <a:gd name="T14" fmla="*/ 66 w 142"/>
                <a:gd name="T15" fmla="*/ 116 h 124"/>
                <a:gd name="T16" fmla="*/ 62 w 142"/>
                <a:gd name="T17" fmla="*/ 108 h 124"/>
                <a:gd name="T18" fmla="*/ 56 w 142"/>
                <a:gd name="T19" fmla="*/ 104 h 124"/>
                <a:gd name="T20" fmla="*/ 48 w 142"/>
                <a:gd name="T21" fmla="*/ 102 h 124"/>
                <a:gd name="T22" fmla="*/ 40 w 142"/>
                <a:gd name="T23" fmla="*/ 98 h 124"/>
                <a:gd name="T24" fmla="*/ 36 w 142"/>
                <a:gd name="T25" fmla="*/ 98 h 124"/>
                <a:gd name="T26" fmla="*/ 36 w 142"/>
                <a:gd name="T27" fmla="*/ 102 h 124"/>
                <a:gd name="T28" fmla="*/ 30 w 142"/>
                <a:gd name="T29" fmla="*/ 98 h 124"/>
                <a:gd name="T30" fmla="*/ 26 w 142"/>
                <a:gd name="T31" fmla="*/ 90 h 124"/>
                <a:gd name="T32" fmla="*/ 14 w 142"/>
                <a:gd name="T33" fmla="*/ 86 h 124"/>
                <a:gd name="T34" fmla="*/ 10 w 142"/>
                <a:gd name="T35" fmla="*/ 86 h 124"/>
                <a:gd name="T36" fmla="*/ 10 w 142"/>
                <a:gd name="T37" fmla="*/ 78 h 124"/>
                <a:gd name="T38" fmla="*/ 6 w 142"/>
                <a:gd name="T39" fmla="*/ 72 h 124"/>
                <a:gd name="T40" fmla="*/ 6 w 142"/>
                <a:gd name="T41" fmla="*/ 64 h 124"/>
                <a:gd name="T42" fmla="*/ 4 w 142"/>
                <a:gd name="T43" fmla="*/ 56 h 124"/>
                <a:gd name="T44" fmla="*/ 6 w 142"/>
                <a:gd name="T45" fmla="*/ 48 h 124"/>
                <a:gd name="T46" fmla="*/ 0 w 142"/>
                <a:gd name="T47" fmla="*/ 46 h 124"/>
                <a:gd name="T48" fmla="*/ 4 w 142"/>
                <a:gd name="T49" fmla="*/ 34 h 124"/>
                <a:gd name="T50" fmla="*/ 4 w 142"/>
                <a:gd name="T51" fmla="*/ 26 h 124"/>
                <a:gd name="T52" fmla="*/ 0 w 142"/>
                <a:gd name="T53" fmla="*/ 20 h 124"/>
                <a:gd name="T54" fmla="*/ 4 w 142"/>
                <a:gd name="T55" fmla="*/ 20 h 124"/>
                <a:gd name="T56" fmla="*/ 14 w 142"/>
                <a:gd name="T57" fmla="*/ 16 h 124"/>
                <a:gd name="T58" fmla="*/ 26 w 142"/>
                <a:gd name="T59" fmla="*/ 16 h 124"/>
                <a:gd name="T60" fmla="*/ 32 w 142"/>
                <a:gd name="T61" fmla="*/ 8 h 124"/>
                <a:gd name="T62" fmla="*/ 44 w 142"/>
                <a:gd name="T63" fmla="*/ 4 h 124"/>
                <a:gd name="T64" fmla="*/ 52 w 142"/>
                <a:gd name="T65" fmla="*/ 0 h 124"/>
                <a:gd name="T66" fmla="*/ 62 w 142"/>
                <a:gd name="T67" fmla="*/ 4 h 124"/>
                <a:gd name="T68" fmla="*/ 60 w 142"/>
                <a:gd name="T69" fmla="*/ 4 h 124"/>
                <a:gd name="T70" fmla="*/ 66 w 142"/>
                <a:gd name="T71" fmla="*/ 12 h 124"/>
                <a:gd name="T72" fmla="*/ 74 w 142"/>
                <a:gd name="T73" fmla="*/ 8 h 124"/>
                <a:gd name="T74" fmla="*/ 74 w 142"/>
                <a:gd name="T75" fmla="*/ 12 h 124"/>
                <a:gd name="T76" fmla="*/ 78 w 142"/>
                <a:gd name="T77" fmla="*/ 12 h 124"/>
                <a:gd name="T78" fmla="*/ 90 w 142"/>
                <a:gd name="T79" fmla="*/ 12 h 124"/>
                <a:gd name="T80" fmla="*/ 100 w 142"/>
                <a:gd name="T81" fmla="*/ 12 h 124"/>
                <a:gd name="T82" fmla="*/ 112 w 142"/>
                <a:gd name="T83" fmla="*/ 12 h 124"/>
                <a:gd name="T84" fmla="*/ 122 w 142"/>
                <a:gd name="T85" fmla="*/ 12 h 124"/>
                <a:gd name="T86" fmla="*/ 130 w 142"/>
                <a:gd name="T87" fmla="*/ 20 h 124"/>
                <a:gd name="T88" fmla="*/ 134 w 142"/>
                <a:gd name="T89" fmla="*/ 26 h 124"/>
                <a:gd name="T90" fmla="*/ 138 w 142"/>
                <a:gd name="T91" fmla="*/ 38 h 124"/>
                <a:gd name="T92" fmla="*/ 138 w 142"/>
                <a:gd name="T93" fmla="*/ 48 h 124"/>
                <a:gd name="T94" fmla="*/ 130 w 142"/>
                <a:gd name="T95" fmla="*/ 52 h 124"/>
                <a:gd name="T96" fmla="*/ 130 w 142"/>
                <a:gd name="T97" fmla="*/ 56 h 124"/>
                <a:gd name="T98" fmla="*/ 130 w 142"/>
                <a:gd name="T99" fmla="*/ 68 h 124"/>
                <a:gd name="T100" fmla="*/ 134 w 142"/>
                <a:gd name="T101" fmla="*/ 74 h 124"/>
                <a:gd name="T102" fmla="*/ 138 w 142"/>
                <a:gd name="T103" fmla="*/ 86 h 124"/>
                <a:gd name="T104" fmla="*/ 138 w 142"/>
                <a:gd name="T105" fmla="*/ 90 h 124"/>
                <a:gd name="T106" fmla="*/ 134 w 142"/>
                <a:gd name="T107" fmla="*/ 94 h 124"/>
                <a:gd name="T108" fmla="*/ 130 w 142"/>
                <a:gd name="T109" fmla="*/ 102 h 124"/>
                <a:gd name="T110" fmla="*/ 118 w 142"/>
                <a:gd name="T111" fmla="*/ 11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2" h="124">
                  <a:moveTo>
                    <a:pt x="118" y="112"/>
                  </a:moveTo>
                  <a:lnTo>
                    <a:pt x="118" y="116"/>
                  </a:lnTo>
                  <a:lnTo>
                    <a:pt x="118" y="120"/>
                  </a:lnTo>
                  <a:lnTo>
                    <a:pt x="122" y="124"/>
                  </a:lnTo>
                  <a:lnTo>
                    <a:pt x="118" y="124"/>
                  </a:lnTo>
                  <a:lnTo>
                    <a:pt x="116" y="124"/>
                  </a:lnTo>
                  <a:lnTo>
                    <a:pt x="112" y="120"/>
                  </a:lnTo>
                  <a:lnTo>
                    <a:pt x="108" y="116"/>
                  </a:lnTo>
                  <a:lnTo>
                    <a:pt x="104" y="116"/>
                  </a:lnTo>
                  <a:lnTo>
                    <a:pt x="100" y="116"/>
                  </a:lnTo>
                  <a:lnTo>
                    <a:pt x="96" y="116"/>
                  </a:lnTo>
                  <a:lnTo>
                    <a:pt x="96" y="120"/>
                  </a:lnTo>
                  <a:lnTo>
                    <a:pt x="92" y="120"/>
                  </a:lnTo>
                  <a:lnTo>
                    <a:pt x="92" y="116"/>
                  </a:lnTo>
                  <a:lnTo>
                    <a:pt x="90" y="116"/>
                  </a:lnTo>
                  <a:lnTo>
                    <a:pt x="86" y="116"/>
                  </a:lnTo>
                  <a:lnTo>
                    <a:pt x="82" y="120"/>
                  </a:lnTo>
                  <a:lnTo>
                    <a:pt x="78" y="120"/>
                  </a:lnTo>
                  <a:lnTo>
                    <a:pt x="78" y="116"/>
                  </a:lnTo>
                  <a:lnTo>
                    <a:pt x="74" y="116"/>
                  </a:lnTo>
                  <a:lnTo>
                    <a:pt x="74" y="112"/>
                  </a:lnTo>
                  <a:lnTo>
                    <a:pt x="70" y="112"/>
                  </a:lnTo>
                  <a:lnTo>
                    <a:pt x="70" y="116"/>
                  </a:lnTo>
                  <a:lnTo>
                    <a:pt x="66" y="116"/>
                  </a:lnTo>
                  <a:lnTo>
                    <a:pt x="66" y="112"/>
                  </a:lnTo>
                  <a:lnTo>
                    <a:pt x="62" y="112"/>
                  </a:lnTo>
                  <a:lnTo>
                    <a:pt x="62" y="108"/>
                  </a:lnTo>
                  <a:lnTo>
                    <a:pt x="62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2"/>
                  </a:lnTo>
                  <a:lnTo>
                    <a:pt x="52" y="104"/>
                  </a:lnTo>
                  <a:lnTo>
                    <a:pt x="48" y="102"/>
                  </a:lnTo>
                  <a:lnTo>
                    <a:pt x="48" y="98"/>
                  </a:lnTo>
                  <a:lnTo>
                    <a:pt x="44" y="98"/>
                  </a:lnTo>
                  <a:lnTo>
                    <a:pt x="40" y="98"/>
                  </a:lnTo>
                  <a:lnTo>
                    <a:pt x="40" y="94"/>
                  </a:lnTo>
                  <a:lnTo>
                    <a:pt x="36" y="94"/>
                  </a:lnTo>
                  <a:lnTo>
                    <a:pt x="36" y="98"/>
                  </a:lnTo>
                  <a:lnTo>
                    <a:pt x="40" y="102"/>
                  </a:lnTo>
                  <a:lnTo>
                    <a:pt x="36" y="98"/>
                  </a:lnTo>
                  <a:lnTo>
                    <a:pt x="36" y="102"/>
                  </a:lnTo>
                  <a:lnTo>
                    <a:pt x="32" y="102"/>
                  </a:lnTo>
                  <a:lnTo>
                    <a:pt x="32" y="98"/>
                  </a:lnTo>
                  <a:lnTo>
                    <a:pt x="30" y="98"/>
                  </a:lnTo>
                  <a:lnTo>
                    <a:pt x="30" y="94"/>
                  </a:lnTo>
                  <a:lnTo>
                    <a:pt x="30" y="90"/>
                  </a:lnTo>
                  <a:lnTo>
                    <a:pt x="26" y="90"/>
                  </a:lnTo>
                  <a:lnTo>
                    <a:pt x="22" y="90"/>
                  </a:lnTo>
                  <a:lnTo>
                    <a:pt x="18" y="86"/>
                  </a:lnTo>
                  <a:lnTo>
                    <a:pt x="14" y="86"/>
                  </a:lnTo>
                  <a:lnTo>
                    <a:pt x="14" y="82"/>
                  </a:lnTo>
                  <a:lnTo>
                    <a:pt x="10" y="82"/>
                  </a:lnTo>
                  <a:lnTo>
                    <a:pt x="10" y="86"/>
                  </a:lnTo>
                  <a:lnTo>
                    <a:pt x="6" y="86"/>
                  </a:lnTo>
                  <a:lnTo>
                    <a:pt x="10" y="82"/>
                  </a:lnTo>
                  <a:lnTo>
                    <a:pt x="10" y="78"/>
                  </a:lnTo>
                  <a:lnTo>
                    <a:pt x="10" y="74"/>
                  </a:lnTo>
                  <a:lnTo>
                    <a:pt x="10" y="72"/>
                  </a:lnTo>
                  <a:lnTo>
                    <a:pt x="6" y="72"/>
                  </a:lnTo>
                  <a:lnTo>
                    <a:pt x="6" y="68"/>
                  </a:lnTo>
                  <a:lnTo>
                    <a:pt x="4" y="64"/>
                  </a:lnTo>
                  <a:lnTo>
                    <a:pt x="6" y="64"/>
                  </a:lnTo>
                  <a:lnTo>
                    <a:pt x="6" y="60"/>
                  </a:lnTo>
                  <a:lnTo>
                    <a:pt x="6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6" y="52"/>
                  </a:lnTo>
                  <a:lnTo>
                    <a:pt x="6" y="48"/>
                  </a:lnTo>
                  <a:lnTo>
                    <a:pt x="4" y="48"/>
                  </a:lnTo>
                  <a:lnTo>
                    <a:pt x="4" y="46"/>
                  </a:lnTo>
                  <a:lnTo>
                    <a:pt x="0" y="46"/>
                  </a:lnTo>
                  <a:lnTo>
                    <a:pt x="0" y="42"/>
                  </a:lnTo>
                  <a:lnTo>
                    <a:pt x="4" y="38"/>
                  </a:lnTo>
                  <a:lnTo>
                    <a:pt x="4" y="34"/>
                  </a:lnTo>
                  <a:lnTo>
                    <a:pt x="0" y="30"/>
                  </a:lnTo>
                  <a:lnTo>
                    <a:pt x="0" y="26"/>
                  </a:lnTo>
                  <a:lnTo>
                    <a:pt x="4" y="26"/>
                  </a:lnTo>
                  <a:lnTo>
                    <a:pt x="4" y="22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4" y="20"/>
                  </a:lnTo>
                  <a:lnTo>
                    <a:pt x="6" y="20"/>
                  </a:lnTo>
                  <a:lnTo>
                    <a:pt x="10" y="20"/>
                  </a:lnTo>
                  <a:lnTo>
                    <a:pt x="14" y="16"/>
                  </a:lnTo>
                  <a:lnTo>
                    <a:pt x="18" y="16"/>
                  </a:lnTo>
                  <a:lnTo>
                    <a:pt x="22" y="16"/>
                  </a:lnTo>
                  <a:lnTo>
                    <a:pt x="26" y="16"/>
                  </a:lnTo>
                  <a:lnTo>
                    <a:pt x="30" y="12"/>
                  </a:lnTo>
                  <a:lnTo>
                    <a:pt x="30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2" y="4"/>
                  </a:lnTo>
                  <a:lnTo>
                    <a:pt x="62" y="8"/>
                  </a:lnTo>
                  <a:lnTo>
                    <a:pt x="62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2" y="12"/>
                  </a:lnTo>
                  <a:lnTo>
                    <a:pt x="66" y="12"/>
                  </a:lnTo>
                  <a:lnTo>
                    <a:pt x="70" y="12"/>
                  </a:lnTo>
                  <a:lnTo>
                    <a:pt x="74" y="12"/>
                  </a:lnTo>
                  <a:lnTo>
                    <a:pt x="74" y="8"/>
                  </a:lnTo>
                  <a:lnTo>
                    <a:pt x="78" y="8"/>
                  </a:lnTo>
                  <a:lnTo>
                    <a:pt x="74" y="8"/>
                  </a:lnTo>
                  <a:lnTo>
                    <a:pt x="74" y="12"/>
                  </a:lnTo>
                  <a:lnTo>
                    <a:pt x="70" y="12"/>
                  </a:lnTo>
                  <a:lnTo>
                    <a:pt x="74" y="12"/>
                  </a:lnTo>
                  <a:lnTo>
                    <a:pt x="78" y="12"/>
                  </a:lnTo>
                  <a:lnTo>
                    <a:pt x="82" y="12"/>
                  </a:lnTo>
                  <a:lnTo>
                    <a:pt x="86" y="12"/>
                  </a:lnTo>
                  <a:lnTo>
                    <a:pt x="90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8" y="12"/>
                  </a:lnTo>
                  <a:lnTo>
                    <a:pt x="122" y="12"/>
                  </a:lnTo>
                  <a:lnTo>
                    <a:pt x="126" y="12"/>
                  </a:lnTo>
                  <a:lnTo>
                    <a:pt x="130" y="16"/>
                  </a:lnTo>
                  <a:lnTo>
                    <a:pt x="130" y="20"/>
                  </a:lnTo>
                  <a:lnTo>
                    <a:pt x="130" y="22"/>
                  </a:lnTo>
                  <a:lnTo>
                    <a:pt x="130" y="26"/>
                  </a:lnTo>
                  <a:lnTo>
                    <a:pt x="134" y="26"/>
                  </a:lnTo>
                  <a:lnTo>
                    <a:pt x="134" y="30"/>
                  </a:lnTo>
                  <a:lnTo>
                    <a:pt x="134" y="34"/>
                  </a:lnTo>
                  <a:lnTo>
                    <a:pt x="138" y="38"/>
                  </a:lnTo>
                  <a:lnTo>
                    <a:pt x="138" y="42"/>
                  </a:lnTo>
                  <a:lnTo>
                    <a:pt x="138" y="46"/>
                  </a:lnTo>
                  <a:lnTo>
                    <a:pt x="138" y="48"/>
                  </a:lnTo>
                  <a:lnTo>
                    <a:pt x="134" y="48"/>
                  </a:lnTo>
                  <a:lnTo>
                    <a:pt x="130" y="48"/>
                  </a:lnTo>
                  <a:lnTo>
                    <a:pt x="130" y="52"/>
                  </a:lnTo>
                  <a:lnTo>
                    <a:pt x="126" y="52"/>
                  </a:lnTo>
                  <a:lnTo>
                    <a:pt x="126" y="56"/>
                  </a:lnTo>
                  <a:lnTo>
                    <a:pt x="130" y="56"/>
                  </a:lnTo>
                  <a:lnTo>
                    <a:pt x="134" y="60"/>
                  </a:lnTo>
                  <a:lnTo>
                    <a:pt x="134" y="64"/>
                  </a:lnTo>
                  <a:lnTo>
                    <a:pt x="130" y="68"/>
                  </a:lnTo>
                  <a:lnTo>
                    <a:pt x="130" y="72"/>
                  </a:lnTo>
                  <a:lnTo>
                    <a:pt x="134" y="72"/>
                  </a:lnTo>
                  <a:lnTo>
                    <a:pt x="134" y="74"/>
                  </a:lnTo>
                  <a:lnTo>
                    <a:pt x="134" y="78"/>
                  </a:lnTo>
                  <a:lnTo>
                    <a:pt x="138" y="82"/>
                  </a:lnTo>
                  <a:lnTo>
                    <a:pt x="138" y="86"/>
                  </a:lnTo>
                  <a:lnTo>
                    <a:pt x="142" y="86"/>
                  </a:lnTo>
                  <a:lnTo>
                    <a:pt x="138" y="86"/>
                  </a:lnTo>
                  <a:lnTo>
                    <a:pt x="138" y="90"/>
                  </a:lnTo>
                  <a:lnTo>
                    <a:pt x="142" y="94"/>
                  </a:lnTo>
                  <a:lnTo>
                    <a:pt x="138" y="94"/>
                  </a:lnTo>
                  <a:lnTo>
                    <a:pt x="134" y="94"/>
                  </a:lnTo>
                  <a:lnTo>
                    <a:pt x="134" y="98"/>
                  </a:lnTo>
                  <a:lnTo>
                    <a:pt x="130" y="98"/>
                  </a:lnTo>
                  <a:lnTo>
                    <a:pt x="130" y="102"/>
                  </a:lnTo>
                  <a:lnTo>
                    <a:pt x="126" y="102"/>
                  </a:lnTo>
                  <a:lnTo>
                    <a:pt x="126" y="104"/>
                  </a:lnTo>
                  <a:lnTo>
                    <a:pt x="118" y="112"/>
                  </a:lnTo>
                  <a:lnTo>
                    <a:pt x="118" y="112"/>
                  </a:lnTo>
                  <a:lnTo>
                    <a:pt x="118" y="112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78" name="Freeform 118">
              <a:extLst>
                <a:ext uri="{FF2B5EF4-FFF2-40B4-BE49-F238E27FC236}">
                  <a16:creationId xmlns:a16="http://schemas.microsoft.com/office/drawing/2014/main" id="{484A1FF7-0AD5-03BA-515E-D03AD0480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0321" y="2515663"/>
              <a:ext cx="261061" cy="177238"/>
            </a:xfrm>
            <a:custGeom>
              <a:avLst/>
              <a:gdLst>
                <a:gd name="T0" fmla="*/ 56 w 134"/>
                <a:gd name="T1" fmla="*/ 94 h 94"/>
                <a:gd name="T2" fmla="*/ 46 w 134"/>
                <a:gd name="T3" fmla="*/ 90 h 94"/>
                <a:gd name="T4" fmla="*/ 42 w 134"/>
                <a:gd name="T5" fmla="*/ 90 h 94"/>
                <a:gd name="T6" fmla="*/ 38 w 134"/>
                <a:gd name="T7" fmla="*/ 86 h 94"/>
                <a:gd name="T8" fmla="*/ 38 w 134"/>
                <a:gd name="T9" fmla="*/ 86 h 94"/>
                <a:gd name="T10" fmla="*/ 34 w 134"/>
                <a:gd name="T11" fmla="*/ 82 h 94"/>
                <a:gd name="T12" fmla="*/ 34 w 134"/>
                <a:gd name="T13" fmla="*/ 78 h 94"/>
                <a:gd name="T14" fmla="*/ 34 w 134"/>
                <a:gd name="T15" fmla="*/ 76 h 94"/>
                <a:gd name="T16" fmla="*/ 26 w 134"/>
                <a:gd name="T17" fmla="*/ 76 h 94"/>
                <a:gd name="T18" fmla="*/ 24 w 134"/>
                <a:gd name="T19" fmla="*/ 76 h 94"/>
                <a:gd name="T20" fmla="*/ 20 w 134"/>
                <a:gd name="T21" fmla="*/ 72 h 94"/>
                <a:gd name="T22" fmla="*/ 20 w 134"/>
                <a:gd name="T23" fmla="*/ 72 h 94"/>
                <a:gd name="T24" fmla="*/ 16 w 134"/>
                <a:gd name="T25" fmla="*/ 68 h 94"/>
                <a:gd name="T26" fmla="*/ 16 w 134"/>
                <a:gd name="T27" fmla="*/ 64 h 94"/>
                <a:gd name="T28" fmla="*/ 8 w 134"/>
                <a:gd name="T29" fmla="*/ 52 h 94"/>
                <a:gd name="T30" fmla="*/ 4 w 134"/>
                <a:gd name="T31" fmla="*/ 50 h 94"/>
                <a:gd name="T32" fmla="*/ 4 w 134"/>
                <a:gd name="T33" fmla="*/ 46 h 94"/>
                <a:gd name="T34" fmla="*/ 8 w 134"/>
                <a:gd name="T35" fmla="*/ 42 h 94"/>
                <a:gd name="T36" fmla="*/ 12 w 134"/>
                <a:gd name="T37" fmla="*/ 42 h 94"/>
                <a:gd name="T38" fmla="*/ 16 w 134"/>
                <a:gd name="T39" fmla="*/ 34 h 94"/>
                <a:gd name="T40" fmla="*/ 20 w 134"/>
                <a:gd name="T41" fmla="*/ 30 h 94"/>
                <a:gd name="T42" fmla="*/ 24 w 134"/>
                <a:gd name="T43" fmla="*/ 24 h 94"/>
                <a:gd name="T44" fmla="*/ 26 w 134"/>
                <a:gd name="T45" fmla="*/ 20 h 94"/>
                <a:gd name="T46" fmla="*/ 26 w 134"/>
                <a:gd name="T47" fmla="*/ 16 h 94"/>
                <a:gd name="T48" fmla="*/ 34 w 134"/>
                <a:gd name="T49" fmla="*/ 12 h 94"/>
                <a:gd name="T50" fmla="*/ 42 w 134"/>
                <a:gd name="T51" fmla="*/ 8 h 94"/>
                <a:gd name="T52" fmla="*/ 42 w 134"/>
                <a:gd name="T53" fmla="*/ 8 h 94"/>
                <a:gd name="T54" fmla="*/ 52 w 134"/>
                <a:gd name="T55" fmla="*/ 8 h 94"/>
                <a:gd name="T56" fmla="*/ 60 w 134"/>
                <a:gd name="T57" fmla="*/ 8 h 94"/>
                <a:gd name="T58" fmla="*/ 64 w 134"/>
                <a:gd name="T59" fmla="*/ 12 h 94"/>
                <a:gd name="T60" fmla="*/ 68 w 134"/>
                <a:gd name="T61" fmla="*/ 12 h 94"/>
                <a:gd name="T62" fmla="*/ 72 w 134"/>
                <a:gd name="T63" fmla="*/ 8 h 94"/>
                <a:gd name="T64" fmla="*/ 80 w 134"/>
                <a:gd name="T65" fmla="*/ 8 h 94"/>
                <a:gd name="T66" fmla="*/ 86 w 134"/>
                <a:gd name="T67" fmla="*/ 4 h 94"/>
                <a:gd name="T68" fmla="*/ 94 w 134"/>
                <a:gd name="T69" fmla="*/ 4 h 94"/>
                <a:gd name="T70" fmla="*/ 102 w 134"/>
                <a:gd name="T71" fmla="*/ 16 h 94"/>
                <a:gd name="T72" fmla="*/ 106 w 134"/>
                <a:gd name="T73" fmla="*/ 24 h 94"/>
                <a:gd name="T74" fmla="*/ 112 w 134"/>
                <a:gd name="T75" fmla="*/ 30 h 94"/>
                <a:gd name="T76" fmla="*/ 112 w 134"/>
                <a:gd name="T77" fmla="*/ 38 h 94"/>
                <a:gd name="T78" fmla="*/ 112 w 134"/>
                <a:gd name="T79" fmla="*/ 52 h 94"/>
                <a:gd name="T80" fmla="*/ 112 w 134"/>
                <a:gd name="T81" fmla="*/ 60 h 94"/>
                <a:gd name="T82" fmla="*/ 120 w 134"/>
                <a:gd name="T83" fmla="*/ 64 h 94"/>
                <a:gd name="T84" fmla="*/ 130 w 134"/>
                <a:gd name="T85" fmla="*/ 60 h 94"/>
                <a:gd name="T86" fmla="*/ 130 w 134"/>
                <a:gd name="T87" fmla="*/ 64 h 94"/>
                <a:gd name="T88" fmla="*/ 126 w 134"/>
                <a:gd name="T89" fmla="*/ 72 h 94"/>
                <a:gd name="T90" fmla="*/ 122 w 134"/>
                <a:gd name="T91" fmla="*/ 68 h 94"/>
                <a:gd name="T92" fmla="*/ 122 w 134"/>
                <a:gd name="T93" fmla="*/ 72 h 94"/>
                <a:gd name="T94" fmla="*/ 122 w 134"/>
                <a:gd name="T95" fmla="*/ 76 h 94"/>
                <a:gd name="T96" fmla="*/ 122 w 134"/>
                <a:gd name="T97" fmla="*/ 76 h 94"/>
                <a:gd name="T98" fmla="*/ 122 w 134"/>
                <a:gd name="T99" fmla="*/ 78 h 94"/>
                <a:gd name="T100" fmla="*/ 120 w 134"/>
                <a:gd name="T101" fmla="*/ 86 h 94"/>
                <a:gd name="T102" fmla="*/ 116 w 134"/>
                <a:gd name="T103" fmla="*/ 94 h 94"/>
                <a:gd name="T104" fmla="*/ 108 w 134"/>
                <a:gd name="T105" fmla="*/ 90 h 94"/>
                <a:gd name="T106" fmla="*/ 106 w 134"/>
                <a:gd name="T107" fmla="*/ 86 h 94"/>
                <a:gd name="T108" fmla="*/ 98 w 134"/>
                <a:gd name="T109" fmla="*/ 86 h 94"/>
                <a:gd name="T110" fmla="*/ 94 w 134"/>
                <a:gd name="T111" fmla="*/ 86 h 94"/>
                <a:gd name="T112" fmla="*/ 86 w 134"/>
                <a:gd name="T113" fmla="*/ 86 h 94"/>
                <a:gd name="T114" fmla="*/ 80 w 134"/>
                <a:gd name="T115" fmla="*/ 94 h 94"/>
                <a:gd name="T116" fmla="*/ 72 w 134"/>
                <a:gd name="T117" fmla="*/ 94 h 94"/>
                <a:gd name="T118" fmla="*/ 60 w 134"/>
                <a:gd name="T119" fmla="*/ 94 h 94"/>
                <a:gd name="T120" fmla="*/ 56 w 134"/>
                <a:gd name="T121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4" h="94">
                  <a:moveTo>
                    <a:pt x="56" y="94"/>
                  </a:move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0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26" y="76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50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4" y="0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102" y="12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2" y="20"/>
                  </a:lnTo>
                  <a:lnTo>
                    <a:pt x="106" y="20"/>
                  </a:lnTo>
                  <a:lnTo>
                    <a:pt x="106" y="24"/>
                  </a:lnTo>
                  <a:lnTo>
                    <a:pt x="106" y="24"/>
                  </a:lnTo>
                  <a:lnTo>
                    <a:pt x="106" y="24"/>
                  </a:lnTo>
                  <a:lnTo>
                    <a:pt x="106" y="24"/>
                  </a:lnTo>
                  <a:lnTo>
                    <a:pt x="106" y="24"/>
                  </a:lnTo>
                  <a:lnTo>
                    <a:pt x="106" y="24"/>
                  </a:lnTo>
                  <a:lnTo>
                    <a:pt x="108" y="26"/>
                  </a:lnTo>
                  <a:lnTo>
                    <a:pt x="108" y="26"/>
                  </a:lnTo>
                  <a:lnTo>
                    <a:pt x="108" y="26"/>
                  </a:lnTo>
                  <a:lnTo>
                    <a:pt x="108" y="26"/>
                  </a:lnTo>
                  <a:lnTo>
                    <a:pt x="112" y="26"/>
                  </a:lnTo>
                  <a:lnTo>
                    <a:pt x="112" y="30"/>
                  </a:lnTo>
                  <a:lnTo>
                    <a:pt x="112" y="30"/>
                  </a:lnTo>
                  <a:lnTo>
                    <a:pt x="112" y="30"/>
                  </a:lnTo>
                  <a:lnTo>
                    <a:pt x="112" y="30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12" y="38"/>
                  </a:lnTo>
                  <a:lnTo>
                    <a:pt x="112" y="42"/>
                  </a:lnTo>
                  <a:lnTo>
                    <a:pt x="112" y="46"/>
                  </a:lnTo>
                  <a:lnTo>
                    <a:pt x="112" y="46"/>
                  </a:lnTo>
                  <a:lnTo>
                    <a:pt x="112" y="46"/>
                  </a:lnTo>
                  <a:lnTo>
                    <a:pt x="112" y="50"/>
                  </a:lnTo>
                  <a:lnTo>
                    <a:pt x="112" y="50"/>
                  </a:lnTo>
                  <a:lnTo>
                    <a:pt x="112" y="50"/>
                  </a:lnTo>
                  <a:lnTo>
                    <a:pt x="112" y="52"/>
                  </a:lnTo>
                  <a:lnTo>
                    <a:pt x="112" y="52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0"/>
                  </a:lnTo>
                  <a:lnTo>
                    <a:pt x="122" y="60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30" y="60"/>
                  </a:lnTo>
                  <a:lnTo>
                    <a:pt x="130" y="60"/>
                  </a:lnTo>
                  <a:lnTo>
                    <a:pt x="130" y="60"/>
                  </a:lnTo>
                  <a:lnTo>
                    <a:pt x="130" y="60"/>
                  </a:lnTo>
                  <a:lnTo>
                    <a:pt x="130" y="60"/>
                  </a:lnTo>
                  <a:lnTo>
                    <a:pt x="134" y="60"/>
                  </a:lnTo>
                  <a:lnTo>
                    <a:pt x="134" y="60"/>
                  </a:lnTo>
                  <a:lnTo>
                    <a:pt x="134" y="64"/>
                  </a:lnTo>
                  <a:lnTo>
                    <a:pt x="134" y="64"/>
                  </a:lnTo>
                  <a:lnTo>
                    <a:pt x="130" y="64"/>
                  </a:lnTo>
                  <a:lnTo>
                    <a:pt x="130" y="64"/>
                  </a:lnTo>
                  <a:lnTo>
                    <a:pt x="134" y="64"/>
                  </a:lnTo>
                  <a:lnTo>
                    <a:pt x="130" y="68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6" y="72"/>
                  </a:lnTo>
                  <a:lnTo>
                    <a:pt x="126" y="72"/>
                  </a:lnTo>
                  <a:lnTo>
                    <a:pt x="126" y="72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22" y="68"/>
                  </a:lnTo>
                  <a:lnTo>
                    <a:pt x="122" y="68"/>
                  </a:lnTo>
                  <a:lnTo>
                    <a:pt x="122" y="68"/>
                  </a:lnTo>
                  <a:lnTo>
                    <a:pt x="122" y="68"/>
                  </a:lnTo>
                  <a:lnTo>
                    <a:pt x="122" y="68"/>
                  </a:lnTo>
                  <a:lnTo>
                    <a:pt x="122" y="68"/>
                  </a:lnTo>
                  <a:lnTo>
                    <a:pt x="122" y="68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8"/>
                  </a:lnTo>
                  <a:lnTo>
                    <a:pt x="120" y="78"/>
                  </a:lnTo>
                  <a:lnTo>
                    <a:pt x="122" y="76"/>
                  </a:lnTo>
                  <a:lnTo>
                    <a:pt x="122" y="76"/>
                  </a:lnTo>
                  <a:lnTo>
                    <a:pt x="122" y="78"/>
                  </a:lnTo>
                  <a:lnTo>
                    <a:pt x="120" y="78"/>
                  </a:lnTo>
                  <a:lnTo>
                    <a:pt x="120" y="78"/>
                  </a:lnTo>
                  <a:lnTo>
                    <a:pt x="120" y="78"/>
                  </a:lnTo>
                  <a:lnTo>
                    <a:pt x="120" y="78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20" y="86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16" y="90"/>
                  </a:lnTo>
                  <a:lnTo>
                    <a:pt x="116" y="94"/>
                  </a:lnTo>
                  <a:lnTo>
                    <a:pt x="116" y="94"/>
                  </a:lnTo>
                  <a:lnTo>
                    <a:pt x="116" y="94"/>
                  </a:lnTo>
                  <a:lnTo>
                    <a:pt x="116" y="94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2" y="90"/>
                  </a:lnTo>
                  <a:lnTo>
                    <a:pt x="108" y="90"/>
                  </a:lnTo>
                  <a:lnTo>
                    <a:pt x="108" y="90"/>
                  </a:lnTo>
                  <a:lnTo>
                    <a:pt x="108" y="90"/>
                  </a:lnTo>
                  <a:lnTo>
                    <a:pt x="108" y="90"/>
                  </a:lnTo>
                  <a:lnTo>
                    <a:pt x="108" y="86"/>
                  </a:lnTo>
                  <a:lnTo>
                    <a:pt x="108" y="90"/>
                  </a:lnTo>
                  <a:lnTo>
                    <a:pt x="108" y="90"/>
                  </a:lnTo>
                  <a:lnTo>
                    <a:pt x="108" y="90"/>
                  </a:lnTo>
                  <a:lnTo>
                    <a:pt x="106" y="90"/>
                  </a:lnTo>
                  <a:lnTo>
                    <a:pt x="106" y="90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2" y="86"/>
                  </a:lnTo>
                  <a:lnTo>
                    <a:pt x="102" y="86"/>
                  </a:lnTo>
                  <a:lnTo>
                    <a:pt x="102" y="86"/>
                  </a:lnTo>
                  <a:lnTo>
                    <a:pt x="102" y="86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0" y="86"/>
                  </a:lnTo>
                  <a:lnTo>
                    <a:pt x="86" y="86"/>
                  </a:lnTo>
                  <a:lnTo>
                    <a:pt x="86" y="86"/>
                  </a:lnTo>
                  <a:lnTo>
                    <a:pt x="86" y="86"/>
                  </a:lnTo>
                  <a:lnTo>
                    <a:pt x="86" y="86"/>
                  </a:lnTo>
                  <a:lnTo>
                    <a:pt x="86" y="86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2" y="90"/>
                  </a:lnTo>
                  <a:lnTo>
                    <a:pt x="80" y="90"/>
                  </a:lnTo>
                  <a:lnTo>
                    <a:pt x="80" y="94"/>
                  </a:lnTo>
                  <a:lnTo>
                    <a:pt x="80" y="94"/>
                  </a:lnTo>
                  <a:lnTo>
                    <a:pt x="80" y="94"/>
                  </a:lnTo>
                  <a:lnTo>
                    <a:pt x="80" y="94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68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close/>
                </a:path>
              </a:pathLst>
            </a:custGeom>
            <a:solidFill>
              <a:srgbClr val="FFFF00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79" name="Freeform 119">
              <a:extLst>
                <a:ext uri="{FF2B5EF4-FFF2-40B4-BE49-F238E27FC236}">
                  <a16:creationId xmlns:a16="http://schemas.microsoft.com/office/drawing/2014/main" id="{60102875-DEF3-5A17-EEDC-286C73259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9667" y="2598625"/>
              <a:ext cx="124686" cy="162154"/>
            </a:xfrm>
            <a:custGeom>
              <a:avLst/>
              <a:gdLst>
                <a:gd name="T0" fmla="*/ 0 w 64"/>
                <a:gd name="T1" fmla="*/ 68 h 86"/>
                <a:gd name="T2" fmla="*/ 0 w 64"/>
                <a:gd name="T3" fmla="*/ 64 h 86"/>
                <a:gd name="T4" fmla="*/ 4 w 64"/>
                <a:gd name="T5" fmla="*/ 60 h 86"/>
                <a:gd name="T6" fmla="*/ 8 w 64"/>
                <a:gd name="T7" fmla="*/ 58 h 86"/>
                <a:gd name="T8" fmla="*/ 8 w 64"/>
                <a:gd name="T9" fmla="*/ 54 h 86"/>
                <a:gd name="T10" fmla="*/ 12 w 64"/>
                <a:gd name="T11" fmla="*/ 54 h 86"/>
                <a:gd name="T12" fmla="*/ 16 w 64"/>
                <a:gd name="T13" fmla="*/ 50 h 86"/>
                <a:gd name="T14" fmla="*/ 12 w 64"/>
                <a:gd name="T15" fmla="*/ 46 h 86"/>
                <a:gd name="T16" fmla="*/ 16 w 64"/>
                <a:gd name="T17" fmla="*/ 46 h 86"/>
                <a:gd name="T18" fmla="*/ 12 w 64"/>
                <a:gd name="T19" fmla="*/ 38 h 86"/>
                <a:gd name="T20" fmla="*/ 12 w 64"/>
                <a:gd name="T21" fmla="*/ 30 h 86"/>
                <a:gd name="T22" fmla="*/ 12 w 64"/>
                <a:gd name="T23" fmla="*/ 28 h 86"/>
                <a:gd name="T24" fmla="*/ 8 w 64"/>
                <a:gd name="T25" fmla="*/ 24 h 86"/>
                <a:gd name="T26" fmla="*/ 12 w 64"/>
                <a:gd name="T27" fmla="*/ 20 h 86"/>
                <a:gd name="T28" fmla="*/ 12 w 64"/>
                <a:gd name="T29" fmla="*/ 20 h 86"/>
                <a:gd name="T30" fmla="*/ 12 w 64"/>
                <a:gd name="T31" fmla="*/ 16 h 86"/>
                <a:gd name="T32" fmla="*/ 8 w 64"/>
                <a:gd name="T33" fmla="*/ 12 h 86"/>
                <a:gd name="T34" fmla="*/ 8 w 64"/>
                <a:gd name="T35" fmla="*/ 12 h 86"/>
                <a:gd name="T36" fmla="*/ 4 w 64"/>
                <a:gd name="T37" fmla="*/ 4 h 86"/>
                <a:gd name="T38" fmla="*/ 12 w 64"/>
                <a:gd name="T39" fmla="*/ 4 h 86"/>
                <a:gd name="T40" fmla="*/ 16 w 64"/>
                <a:gd name="T41" fmla="*/ 0 h 86"/>
                <a:gd name="T42" fmla="*/ 24 w 64"/>
                <a:gd name="T43" fmla="*/ 0 h 86"/>
                <a:gd name="T44" fmla="*/ 26 w 64"/>
                <a:gd name="T45" fmla="*/ 4 h 86"/>
                <a:gd name="T46" fmla="*/ 34 w 64"/>
                <a:gd name="T47" fmla="*/ 8 h 86"/>
                <a:gd name="T48" fmla="*/ 34 w 64"/>
                <a:gd name="T49" fmla="*/ 12 h 86"/>
                <a:gd name="T50" fmla="*/ 42 w 64"/>
                <a:gd name="T51" fmla="*/ 20 h 86"/>
                <a:gd name="T52" fmla="*/ 42 w 64"/>
                <a:gd name="T53" fmla="*/ 24 h 86"/>
                <a:gd name="T54" fmla="*/ 46 w 64"/>
                <a:gd name="T55" fmla="*/ 28 h 86"/>
                <a:gd name="T56" fmla="*/ 42 w 64"/>
                <a:gd name="T57" fmla="*/ 28 h 86"/>
                <a:gd name="T58" fmla="*/ 46 w 64"/>
                <a:gd name="T59" fmla="*/ 28 h 86"/>
                <a:gd name="T60" fmla="*/ 50 w 64"/>
                <a:gd name="T61" fmla="*/ 30 h 86"/>
                <a:gd name="T62" fmla="*/ 52 w 64"/>
                <a:gd name="T63" fmla="*/ 34 h 86"/>
                <a:gd name="T64" fmla="*/ 56 w 64"/>
                <a:gd name="T65" fmla="*/ 30 h 86"/>
                <a:gd name="T66" fmla="*/ 60 w 64"/>
                <a:gd name="T67" fmla="*/ 30 h 86"/>
                <a:gd name="T68" fmla="*/ 60 w 64"/>
                <a:gd name="T69" fmla="*/ 34 h 86"/>
                <a:gd name="T70" fmla="*/ 56 w 64"/>
                <a:gd name="T71" fmla="*/ 34 h 86"/>
                <a:gd name="T72" fmla="*/ 60 w 64"/>
                <a:gd name="T73" fmla="*/ 38 h 86"/>
                <a:gd name="T74" fmla="*/ 60 w 64"/>
                <a:gd name="T75" fmla="*/ 42 h 86"/>
                <a:gd name="T76" fmla="*/ 60 w 64"/>
                <a:gd name="T77" fmla="*/ 54 h 86"/>
                <a:gd name="T78" fmla="*/ 64 w 64"/>
                <a:gd name="T79" fmla="*/ 58 h 86"/>
                <a:gd name="T80" fmla="*/ 60 w 64"/>
                <a:gd name="T81" fmla="*/ 64 h 86"/>
                <a:gd name="T82" fmla="*/ 56 w 64"/>
                <a:gd name="T83" fmla="*/ 72 h 86"/>
                <a:gd name="T84" fmla="*/ 56 w 64"/>
                <a:gd name="T85" fmla="*/ 76 h 86"/>
                <a:gd name="T86" fmla="*/ 52 w 64"/>
                <a:gd name="T87" fmla="*/ 76 h 86"/>
                <a:gd name="T88" fmla="*/ 46 w 64"/>
                <a:gd name="T89" fmla="*/ 78 h 86"/>
                <a:gd name="T90" fmla="*/ 42 w 64"/>
                <a:gd name="T91" fmla="*/ 78 h 86"/>
                <a:gd name="T92" fmla="*/ 34 w 64"/>
                <a:gd name="T93" fmla="*/ 82 h 86"/>
                <a:gd name="T94" fmla="*/ 30 w 64"/>
                <a:gd name="T95" fmla="*/ 86 h 86"/>
                <a:gd name="T96" fmla="*/ 30 w 64"/>
                <a:gd name="T97" fmla="*/ 78 h 86"/>
                <a:gd name="T98" fmla="*/ 26 w 64"/>
                <a:gd name="T99" fmla="*/ 76 h 86"/>
                <a:gd name="T100" fmla="*/ 20 w 64"/>
                <a:gd name="T101" fmla="*/ 76 h 86"/>
                <a:gd name="T102" fmla="*/ 20 w 64"/>
                <a:gd name="T103" fmla="*/ 72 h 86"/>
                <a:gd name="T104" fmla="*/ 12 w 64"/>
                <a:gd name="T105" fmla="*/ 78 h 86"/>
                <a:gd name="T106" fmla="*/ 12 w 64"/>
                <a:gd name="T107" fmla="*/ 82 h 86"/>
                <a:gd name="T108" fmla="*/ 12 w 64"/>
                <a:gd name="T109" fmla="*/ 82 h 86"/>
                <a:gd name="T110" fmla="*/ 8 w 64"/>
                <a:gd name="T111" fmla="*/ 78 h 86"/>
                <a:gd name="T112" fmla="*/ 4 w 64"/>
                <a:gd name="T113" fmla="*/ 76 h 86"/>
                <a:gd name="T114" fmla="*/ 4 w 64"/>
                <a:gd name="T115" fmla="*/ 76 h 86"/>
                <a:gd name="T116" fmla="*/ 0 w 64"/>
                <a:gd name="T117" fmla="*/ 7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" h="86">
                  <a:moveTo>
                    <a:pt x="0" y="72"/>
                  </a:move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6" y="24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6" y="42"/>
                  </a:lnTo>
                  <a:lnTo>
                    <a:pt x="56" y="46"/>
                  </a:lnTo>
                  <a:lnTo>
                    <a:pt x="56" y="50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4" y="58"/>
                  </a:lnTo>
                  <a:lnTo>
                    <a:pt x="64" y="58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46" y="78"/>
                  </a:lnTo>
                  <a:lnTo>
                    <a:pt x="46" y="78"/>
                  </a:lnTo>
                  <a:lnTo>
                    <a:pt x="46" y="78"/>
                  </a:lnTo>
                  <a:lnTo>
                    <a:pt x="46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4" y="78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0" y="82"/>
                  </a:lnTo>
                  <a:lnTo>
                    <a:pt x="30" y="82"/>
                  </a:lnTo>
                  <a:lnTo>
                    <a:pt x="30" y="82"/>
                  </a:lnTo>
                  <a:lnTo>
                    <a:pt x="30" y="82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6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82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6" y="86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8" y="76"/>
                  </a:lnTo>
                  <a:lnTo>
                    <a:pt x="4" y="78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80" name="Freeform 120">
              <a:extLst>
                <a:ext uri="{FF2B5EF4-FFF2-40B4-BE49-F238E27FC236}">
                  <a16:creationId xmlns:a16="http://schemas.microsoft.com/office/drawing/2014/main" id="{EC4CCF18-99EF-341B-BA0B-3027634066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6806" y="2466640"/>
              <a:ext cx="159754" cy="71649"/>
            </a:xfrm>
            <a:custGeom>
              <a:avLst/>
              <a:gdLst>
                <a:gd name="T0" fmla="*/ 30 w 82"/>
                <a:gd name="T1" fmla="*/ 30 h 38"/>
                <a:gd name="T2" fmla="*/ 26 w 82"/>
                <a:gd name="T3" fmla="*/ 34 h 38"/>
                <a:gd name="T4" fmla="*/ 30 w 82"/>
                <a:gd name="T5" fmla="*/ 38 h 38"/>
                <a:gd name="T6" fmla="*/ 26 w 82"/>
                <a:gd name="T7" fmla="*/ 38 h 38"/>
                <a:gd name="T8" fmla="*/ 22 w 82"/>
                <a:gd name="T9" fmla="*/ 38 h 38"/>
                <a:gd name="T10" fmla="*/ 22 w 82"/>
                <a:gd name="T11" fmla="*/ 38 h 38"/>
                <a:gd name="T12" fmla="*/ 20 w 82"/>
                <a:gd name="T13" fmla="*/ 38 h 38"/>
                <a:gd name="T14" fmla="*/ 16 w 82"/>
                <a:gd name="T15" fmla="*/ 38 h 38"/>
                <a:gd name="T16" fmla="*/ 8 w 82"/>
                <a:gd name="T17" fmla="*/ 34 h 38"/>
                <a:gd name="T18" fmla="*/ 8 w 82"/>
                <a:gd name="T19" fmla="*/ 34 h 38"/>
                <a:gd name="T20" fmla="*/ 4 w 82"/>
                <a:gd name="T21" fmla="*/ 34 h 38"/>
                <a:gd name="T22" fmla="*/ 4 w 82"/>
                <a:gd name="T23" fmla="*/ 30 h 38"/>
                <a:gd name="T24" fmla="*/ 0 w 82"/>
                <a:gd name="T25" fmla="*/ 26 h 38"/>
                <a:gd name="T26" fmla="*/ 0 w 82"/>
                <a:gd name="T27" fmla="*/ 22 h 38"/>
                <a:gd name="T28" fmla="*/ 0 w 82"/>
                <a:gd name="T29" fmla="*/ 18 h 38"/>
                <a:gd name="T30" fmla="*/ 4 w 82"/>
                <a:gd name="T31" fmla="*/ 14 h 38"/>
                <a:gd name="T32" fmla="*/ 8 w 82"/>
                <a:gd name="T33" fmla="*/ 14 h 38"/>
                <a:gd name="T34" fmla="*/ 12 w 82"/>
                <a:gd name="T35" fmla="*/ 14 h 38"/>
                <a:gd name="T36" fmla="*/ 16 w 82"/>
                <a:gd name="T37" fmla="*/ 12 h 38"/>
                <a:gd name="T38" fmla="*/ 20 w 82"/>
                <a:gd name="T39" fmla="*/ 8 h 38"/>
                <a:gd name="T40" fmla="*/ 20 w 82"/>
                <a:gd name="T41" fmla="*/ 8 h 38"/>
                <a:gd name="T42" fmla="*/ 22 w 82"/>
                <a:gd name="T43" fmla="*/ 4 h 38"/>
                <a:gd name="T44" fmla="*/ 30 w 82"/>
                <a:gd name="T45" fmla="*/ 0 h 38"/>
                <a:gd name="T46" fmla="*/ 30 w 82"/>
                <a:gd name="T47" fmla="*/ 4 h 38"/>
                <a:gd name="T48" fmla="*/ 34 w 82"/>
                <a:gd name="T49" fmla="*/ 0 h 38"/>
                <a:gd name="T50" fmla="*/ 38 w 82"/>
                <a:gd name="T51" fmla="*/ 0 h 38"/>
                <a:gd name="T52" fmla="*/ 42 w 82"/>
                <a:gd name="T53" fmla="*/ 4 h 38"/>
                <a:gd name="T54" fmla="*/ 42 w 82"/>
                <a:gd name="T55" fmla="*/ 8 h 38"/>
                <a:gd name="T56" fmla="*/ 42 w 82"/>
                <a:gd name="T57" fmla="*/ 8 h 38"/>
                <a:gd name="T58" fmla="*/ 46 w 82"/>
                <a:gd name="T59" fmla="*/ 8 h 38"/>
                <a:gd name="T60" fmla="*/ 46 w 82"/>
                <a:gd name="T61" fmla="*/ 8 h 38"/>
                <a:gd name="T62" fmla="*/ 48 w 82"/>
                <a:gd name="T63" fmla="*/ 4 h 38"/>
                <a:gd name="T64" fmla="*/ 56 w 82"/>
                <a:gd name="T65" fmla="*/ 4 h 38"/>
                <a:gd name="T66" fmla="*/ 60 w 82"/>
                <a:gd name="T67" fmla="*/ 8 h 38"/>
                <a:gd name="T68" fmla="*/ 64 w 82"/>
                <a:gd name="T69" fmla="*/ 4 h 38"/>
                <a:gd name="T70" fmla="*/ 68 w 82"/>
                <a:gd name="T71" fmla="*/ 4 h 38"/>
                <a:gd name="T72" fmla="*/ 72 w 82"/>
                <a:gd name="T73" fmla="*/ 4 h 38"/>
                <a:gd name="T74" fmla="*/ 74 w 82"/>
                <a:gd name="T75" fmla="*/ 8 h 38"/>
                <a:gd name="T76" fmla="*/ 82 w 82"/>
                <a:gd name="T77" fmla="*/ 12 h 38"/>
                <a:gd name="T78" fmla="*/ 78 w 82"/>
                <a:gd name="T79" fmla="*/ 14 h 38"/>
                <a:gd name="T80" fmla="*/ 74 w 82"/>
                <a:gd name="T81" fmla="*/ 22 h 38"/>
                <a:gd name="T82" fmla="*/ 74 w 82"/>
                <a:gd name="T83" fmla="*/ 26 h 38"/>
                <a:gd name="T84" fmla="*/ 72 w 82"/>
                <a:gd name="T85" fmla="*/ 26 h 38"/>
                <a:gd name="T86" fmla="*/ 68 w 82"/>
                <a:gd name="T87" fmla="*/ 26 h 38"/>
                <a:gd name="T88" fmla="*/ 64 w 82"/>
                <a:gd name="T89" fmla="*/ 22 h 38"/>
                <a:gd name="T90" fmla="*/ 60 w 82"/>
                <a:gd name="T91" fmla="*/ 22 h 38"/>
                <a:gd name="T92" fmla="*/ 56 w 82"/>
                <a:gd name="T93" fmla="*/ 22 h 38"/>
                <a:gd name="T94" fmla="*/ 52 w 82"/>
                <a:gd name="T95" fmla="*/ 22 h 38"/>
                <a:gd name="T96" fmla="*/ 48 w 82"/>
                <a:gd name="T97" fmla="*/ 26 h 38"/>
                <a:gd name="T98" fmla="*/ 48 w 82"/>
                <a:gd name="T99" fmla="*/ 26 h 38"/>
                <a:gd name="T100" fmla="*/ 46 w 82"/>
                <a:gd name="T101" fmla="*/ 30 h 38"/>
                <a:gd name="T102" fmla="*/ 46 w 82"/>
                <a:gd name="T103" fmla="*/ 30 h 38"/>
                <a:gd name="T104" fmla="*/ 42 w 82"/>
                <a:gd name="T105" fmla="*/ 30 h 38"/>
                <a:gd name="T106" fmla="*/ 38 w 82"/>
                <a:gd name="T107" fmla="*/ 30 h 38"/>
                <a:gd name="T108" fmla="*/ 30 w 82"/>
                <a:gd name="T109" fmla="*/ 3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2" h="38">
                  <a:moveTo>
                    <a:pt x="30" y="30"/>
                  </a:move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2" y="38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0" y="3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8"/>
                  </a:lnTo>
                  <a:lnTo>
                    <a:pt x="74" y="18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4" y="26"/>
                  </a:lnTo>
                  <a:lnTo>
                    <a:pt x="74" y="26"/>
                  </a:lnTo>
                  <a:lnTo>
                    <a:pt x="74" y="26"/>
                  </a:lnTo>
                  <a:lnTo>
                    <a:pt x="74" y="26"/>
                  </a:lnTo>
                  <a:lnTo>
                    <a:pt x="74" y="26"/>
                  </a:lnTo>
                  <a:lnTo>
                    <a:pt x="72" y="26"/>
                  </a:lnTo>
                  <a:lnTo>
                    <a:pt x="72" y="26"/>
                  </a:lnTo>
                  <a:lnTo>
                    <a:pt x="72" y="26"/>
                  </a:lnTo>
                  <a:lnTo>
                    <a:pt x="72" y="26"/>
                  </a:lnTo>
                  <a:lnTo>
                    <a:pt x="72" y="26"/>
                  </a:lnTo>
                  <a:lnTo>
                    <a:pt x="68" y="26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81" name="Freeform 121">
              <a:extLst>
                <a:ext uri="{FF2B5EF4-FFF2-40B4-BE49-F238E27FC236}">
                  <a16:creationId xmlns:a16="http://schemas.microsoft.com/office/drawing/2014/main" id="{2558C5A8-66CF-8FE9-DD06-42082C8655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3291" y="2572228"/>
              <a:ext cx="85722" cy="56565"/>
            </a:xfrm>
            <a:custGeom>
              <a:avLst/>
              <a:gdLst>
                <a:gd name="T0" fmla="*/ 26 w 44"/>
                <a:gd name="T1" fmla="*/ 26 h 30"/>
                <a:gd name="T2" fmla="*/ 26 w 44"/>
                <a:gd name="T3" fmla="*/ 30 h 30"/>
                <a:gd name="T4" fmla="*/ 22 w 44"/>
                <a:gd name="T5" fmla="*/ 26 h 30"/>
                <a:gd name="T6" fmla="*/ 18 w 44"/>
                <a:gd name="T7" fmla="*/ 26 h 30"/>
                <a:gd name="T8" fmla="*/ 14 w 44"/>
                <a:gd name="T9" fmla="*/ 22 h 30"/>
                <a:gd name="T10" fmla="*/ 14 w 44"/>
                <a:gd name="T11" fmla="*/ 26 h 30"/>
                <a:gd name="T12" fmla="*/ 12 w 44"/>
                <a:gd name="T13" fmla="*/ 30 h 30"/>
                <a:gd name="T14" fmla="*/ 8 w 44"/>
                <a:gd name="T15" fmla="*/ 30 h 30"/>
                <a:gd name="T16" fmla="*/ 4 w 44"/>
                <a:gd name="T17" fmla="*/ 30 h 30"/>
                <a:gd name="T18" fmla="*/ 4 w 44"/>
                <a:gd name="T19" fmla="*/ 26 h 30"/>
                <a:gd name="T20" fmla="*/ 4 w 44"/>
                <a:gd name="T21" fmla="*/ 26 h 30"/>
                <a:gd name="T22" fmla="*/ 8 w 44"/>
                <a:gd name="T23" fmla="*/ 26 h 30"/>
                <a:gd name="T24" fmla="*/ 4 w 44"/>
                <a:gd name="T25" fmla="*/ 22 h 30"/>
                <a:gd name="T26" fmla="*/ 4 w 44"/>
                <a:gd name="T27" fmla="*/ 20 h 30"/>
                <a:gd name="T28" fmla="*/ 4 w 44"/>
                <a:gd name="T29" fmla="*/ 20 h 30"/>
                <a:gd name="T30" fmla="*/ 0 w 44"/>
                <a:gd name="T31" fmla="*/ 20 h 30"/>
                <a:gd name="T32" fmla="*/ 0 w 44"/>
                <a:gd name="T33" fmla="*/ 20 h 30"/>
                <a:gd name="T34" fmla="*/ 0 w 44"/>
                <a:gd name="T35" fmla="*/ 16 h 30"/>
                <a:gd name="T36" fmla="*/ 4 w 44"/>
                <a:gd name="T37" fmla="*/ 16 h 30"/>
                <a:gd name="T38" fmla="*/ 0 w 44"/>
                <a:gd name="T39" fmla="*/ 12 h 30"/>
                <a:gd name="T40" fmla="*/ 0 w 44"/>
                <a:gd name="T41" fmla="*/ 12 h 30"/>
                <a:gd name="T42" fmla="*/ 4 w 44"/>
                <a:gd name="T43" fmla="*/ 8 h 30"/>
                <a:gd name="T44" fmla="*/ 4 w 44"/>
                <a:gd name="T45" fmla="*/ 8 h 30"/>
                <a:gd name="T46" fmla="*/ 8 w 44"/>
                <a:gd name="T47" fmla="*/ 8 h 30"/>
                <a:gd name="T48" fmla="*/ 12 w 44"/>
                <a:gd name="T49" fmla="*/ 8 h 30"/>
                <a:gd name="T50" fmla="*/ 14 w 44"/>
                <a:gd name="T51" fmla="*/ 8 h 30"/>
                <a:gd name="T52" fmla="*/ 18 w 44"/>
                <a:gd name="T53" fmla="*/ 8 h 30"/>
                <a:gd name="T54" fmla="*/ 22 w 44"/>
                <a:gd name="T55" fmla="*/ 4 h 30"/>
                <a:gd name="T56" fmla="*/ 26 w 44"/>
                <a:gd name="T57" fmla="*/ 4 h 30"/>
                <a:gd name="T58" fmla="*/ 34 w 44"/>
                <a:gd name="T59" fmla="*/ 4 h 30"/>
                <a:gd name="T60" fmla="*/ 38 w 44"/>
                <a:gd name="T61" fmla="*/ 0 h 30"/>
                <a:gd name="T62" fmla="*/ 38 w 44"/>
                <a:gd name="T63" fmla="*/ 0 h 30"/>
                <a:gd name="T64" fmla="*/ 42 w 44"/>
                <a:gd name="T65" fmla="*/ 0 h 30"/>
                <a:gd name="T66" fmla="*/ 42 w 44"/>
                <a:gd name="T67" fmla="*/ 0 h 30"/>
                <a:gd name="T68" fmla="*/ 42 w 44"/>
                <a:gd name="T69" fmla="*/ 4 h 30"/>
                <a:gd name="T70" fmla="*/ 42 w 44"/>
                <a:gd name="T71" fmla="*/ 4 h 30"/>
                <a:gd name="T72" fmla="*/ 44 w 44"/>
                <a:gd name="T73" fmla="*/ 8 h 30"/>
                <a:gd name="T74" fmla="*/ 44 w 44"/>
                <a:gd name="T75" fmla="*/ 8 h 30"/>
                <a:gd name="T76" fmla="*/ 42 w 44"/>
                <a:gd name="T77" fmla="*/ 8 h 30"/>
                <a:gd name="T78" fmla="*/ 42 w 44"/>
                <a:gd name="T79" fmla="*/ 8 h 30"/>
                <a:gd name="T80" fmla="*/ 38 w 44"/>
                <a:gd name="T81" fmla="*/ 12 h 30"/>
                <a:gd name="T82" fmla="*/ 38 w 44"/>
                <a:gd name="T83" fmla="*/ 12 h 30"/>
                <a:gd name="T84" fmla="*/ 30 w 44"/>
                <a:gd name="T85" fmla="*/ 12 h 30"/>
                <a:gd name="T86" fmla="*/ 30 w 44"/>
                <a:gd name="T87" fmla="*/ 16 h 30"/>
                <a:gd name="T88" fmla="*/ 34 w 44"/>
                <a:gd name="T89" fmla="*/ 16 h 30"/>
                <a:gd name="T90" fmla="*/ 30 w 44"/>
                <a:gd name="T91" fmla="*/ 22 h 30"/>
                <a:gd name="T92" fmla="*/ 30 w 44"/>
                <a:gd name="T93" fmla="*/ 22 h 30"/>
                <a:gd name="T94" fmla="*/ 26 w 44"/>
                <a:gd name="T95" fmla="*/ 22 h 30"/>
                <a:gd name="T96" fmla="*/ 26 w 44"/>
                <a:gd name="T97" fmla="*/ 26 h 30"/>
                <a:gd name="T98" fmla="*/ 26 w 44"/>
                <a:gd name="T99" fmla="*/ 2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4" h="30">
                  <a:moveTo>
                    <a:pt x="26" y="26"/>
                  </a:moveTo>
                  <a:lnTo>
                    <a:pt x="26" y="26"/>
                  </a:lnTo>
                  <a:lnTo>
                    <a:pt x="26" y="26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2" y="30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2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8" y="4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8" y="8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0" y="12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4" y="16"/>
                  </a:lnTo>
                  <a:lnTo>
                    <a:pt x="34" y="20"/>
                  </a:lnTo>
                  <a:lnTo>
                    <a:pt x="34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82" name="Freeform 122">
              <a:extLst>
                <a:ext uri="{FF2B5EF4-FFF2-40B4-BE49-F238E27FC236}">
                  <a16:creationId xmlns:a16="http://schemas.microsoft.com/office/drawing/2014/main" id="{F59C4326-AA1F-C413-D601-1AC42B0536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1466" y="1033655"/>
              <a:ext cx="639016" cy="335620"/>
            </a:xfrm>
            <a:custGeom>
              <a:avLst/>
              <a:gdLst>
                <a:gd name="T0" fmla="*/ 154 w 328"/>
                <a:gd name="T1" fmla="*/ 4 h 178"/>
                <a:gd name="T2" fmla="*/ 198 w 328"/>
                <a:gd name="T3" fmla="*/ 10 h 178"/>
                <a:gd name="T4" fmla="*/ 112 w 328"/>
                <a:gd name="T5" fmla="*/ 14 h 178"/>
                <a:gd name="T6" fmla="*/ 328 w 328"/>
                <a:gd name="T7" fmla="*/ 14 h 178"/>
                <a:gd name="T8" fmla="*/ 250 w 328"/>
                <a:gd name="T9" fmla="*/ 18 h 178"/>
                <a:gd name="T10" fmla="*/ 8 w 328"/>
                <a:gd name="T11" fmla="*/ 30 h 178"/>
                <a:gd name="T12" fmla="*/ 136 w 328"/>
                <a:gd name="T13" fmla="*/ 40 h 178"/>
                <a:gd name="T14" fmla="*/ 142 w 328"/>
                <a:gd name="T15" fmla="*/ 52 h 178"/>
                <a:gd name="T16" fmla="*/ 268 w 328"/>
                <a:gd name="T17" fmla="*/ 56 h 178"/>
                <a:gd name="T18" fmla="*/ 228 w 328"/>
                <a:gd name="T19" fmla="*/ 64 h 178"/>
                <a:gd name="T20" fmla="*/ 228 w 328"/>
                <a:gd name="T21" fmla="*/ 64 h 178"/>
                <a:gd name="T22" fmla="*/ 120 w 328"/>
                <a:gd name="T23" fmla="*/ 174 h 178"/>
                <a:gd name="T24" fmla="*/ 222 w 328"/>
                <a:gd name="T25" fmla="*/ 34 h 178"/>
                <a:gd name="T26" fmla="*/ 196 w 328"/>
                <a:gd name="T27" fmla="*/ 44 h 178"/>
                <a:gd name="T28" fmla="*/ 162 w 328"/>
                <a:gd name="T29" fmla="*/ 40 h 178"/>
                <a:gd name="T30" fmla="*/ 138 w 328"/>
                <a:gd name="T31" fmla="*/ 34 h 178"/>
                <a:gd name="T32" fmla="*/ 166 w 328"/>
                <a:gd name="T33" fmla="*/ 30 h 178"/>
                <a:gd name="T34" fmla="*/ 128 w 328"/>
                <a:gd name="T35" fmla="*/ 30 h 178"/>
                <a:gd name="T36" fmla="*/ 108 w 328"/>
                <a:gd name="T37" fmla="*/ 18 h 178"/>
                <a:gd name="T38" fmla="*/ 124 w 328"/>
                <a:gd name="T39" fmla="*/ 10 h 178"/>
                <a:gd name="T40" fmla="*/ 142 w 328"/>
                <a:gd name="T41" fmla="*/ 10 h 178"/>
                <a:gd name="T42" fmla="*/ 168 w 328"/>
                <a:gd name="T43" fmla="*/ 22 h 178"/>
                <a:gd name="T44" fmla="*/ 184 w 328"/>
                <a:gd name="T45" fmla="*/ 10 h 178"/>
                <a:gd name="T46" fmla="*/ 196 w 328"/>
                <a:gd name="T47" fmla="*/ 14 h 178"/>
                <a:gd name="T48" fmla="*/ 218 w 328"/>
                <a:gd name="T49" fmla="*/ 18 h 178"/>
                <a:gd name="T50" fmla="*/ 50 w 328"/>
                <a:gd name="T51" fmla="*/ 96 h 178"/>
                <a:gd name="T52" fmla="*/ 82 w 328"/>
                <a:gd name="T53" fmla="*/ 92 h 178"/>
                <a:gd name="T54" fmla="*/ 82 w 328"/>
                <a:gd name="T55" fmla="*/ 86 h 178"/>
                <a:gd name="T56" fmla="*/ 68 w 328"/>
                <a:gd name="T57" fmla="*/ 82 h 178"/>
                <a:gd name="T58" fmla="*/ 52 w 328"/>
                <a:gd name="T59" fmla="*/ 78 h 178"/>
                <a:gd name="T60" fmla="*/ 76 w 328"/>
                <a:gd name="T61" fmla="*/ 70 h 178"/>
                <a:gd name="T62" fmla="*/ 82 w 328"/>
                <a:gd name="T63" fmla="*/ 66 h 178"/>
                <a:gd name="T64" fmla="*/ 68 w 328"/>
                <a:gd name="T65" fmla="*/ 66 h 178"/>
                <a:gd name="T66" fmla="*/ 56 w 328"/>
                <a:gd name="T67" fmla="*/ 66 h 178"/>
                <a:gd name="T68" fmla="*/ 38 w 328"/>
                <a:gd name="T69" fmla="*/ 74 h 178"/>
                <a:gd name="T70" fmla="*/ 26 w 328"/>
                <a:gd name="T71" fmla="*/ 64 h 178"/>
                <a:gd name="T72" fmla="*/ 26 w 328"/>
                <a:gd name="T73" fmla="*/ 52 h 178"/>
                <a:gd name="T74" fmla="*/ 12 w 328"/>
                <a:gd name="T75" fmla="*/ 48 h 178"/>
                <a:gd name="T76" fmla="*/ 12 w 328"/>
                <a:gd name="T77" fmla="*/ 30 h 178"/>
                <a:gd name="T78" fmla="*/ 22 w 328"/>
                <a:gd name="T79" fmla="*/ 26 h 178"/>
                <a:gd name="T80" fmla="*/ 38 w 328"/>
                <a:gd name="T81" fmla="*/ 30 h 178"/>
                <a:gd name="T82" fmla="*/ 42 w 328"/>
                <a:gd name="T83" fmla="*/ 36 h 178"/>
                <a:gd name="T84" fmla="*/ 64 w 328"/>
                <a:gd name="T85" fmla="*/ 34 h 178"/>
                <a:gd name="T86" fmla="*/ 82 w 328"/>
                <a:gd name="T87" fmla="*/ 52 h 178"/>
                <a:gd name="T88" fmla="*/ 80 w 328"/>
                <a:gd name="T89" fmla="*/ 26 h 178"/>
                <a:gd name="T90" fmla="*/ 108 w 328"/>
                <a:gd name="T91" fmla="*/ 30 h 178"/>
                <a:gd name="T92" fmla="*/ 120 w 328"/>
                <a:gd name="T93" fmla="*/ 40 h 178"/>
                <a:gd name="T94" fmla="*/ 154 w 328"/>
                <a:gd name="T95" fmla="*/ 56 h 178"/>
                <a:gd name="T96" fmla="*/ 128 w 328"/>
                <a:gd name="T97" fmla="*/ 64 h 178"/>
                <a:gd name="T98" fmla="*/ 112 w 328"/>
                <a:gd name="T99" fmla="*/ 86 h 178"/>
                <a:gd name="T100" fmla="*/ 90 w 328"/>
                <a:gd name="T101" fmla="*/ 110 h 178"/>
                <a:gd name="T102" fmla="*/ 76 w 328"/>
                <a:gd name="T103" fmla="*/ 110 h 178"/>
                <a:gd name="T104" fmla="*/ 64 w 328"/>
                <a:gd name="T105" fmla="*/ 104 h 178"/>
                <a:gd name="T106" fmla="*/ 8 w 328"/>
                <a:gd name="T107" fmla="*/ 64 h 178"/>
                <a:gd name="T108" fmla="*/ 22 w 328"/>
                <a:gd name="T109" fmla="*/ 70 h 178"/>
                <a:gd name="T110" fmla="*/ 166 w 328"/>
                <a:gd name="T111" fmla="*/ 64 h 178"/>
                <a:gd name="T112" fmla="*/ 146 w 328"/>
                <a:gd name="T113" fmla="*/ 74 h 178"/>
                <a:gd name="T114" fmla="*/ 168 w 328"/>
                <a:gd name="T115" fmla="*/ 92 h 178"/>
                <a:gd name="T116" fmla="*/ 154 w 328"/>
                <a:gd name="T117" fmla="*/ 86 h 178"/>
                <a:gd name="T118" fmla="*/ 176 w 328"/>
                <a:gd name="T119" fmla="*/ 74 h 178"/>
                <a:gd name="T120" fmla="*/ 192 w 328"/>
                <a:gd name="T121" fmla="*/ 82 h 178"/>
                <a:gd name="T122" fmla="*/ 180 w 328"/>
                <a:gd name="T123" fmla="*/ 96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8" h="178">
                  <a:moveTo>
                    <a:pt x="146" y="4"/>
                  </a:moveTo>
                  <a:lnTo>
                    <a:pt x="146" y="0"/>
                  </a:lnTo>
                  <a:lnTo>
                    <a:pt x="142" y="0"/>
                  </a:lnTo>
                  <a:lnTo>
                    <a:pt x="146" y="0"/>
                  </a:lnTo>
                  <a:lnTo>
                    <a:pt x="150" y="0"/>
                  </a:lnTo>
                  <a:lnTo>
                    <a:pt x="150" y="4"/>
                  </a:lnTo>
                  <a:lnTo>
                    <a:pt x="146" y="4"/>
                  </a:lnTo>
                  <a:lnTo>
                    <a:pt x="146" y="4"/>
                  </a:lnTo>
                  <a:lnTo>
                    <a:pt x="146" y="4"/>
                  </a:lnTo>
                  <a:close/>
                  <a:moveTo>
                    <a:pt x="150" y="4"/>
                  </a:moveTo>
                  <a:lnTo>
                    <a:pt x="154" y="0"/>
                  </a:lnTo>
                  <a:lnTo>
                    <a:pt x="154" y="4"/>
                  </a:lnTo>
                  <a:lnTo>
                    <a:pt x="150" y="4"/>
                  </a:lnTo>
                  <a:lnTo>
                    <a:pt x="150" y="4"/>
                  </a:lnTo>
                  <a:lnTo>
                    <a:pt x="150" y="4"/>
                  </a:lnTo>
                  <a:close/>
                  <a:moveTo>
                    <a:pt x="136" y="6"/>
                  </a:moveTo>
                  <a:lnTo>
                    <a:pt x="132" y="6"/>
                  </a:lnTo>
                  <a:lnTo>
                    <a:pt x="136" y="6"/>
                  </a:lnTo>
                  <a:lnTo>
                    <a:pt x="136" y="6"/>
                  </a:lnTo>
                  <a:lnTo>
                    <a:pt x="136" y="6"/>
                  </a:lnTo>
                  <a:close/>
                  <a:moveTo>
                    <a:pt x="196" y="10"/>
                  </a:moveTo>
                  <a:lnTo>
                    <a:pt x="196" y="6"/>
                  </a:lnTo>
                  <a:lnTo>
                    <a:pt x="196" y="10"/>
                  </a:lnTo>
                  <a:lnTo>
                    <a:pt x="198" y="10"/>
                  </a:lnTo>
                  <a:lnTo>
                    <a:pt x="196" y="10"/>
                  </a:lnTo>
                  <a:lnTo>
                    <a:pt x="196" y="10"/>
                  </a:lnTo>
                  <a:lnTo>
                    <a:pt x="196" y="10"/>
                  </a:lnTo>
                  <a:close/>
                  <a:moveTo>
                    <a:pt x="112" y="14"/>
                  </a:moveTo>
                  <a:lnTo>
                    <a:pt x="108" y="14"/>
                  </a:lnTo>
                  <a:lnTo>
                    <a:pt x="108" y="10"/>
                  </a:lnTo>
                  <a:lnTo>
                    <a:pt x="112" y="10"/>
                  </a:lnTo>
                  <a:lnTo>
                    <a:pt x="116" y="10"/>
                  </a:lnTo>
                  <a:lnTo>
                    <a:pt x="116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2" y="14"/>
                  </a:lnTo>
                  <a:close/>
                  <a:moveTo>
                    <a:pt x="298" y="18"/>
                  </a:moveTo>
                  <a:lnTo>
                    <a:pt x="296" y="18"/>
                  </a:lnTo>
                  <a:lnTo>
                    <a:pt x="298" y="18"/>
                  </a:lnTo>
                  <a:lnTo>
                    <a:pt x="302" y="18"/>
                  </a:lnTo>
                  <a:lnTo>
                    <a:pt x="306" y="18"/>
                  </a:lnTo>
                  <a:lnTo>
                    <a:pt x="310" y="18"/>
                  </a:lnTo>
                  <a:lnTo>
                    <a:pt x="314" y="18"/>
                  </a:lnTo>
                  <a:lnTo>
                    <a:pt x="318" y="18"/>
                  </a:lnTo>
                  <a:lnTo>
                    <a:pt x="318" y="14"/>
                  </a:lnTo>
                  <a:lnTo>
                    <a:pt x="322" y="14"/>
                  </a:lnTo>
                  <a:lnTo>
                    <a:pt x="326" y="14"/>
                  </a:lnTo>
                  <a:lnTo>
                    <a:pt x="328" y="14"/>
                  </a:lnTo>
                  <a:lnTo>
                    <a:pt x="326" y="14"/>
                  </a:lnTo>
                  <a:lnTo>
                    <a:pt x="326" y="18"/>
                  </a:lnTo>
                  <a:lnTo>
                    <a:pt x="322" y="18"/>
                  </a:lnTo>
                  <a:lnTo>
                    <a:pt x="318" y="18"/>
                  </a:lnTo>
                  <a:lnTo>
                    <a:pt x="314" y="18"/>
                  </a:lnTo>
                  <a:lnTo>
                    <a:pt x="310" y="18"/>
                  </a:lnTo>
                  <a:lnTo>
                    <a:pt x="306" y="18"/>
                  </a:lnTo>
                  <a:lnTo>
                    <a:pt x="298" y="18"/>
                  </a:lnTo>
                  <a:lnTo>
                    <a:pt x="298" y="18"/>
                  </a:lnTo>
                  <a:lnTo>
                    <a:pt x="298" y="18"/>
                  </a:lnTo>
                  <a:close/>
                  <a:moveTo>
                    <a:pt x="248" y="18"/>
                  </a:moveTo>
                  <a:lnTo>
                    <a:pt x="250" y="18"/>
                  </a:lnTo>
                  <a:lnTo>
                    <a:pt x="248" y="18"/>
                  </a:lnTo>
                  <a:lnTo>
                    <a:pt x="244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8" y="18"/>
                  </a:lnTo>
                  <a:close/>
                  <a:moveTo>
                    <a:pt x="8" y="30"/>
                  </a:moveTo>
                  <a:lnTo>
                    <a:pt x="4" y="30"/>
                  </a:lnTo>
                  <a:lnTo>
                    <a:pt x="0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close/>
                  <a:moveTo>
                    <a:pt x="4" y="34"/>
                  </a:moveTo>
                  <a:lnTo>
                    <a:pt x="4" y="30"/>
                  </a:lnTo>
                  <a:lnTo>
                    <a:pt x="8" y="30"/>
                  </a:lnTo>
                  <a:lnTo>
                    <a:pt x="8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close/>
                  <a:moveTo>
                    <a:pt x="136" y="40"/>
                  </a:moveTo>
                  <a:lnTo>
                    <a:pt x="132" y="40"/>
                  </a:lnTo>
                  <a:lnTo>
                    <a:pt x="128" y="40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38" y="40"/>
                  </a:lnTo>
                  <a:lnTo>
                    <a:pt x="136" y="40"/>
                  </a:lnTo>
                  <a:lnTo>
                    <a:pt x="136" y="40"/>
                  </a:lnTo>
                  <a:lnTo>
                    <a:pt x="136" y="40"/>
                  </a:lnTo>
                  <a:close/>
                  <a:moveTo>
                    <a:pt x="138" y="52"/>
                  </a:moveTo>
                  <a:lnTo>
                    <a:pt x="136" y="52"/>
                  </a:lnTo>
                  <a:lnTo>
                    <a:pt x="136" y="48"/>
                  </a:lnTo>
                  <a:lnTo>
                    <a:pt x="138" y="48"/>
                  </a:lnTo>
                  <a:lnTo>
                    <a:pt x="142" y="48"/>
                  </a:lnTo>
                  <a:lnTo>
                    <a:pt x="146" y="48"/>
                  </a:lnTo>
                  <a:lnTo>
                    <a:pt x="146" y="52"/>
                  </a:lnTo>
                  <a:lnTo>
                    <a:pt x="142" y="52"/>
                  </a:lnTo>
                  <a:lnTo>
                    <a:pt x="138" y="52"/>
                  </a:lnTo>
                  <a:lnTo>
                    <a:pt x="138" y="52"/>
                  </a:lnTo>
                  <a:lnTo>
                    <a:pt x="138" y="52"/>
                  </a:lnTo>
                  <a:close/>
                  <a:moveTo>
                    <a:pt x="250" y="56"/>
                  </a:moveTo>
                  <a:lnTo>
                    <a:pt x="248" y="56"/>
                  </a:lnTo>
                  <a:lnTo>
                    <a:pt x="250" y="52"/>
                  </a:lnTo>
                  <a:lnTo>
                    <a:pt x="254" y="52"/>
                  </a:lnTo>
                  <a:lnTo>
                    <a:pt x="258" y="52"/>
                  </a:lnTo>
                  <a:lnTo>
                    <a:pt x="262" y="52"/>
                  </a:lnTo>
                  <a:lnTo>
                    <a:pt x="262" y="56"/>
                  </a:lnTo>
                  <a:lnTo>
                    <a:pt x="266" y="56"/>
                  </a:lnTo>
                  <a:lnTo>
                    <a:pt x="268" y="56"/>
                  </a:lnTo>
                  <a:lnTo>
                    <a:pt x="268" y="52"/>
                  </a:lnTo>
                  <a:lnTo>
                    <a:pt x="272" y="52"/>
                  </a:lnTo>
                  <a:lnTo>
                    <a:pt x="272" y="56"/>
                  </a:lnTo>
                  <a:lnTo>
                    <a:pt x="268" y="56"/>
                  </a:lnTo>
                  <a:lnTo>
                    <a:pt x="266" y="56"/>
                  </a:lnTo>
                  <a:lnTo>
                    <a:pt x="262" y="56"/>
                  </a:lnTo>
                  <a:lnTo>
                    <a:pt x="258" y="56"/>
                  </a:lnTo>
                  <a:lnTo>
                    <a:pt x="254" y="56"/>
                  </a:lnTo>
                  <a:lnTo>
                    <a:pt x="250" y="56"/>
                  </a:lnTo>
                  <a:lnTo>
                    <a:pt x="250" y="56"/>
                  </a:lnTo>
                  <a:lnTo>
                    <a:pt x="250" y="56"/>
                  </a:lnTo>
                  <a:close/>
                  <a:moveTo>
                    <a:pt x="228" y="64"/>
                  </a:moveTo>
                  <a:lnTo>
                    <a:pt x="228" y="60"/>
                  </a:lnTo>
                  <a:lnTo>
                    <a:pt x="224" y="60"/>
                  </a:lnTo>
                  <a:lnTo>
                    <a:pt x="224" y="56"/>
                  </a:lnTo>
                  <a:lnTo>
                    <a:pt x="228" y="56"/>
                  </a:lnTo>
                  <a:lnTo>
                    <a:pt x="228" y="60"/>
                  </a:lnTo>
                  <a:lnTo>
                    <a:pt x="232" y="60"/>
                  </a:lnTo>
                  <a:lnTo>
                    <a:pt x="236" y="60"/>
                  </a:lnTo>
                  <a:lnTo>
                    <a:pt x="232" y="60"/>
                  </a:lnTo>
                  <a:lnTo>
                    <a:pt x="232" y="64"/>
                  </a:lnTo>
                  <a:lnTo>
                    <a:pt x="228" y="64"/>
                  </a:lnTo>
                  <a:lnTo>
                    <a:pt x="228" y="64"/>
                  </a:lnTo>
                  <a:lnTo>
                    <a:pt x="228" y="64"/>
                  </a:lnTo>
                  <a:close/>
                  <a:moveTo>
                    <a:pt x="206" y="122"/>
                  </a:moveTo>
                  <a:lnTo>
                    <a:pt x="206" y="118"/>
                  </a:lnTo>
                  <a:lnTo>
                    <a:pt x="210" y="118"/>
                  </a:lnTo>
                  <a:lnTo>
                    <a:pt x="210" y="114"/>
                  </a:lnTo>
                  <a:lnTo>
                    <a:pt x="214" y="114"/>
                  </a:lnTo>
                  <a:lnTo>
                    <a:pt x="210" y="118"/>
                  </a:lnTo>
                  <a:lnTo>
                    <a:pt x="206" y="122"/>
                  </a:lnTo>
                  <a:lnTo>
                    <a:pt x="206" y="122"/>
                  </a:lnTo>
                  <a:lnTo>
                    <a:pt x="206" y="122"/>
                  </a:lnTo>
                  <a:close/>
                  <a:moveTo>
                    <a:pt x="120" y="178"/>
                  </a:moveTo>
                  <a:lnTo>
                    <a:pt x="116" y="174"/>
                  </a:lnTo>
                  <a:lnTo>
                    <a:pt x="120" y="174"/>
                  </a:lnTo>
                  <a:lnTo>
                    <a:pt x="124" y="174"/>
                  </a:lnTo>
                  <a:lnTo>
                    <a:pt x="124" y="178"/>
                  </a:lnTo>
                  <a:lnTo>
                    <a:pt x="120" y="178"/>
                  </a:lnTo>
                  <a:lnTo>
                    <a:pt x="120" y="178"/>
                  </a:lnTo>
                  <a:lnTo>
                    <a:pt x="120" y="178"/>
                  </a:lnTo>
                  <a:close/>
                  <a:moveTo>
                    <a:pt x="236" y="22"/>
                  </a:moveTo>
                  <a:lnTo>
                    <a:pt x="236" y="26"/>
                  </a:lnTo>
                  <a:lnTo>
                    <a:pt x="232" y="26"/>
                  </a:lnTo>
                  <a:lnTo>
                    <a:pt x="232" y="30"/>
                  </a:lnTo>
                  <a:lnTo>
                    <a:pt x="228" y="30"/>
                  </a:lnTo>
                  <a:lnTo>
                    <a:pt x="224" y="30"/>
                  </a:lnTo>
                  <a:lnTo>
                    <a:pt x="222" y="34"/>
                  </a:lnTo>
                  <a:lnTo>
                    <a:pt x="218" y="34"/>
                  </a:lnTo>
                  <a:lnTo>
                    <a:pt x="218" y="36"/>
                  </a:lnTo>
                  <a:lnTo>
                    <a:pt x="222" y="36"/>
                  </a:lnTo>
                  <a:lnTo>
                    <a:pt x="218" y="36"/>
                  </a:lnTo>
                  <a:lnTo>
                    <a:pt x="218" y="40"/>
                  </a:lnTo>
                  <a:lnTo>
                    <a:pt x="214" y="40"/>
                  </a:lnTo>
                  <a:lnTo>
                    <a:pt x="210" y="40"/>
                  </a:lnTo>
                  <a:lnTo>
                    <a:pt x="206" y="40"/>
                  </a:lnTo>
                  <a:lnTo>
                    <a:pt x="202" y="40"/>
                  </a:lnTo>
                  <a:lnTo>
                    <a:pt x="198" y="40"/>
                  </a:lnTo>
                  <a:lnTo>
                    <a:pt x="196" y="40"/>
                  </a:lnTo>
                  <a:lnTo>
                    <a:pt x="196" y="44"/>
                  </a:lnTo>
                  <a:lnTo>
                    <a:pt x="192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80" y="44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72" y="40"/>
                  </a:lnTo>
                  <a:lnTo>
                    <a:pt x="176" y="40"/>
                  </a:lnTo>
                  <a:lnTo>
                    <a:pt x="172" y="40"/>
                  </a:lnTo>
                  <a:lnTo>
                    <a:pt x="168" y="40"/>
                  </a:lnTo>
                  <a:lnTo>
                    <a:pt x="166" y="40"/>
                  </a:lnTo>
                  <a:lnTo>
                    <a:pt x="162" y="40"/>
                  </a:lnTo>
                  <a:lnTo>
                    <a:pt x="158" y="40"/>
                  </a:lnTo>
                  <a:lnTo>
                    <a:pt x="154" y="40"/>
                  </a:lnTo>
                  <a:lnTo>
                    <a:pt x="150" y="40"/>
                  </a:lnTo>
                  <a:lnTo>
                    <a:pt x="146" y="40"/>
                  </a:lnTo>
                  <a:lnTo>
                    <a:pt x="146" y="36"/>
                  </a:lnTo>
                  <a:lnTo>
                    <a:pt x="142" y="36"/>
                  </a:lnTo>
                  <a:lnTo>
                    <a:pt x="138" y="36"/>
                  </a:lnTo>
                  <a:lnTo>
                    <a:pt x="136" y="36"/>
                  </a:lnTo>
                  <a:lnTo>
                    <a:pt x="132" y="36"/>
                  </a:lnTo>
                  <a:lnTo>
                    <a:pt x="132" y="34"/>
                  </a:lnTo>
                  <a:lnTo>
                    <a:pt x="136" y="34"/>
                  </a:lnTo>
                  <a:lnTo>
                    <a:pt x="138" y="34"/>
                  </a:lnTo>
                  <a:lnTo>
                    <a:pt x="142" y="34"/>
                  </a:lnTo>
                  <a:lnTo>
                    <a:pt x="146" y="34"/>
                  </a:lnTo>
                  <a:lnTo>
                    <a:pt x="150" y="34"/>
                  </a:lnTo>
                  <a:lnTo>
                    <a:pt x="146" y="34"/>
                  </a:lnTo>
                  <a:lnTo>
                    <a:pt x="142" y="34"/>
                  </a:lnTo>
                  <a:lnTo>
                    <a:pt x="150" y="30"/>
                  </a:lnTo>
                  <a:lnTo>
                    <a:pt x="154" y="30"/>
                  </a:lnTo>
                  <a:lnTo>
                    <a:pt x="158" y="30"/>
                  </a:lnTo>
                  <a:lnTo>
                    <a:pt x="162" y="30"/>
                  </a:lnTo>
                  <a:lnTo>
                    <a:pt x="166" y="30"/>
                  </a:lnTo>
                  <a:lnTo>
                    <a:pt x="168" y="30"/>
                  </a:lnTo>
                  <a:lnTo>
                    <a:pt x="166" y="30"/>
                  </a:lnTo>
                  <a:lnTo>
                    <a:pt x="162" y="30"/>
                  </a:lnTo>
                  <a:lnTo>
                    <a:pt x="158" y="30"/>
                  </a:lnTo>
                  <a:lnTo>
                    <a:pt x="162" y="30"/>
                  </a:lnTo>
                  <a:lnTo>
                    <a:pt x="162" y="26"/>
                  </a:lnTo>
                  <a:lnTo>
                    <a:pt x="158" y="26"/>
                  </a:lnTo>
                  <a:lnTo>
                    <a:pt x="154" y="26"/>
                  </a:lnTo>
                  <a:lnTo>
                    <a:pt x="150" y="26"/>
                  </a:lnTo>
                  <a:lnTo>
                    <a:pt x="146" y="30"/>
                  </a:lnTo>
                  <a:lnTo>
                    <a:pt x="142" y="30"/>
                  </a:lnTo>
                  <a:lnTo>
                    <a:pt x="138" y="30"/>
                  </a:lnTo>
                  <a:lnTo>
                    <a:pt x="136" y="30"/>
                  </a:lnTo>
                  <a:lnTo>
                    <a:pt x="128" y="30"/>
                  </a:lnTo>
                  <a:lnTo>
                    <a:pt x="120" y="30"/>
                  </a:lnTo>
                  <a:lnTo>
                    <a:pt x="116" y="30"/>
                  </a:lnTo>
                  <a:lnTo>
                    <a:pt x="112" y="30"/>
                  </a:lnTo>
                  <a:lnTo>
                    <a:pt x="108" y="26"/>
                  </a:lnTo>
                  <a:lnTo>
                    <a:pt x="112" y="22"/>
                  </a:lnTo>
                  <a:lnTo>
                    <a:pt x="116" y="22"/>
                  </a:lnTo>
                  <a:lnTo>
                    <a:pt x="112" y="22"/>
                  </a:lnTo>
                  <a:lnTo>
                    <a:pt x="108" y="22"/>
                  </a:lnTo>
                  <a:lnTo>
                    <a:pt x="108" y="18"/>
                  </a:lnTo>
                  <a:lnTo>
                    <a:pt x="108" y="22"/>
                  </a:lnTo>
                  <a:lnTo>
                    <a:pt x="112" y="18"/>
                  </a:lnTo>
                  <a:lnTo>
                    <a:pt x="108" y="18"/>
                  </a:lnTo>
                  <a:lnTo>
                    <a:pt x="106" y="18"/>
                  </a:lnTo>
                  <a:lnTo>
                    <a:pt x="108" y="18"/>
                  </a:lnTo>
                  <a:lnTo>
                    <a:pt x="112" y="18"/>
                  </a:lnTo>
                  <a:lnTo>
                    <a:pt x="116" y="18"/>
                  </a:lnTo>
                  <a:lnTo>
                    <a:pt x="120" y="18"/>
                  </a:lnTo>
                  <a:lnTo>
                    <a:pt x="124" y="18"/>
                  </a:lnTo>
                  <a:lnTo>
                    <a:pt x="128" y="18"/>
                  </a:lnTo>
                  <a:lnTo>
                    <a:pt x="124" y="18"/>
                  </a:lnTo>
                  <a:lnTo>
                    <a:pt x="124" y="14"/>
                  </a:lnTo>
                  <a:lnTo>
                    <a:pt x="120" y="14"/>
                  </a:lnTo>
                  <a:lnTo>
                    <a:pt x="120" y="10"/>
                  </a:lnTo>
                  <a:lnTo>
                    <a:pt x="124" y="10"/>
                  </a:lnTo>
                  <a:lnTo>
                    <a:pt x="128" y="14"/>
                  </a:lnTo>
                  <a:lnTo>
                    <a:pt x="132" y="14"/>
                  </a:lnTo>
                  <a:lnTo>
                    <a:pt x="132" y="10"/>
                  </a:lnTo>
                  <a:lnTo>
                    <a:pt x="136" y="10"/>
                  </a:lnTo>
                  <a:lnTo>
                    <a:pt x="132" y="10"/>
                  </a:lnTo>
                  <a:lnTo>
                    <a:pt x="128" y="10"/>
                  </a:lnTo>
                  <a:lnTo>
                    <a:pt x="128" y="6"/>
                  </a:lnTo>
                  <a:lnTo>
                    <a:pt x="132" y="6"/>
                  </a:lnTo>
                  <a:lnTo>
                    <a:pt x="136" y="6"/>
                  </a:lnTo>
                  <a:lnTo>
                    <a:pt x="136" y="10"/>
                  </a:lnTo>
                  <a:lnTo>
                    <a:pt x="138" y="10"/>
                  </a:lnTo>
                  <a:lnTo>
                    <a:pt x="142" y="10"/>
                  </a:lnTo>
                  <a:lnTo>
                    <a:pt x="142" y="14"/>
                  </a:lnTo>
                  <a:lnTo>
                    <a:pt x="146" y="14"/>
                  </a:lnTo>
                  <a:lnTo>
                    <a:pt x="150" y="14"/>
                  </a:lnTo>
                  <a:lnTo>
                    <a:pt x="154" y="14"/>
                  </a:lnTo>
                  <a:lnTo>
                    <a:pt x="158" y="14"/>
                  </a:lnTo>
                  <a:lnTo>
                    <a:pt x="162" y="14"/>
                  </a:lnTo>
                  <a:lnTo>
                    <a:pt x="162" y="18"/>
                  </a:lnTo>
                  <a:lnTo>
                    <a:pt x="158" y="18"/>
                  </a:lnTo>
                  <a:lnTo>
                    <a:pt x="162" y="18"/>
                  </a:lnTo>
                  <a:lnTo>
                    <a:pt x="166" y="18"/>
                  </a:lnTo>
                  <a:lnTo>
                    <a:pt x="166" y="22"/>
                  </a:lnTo>
                  <a:lnTo>
                    <a:pt x="168" y="22"/>
                  </a:lnTo>
                  <a:lnTo>
                    <a:pt x="168" y="18"/>
                  </a:lnTo>
                  <a:lnTo>
                    <a:pt x="168" y="14"/>
                  </a:lnTo>
                  <a:lnTo>
                    <a:pt x="172" y="14"/>
                  </a:lnTo>
                  <a:lnTo>
                    <a:pt x="168" y="14"/>
                  </a:lnTo>
                  <a:lnTo>
                    <a:pt x="168" y="10"/>
                  </a:lnTo>
                  <a:lnTo>
                    <a:pt x="172" y="10"/>
                  </a:lnTo>
                  <a:lnTo>
                    <a:pt x="172" y="14"/>
                  </a:lnTo>
                  <a:lnTo>
                    <a:pt x="176" y="10"/>
                  </a:lnTo>
                  <a:lnTo>
                    <a:pt x="176" y="6"/>
                  </a:lnTo>
                  <a:lnTo>
                    <a:pt x="180" y="6"/>
                  </a:lnTo>
                  <a:lnTo>
                    <a:pt x="180" y="10"/>
                  </a:lnTo>
                  <a:lnTo>
                    <a:pt x="184" y="10"/>
                  </a:lnTo>
                  <a:lnTo>
                    <a:pt x="180" y="10"/>
                  </a:lnTo>
                  <a:lnTo>
                    <a:pt x="184" y="10"/>
                  </a:lnTo>
                  <a:lnTo>
                    <a:pt x="180" y="14"/>
                  </a:lnTo>
                  <a:lnTo>
                    <a:pt x="176" y="14"/>
                  </a:lnTo>
                  <a:lnTo>
                    <a:pt x="176" y="18"/>
                  </a:lnTo>
                  <a:lnTo>
                    <a:pt x="180" y="18"/>
                  </a:lnTo>
                  <a:lnTo>
                    <a:pt x="184" y="14"/>
                  </a:lnTo>
                  <a:lnTo>
                    <a:pt x="184" y="18"/>
                  </a:lnTo>
                  <a:lnTo>
                    <a:pt x="188" y="18"/>
                  </a:lnTo>
                  <a:lnTo>
                    <a:pt x="188" y="14"/>
                  </a:lnTo>
                  <a:lnTo>
                    <a:pt x="192" y="14"/>
                  </a:lnTo>
                  <a:lnTo>
                    <a:pt x="196" y="14"/>
                  </a:lnTo>
                  <a:lnTo>
                    <a:pt x="198" y="14"/>
                  </a:lnTo>
                  <a:lnTo>
                    <a:pt x="196" y="10"/>
                  </a:lnTo>
                  <a:lnTo>
                    <a:pt x="198" y="10"/>
                  </a:lnTo>
                  <a:lnTo>
                    <a:pt x="198" y="14"/>
                  </a:lnTo>
                  <a:lnTo>
                    <a:pt x="202" y="14"/>
                  </a:lnTo>
                  <a:lnTo>
                    <a:pt x="202" y="10"/>
                  </a:lnTo>
                  <a:lnTo>
                    <a:pt x="202" y="14"/>
                  </a:lnTo>
                  <a:lnTo>
                    <a:pt x="206" y="14"/>
                  </a:lnTo>
                  <a:lnTo>
                    <a:pt x="210" y="14"/>
                  </a:lnTo>
                  <a:lnTo>
                    <a:pt x="214" y="14"/>
                  </a:lnTo>
                  <a:lnTo>
                    <a:pt x="218" y="14"/>
                  </a:lnTo>
                  <a:lnTo>
                    <a:pt x="218" y="18"/>
                  </a:lnTo>
                  <a:lnTo>
                    <a:pt x="222" y="18"/>
                  </a:lnTo>
                  <a:lnTo>
                    <a:pt x="224" y="18"/>
                  </a:lnTo>
                  <a:lnTo>
                    <a:pt x="228" y="18"/>
                  </a:lnTo>
                  <a:lnTo>
                    <a:pt x="232" y="18"/>
                  </a:lnTo>
                  <a:lnTo>
                    <a:pt x="236" y="18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close/>
                  <a:moveTo>
                    <a:pt x="56" y="104"/>
                  </a:moveTo>
                  <a:lnTo>
                    <a:pt x="52" y="100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0" y="92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60" y="92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72" y="92"/>
                  </a:lnTo>
                  <a:lnTo>
                    <a:pt x="76" y="92"/>
                  </a:lnTo>
                  <a:lnTo>
                    <a:pt x="80" y="92"/>
                  </a:lnTo>
                  <a:lnTo>
                    <a:pt x="80" y="96"/>
                  </a:lnTo>
                  <a:lnTo>
                    <a:pt x="82" y="96"/>
                  </a:lnTo>
                  <a:lnTo>
                    <a:pt x="82" y="92"/>
                  </a:lnTo>
                  <a:lnTo>
                    <a:pt x="80" y="92"/>
                  </a:lnTo>
                  <a:lnTo>
                    <a:pt x="76" y="92"/>
                  </a:lnTo>
                  <a:lnTo>
                    <a:pt x="72" y="92"/>
                  </a:lnTo>
                  <a:lnTo>
                    <a:pt x="68" y="88"/>
                  </a:lnTo>
                  <a:lnTo>
                    <a:pt x="64" y="88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8" y="88"/>
                  </a:lnTo>
                  <a:lnTo>
                    <a:pt x="72" y="86"/>
                  </a:lnTo>
                  <a:lnTo>
                    <a:pt x="76" y="86"/>
                  </a:lnTo>
                  <a:lnTo>
                    <a:pt x="80" y="86"/>
                  </a:lnTo>
                  <a:lnTo>
                    <a:pt x="82" y="86"/>
                  </a:lnTo>
                  <a:lnTo>
                    <a:pt x="86" y="86"/>
                  </a:lnTo>
                  <a:lnTo>
                    <a:pt x="90" y="86"/>
                  </a:lnTo>
                  <a:lnTo>
                    <a:pt x="90" y="82"/>
                  </a:lnTo>
                  <a:lnTo>
                    <a:pt x="94" y="82"/>
                  </a:lnTo>
                  <a:lnTo>
                    <a:pt x="90" y="82"/>
                  </a:lnTo>
                  <a:lnTo>
                    <a:pt x="86" y="82"/>
                  </a:lnTo>
                  <a:lnTo>
                    <a:pt x="86" y="86"/>
                  </a:lnTo>
                  <a:lnTo>
                    <a:pt x="82" y="86"/>
                  </a:lnTo>
                  <a:lnTo>
                    <a:pt x="80" y="86"/>
                  </a:lnTo>
                  <a:lnTo>
                    <a:pt x="76" y="86"/>
                  </a:lnTo>
                  <a:lnTo>
                    <a:pt x="72" y="82"/>
                  </a:lnTo>
                  <a:lnTo>
                    <a:pt x="68" y="82"/>
                  </a:lnTo>
                  <a:lnTo>
                    <a:pt x="68" y="86"/>
                  </a:lnTo>
                  <a:lnTo>
                    <a:pt x="64" y="86"/>
                  </a:lnTo>
                  <a:lnTo>
                    <a:pt x="60" y="86"/>
                  </a:lnTo>
                  <a:lnTo>
                    <a:pt x="56" y="86"/>
                  </a:lnTo>
                  <a:lnTo>
                    <a:pt x="52" y="86"/>
                  </a:lnTo>
                  <a:lnTo>
                    <a:pt x="50" y="86"/>
                  </a:lnTo>
                  <a:lnTo>
                    <a:pt x="50" y="88"/>
                  </a:lnTo>
                  <a:lnTo>
                    <a:pt x="46" y="86"/>
                  </a:lnTo>
                  <a:lnTo>
                    <a:pt x="46" y="82"/>
                  </a:lnTo>
                  <a:lnTo>
                    <a:pt x="46" y="78"/>
                  </a:lnTo>
                  <a:lnTo>
                    <a:pt x="50" y="78"/>
                  </a:lnTo>
                  <a:lnTo>
                    <a:pt x="52" y="78"/>
                  </a:lnTo>
                  <a:lnTo>
                    <a:pt x="52" y="82"/>
                  </a:lnTo>
                  <a:lnTo>
                    <a:pt x="56" y="82"/>
                  </a:lnTo>
                  <a:lnTo>
                    <a:pt x="52" y="78"/>
                  </a:lnTo>
                  <a:lnTo>
                    <a:pt x="56" y="78"/>
                  </a:lnTo>
                  <a:lnTo>
                    <a:pt x="60" y="78"/>
                  </a:lnTo>
                  <a:lnTo>
                    <a:pt x="64" y="78"/>
                  </a:lnTo>
                  <a:lnTo>
                    <a:pt x="64" y="74"/>
                  </a:lnTo>
                  <a:lnTo>
                    <a:pt x="68" y="74"/>
                  </a:lnTo>
                  <a:lnTo>
                    <a:pt x="72" y="74"/>
                  </a:lnTo>
                  <a:lnTo>
                    <a:pt x="76" y="74"/>
                  </a:lnTo>
                  <a:lnTo>
                    <a:pt x="72" y="70"/>
                  </a:lnTo>
                  <a:lnTo>
                    <a:pt x="76" y="70"/>
                  </a:lnTo>
                  <a:lnTo>
                    <a:pt x="80" y="70"/>
                  </a:lnTo>
                  <a:lnTo>
                    <a:pt x="82" y="70"/>
                  </a:lnTo>
                  <a:lnTo>
                    <a:pt x="86" y="70"/>
                  </a:lnTo>
                  <a:lnTo>
                    <a:pt x="90" y="70"/>
                  </a:lnTo>
                  <a:lnTo>
                    <a:pt x="94" y="70"/>
                  </a:lnTo>
                  <a:lnTo>
                    <a:pt x="98" y="66"/>
                  </a:lnTo>
                  <a:lnTo>
                    <a:pt x="94" y="66"/>
                  </a:lnTo>
                  <a:lnTo>
                    <a:pt x="90" y="66"/>
                  </a:lnTo>
                  <a:lnTo>
                    <a:pt x="90" y="70"/>
                  </a:lnTo>
                  <a:lnTo>
                    <a:pt x="90" y="66"/>
                  </a:lnTo>
                  <a:lnTo>
                    <a:pt x="86" y="66"/>
                  </a:lnTo>
                  <a:lnTo>
                    <a:pt x="82" y="66"/>
                  </a:lnTo>
                  <a:lnTo>
                    <a:pt x="82" y="64"/>
                  </a:lnTo>
                  <a:lnTo>
                    <a:pt x="86" y="64"/>
                  </a:lnTo>
                  <a:lnTo>
                    <a:pt x="90" y="64"/>
                  </a:lnTo>
                  <a:lnTo>
                    <a:pt x="90" y="60"/>
                  </a:lnTo>
                  <a:lnTo>
                    <a:pt x="86" y="60"/>
                  </a:lnTo>
                  <a:lnTo>
                    <a:pt x="82" y="60"/>
                  </a:lnTo>
                  <a:lnTo>
                    <a:pt x="82" y="64"/>
                  </a:lnTo>
                  <a:lnTo>
                    <a:pt x="80" y="64"/>
                  </a:lnTo>
                  <a:lnTo>
                    <a:pt x="80" y="66"/>
                  </a:lnTo>
                  <a:lnTo>
                    <a:pt x="76" y="66"/>
                  </a:lnTo>
                  <a:lnTo>
                    <a:pt x="72" y="66"/>
                  </a:lnTo>
                  <a:lnTo>
                    <a:pt x="68" y="66"/>
                  </a:lnTo>
                  <a:lnTo>
                    <a:pt x="68" y="64"/>
                  </a:lnTo>
                  <a:lnTo>
                    <a:pt x="72" y="64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8" y="60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6"/>
                  </a:lnTo>
                  <a:lnTo>
                    <a:pt x="60" y="66"/>
                  </a:lnTo>
                  <a:lnTo>
                    <a:pt x="60" y="70"/>
                  </a:lnTo>
                  <a:lnTo>
                    <a:pt x="56" y="70"/>
                  </a:lnTo>
                  <a:lnTo>
                    <a:pt x="56" y="66"/>
                  </a:lnTo>
                  <a:lnTo>
                    <a:pt x="52" y="70"/>
                  </a:lnTo>
                  <a:lnTo>
                    <a:pt x="50" y="70"/>
                  </a:lnTo>
                  <a:lnTo>
                    <a:pt x="46" y="70"/>
                  </a:lnTo>
                  <a:lnTo>
                    <a:pt x="46" y="74"/>
                  </a:lnTo>
                  <a:lnTo>
                    <a:pt x="50" y="74"/>
                  </a:lnTo>
                  <a:lnTo>
                    <a:pt x="46" y="74"/>
                  </a:lnTo>
                  <a:lnTo>
                    <a:pt x="42" y="74"/>
                  </a:lnTo>
                  <a:lnTo>
                    <a:pt x="38" y="74"/>
                  </a:lnTo>
                  <a:lnTo>
                    <a:pt x="34" y="74"/>
                  </a:lnTo>
                  <a:lnTo>
                    <a:pt x="34" y="70"/>
                  </a:lnTo>
                  <a:lnTo>
                    <a:pt x="30" y="70"/>
                  </a:lnTo>
                  <a:lnTo>
                    <a:pt x="30" y="66"/>
                  </a:lnTo>
                  <a:lnTo>
                    <a:pt x="26" y="66"/>
                  </a:lnTo>
                  <a:lnTo>
                    <a:pt x="30" y="66"/>
                  </a:lnTo>
                  <a:lnTo>
                    <a:pt x="34" y="66"/>
                  </a:lnTo>
                  <a:lnTo>
                    <a:pt x="38" y="66"/>
                  </a:lnTo>
                  <a:lnTo>
                    <a:pt x="38" y="64"/>
                  </a:lnTo>
                  <a:lnTo>
                    <a:pt x="34" y="64"/>
                  </a:lnTo>
                  <a:lnTo>
                    <a:pt x="30" y="64"/>
                  </a:lnTo>
                  <a:lnTo>
                    <a:pt x="26" y="64"/>
                  </a:lnTo>
                  <a:lnTo>
                    <a:pt x="22" y="64"/>
                  </a:lnTo>
                  <a:lnTo>
                    <a:pt x="20" y="64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2" y="56"/>
                  </a:lnTo>
                  <a:lnTo>
                    <a:pt x="26" y="56"/>
                  </a:lnTo>
                  <a:lnTo>
                    <a:pt x="26" y="52"/>
                  </a:lnTo>
                  <a:lnTo>
                    <a:pt x="22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2" y="44"/>
                  </a:lnTo>
                  <a:lnTo>
                    <a:pt x="22" y="40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4"/>
                  </a:lnTo>
                  <a:lnTo>
                    <a:pt x="8" y="34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4" y="34"/>
                  </a:lnTo>
                  <a:lnTo>
                    <a:pt x="8" y="34"/>
                  </a:lnTo>
                  <a:lnTo>
                    <a:pt x="12" y="34"/>
                  </a:lnTo>
                  <a:lnTo>
                    <a:pt x="12" y="30"/>
                  </a:lnTo>
                  <a:lnTo>
                    <a:pt x="8" y="30"/>
                  </a:lnTo>
                  <a:lnTo>
                    <a:pt x="12" y="30"/>
                  </a:lnTo>
                  <a:lnTo>
                    <a:pt x="16" y="30"/>
                  </a:lnTo>
                  <a:lnTo>
                    <a:pt x="16" y="26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22" y="30"/>
                  </a:lnTo>
                  <a:lnTo>
                    <a:pt x="22" y="34"/>
                  </a:lnTo>
                  <a:lnTo>
                    <a:pt x="26" y="34"/>
                  </a:lnTo>
                  <a:lnTo>
                    <a:pt x="26" y="30"/>
                  </a:lnTo>
                  <a:lnTo>
                    <a:pt x="22" y="30"/>
                  </a:lnTo>
                  <a:lnTo>
                    <a:pt x="22" y="26"/>
                  </a:lnTo>
                  <a:lnTo>
                    <a:pt x="26" y="26"/>
                  </a:lnTo>
                  <a:lnTo>
                    <a:pt x="26" y="30"/>
                  </a:lnTo>
                  <a:lnTo>
                    <a:pt x="30" y="30"/>
                  </a:lnTo>
                  <a:lnTo>
                    <a:pt x="34" y="30"/>
                  </a:lnTo>
                  <a:lnTo>
                    <a:pt x="34" y="26"/>
                  </a:lnTo>
                  <a:lnTo>
                    <a:pt x="42" y="26"/>
                  </a:lnTo>
                  <a:lnTo>
                    <a:pt x="46" y="26"/>
                  </a:lnTo>
                  <a:lnTo>
                    <a:pt x="50" y="26"/>
                  </a:lnTo>
                  <a:lnTo>
                    <a:pt x="50" y="30"/>
                  </a:lnTo>
                  <a:lnTo>
                    <a:pt x="46" y="30"/>
                  </a:lnTo>
                  <a:lnTo>
                    <a:pt x="42" y="30"/>
                  </a:lnTo>
                  <a:lnTo>
                    <a:pt x="38" y="30"/>
                  </a:lnTo>
                  <a:lnTo>
                    <a:pt x="34" y="30"/>
                  </a:lnTo>
                  <a:lnTo>
                    <a:pt x="34" y="34"/>
                  </a:lnTo>
                  <a:lnTo>
                    <a:pt x="30" y="34"/>
                  </a:lnTo>
                  <a:lnTo>
                    <a:pt x="26" y="34"/>
                  </a:lnTo>
                  <a:lnTo>
                    <a:pt x="26" y="36"/>
                  </a:lnTo>
                  <a:lnTo>
                    <a:pt x="30" y="36"/>
                  </a:lnTo>
                  <a:lnTo>
                    <a:pt x="34" y="34"/>
                  </a:lnTo>
                  <a:lnTo>
                    <a:pt x="38" y="34"/>
                  </a:lnTo>
                  <a:lnTo>
                    <a:pt x="42" y="34"/>
                  </a:lnTo>
                  <a:lnTo>
                    <a:pt x="42" y="36"/>
                  </a:lnTo>
                  <a:lnTo>
                    <a:pt x="38" y="36"/>
                  </a:lnTo>
                  <a:lnTo>
                    <a:pt x="42" y="36"/>
                  </a:lnTo>
                  <a:lnTo>
                    <a:pt x="46" y="36"/>
                  </a:lnTo>
                  <a:lnTo>
                    <a:pt x="50" y="40"/>
                  </a:lnTo>
                  <a:lnTo>
                    <a:pt x="50" y="44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0" y="36"/>
                  </a:lnTo>
                  <a:lnTo>
                    <a:pt x="50" y="34"/>
                  </a:lnTo>
                  <a:lnTo>
                    <a:pt x="52" y="34"/>
                  </a:lnTo>
                  <a:lnTo>
                    <a:pt x="56" y="30"/>
                  </a:lnTo>
                  <a:lnTo>
                    <a:pt x="60" y="30"/>
                  </a:lnTo>
                  <a:lnTo>
                    <a:pt x="64" y="30"/>
                  </a:lnTo>
                  <a:lnTo>
                    <a:pt x="64" y="34"/>
                  </a:lnTo>
                  <a:lnTo>
                    <a:pt x="68" y="34"/>
                  </a:lnTo>
                  <a:lnTo>
                    <a:pt x="68" y="36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2" y="52"/>
                  </a:lnTo>
                  <a:lnTo>
                    <a:pt x="82" y="56"/>
                  </a:lnTo>
                  <a:lnTo>
                    <a:pt x="86" y="52"/>
                  </a:lnTo>
                  <a:lnTo>
                    <a:pt x="82" y="52"/>
                  </a:lnTo>
                  <a:lnTo>
                    <a:pt x="82" y="48"/>
                  </a:lnTo>
                  <a:lnTo>
                    <a:pt x="80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4"/>
                  </a:lnTo>
                  <a:lnTo>
                    <a:pt x="76" y="30"/>
                  </a:lnTo>
                  <a:lnTo>
                    <a:pt x="72" y="30"/>
                  </a:lnTo>
                  <a:lnTo>
                    <a:pt x="72" y="26"/>
                  </a:lnTo>
                  <a:lnTo>
                    <a:pt x="76" y="26"/>
                  </a:lnTo>
                  <a:lnTo>
                    <a:pt x="80" y="26"/>
                  </a:lnTo>
                  <a:lnTo>
                    <a:pt x="80" y="22"/>
                  </a:lnTo>
                  <a:lnTo>
                    <a:pt x="82" y="22"/>
                  </a:lnTo>
                  <a:lnTo>
                    <a:pt x="86" y="22"/>
                  </a:lnTo>
                  <a:lnTo>
                    <a:pt x="86" y="26"/>
                  </a:lnTo>
                  <a:lnTo>
                    <a:pt x="90" y="26"/>
                  </a:lnTo>
                  <a:lnTo>
                    <a:pt x="90" y="22"/>
                  </a:lnTo>
                  <a:lnTo>
                    <a:pt x="94" y="22"/>
                  </a:lnTo>
                  <a:lnTo>
                    <a:pt x="94" y="26"/>
                  </a:lnTo>
                  <a:lnTo>
                    <a:pt x="98" y="26"/>
                  </a:lnTo>
                  <a:lnTo>
                    <a:pt x="102" y="26"/>
                  </a:lnTo>
                  <a:lnTo>
                    <a:pt x="106" y="30"/>
                  </a:lnTo>
                  <a:lnTo>
                    <a:pt x="108" y="30"/>
                  </a:lnTo>
                  <a:lnTo>
                    <a:pt x="106" y="30"/>
                  </a:lnTo>
                  <a:lnTo>
                    <a:pt x="106" y="34"/>
                  </a:lnTo>
                  <a:lnTo>
                    <a:pt x="102" y="36"/>
                  </a:lnTo>
                  <a:lnTo>
                    <a:pt x="102" y="40"/>
                  </a:lnTo>
                  <a:lnTo>
                    <a:pt x="106" y="40"/>
                  </a:lnTo>
                  <a:lnTo>
                    <a:pt x="106" y="36"/>
                  </a:lnTo>
                  <a:lnTo>
                    <a:pt x="108" y="34"/>
                  </a:lnTo>
                  <a:lnTo>
                    <a:pt x="112" y="34"/>
                  </a:lnTo>
                  <a:lnTo>
                    <a:pt x="116" y="34"/>
                  </a:lnTo>
                  <a:lnTo>
                    <a:pt x="116" y="36"/>
                  </a:lnTo>
                  <a:lnTo>
                    <a:pt x="120" y="36"/>
                  </a:lnTo>
                  <a:lnTo>
                    <a:pt x="120" y="40"/>
                  </a:lnTo>
                  <a:lnTo>
                    <a:pt x="120" y="44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4" y="44"/>
                  </a:lnTo>
                  <a:lnTo>
                    <a:pt x="132" y="48"/>
                  </a:lnTo>
                  <a:lnTo>
                    <a:pt x="136" y="52"/>
                  </a:lnTo>
                  <a:lnTo>
                    <a:pt x="138" y="52"/>
                  </a:lnTo>
                  <a:lnTo>
                    <a:pt x="142" y="52"/>
                  </a:lnTo>
                  <a:lnTo>
                    <a:pt x="146" y="52"/>
                  </a:lnTo>
                  <a:lnTo>
                    <a:pt x="150" y="52"/>
                  </a:lnTo>
                  <a:lnTo>
                    <a:pt x="150" y="56"/>
                  </a:lnTo>
                  <a:lnTo>
                    <a:pt x="154" y="56"/>
                  </a:lnTo>
                  <a:lnTo>
                    <a:pt x="158" y="56"/>
                  </a:lnTo>
                  <a:lnTo>
                    <a:pt x="158" y="60"/>
                  </a:lnTo>
                  <a:lnTo>
                    <a:pt x="154" y="60"/>
                  </a:lnTo>
                  <a:lnTo>
                    <a:pt x="150" y="60"/>
                  </a:lnTo>
                  <a:lnTo>
                    <a:pt x="150" y="64"/>
                  </a:lnTo>
                  <a:lnTo>
                    <a:pt x="146" y="60"/>
                  </a:lnTo>
                  <a:lnTo>
                    <a:pt x="142" y="60"/>
                  </a:lnTo>
                  <a:lnTo>
                    <a:pt x="142" y="64"/>
                  </a:lnTo>
                  <a:lnTo>
                    <a:pt x="138" y="64"/>
                  </a:lnTo>
                  <a:lnTo>
                    <a:pt x="136" y="64"/>
                  </a:lnTo>
                  <a:lnTo>
                    <a:pt x="132" y="64"/>
                  </a:lnTo>
                  <a:lnTo>
                    <a:pt x="128" y="64"/>
                  </a:lnTo>
                  <a:lnTo>
                    <a:pt x="132" y="64"/>
                  </a:lnTo>
                  <a:lnTo>
                    <a:pt x="132" y="66"/>
                  </a:lnTo>
                  <a:lnTo>
                    <a:pt x="128" y="66"/>
                  </a:lnTo>
                  <a:lnTo>
                    <a:pt x="124" y="66"/>
                  </a:lnTo>
                  <a:lnTo>
                    <a:pt x="120" y="66"/>
                  </a:lnTo>
                  <a:lnTo>
                    <a:pt x="120" y="70"/>
                  </a:lnTo>
                  <a:lnTo>
                    <a:pt x="120" y="74"/>
                  </a:lnTo>
                  <a:lnTo>
                    <a:pt x="120" y="78"/>
                  </a:lnTo>
                  <a:lnTo>
                    <a:pt x="116" y="78"/>
                  </a:lnTo>
                  <a:lnTo>
                    <a:pt x="112" y="78"/>
                  </a:lnTo>
                  <a:lnTo>
                    <a:pt x="112" y="82"/>
                  </a:lnTo>
                  <a:lnTo>
                    <a:pt x="112" y="86"/>
                  </a:lnTo>
                  <a:lnTo>
                    <a:pt x="112" y="88"/>
                  </a:lnTo>
                  <a:lnTo>
                    <a:pt x="108" y="92"/>
                  </a:lnTo>
                  <a:lnTo>
                    <a:pt x="106" y="92"/>
                  </a:lnTo>
                  <a:lnTo>
                    <a:pt x="102" y="92"/>
                  </a:lnTo>
                  <a:lnTo>
                    <a:pt x="102" y="96"/>
                  </a:lnTo>
                  <a:lnTo>
                    <a:pt x="98" y="100"/>
                  </a:lnTo>
                  <a:lnTo>
                    <a:pt x="98" y="104"/>
                  </a:lnTo>
                  <a:lnTo>
                    <a:pt x="98" y="108"/>
                  </a:lnTo>
                  <a:lnTo>
                    <a:pt x="94" y="108"/>
                  </a:lnTo>
                  <a:lnTo>
                    <a:pt x="98" y="108"/>
                  </a:lnTo>
                  <a:lnTo>
                    <a:pt x="94" y="110"/>
                  </a:lnTo>
                  <a:lnTo>
                    <a:pt x="90" y="110"/>
                  </a:lnTo>
                  <a:lnTo>
                    <a:pt x="90" y="114"/>
                  </a:lnTo>
                  <a:lnTo>
                    <a:pt x="94" y="114"/>
                  </a:lnTo>
                  <a:lnTo>
                    <a:pt x="94" y="118"/>
                  </a:lnTo>
                  <a:lnTo>
                    <a:pt x="90" y="118"/>
                  </a:lnTo>
                  <a:lnTo>
                    <a:pt x="86" y="118"/>
                  </a:lnTo>
                  <a:lnTo>
                    <a:pt x="82" y="118"/>
                  </a:lnTo>
                  <a:lnTo>
                    <a:pt x="82" y="114"/>
                  </a:lnTo>
                  <a:lnTo>
                    <a:pt x="80" y="114"/>
                  </a:lnTo>
                  <a:lnTo>
                    <a:pt x="76" y="114"/>
                  </a:lnTo>
                  <a:lnTo>
                    <a:pt x="76" y="110"/>
                  </a:lnTo>
                  <a:lnTo>
                    <a:pt x="72" y="110"/>
                  </a:lnTo>
                  <a:lnTo>
                    <a:pt x="76" y="110"/>
                  </a:lnTo>
                  <a:lnTo>
                    <a:pt x="76" y="108"/>
                  </a:lnTo>
                  <a:lnTo>
                    <a:pt x="80" y="108"/>
                  </a:lnTo>
                  <a:lnTo>
                    <a:pt x="82" y="108"/>
                  </a:lnTo>
                  <a:lnTo>
                    <a:pt x="86" y="108"/>
                  </a:lnTo>
                  <a:lnTo>
                    <a:pt x="82" y="108"/>
                  </a:lnTo>
                  <a:lnTo>
                    <a:pt x="80" y="108"/>
                  </a:lnTo>
                  <a:lnTo>
                    <a:pt x="80" y="104"/>
                  </a:lnTo>
                  <a:lnTo>
                    <a:pt x="76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close/>
                  <a:moveTo>
                    <a:pt x="22" y="74"/>
                  </a:moveTo>
                  <a:lnTo>
                    <a:pt x="20" y="74"/>
                  </a:lnTo>
                  <a:lnTo>
                    <a:pt x="20" y="70"/>
                  </a:lnTo>
                  <a:lnTo>
                    <a:pt x="16" y="70"/>
                  </a:lnTo>
                  <a:lnTo>
                    <a:pt x="16" y="66"/>
                  </a:lnTo>
                  <a:lnTo>
                    <a:pt x="12" y="66"/>
                  </a:lnTo>
                  <a:lnTo>
                    <a:pt x="8" y="66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60"/>
                  </a:lnTo>
                  <a:lnTo>
                    <a:pt x="12" y="64"/>
                  </a:lnTo>
                  <a:lnTo>
                    <a:pt x="16" y="64"/>
                  </a:lnTo>
                  <a:lnTo>
                    <a:pt x="16" y="66"/>
                  </a:lnTo>
                  <a:lnTo>
                    <a:pt x="20" y="66"/>
                  </a:lnTo>
                  <a:lnTo>
                    <a:pt x="22" y="70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close/>
                  <a:moveTo>
                    <a:pt x="136" y="66"/>
                  </a:moveTo>
                  <a:lnTo>
                    <a:pt x="138" y="66"/>
                  </a:lnTo>
                  <a:lnTo>
                    <a:pt x="142" y="64"/>
                  </a:lnTo>
                  <a:lnTo>
                    <a:pt x="146" y="64"/>
                  </a:lnTo>
                  <a:lnTo>
                    <a:pt x="150" y="64"/>
                  </a:lnTo>
                  <a:lnTo>
                    <a:pt x="154" y="64"/>
                  </a:lnTo>
                  <a:lnTo>
                    <a:pt x="158" y="64"/>
                  </a:lnTo>
                  <a:lnTo>
                    <a:pt x="162" y="64"/>
                  </a:lnTo>
                  <a:lnTo>
                    <a:pt x="166" y="64"/>
                  </a:lnTo>
                  <a:lnTo>
                    <a:pt x="166" y="66"/>
                  </a:lnTo>
                  <a:lnTo>
                    <a:pt x="166" y="70"/>
                  </a:lnTo>
                  <a:lnTo>
                    <a:pt x="168" y="70"/>
                  </a:lnTo>
                  <a:lnTo>
                    <a:pt x="166" y="74"/>
                  </a:lnTo>
                  <a:lnTo>
                    <a:pt x="162" y="74"/>
                  </a:lnTo>
                  <a:lnTo>
                    <a:pt x="162" y="70"/>
                  </a:lnTo>
                  <a:lnTo>
                    <a:pt x="158" y="74"/>
                  </a:lnTo>
                  <a:lnTo>
                    <a:pt x="154" y="74"/>
                  </a:lnTo>
                  <a:lnTo>
                    <a:pt x="150" y="74"/>
                  </a:lnTo>
                  <a:lnTo>
                    <a:pt x="146" y="74"/>
                  </a:lnTo>
                  <a:lnTo>
                    <a:pt x="142" y="74"/>
                  </a:lnTo>
                  <a:lnTo>
                    <a:pt x="146" y="74"/>
                  </a:lnTo>
                  <a:lnTo>
                    <a:pt x="146" y="70"/>
                  </a:lnTo>
                  <a:lnTo>
                    <a:pt x="142" y="70"/>
                  </a:lnTo>
                  <a:lnTo>
                    <a:pt x="142" y="66"/>
                  </a:lnTo>
                  <a:lnTo>
                    <a:pt x="138" y="66"/>
                  </a:lnTo>
                  <a:lnTo>
                    <a:pt x="136" y="66"/>
                  </a:lnTo>
                  <a:lnTo>
                    <a:pt x="136" y="66"/>
                  </a:lnTo>
                  <a:lnTo>
                    <a:pt x="136" y="66"/>
                  </a:lnTo>
                  <a:close/>
                  <a:moveTo>
                    <a:pt x="172" y="100"/>
                  </a:moveTo>
                  <a:lnTo>
                    <a:pt x="168" y="100"/>
                  </a:lnTo>
                  <a:lnTo>
                    <a:pt x="168" y="96"/>
                  </a:lnTo>
                  <a:lnTo>
                    <a:pt x="172" y="92"/>
                  </a:lnTo>
                  <a:lnTo>
                    <a:pt x="168" y="92"/>
                  </a:lnTo>
                  <a:lnTo>
                    <a:pt x="166" y="92"/>
                  </a:lnTo>
                  <a:lnTo>
                    <a:pt x="162" y="92"/>
                  </a:lnTo>
                  <a:lnTo>
                    <a:pt x="158" y="92"/>
                  </a:lnTo>
                  <a:lnTo>
                    <a:pt x="154" y="92"/>
                  </a:lnTo>
                  <a:lnTo>
                    <a:pt x="154" y="96"/>
                  </a:lnTo>
                  <a:lnTo>
                    <a:pt x="150" y="96"/>
                  </a:lnTo>
                  <a:lnTo>
                    <a:pt x="146" y="96"/>
                  </a:lnTo>
                  <a:lnTo>
                    <a:pt x="146" y="92"/>
                  </a:lnTo>
                  <a:lnTo>
                    <a:pt x="150" y="92"/>
                  </a:lnTo>
                  <a:lnTo>
                    <a:pt x="150" y="88"/>
                  </a:lnTo>
                  <a:lnTo>
                    <a:pt x="154" y="88"/>
                  </a:lnTo>
                  <a:lnTo>
                    <a:pt x="154" y="86"/>
                  </a:lnTo>
                  <a:lnTo>
                    <a:pt x="158" y="82"/>
                  </a:lnTo>
                  <a:lnTo>
                    <a:pt x="154" y="82"/>
                  </a:lnTo>
                  <a:lnTo>
                    <a:pt x="150" y="78"/>
                  </a:lnTo>
                  <a:lnTo>
                    <a:pt x="146" y="78"/>
                  </a:lnTo>
                  <a:lnTo>
                    <a:pt x="146" y="74"/>
                  </a:lnTo>
                  <a:lnTo>
                    <a:pt x="150" y="74"/>
                  </a:lnTo>
                  <a:lnTo>
                    <a:pt x="154" y="74"/>
                  </a:lnTo>
                  <a:lnTo>
                    <a:pt x="158" y="74"/>
                  </a:lnTo>
                  <a:lnTo>
                    <a:pt x="162" y="74"/>
                  </a:lnTo>
                  <a:lnTo>
                    <a:pt x="166" y="74"/>
                  </a:lnTo>
                  <a:lnTo>
                    <a:pt x="168" y="74"/>
                  </a:lnTo>
                  <a:lnTo>
                    <a:pt x="176" y="74"/>
                  </a:lnTo>
                  <a:lnTo>
                    <a:pt x="180" y="74"/>
                  </a:lnTo>
                  <a:lnTo>
                    <a:pt x="184" y="74"/>
                  </a:lnTo>
                  <a:lnTo>
                    <a:pt x="184" y="78"/>
                  </a:lnTo>
                  <a:lnTo>
                    <a:pt x="180" y="78"/>
                  </a:lnTo>
                  <a:lnTo>
                    <a:pt x="176" y="78"/>
                  </a:lnTo>
                  <a:lnTo>
                    <a:pt x="180" y="78"/>
                  </a:lnTo>
                  <a:lnTo>
                    <a:pt x="180" y="82"/>
                  </a:lnTo>
                  <a:lnTo>
                    <a:pt x="184" y="82"/>
                  </a:lnTo>
                  <a:lnTo>
                    <a:pt x="188" y="82"/>
                  </a:lnTo>
                  <a:lnTo>
                    <a:pt x="188" y="86"/>
                  </a:lnTo>
                  <a:lnTo>
                    <a:pt x="192" y="86"/>
                  </a:lnTo>
                  <a:lnTo>
                    <a:pt x="192" y="82"/>
                  </a:lnTo>
                  <a:lnTo>
                    <a:pt x="196" y="82"/>
                  </a:lnTo>
                  <a:lnTo>
                    <a:pt x="198" y="86"/>
                  </a:lnTo>
                  <a:lnTo>
                    <a:pt x="202" y="86"/>
                  </a:lnTo>
                  <a:lnTo>
                    <a:pt x="206" y="86"/>
                  </a:lnTo>
                  <a:lnTo>
                    <a:pt x="202" y="86"/>
                  </a:lnTo>
                  <a:lnTo>
                    <a:pt x="198" y="88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92" y="92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80" y="96"/>
                  </a:lnTo>
                  <a:lnTo>
                    <a:pt x="176" y="96"/>
                  </a:lnTo>
                  <a:lnTo>
                    <a:pt x="176" y="100"/>
                  </a:lnTo>
                  <a:lnTo>
                    <a:pt x="172" y="100"/>
                  </a:lnTo>
                  <a:lnTo>
                    <a:pt x="172" y="100"/>
                  </a:lnTo>
                  <a:lnTo>
                    <a:pt x="172" y="100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83" name="Freeform 123">
              <a:extLst>
                <a:ext uri="{FF2B5EF4-FFF2-40B4-BE49-F238E27FC236}">
                  <a16:creationId xmlns:a16="http://schemas.microsoft.com/office/drawing/2014/main" id="{E1D06062-B80D-FAF4-58E1-9DF92F41FD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7052" y="1629475"/>
              <a:ext cx="366265" cy="603362"/>
            </a:xfrm>
            <a:custGeom>
              <a:avLst/>
              <a:gdLst>
                <a:gd name="T0" fmla="*/ 106 w 188"/>
                <a:gd name="T1" fmla="*/ 232 h 320"/>
                <a:gd name="T2" fmla="*/ 98 w 188"/>
                <a:gd name="T3" fmla="*/ 238 h 320"/>
                <a:gd name="T4" fmla="*/ 78 w 188"/>
                <a:gd name="T5" fmla="*/ 250 h 320"/>
                <a:gd name="T6" fmla="*/ 76 w 188"/>
                <a:gd name="T7" fmla="*/ 254 h 320"/>
                <a:gd name="T8" fmla="*/ 82 w 188"/>
                <a:gd name="T9" fmla="*/ 264 h 320"/>
                <a:gd name="T10" fmla="*/ 76 w 188"/>
                <a:gd name="T11" fmla="*/ 280 h 320"/>
                <a:gd name="T12" fmla="*/ 64 w 188"/>
                <a:gd name="T13" fmla="*/ 302 h 320"/>
                <a:gd name="T14" fmla="*/ 46 w 188"/>
                <a:gd name="T15" fmla="*/ 314 h 320"/>
                <a:gd name="T16" fmla="*/ 30 w 188"/>
                <a:gd name="T17" fmla="*/ 320 h 320"/>
                <a:gd name="T18" fmla="*/ 26 w 188"/>
                <a:gd name="T19" fmla="*/ 302 h 320"/>
                <a:gd name="T20" fmla="*/ 18 w 188"/>
                <a:gd name="T21" fmla="*/ 284 h 320"/>
                <a:gd name="T22" fmla="*/ 8 w 188"/>
                <a:gd name="T23" fmla="*/ 264 h 320"/>
                <a:gd name="T24" fmla="*/ 4 w 188"/>
                <a:gd name="T25" fmla="*/ 246 h 320"/>
                <a:gd name="T26" fmla="*/ 8 w 188"/>
                <a:gd name="T27" fmla="*/ 242 h 320"/>
                <a:gd name="T28" fmla="*/ 16 w 188"/>
                <a:gd name="T29" fmla="*/ 220 h 320"/>
                <a:gd name="T30" fmla="*/ 18 w 188"/>
                <a:gd name="T31" fmla="*/ 198 h 320"/>
                <a:gd name="T32" fmla="*/ 22 w 188"/>
                <a:gd name="T33" fmla="*/ 182 h 320"/>
                <a:gd name="T34" fmla="*/ 16 w 188"/>
                <a:gd name="T35" fmla="*/ 162 h 320"/>
                <a:gd name="T36" fmla="*/ 16 w 188"/>
                <a:gd name="T37" fmla="*/ 134 h 320"/>
                <a:gd name="T38" fmla="*/ 46 w 188"/>
                <a:gd name="T39" fmla="*/ 112 h 320"/>
                <a:gd name="T40" fmla="*/ 46 w 188"/>
                <a:gd name="T41" fmla="*/ 98 h 320"/>
                <a:gd name="T42" fmla="*/ 52 w 188"/>
                <a:gd name="T43" fmla="*/ 76 h 320"/>
                <a:gd name="T44" fmla="*/ 76 w 188"/>
                <a:gd name="T45" fmla="*/ 52 h 320"/>
                <a:gd name="T46" fmla="*/ 78 w 188"/>
                <a:gd name="T47" fmla="*/ 30 h 320"/>
                <a:gd name="T48" fmla="*/ 102 w 188"/>
                <a:gd name="T49" fmla="*/ 20 h 320"/>
                <a:gd name="T50" fmla="*/ 128 w 188"/>
                <a:gd name="T51" fmla="*/ 20 h 320"/>
                <a:gd name="T52" fmla="*/ 138 w 188"/>
                <a:gd name="T53" fmla="*/ 4 h 320"/>
                <a:gd name="T54" fmla="*/ 162 w 188"/>
                <a:gd name="T55" fmla="*/ 16 h 320"/>
                <a:gd name="T56" fmla="*/ 176 w 188"/>
                <a:gd name="T57" fmla="*/ 42 h 320"/>
                <a:gd name="T58" fmla="*/ 180 w 188"/>
                <a:gd name="T59" fmla="*/ 64 h 320"/>
                <a:gd name="T60" fmla="*/ 176 w 188"/>
                <a:gd name="T61" fmla="*/ 82 h 320"/>
                <a:gd name="T62" fmla="*/ 158 w 188"/>
                <a:gd name="T63" fmla="*/ 86 h 320"/>
                <a:gd name="T64" fmla="*/ 158 w 188"/>
                <a:gd name="T65" fmla="*/ 90 h 320"/>
                <a:gd name="T66" fmla="*/ 150 w 188"/>
                <a:gd name="T67" fmla="*/ 98 h 320"/>
                <a:gd name="T68" fmla="*/ 142 w 188"/>
                <a:gd name="T69" fmla="*/ 108 h 320"/>
                <a:gd name="T70" fmla="*/ 146 w 188"/>
                <a:gd name="T71" fmla="*/ 120 h 320"/>
                <a:gd name="T72" fmla="*/ 124 w 188"/>
                <a:gd name="T73" fmla="*/ 134 h 320"/>
                <a:gd name="T74" fmla="*/ 116 w 188"/>
                <a:gd name="T75" fmla="*/ 142 h 320"/>
                <a:gd name="T76" fmla="*/ 106 w 188"/>
                <a:gd name="T77" fmla="*/ 150 h 320"/>
                <a:gd name="T78" fmla="*/ 98 w 188"/>
                <a:gd name="T79" fmla="*/ 150 h 320"/>
                <a:gd name="T80" fmla="*/ 90 w 188"/>
                <a:gd name="T81" fmla="*/ 168 h 320"/>
                <a:gd name="T82" fmla="*/ 86 w 188"/>
                <a:gd name="T83" fmla="*/ 178 h 320"/>
                <a:gd name="T84" fmla="*/ 90 w 188"/>
                <a:gd name="T85" fmla="*/ 206 h 320"/>
                <a:gd name="T86" fmla="*/ 108 w 188"/>
                <a:gd name="T87" fmla="*/ 212 h 320"/>
                <a:gd name="T88" fmla="*/ 106 w 188"/>
                <a:gd name="T89" fmla="*/ 232 h 320"/>
                <a:gd name="T90" fmla="*/ 94 w 188"/>
                <a:gd name="T91" fmla="*/ 224 h 320"/>
                <a:gd name="T92" fmla="*/ 94 w 188"/>
                <a:gd name="T93" fmla="*/ 228 h 320"/>
                <a:gd name="T94" fmla="*/ 78 w 188"/>
                <a:gd name="T95" fmla="*/ 228 h 320"/>
                <a:gd name="T96" fmla="*/ 86 w 188"/>
                <a:gd name="T97" fmla="*/ 232 h 320"/>
                <a:gd name="T98" fmla="*/ 90 w 188"/>
                <a:gd name="T99" fmla="*/ 162 h 320"/>
                <a:gd name="T100" fmla="*/ 86 w 188"/>
                <a:gd name="T101" fmla="*/ 232 h 320"/>
                <a:gd name="T102" fmla="*/ 94 w 188"/>
                <a:gd name="T103" fmla="*/ 234 h 320"/>
                <a:gd name="T104" fmla="*/ 106 w 188"/>
                <a:gd name="T105" fmla="*/ 206 h 320"/>
                <a:gd name="T106" fmla="*/ 12 w 188"/>
                <a:gd name="T107" fmla="*/ 258 h 320"/>
                <a:gd name="T108" fmla="*/ 12 w 188"/>
                <a:gd name="T109" fmla="*/ 264 h 320"/>
                <a:gd name="T110" fmla="*/ 108 w 188"/>
                <a:gd name="T111" fmla="*/ 276 h 320"/>
                <a:gd name="T112" fmla="*/ 102 w 188"/>
                <a:gd name="T113" fmla="*/ 272 h 320"/>
                <a:gd name="T114" fmla="*/ 76 w 188"/>
                <a:gd name="T115" fmla="*/ 294 h 320"/>
                <a:gd name="T116" fmla="*/ 86 w 188"/>
                <a:gd name="T117" fmla="*/ 284 h 320"/>
                <a:gd name="T118" fmla="*/ 76 w 188"/>
                <a:gd name="T119" fmla="*/ 30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8" h="320">
                  <a:moveTo>
                    <a:pt x="90" y="234"/>
                  </a:moveTo>
                  <a:lnTo>
                    <a:pt x="94" y="234"/>
                  </a:lnTo>
                  <a:lnTo>
                    <a:pt x="98" y="234"/>
                  </a:lnTo>
                  <a:lnTo>
                    <a:pt x="98" y="232"/>
                  </a:lnTo>
                  <a:lnTo>
                    <a:pt x="98" y="234"/>
                  </a:lnTo>
                  <a:lnTo>
                    <a:pt x="102" y="234"/>
                  </a:lnTo>
                  <a:lnTo>
                    <a:pt x="102" y="232"/>
                  </a:lnTo>
                  <a:lnTo>
                    <a:pt x="106" y="232"/>
                  </a:lnTo>
                  <a:lnTo>
                    <a:pt x="106" y="234"/>
                  </a:lnTo>
                  <a:lnTo>
                    <a:pt x="106" y="232"/>
                  </a:lnTo>
                  <a:lnTo>
                    <a:pt x="108" y="232"/>
                  </a:lnTo>
                  <a:lnTo>
                    <a:pt x="108" y="234"/>
                  </a:lnTo>
                  <a:lnTo>
                    <a:pt x="106" y="234"/>
                  </a:lnTo>
                  <a:lnTo>
                    <a:pt x="102" y="234"/>
                  </a:lnTo>
                  <a:lnTo>
                    <a:pt x="102" y="238"/>
                  </a:lnTo>
                  <a:lnTo>
                    <a:pt x="98" y="238"/>
                  </a:lnTo>
                  <a:lnTo>
                    <a:pt x="98" y="242"/>
                  </a:lnTo>
                  <a:lnTo>
                    <a:pt x="94" y="238"/>
                  </a:lnTo>
                  <a:lnTo>
                    <a:pt x="94" y="242"/>
                  </a:lnTo>
                  <a:lnTo>
                    <a:pt x="90" y="246"/>
                  </a:lnTo>
                  <a:lnTo>
                    <a:pt x="86" y="246"/>
                  </a:lnTo>
                  <a:lnTo>
                    <a:pt x="86" y="250"/>
                  </a:lnTo>
                  <a:lnTo>
                    <a:pt x="82" y="250"/>
                  </a:lnTo>
                  <a:lnTo>
                    <a:pt x="78" y="250"/>
                  </a:lnTo>
                  <a:lnTo>
                    <a:pt x="76" y="250"/>
                  </a:lnTo>
                  <a:lnTo>
                    <a:pt x="72" y="250"/>
                  </a:lnTo>
                  <a:lnTo>
                    <a:pt x="76" y="250"/>
                  </a:lnTo>
                  <a:lnTo>
                    <a:pt x="78" y="250"/>
                  </a:lnTo>
                  <a:lnTo>
                    <a:pt x="82" y="250"/>
                  </a:lnTo>
                  <a:lnTo>
                    <a:pt x="82" y="254"/>
                  </a:lnTo>
                  <a:lnTo>
                    <a:pt x="78" y="254"/>
                  </a:lnTo>
                  <a:lnTo>
                    <a:pt x="76" y="254"/>
                  </a:lnTo>
                  <a:lnTo>
                    <a:pt x="78" y="254"/>
                  </a:lnTo>
                  <a:lnTo>
                    <a:pt x="82" y="254"/>
                  </a:lnTo>
                  <a:lnTo>
                    <a:pt x="82" y="258"/>
                  </a:lnTo>
                  <a:lnTo>
                    <a:pt x="82" y="262"/>
                  </a:lnTo>
                  <a:lnTo>
                    <a:pt x="78" y="262"/>
                  </a:lnTo>
                  <a:lnTo>
                    <a:pt x="82" y="262"/>
                  </a:lnTo>
                  <a:lnTo>
                    <a:pt x="78" y="264"/>
                  </a:lnTo>
                  <a:lnTo>
                    <a:pt x="82" y="264"/>
                  </a:lnTo>
                  <a:lnTo>
                    <a:pt x="78" y="264"/>
                  </a:lnTo>
                  <a:lnTo>
                    <a:pt x="78" y="268"/>
                  </a:lnTo>
                  <a:lnTo>
                    <a:pt x="76" y="264"/>
                  </a:lnTo>
                  <a:lnTo>
                    <a:pt x="78" y="268"/>
                  </a:lnTo>
                  <a:lnTo>
                    <a:pt x="78" y="272"/>
                  </a:lnTo>
                  <a:lnTo>
                    <a:pt x="78" y="276"/>
                  </a:lnTo>
                  <a:lnTo>
                    <a:pt x="78" y="280"/>
                  </a:lnTo>
                  <a:lnTo>
                    <a:pt x="76" y="280"/>
                  </a:lnTo>
                  <a:lnTo>
                    <a:pt x="78" y="284"/>
                  </a:lnTo>
                  <a:lnTo>
                    <a:pt x="76" y="288"/>
                  </a:lnTo>
                  <a:lnTo>
                    <a:pt x="76" y="292"/>
                  </a:lnTo>
                  <a:lnTo>
                    <a:pt x="76" y="294"/>
                  </a:lnTo>
                  <a:lnTo>
                    <a:pt x="72" y="298"/>
                  </a:lnTo>
                  <a:lnTo>
                    <a:pt x="72" y="302"/>
                  </a:lnTo>
                  <a:lnTo>
                    <a:pt x="68" y="306"/>
                  </a:lnTo>
                  <a:lnTo>
                    <a:pt x="64" y="302"/>
                  </a:lnTo>
                  <a:lnTo>
                    <a:pt x="60" y="306"/>
                  </a:lnTo>
                  <a:lnTo>
                    <a:pt x="56" y="302"/>
                  </a:lnTo>
                  <a:lnTo>
                    <a:pt x="52" y="302"/>
                  </a:lnTo>
                  <a:lnTo>
                    <a:pt x="52" y="306"/>
                  </a:lnTo>
                  <a:lnTo>
                    <a:pt x="48" y="306"/>
                  </a:lnTo>
                  <a:lnTo>
                    <a:pt x="48" y="310"/>
                  </a:lnTo>
                  <a:lnTo>
                    <a:pt x="46" y="310"/>
                  </a:lnTo>
                  <a:lnTo>
                    <a:pt x="46" y="314"/>
                  </a:lnTo>
                  <a:lnTo>
                    <a:pt x="46" y="318"/>
                  </a:lnTo>
                  <a:lnTo>
                    <a:pt x="48" y="318"/>
                  </a:lnTo>
                  <a:lnTo>
                    <a:pt x="46" y="318"/>
                  </a:lnTo>
                  <a:lnTo>
                    <a:pt x="46" y="320"/>
                  </a:lnTo>
                  <a:lnTo>
                    <a:pt x="42" y="320"/>
                  </a:lnTo>
                  <a:lnTo>
                    <a:pt x="38" y="320"/>
                  </a:lnTo>
                  <a:lnTo>
                    <a:pt x="34" y="320"/>
                  </a:lnTo>
                  <a:lnTo>
                    <a:pt x="30" y="320"/>
                  </a:lnTo>
                  <a:lnTo>
                    <a:pt x="26" y="320"/>
                  </a:lnTo>
                  <a:lnTo>
                    <a:pt x="26" y="318"/>
                  </a:lnTo>
                  <a:lnTo>
                    <a:pt x="30" y="314"/>
                  </a:lnTo>
                  <a:lnTo>
                    <a:pt x="26" y="310"/>
                  </a:lnTo>
                  <a:lnTo>
                    <a:pt x="22" y="306"/>
                  </a:lnTo>
                  <a:lnTo>
                    <a:pt x="18" y="302"/>
                  </a:lnTo>
                  <a:lnTo>
                    <a:pt x="22" y="302"/>
                  </a:lnTo>
                  <a:lnTo>
                    <a:pt x="26" y="302"/>
                  </a:lnTo>
                  <a:lnTo>
                    <a:pt x="22" y="298"/>
                  </a:lnTo>
                  <a:lnTo>
                    <a:pt x="26" y="298"/>
                  </a:lnTo>
                  <a:lnTo>
                    <a:pt x="26" y="294"/>
                  </a:lnTo>
                  <a:lnTo>
                    <a:pt x="22" y="294"/>
                  </a:lnTo>
                  <a:lnTo>
                    <a:pt x="22" y="292"/>
                  </a:lnTo>
                  <a:lnTo>
                    <a:pt x="22" y="288"/>
                  </a:lnTo>
                  <a:lnTo>
                    <a:pt x="18" y="288"/>
                  </a:lnTo>
                  <a:lnTo>
                    <a:pt x="18" y="284"/>
                  </a:lnTo>
                  <a:lnTo>
                    <a:pt x="16" y="284"/>
                  </a:lnTo>
                  <a:lnTo>
                    <a:pt x="16" y="280"/>
                  </a:lnTo>
                  <a:lnTo>
                    <a:pt x="16" y="276"/>
                  </a:lnTo>
                  <a:lnTo>
                    <a:pt x="12" y="276"/>
                  </a:lnTo>
                  <a:lnTo>
                    <a:pt x="12" y="272"/>
                  </a:lnTo>
                  <a:lnTo>
                    <a:pt x="12" y="268"/>
                  </a:lnTo>
                  <a:lnTo>
                    <a:pt x="8" y="268"/>
                  </a:lnTo>
                  <a:lnTo>
                    <a:pt x="8" y="264"/>
                  </a:lnTo>
                  <a:lnTo>
                    <a:pt x="12" y="264"/>
                  </a:lnTo>
                  <a:lnTo>
                    <a:pt x="12" y="262"/>
                  </a:lnTo>
                  <a:lnTo>
                    <a:pt x="12" y="258"/>
                  </a:lnTo>
                  <a:lnTo>
                    <a:pt x="8" y="258"/>
                  </a:lnTo>
                  <a:lnTo>
                    <a:pt x="4" y="258"/>
                  </a:lnTo>
                  <a:lnTo>
                    <a:pt x="4" y="254"/>
                  </a:lnTo>
                  <a:lnTo>
                    <a:pt x="4" y="250"/>
                  </a:lnTo>
                  <a:lnTo>
                    <a:pt x="4" y="246"/>
                  </a:lnTo>
                  <a:lnTo>
                    <a:pt x="0" y="246"/>
                  </a:lnTo>
                  <a:lnTo>
                    <a:pt x="4" y="246"/>
                  </a:lnTo>
                  <a:lnTo>
                    <a:pt x="4" y="242"/>
                  </a:lnTo>
                  <a:lnTo>
                    <a:pt x="0" y="242"/>
                  </a:lnTo>
                  <a:lnTo>
                    <a:pt x="0" y="238"/>
                  </a:lnTo>
                  <a:lnTo>
                    <a:pt x="4" y="238"/>
                  </a:lnTo>
                  <a:lnTo>
                    <a:pt x="4" y="242"/>
                  </a:lnTo>
                  <a:lnTo>
                    <a:pt x="8" y="242"/>
                  </a:lnTo>
                  <a:lnTo>
                    <a:pt x="12" y="238"/>
                  </a:lnTo>
                  <a:lnTo>
                    <a:pt x="12" y="234"/>
                  </a:lnTo>
                  <a:lnTo>
                    <a:pt x="12" y="232"/>
                  </a:lnTo>
                  <a:lnTo>
                    <a:pt x="8" y="228"/>
                  </a:lnTo>
                  <a:lnTo>
                    <a:pt x="12" y="228"/>
                  </a:lnTo>
                  <a:lnTo>
                    <a:pt x="12" y="224"/>
                  </a:lnTo>
                  <a:lnTo>
                    <a:pt x="12" y="220"/>
                  </a:lnTo>
                  <a:lnTo>
                    <a:pt x="16" y="220"/>
                  </a:lnTo>
                  <a:lnTo>
                    <a:pt x="18" y="220"/>
                  </a:lnTo>
                  <a:lnTo>
                    <a:pt x="18" y="216"/>
                  </a:lnTo>
                  <a:lnTo>
                    <a:pt x="18" y="212"/>
                  </a:lnTo>
                  <a:lnTo>
                    <a:pt x="22" y="208"/>
                  </a:lnTo>
                  <a:lnTo>
                    <a:pt x="22" y="206"/>
                  </a:lnTo>
                  <a:lnTo>
                    <a:pt x="18" y="206"/>
                  </a:lnTo>
                  <a:lnTo>
                    <a:pt x="18" y="202"/>
                  </a:lnTo>
                  <a:lnTo>
                    <a:pt x="18" y="198"/>
                  </a:lnTo>
                  <a:lnTo>
                    <a:pt x="16" y="194"/>
                  </a:lnTo>
                  <a:lnTo>
                    <a:pt x="18" y="194"/>
                  </a:lnTo>
                  <a:lnTo>
                    <a:pt x="22" y="194"/>
                  </a:lnTo>
                  <a:lnTo>
                    <a:pt x="22" y="190"/>
                  </a:lnTo>
                  <a:lnTo>
                    <a:pt x="26" y="190"/>
                  </a:lnTo>
                  <a:lnTo>
                    <a:pt x="26" y="186"/>
                  </a:lnTo>
                  <a:lnTo>
                    <a:pt x="22" y="186"/>
                  </a:lnTo>
                  <a:lnTo>
                    <a:pt x="22" y="182"/>
                  </a:lnTo>
                  <a:lnTo>
                    <a:pt x="18" y="182"/>
                  </a:lnTo>
                  <a:lnTo>
                    <a:pt x="16" y="178"/>
                  </a:lnTo>
                  <a:lnTo>
                    <a:pt x="16" y="176"/>
                  </a:lnTo>
                  <a:lnTo>
                    <a:pt x="16" y="172"/>
                  </a:lnTo>
                  <a:lnTo>
                    <a:pt x="18" y="168"/>
                  </a:lnTo>
                  <a:lnTo>
                    <a:pt x="18" y="164"/>
                  </a:lnTo>
                  <a:lnTo>
                    <a:pt x="16" y="164"/>
                  </a:lnTo>
                  <a:lnTo>
                    <a:pt x="16" y="162"/>
                  </a:lnTo>
                  <a:lnTo>
                    <a:pt x="16" y="158"/>
                  </a:lnTo>
                  <a:lnTo>
                    <a:pt x="16" y="154"/>
                  </a:lnTo>
                  <a:lnTo>
                    <a:pt x="16" y="150"/>
                  </a:lnTo>
                  <a:lnTo>
                    <a:pt x="16" y="146"/>
                  </a:lnTo>
                  <a:lnTo>
                    <a:pt x="12" y="142"/>
                  </a:lnTo>
                  <a:lnTo>
                    <a:pt x="16" y="142"/>
                  </a:lnTo>
                  <a:lnTo>
                    <a:pt x="16" y="138"/>
                  </a:lnTo>
                  <a:lnTo>
                    <a:pt x="16" y="134"/>
                  </a:lnTo>
                  <a:lnTo>
                    <a:pt x="18" y="132"/>
                  </a:lnTo>
                  <a:lnTo>
                    <a:pt x="22" y="128"/>
                  </a:lnTo>
                  <a:lnTo>
                    <a:pt x="26" y="124"/>
                  </a:lnTo>
                  <a:lnTo>
                    <a:pt x="30" y="124"/>
                  </a:lnTo>
                  <a:lnTo>
                    <a:pt x="42" y="124"/>
                  </a:lnTo>
                  <a:lnTo>
                    <a:pt x="46" y="120"/>
                  </a:lnTo>
                  <a:lnTo>
                    <a:pt x="46" y="116"/>
                  </a:lnTo>
                  <a:lnTo>
                    <a:pt x="46" y="112"/>
                  </a:lnTo>
                  <a:lnTo>
                    <a:pt x="42" y="112"/>
                  </a:lnTo>
                  <a:lnTo>
                    <a:pt x="38" y="112"/>
                  </a:lnTo>
                  <a:lnTo>
                    <a:pt x="38" y="108"/>
                  </a:lnTo>
                  <a:lnTo>
                    <a:pt x="42" y="108"/>
                  </a:lnTo>
                  <a:lnTo>
                    <a:pt x="42" y="106"/>
                  </a:lnTo>
                  <a:lnTo>
                    <a:pt x="42" y="102"/>
                  </a:lnTo>
                  <a:lnTo>
                    <a:pt x="46" y="102"/>
                  </a:lnTo>
                  <a:lnTo>
                    <a:pt x="46" y="98"/>
                  </a:lnTo>
                  <a:lnTo>
                    <a:pt x="48" y="94"/>
                  </a:lnTo>
                  <a:lnTo>
                    <a:pt x="48" y="90"/>
                  </a:lnTo>
                  <a:lnTo>
                    <a:pt x="48" y="86"/>
                  </a:lnTo>
                  <a:lnTo>
                    <a:pt x="48" y="82"/>
                  </a:lnTo>
                  <a:lnTo>
                    <a:pt x="52" y="82"/>
                  </a:lnTo>
                  <a:lnTo>
                    <a:pt x="48" y="78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64" y="72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8" y="60"/>
                  </a:lnTo>
                  <a:lnTo>
                    <a:pt x="72" y="56"/>
                  </a:lnTo>
                  <a:lnTo>
                    <a:pt x="76" y="52"/>
                  </a:lnTo>
                  <a:lnTo>
                    <a:pt x="76" y="48"/>
                  </a:lnTo>
                  <a:lnTo>
                    <a:pt x="76" y="46"/>
                  </a:lnTo>
                  <a:lnTo>
                    <a:pt x="72" y="46"/>
                  </a:lnTo>
                  <a:lnTo>
                    <a:pt x="72" y="42"/>
                  </a:lnTo>
                  <a:lnTo>
                    <a:pt x="76" y="42"/>
                  </a:lnTo>
                  <a:lnTo>
                    <a:pt x="78" y="38"/>
                  </a:lnTo>
                  <a:lnTo>
                    <a:pt x="78" y="34"/>
                  </a:lnTo>
                  <a:lnTo>
                    <a:pt x="78" y="30"/>
                  </a:lnTo>
                  <a:lnTo>
                    <a:pt x="86" y="26"/>
                  </a:lnTo>
                  <a:lnTo>
                    <a:pt x="90" y="26"/>
                  </a:lnTo>
                  <a:lnTo>
                    <a:pt x="94" y="26"/>
                  </a:lnTo>
                  <a:lnTo>
                    <a:pt x="94" y="30"/>
                  </a:lnTo>
                  <a:lnTo>
                    <a:pt x="98" y="30"/>
                  </a:lnTo>
                  <a:lnTo>
                    <a:pt x="98" y="26"/>
                  </a:lnTo>
                  <a:lnTo>
                    <a:pt x="102" y="22"/>
                  </a:lnTo>
                  <a:lnTo>
                    <a:pt x="102" y="20"/>
                  </a:lnTo>
                  <a:lnTo>
                    <a:pt x="98" y="20"/>
                  </a:lnTo>
                  <a:lnTo>
                    <a:pt x="102" y="16"/>
                  </a:lnTo>
                  <a:lnTo>
                    <a:pt x="106" y="16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8" y="20"/>
                  </a:lnTo>
                  <a:lnTo>
                    <a:pt x="132" y="16"/>
                  </a:lnTo>
                  <a:lnTo>
                    <a:pt x="128" y="16"/>
                  </a:lnTo>
                  <a:lnTo>
                    <a:pt x="132" y="12"/>
                  </a:lnTo>
                  <a:lnTo>
                    <a:pt x="132" y="8"/>
                  </a:lnTo>
                  <a:lnTo>
                    <a:pt x="132" y="4"/>
                  </a:lnTo>
                  <a:lnTo>
                    <a:pt x="128" y="0"/>
                  </a:lnTo>
                  <a:lnTo>
                    <a:pt x="134" y="0"/>
                  </a:lnTo>
                  <a:lnTo>
                    <a:pt x="138" y="4"/>
                  </a:lnTo>
                  <a:lnTo>
                    <a:pt x="142" y="8"/>
                  </a:lnTo>
                  <a:lnTo>
                    <a:pt x="146" y="8"/>
                  </a:lnTo>
                  <a:lnTo>
                    <a:pt x="146" y="12"/>
                  </a:lnTo>
                  <a:lnTo>
                    <a:pt x="150" y="12"/>
                  </a:lnTo>
                  <a:lnTo>
                    <a:pt x="150" y="16"/>
                  </a:lnTo>
                  <a:lnTo>
                    <a:pt x="154" y="16"/>
                  </a:lnTo>
                  <a:lnTo>
                    <a:pt x="158" y="16"/>
                  </a:lnTo>
                  <a:lnTo>
                    <a:pt x="162" y="16"/>
                  </a:lnTo>
                  <a:lnTo>
                    <a:pt x="164" y="20"/>
                  </a:lnTo>
                  <a:lnTo>
                    <a:pt x="168" y="20"/>
                  </a:lnTo>
                  <a:lnTo>
                    <a:pt x="176" y="26"/>
                  </a:lnTo>
                  <a:lnTo>
                    <a:pt x="180" y="30"/>
                  </a:lnTo>
                  <a:lnTo>
                    <a:pt x="176" y="30"/>
                  </a:lnTo>
                  <a:lnTo>
                    <a:pt x="176" y="34"/>
                  </a:lnTo>
                  <a:lnTo>
                    <a:pt x="176" y="38"/>
                  </a:lnTo>
                  <a:lnTo>
                    <a:pt x="176" y="42"/>
                  </a:lnTo>
                  <a:lnTo>
                    <a:pt x="180" y="42"/>
                  </a:lnTo>
                  <a:lnTo>
                    <a:pt x="180" y="46"/>
                  </a:lnTo>
                  <a:lnTo>
                    <a:pt x="176" y="48"/>
                  </a:lnTo>
                  <a:lnTo>
                    <a:pt x="180" y="52"/>
                  </a:lnTo>
                  <a:lnTo>
                    <a:pt x="184" y="56"/>
                  </a:lnTo>
                  <a:lnTo>
                    <a:pt x="184" y="60"/>
                  </a:lnTo>
                  <a:lnTo>
                    <a:pt x="184" y="64"/>
                  </a:lnTo>
                  <a:lnTo>
                    <a:pt x="180" y="64"/>
                  </a:lnTo>
                  <a:lnTo>
                    <a:pt x="180" y="68"/>
                  </a:lnTo>
                  <a:lnTo>
                    <a:pt x="180" y="72"/>
                  </a:lnTo>
                  <a:lnTo>
                    <a:pt x="180" y="76"/>
                  </a:lnTo>
                  <a:lnTo>
                    <a:pt x="184" y="76"/>
                  </a:lnTo>
                  <a:lnTo>
                    <a:pt x="188" y="82"/>
                  </a:lnTo>
                  <a:lnTo>
                    <a:pt x="184" y="82"/>
                  </a:lnTo>
                  <a:lnTo>
                    <a:pt x="180" y="82"/>
                  </a:lnTo>
                  <a:lnTo>
                    <a:pt x="176" y="82"/>
                  </a:lnTo>
                  <a:lnTo>
                    <a:pt x="172" y="82"/>
                  </a:lnTo>
                  <a:lnTo>
                    <a:pt x="172" y="86"/>
                  </a:lnTo>
                  <a:lnTo>
                    <a:pt x="168" y="82"/>
                  </a:lnTo>
                  <a:lnTo>
                    <a:pt x="164" y="82"/>
                  </a:lnTo>
                  <a:lnTo>
                    <a:pt x="164" y="78"/>
                  </a:lnTo>
                  <a:lnTo>
                    <a:pt x="164" y="82"/>
                  </a:lnTo>
                  <a:lnTo>
                    <a:pt x="162" y="82"/>
                  </a:lnTo>
                  <a:lnTo>
                    <a:pt x="158" y="86"/>
                  </a:lnTo>
                  <a:lnTo>
                    <a:pt x="162" y="86"/>
                  </a:lnTo>
                  <a:lnTo>
                    <a:pt x="162" y="90"/>
                  </a:lnTo>
                  <a:lnTo>
                    <a:pt x="158" y="86"/>
                  </a:lnTo>
                  <a:lnTo>
                    <a:pt x="154" y="86"/>
                  </a:lnTo>
                  <a:lnTo>
                    <a:pt x="154" y="82"/>
                  </a:lnTo>
                  <a:lnTo>
                    <a:pt x="154" y="86"/>
                  </a:lnTo>
                  <a:lnTo>
                    <a:pt x="158" y="86"/>
                  </a:lnTo>
                  <a:lnTo>
                    <a:pt x="158" y="90"/>
                  </a:lnTo>
                  <a:lnTo>
                    <a:pt x="154" y="90"/>
                  </a:lnTo>
                  <a:lnTo>
                    <a:pt x="158" y="90"/>
                  </a:lnTo>
                  <a:lnTo>
                    <a:pt x="154" y="94"/>
                  </a:lnTo>
                  <a:lnTo>
                    <a:pt x="150" y="94"/>
                  </a:lnTo>
                  <a:lnTo>
                    <a:pt x="150" y="90"/>
                  </a:lnTo>
                  <a:lnTo>
                    <a:pt x="146" y="94"/>
                  </a:lnTo>
                  <a:lnTo>
                    <a:pt x="150" y="94"/>
                  </a:lnTo>
                  <a:lnTo>
                    <a:pt x="150" y="98"/>
                  </a:lnTo>
                  <a:lnTo>
                    <a:pt x="150" y="94"/>
                  </a:lnTo>
                  <a:lnTo>
                    <a:pt x="146" y="94"/>
                  </a:lnTo>
                  <a:lnTo>
                    <a:pt x="150" y="94"/>
                  </a:lnTo>
                  <a:lnTo>
                    <a:pt x="150" y="98"/>
                  </a:lnTo>
                  <a:lnTo>
                    <a:pt x="150" y="102"/>
                  </a:lnTo>
                  <a:lnTo>
                    <a:pt x="146" y="102"/>
                  </a:lnTo>
                  <a:lnTo>
                    <a:pt x="142" y="106"/>
                  </a:lnTo>
                  <a:lnTo>
                    <a:pt x="142" y="108"/>
                  </a:lnTo>
                  <a:lnTo>
                    <a:pt x="146" y="106"/>
                  </a:lnTo>
                  <a:lnTo>
                    <a:pt x="146" y="108"/>
                  </a:lnTo>
                  <a:lnTo>
                    <a:pt x="142" y="108"/>
                  </a:lnTo>
                  <a:lnTo>
                    <a:pt x="146" y="112"/>
                  </a:lnTo>
                  <a:lnTo>
                    <a:pt x="150" y="112"/>
                  </a:lnTo>
                  <a:lnTo>
                    <a:pt x="150" y="116"/>
                  </a:lnTo>
                  <a:lnTo>
                    <a:pt x="146" y="116"/>
                  </a:lnTo>
                  <a:lnTo>
                    <a:pt x="146" y="120"/>
                  </a:lnTo>
                  <a:lnTo>
                    <a:pt x="142" y="124"/>
                  </a:lnTo>
                  <a:lnTo>
                    <a:pt x="138" y="124"/>
                  </a:lnTo>
                  <a:lnTo>
                    <a:pt x="138" y="128"/>
                  </a:lnTo>
                  <a:lnTo>
                    <a:pt x="134" y="132"/>
                  </a:lnTo>
                  <a:lnTo>
                    <a:pt x="132" y="132"/>
                  </a:lnTo>
                  <a:lnTo>
                    <a:pt x="132" y="134"/>
                  </a:lnTo>
                  <a:lnTo>
                    <a:pt x="128" y="134"/>
                  </a:lnTo>
                  <a:lnTo>
                    <a:pt x="124" y="134"/>
                  </a:lnTo>
                  <a:lnTo>
                    <a:pt x="124" y="138"/>
                  </a:lnTo>
                  <a:lnTo>
                    <a:pt x="120" y="138"/>
                  </a:lnTo>
                  <a:lnTo>
                    <a:pt x="120" y="134"/>
                  </a:lnTo>
                  <a:lnTo>
                    <a:pt x="120" y="138"/>
                  </a:lnTo>
                  <a:lnTo>
                    <a:pt x="116" y="138"/>
                  </a:lnTo>
                  <a:lnTo>
                    <a:pt x="116" y="142"/>
                  </a:lnTo>
                  <a:lnTo>
                    <a:pt x="112" y="142"/>
                  </a:lnTo>
                  <a:lnTo>
                    <a:pt x="116" y="142"/>
                  </a:lnTo>
                  <a:lnTo>
                    <a:pt x="112" y="146"/>
                  </a:lnTo>
                  <a:lnTo>
                    <a:pt x="112" y="142"/>
                  </a:lnTo>
                  <a:lnTo>
                    <a:pt x="108" y="142"/>
                  </a:lnTo>
                  <a:lnTo>
                    <a:pt x="112" y="142"/>
                  </a:lnTo>
                  <a:lnTo>
                    <a:pt x="112" y="146"/>
                  </a:lnTo>
                  <a:lnTo>
                    <a:pt x="108" y="146"/>
                  </a:lnTo>
                  <a:lnTo>
                    <a:pt x="106" y="146"/>
                  </a:lnTo>
                  <a:lnTo>
                    <a:pt x="106" y="150"/>
                  </a:lnTo>
                  <a:lnTo>
                    <a:pt x="102" y="150"/>
                  </a:lnTo>
                  <a:lnTo>
                    <a:pt x="106" y="150"/>
                  </a:lnTo>
                  <a:lnTo>
                    <a:pt x="106" y="154"/>
                  </a:lnTo>
                  <a:lnTo>
                    <a:pt x="102" y="154"/>
                  </a:lnTo>
                  <a:lnTo>
                    <a:pt x="98" y="154"/>
                  </a:lnTo>
                  <a:lnTo>
                    <a:pt x="98" y="150"/>
                  </a:lnTo>
                  <a:lnTo>
                    <a:pt x="94" y="150"/>
                  </a:lnTo>
                  <a:lnTo>
                    <a:pt x="98" y="150"/>
                  </a:lnTo>
                  <a:lnTo>
                    <a:pt x="98" y="154"/>
                  </a:lnTo>
                  <a:lnTo>
                    <a:pt x="98" y="158"/>
                  </a:lnTo>
                  <a:lnTo>
                    <a:pt x="98" y="162"/>
                  </a:lnTo>
                  <a:lnTo>
                    <a:pt x="94" y="162"/>
                  </a:lnTo>
                  <a:lnTo>
                    <a:pt x="90" y="162"/>
                  </a:lnTo>
                  <a:lnTo>
                    <a:pt x="90" y="164"/>
                  </a:lnTo>
                  <a:lnTo>
                    <a:pt x="94" y="168"/>
                  </a:lnTo>
                  <a:lnTo>
                    <a:pt x="90" y="168"/>
                  </a:lnTo>
                  <a:lnTo>
                    <a:pt x="90" y="172"/>
                  </a:lnTo>
                  <a:lnTo>
                    <a:pt x="90" y="176"/>
                  </a:lnTo>
                  <a:lnTo>
                    <a:pt x="90" y="178"/>
                  </a:lnTo>
                  <a:lnTo>
                    <a:pt x="94" y="178"/>
                  </a:lnTo>
                  <a:lnTo>
                    <a:pt x="90" y="178"/>
                  </a:lnTo>
                  <a:lnTo>
                    <a:pt x="86" y="178"/>
                  </a:lnTo>
                  <a:lnTo>
                    <a:pt x="90" y="178"/>
                  </a:lnTo>
                  <a:lnTo>
                    <a:pt x="86" y="178"/>
                  </a:lnTo>
                  <a:lnTo>
                    <a:pt x="86" y="182"/>
                  </a:lnTo>
                  <a:lnTo>
                    <a:pt x="86" y="186"/>
                  </a:lnTo>
                  <a:lnTo>
                    <a:pt x="86" y="190"/>
                  </a:lnTo>
                  <a:lnTo>
                    <a:pt x="86" y="194"/>
                  </a:lnTo>
                  <a:lnTo>
                    <a:pt x="86" y="198"/>
                  </a:lnTo>
                  <a:lnTo>
                    <a:pt x="90" y="198"/>
                  </a:lnTo>
                  <a:lnTo>
                    <a:pt x="90" y="202"/>
                  </a:lnTo>
                  <a:lnTo>
                    <a:pt x="90" y="206"/>
                  </a:lnTo>
                  <a:lnTo>
                    <a:pt x="90" y="202"/>
                  </a:lnTo>
                  <a:lnTo>
                    <a:pt x="94" y="202"/>
                  </a:lnTo>
                  <a:lnTo>
                    <a:pt x="94" y="206"/>
                  </a:lnTo>
                  <a:lnTo>
                    <a:pt x="98" y="206"/>
                  </a:lnTo>
                  <a:lnTo>
                    <a:pt x="102" y="208"/>
                  </a:lnTo>
                  <a:lnTo>
                    <a:pt x="106" y="208"/>
                  </a:lnTo>
                  <a:lnTo>
                    <a:pt x="106" y="212"/>
                  </a:lnTo>
                  <a:lnTo>
                    <a:pt x="108" y="212"/>
                  </a:lnTo>
                  <a:lnTo>
                    <a:pt x="106" y="212"/>
                  </a:lnTo>
                  <a:lnTo>
                    <a:pt x="106" y="216"/>
                  </a:lnTo>
                  <a:lnTo>
                    <a:pt x="108" y="216"/>
                  </a:lnTo>
                  <a:lnTo>
                    <a:pt x="112" y="220"/>
                  </a:lnTo>
                  <a:lnTo>
                    <a:pt x="112" y="224"/>
                  </a:lnTo>
                  <a:lnTo>
                    <a:pt x="108" y="224"/>
                  </a:lnTo>
                  <a:lnTo>
                    <a:pt x="108" y="228"/>
                  </a:lnTo>
                  <a:lnTo>
                    <a:pt x="106" y="232"/>
                  </a:lnTo>
                  <a:lnTo>
                    <a:pt x="102" y="232"/>
                  </a:lnTo>
                  <a:lnTo>
                    <a:pt x="106" y="232"/>
                  </a:lnTo>
                  <a:lnTo>
                    <a:pt x="102" y="232"/>
                  </a:lnTo>
                  <a:lnTo>
                    <a:pt x="98" y="232"/>
                  </a:lnTo>
                  <a:lnTo>
                    <a:pt x="94" y="232"/>
                  </a:lnTo>
                  <a:lnTo>
                    <a:pt x="98" y="228"/>
                  </a:lnTo>
                  <a:lnTo>
                    <a:pt x="94" y="228"/>
                  </a:lnTo>
                  <a:lnTo>
                    <a:pt x="94" y="224"/>
                  </a:lnTo>
                  <a:lnTo>
                    <a:pt x="94" y="228"/>
                  </a:lnTo>
                  <a:lnTo>
                    <a:pt x="94" y="224"/>
                  </a:lnTo>
                  <a:lnTo>
                    <a:pt x="90" y="224"/>
                  </a:lnTo>
                  <a:lnTo>
                    <a:pt x="94" y="228"/>
                  </a:lnTo>
                  <a:lnTo>
                    <a:pt x="90" y="228"/>
                  </a:lnTo>
                  <a:lnTo>
                    <a:pt x="90" y="224"/>
                  </a:lnTo>
                  <a:lnTo>
                    <a:pt x="94" y="224"/>
                  </a:lnTo>
                  <a:lnTo>
                    <a:pt x="94" y="228"/>
                  </a:lnTo>
                  <a:lnTo>
                    <a:pt x="94" y="232"/>
                  </a:lnTo>
                  <a:lnTo>
                    <a:pt x="90" y="228"/>
                  </a:lnTo>
                  <a:lnTo>
                    <a:pt x="94" y="228"/>
                  </a:lnTo>
                  <a:lnTo>
                    <a:pt x="90" y="228"/>
                  </a:lnTo>
                  <a:lnTo>
                    <a:pt x="90" y="232"/>
                  </a:lnTo>
                  <a:lnTo>
                    <a:pt x="86" y="228"/>
                  </a:lnTo>
                  <a:lnTo>
                    <a:pt x="82" y="228"/>
                  </a:lnTo>
                  <a:lnTo>
                    <a:pt x="78" y="228"/>
                  </a:lnTo>
                  <a:lnTo>
                    <a:pt x="76" y="232"/>
                  </a:lnTo>
                  <a:lnTo>
                    <a:pt x="72" y="232"/>
                  </a:lnTo>
                  <a:lnTo>
                    <a:pt x="76" y="232"/>
                  </a:lnTo>
                  <a:lnTo>
                    <a:pt x="78" y="232"/>
                  </a:lnTo>
                  <a:lnTo>
                    <a:pt x="82" y="232"/>
                  </a:lnTo>
                  <a:lnTo>
                    <a:pt x="78" y="232"/>
                  </a:lnTo>
                  <a:lnTo>
                    <a:pt x="82" y="232"/>
                  </a:lnTo>
                  <a:lnTo>
                    <a:pt x="86" y="232"/>
                  </a:lnTo>
                  <a:lnTo>
                    <a:pt x="90" y="232"/>
                  </a:lnTo>
                  <a:lnTo>
                    <a:pt x="90" y="234"/>
                  </a:lnTo>
                  <a:lnTo>
                    <a:pt x="86" y="234"/>
                  </a:lnTo>
                  <a:lnTo>
                    <a:pt x="90" y="234"/>
                  </a:lnTo>
                  <a:lnTo>
                    <a:pt x="90" y="234"/>
                  </a:lnTo>
                  <a:lnTo>
                    <a:pt x="90" y="234"/>
                  </a:lnTo>
                  <a:close/>
                  <a:moveTo>
                    <a:pt x="90" y="164"/>
                  </a:moveTo>
                  <a:lnTo>
                    <a:pt x="90" y="162"/>
                  </a:lnTo>
                  <a:lnTo>
                    <a:pt x="90" y="164"/>
                  </a:lnTo>
                  <a:lnTo>
                    <a:pt x="94" y="164"/>
                  </a:lnTo>
                  <a:lnTo>
                    <a:pt x="90" y="164"/>
                  </a:lnTo>
                  <a:lnTo>
                    <a:pt x="90" y="164"/>
                  </a:lnTo>
                  <a:lnTo>
                    <a:pt x="90" y="164"/>
                  </a:lnTo>
                  <a:close/>
                  <a:moveTo>
                    <a:pt x="86" y="232"/>
                  </a:moveTo>
                  <a:lnTo>
                    <a:pt x="90" y="232"/>
                  </a:lnTo>
                  <a:lnTo>
                    <a:pt x="86" y="232"/>
                  </a:lnTo>
                  <a:lnTo>
                    <a:pt x="86" y="232"/>
                  </a:lnTo>
                  <a:lnTo>
                    <a:pt x="86" y="232"/>
                  </a:lnTo>
                  <a:close/>
                  <a:moveTo>
                    <a:pt x="94" y="234"/>
                  </a:moveTo>
                  <a:lnTo>
                    <a:pt x="94" y="232"/>
                  </a:lnTo>
                  <a:lnTo>
                    <a:pt x="98" y="234"/>
                  </a:lnTo>
                  <a:lnTo>
                    <a:pt x="94" y="234"/>
                  </a:lnTo>
                  <a:lnTo>
                    <a:pt x="94" y="234"/>
                  </a:lnTo>
                  <a:lnTo>
                    <a:pt x="94" y="234"/>
                  </a:lnTo>
                  <a:close/>
                  <a:moveTo>
                    <a:pt x="116" y="264"/>
                  </a:moveTo>
                  <a:lnTo>
                    <a:pt x="112" y="264"/>
                  </a:lnTo>
                  <a:lnTo>
                    <a:pt x="116" y="264"/>
                  </a:lnTo>
                  <a:lnTo>
                    <a:pt x="116" y="264"/>
                  </a:lnTo>
                  <a:lnTo>
                    <a:pt x="116" y="264"/>
                  </a:lnTo>
                  <a:close/>
                  <a:moveTo>
                    <a:pt x="106" y="212"/>
                  </a:moveTo>
                  <a:lnTo>
                    <a:pt x="106" y="208"/>
                  </a:lnTo>
                  <a:lnTo>
                    <a:pt x="106" y="206"/>
                  </a:lnTo>
                  <a:lnTo>
                    <a:pt x="106" y="208"/>
                  </a:lnTo>
                  <a:lnTo>
                    <a:pt x="106" y="212"/>
                  </a:lnTo>
                  <a:lnTo>
                    <a:pt x="106" y="212"/>
                  </a:lnTo>
                  <a:lnTo>
                    <a:pt x="106" y="212"/>
                  </a:lnTo>
                  <a:close/>
                  <a:moveTo>
                    <a:pt x="8" y="262"/>
                  </a:moveTo>
                  <a:lnTo>
                    <a:pt x="4" y="262"/>
                  </a:lnTo>
                  <a:lnTo>
                    <a:pt x="8" y="258"/>
                  </a:lnTo>
                  <a:lnTo>
                    <a:pt x="12" y="258"/>
                  </a:lnTo>
                  <a:lnTo>
                    <a:pt x="12" y="262"/>
                  </a:lnTo>
                  <a:lnTo>
                    <a:pt x="8" y="262"/>
                  </a:lnTo>
                  <a:lnTo>
                    <a:pt x="8" y="262"/>
                  </a:lnTo>
                  <a:lnTo>
                    <a:pt x="8" y="262"/>
                  </a:lnTo>
                  <a:close/>
                  <a:moveTo>
                    <a:pt x="8" y="264"/>
                  </a:moveTo>
                  <a:lnTo>
                    <a:pt x="8" y="262"/>
                  </a:lnTo>
                  <a:lnTo>
                    <a:pt x="12" y="262"/>
                  </a:lnTo>
                  <a:lnTo>
                    <a:pt x="12" y="264"/>
                  </a:lnTo>
                  <a:lnTo>
                    <a:pt x="8" y="264"/>
                  </a:lnTo>
                  <a:lnTo>
                    <a:pt x="8" y="264"/>
                  </a:lnTo>
                  <a:lnTo>
                    <a:pt x="8" y="264"/>
                  </a:lnTo>
                  <a:close/>
                  <a:moveTo>
                    <a:pt x="112" y="264"/>
                  </a:moveTo>
                  <a:lnTo>
                    <a:pt x="112" y="268"/>
                  </a:lnTo>
                  <a:lnTo>
                    <a:pt x="108" y="268"/>
                  </a:lnTo>
                  <a:lnTo>
                    <a:pt x="108" y="272"/>
                  </a:lnTo>
                  <a:lnTo>
                    <a:pt x="108" y="276"/>
                  </a:lnTo>
                  <a:lnTo>
                    <a:pt x="108" y="280"/>
                  </a:lnTo>
                  <a:lnTo>
                    <a:pt x="106" y="280"/>
                  </a:lnTo>
                  <a:lnTo>
                    <a:pt x="106" y="284"/>
                  </a:lnTo>
                  <a:lnTo>
                    <a:pt x="102" y="288"/>
                  </a:lnTo>
                  <a:lnTo>
                    <a:pt x="102" y="284"/>
                  </a:lnTo>
                  <a:lnTo>
                    <a:pt x="102" y="280"/>
                  </a:lnTo>
                  <a:lnTo>
                    <a:pt x="102" y="276"/>
                  </a:lnTo>
                  <a:lnTo>
                    <a:pt x="102" y="272"/>
                  </a:lnTo>
                  <a:lnTo>
                    <a:pt x="106" y="268"/>
                  </a:lnTo>
                  <a:lnTo>
                    <a:pt x="108" y="264"/>
                  </a:lnTo>
                  <a:lnTo>
                    <a:pt x="112" y="264"/>
                  </a:lnTo>
                  <a:lnTo>
                    <a:pt x="112" y="264"/>
                  </a:lnTo>
                  <a:lnTo>
                    <a:pt x="112" y="264"/>
                  </a:lnTo>
                  <a:close/>
                  <a:moveTo>
                    <a:pt x="76" y="302"/>
                  </a:moveTo>
                  <a:lnTo>
                    <a:pt x="76" y="298"/>
                  </a:lnTo>
                  <a:lnTo>
                    <a:pt x="76" y="294"/>
                  </a:lnTo>
                  <a:lnTo>
                    <a:pt x="78" y="292"/>
                  </a:lnTo>
                  <a:lnTo>
                    <a:pt x="78" y="288"/>
                  </a:lnTo>
                  <a:lnTo>
                    <a:pt x="82" y="288"/>
                  </a:lnTo>
                  <a:lnTo>
                    <a:pt x="82" y="284"/>
                  </a:lnTo>
                  <a:lnTo>
                    <a:pt x="82" y="280"/>
                  </a:lnTo>
                  <a:lnTo>
                    <a:pt x="86" y="276"/>
                  </a:lnTo>
                  <a:lnTo>
                    <a:pt x="86" y="280"/>
                  </a:lnTo>
                  <a:lnTo>
                    <a:pt x="86" y="284"/>
                  </a:lnTo>
                  <a:lnTo>
                    <a:pt x="82" y="284"/>
                  </a:lnTo>
                  <a:lnTo>
                    <a:pt x="82" y="288"/>
                  </a:lnTo>
                  <a:lnTo>
                    <a:pt x="82" y="292"/>
                  </a:lnTo>
                  <a:lnTo>
                    <a:pt x="78" y="292"/>
                  </a:lnTo>
                  <a:lnTo>
                    <a:pt x="78" y="294"/>
                  </a:lnTo>
                  <a:lnTo>
                    <a:pt x="78" y="298"/>
                  </a:lnTo>
                  <a:lnTo>
                    <a:pt x="78" y="302"/>
                  </a:lnTo>
                  <a:lnTo>
                    <a:pt x="76" y="302"/>
                  </a:lnTo>
                  <a:lnTo>
                    <a:pt x="76" y="302"/>
                  </a:lnTo>
                  <a:lnTo>
                    <a:pt x="76" y="302"/>
                  </a:lnTo>
                  <a:close/>
                </a:path>
              </a:pathLst>
            </a:custGeom>
            <a:solidFill>
              <a:srgbClr val="008BE5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84" name="Freeform 124">
              <a:extLst>
                <a:ext uri="{FF2B5EF4-FFF2-40B4-BE49-F238E27FC236}">
                  <a16:creationId xmlns:a16="http://schemas.microsoft.com/office/drawing/2014/main" id="{F10F5C1A-C3B8-C27B-8D54-9724DA8FF2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60677" y="2538289"/>
              <a:ext cx="120790" cy="75420"/>
            </a:xfrm>
            <a:custGeom>
              <a:avLst/>
              <a:gdLst>
                <a:gd name="T0" fmla="*/ 6 w 62"/>
                <a:gd name="T1" fmla="*/ 14 h 40"/>
                <a:gd name="T2" fmla="*/ 10 w 62"/>
                <a:gd name="T3" fmla="*/ 10 h 40"/>
                <a:gd name="T4" fmla="*/ 10 w 62"/>
                <a:gd name="T5" fmla="*/ 6 h 40"/>
                <a:gd name="T6" fmla="*/ 18 w 62"/>
                <a:gd name="T7" fmla="*/ 6 h 40"/>
                <a:gd name="T8" fmla="*/ 18 w 62"/>
                <a:gd name="T9" fmla="*/ 6 h 40"/>
                <a:gd name="T10" fmla="*/ 18 w 62"/>
                <a:gd name="T11" fmla="*/ 6 h 40"/>
                <a:gd name="T12" fmla="*/ 22 w 62"/>
                <a:gd name="T13" fmla="*/ 4 h 40"/>
                <a:gd name="T14" fmla="*/ 22 w 62"/>
                <a:gd name="T15" fmla="*/ 4 h 40"/>
                <a:gd name="T16" fmla="*/ 26 w 62"/>
                <a:gd name="T17" fmla="*/ 4 h 40"/>
                <a:gd name="T18" fmla="*/ 28 w 62"/>
                <a:gd name="T19" fmla="*/ 4 h 40"/>
                <a:gd name="T20" fmla="*/ 32 w 62"/>
                <a:gd name="T21" fmla="*/ 4 h 40"/>
                <a:gd name="T22" fmla="*/ 36 w 62"/>
                <a:gd name="T23" fmla="*/ 4 h 40"/>
                <a:gd name="T24" fmla="*/ 32 w 62"/>
                <a:gd name="T25" fmla="*/ 4 h 40"/>
                <a:gd name="T26" fmla="*/ 36 w 62"/>
                <a:gd name="T27" fmla="*/ 0 h 40"/>
                <a:gd name="T28" fmla="*/ 36 w 62"/>
                <a:gd name="T29" fmla="*/ 0 h 40"/>
                <a:gd name="T30" fmla="*/ 40 w 62"/>
                <a:gd name="T31" fmla="*/ 0 h 40"/>
                <a:gd name="T32" fmla="*/ 40 w 62"/>
                <a:gd name="T33" fmla="*/ 4 h 40"/>
                <a:gd name="T34" fmla="*/ 48 w 62"/>
                <a:gd name="T35" fmla="*/ 4 h 40"/>
                <a:gd name="T36" fmla="*/ 52 w 62"/>
                <a:gd name="T37" fmla="*/ 6 h 40"/>
                <a:gd name="T38" fmla="*/ 48 w 62"/>
                <a:gd name="T39" fmla="*/ 10 h 40"/>
                <a:gd name="T40" fmla="*/ 48 w 62"/>
                <a:gd name="T41" fmla="*/ 14 h 40"/>
                <a:gd name="T42" fmla="*/ 52 w 62"/>
                <a:gd name="T43" fmla="*/ 14 h 40"/>
                <a:gd name="T44" fmla="*/ 52 w 62"/>
                <a:gd name="T45" fmla="*/ 18 h 40"/>
                <a:gd name="T46" fmla="*/ 56 w 62"/>
                <a:gd name="T47" fmla="*/ 18 h 40"/>
                <a:gd name="T48" fmla="*/ 58 w 62"/>
                <a:gd name="T49" fmla="*/ 14 h 40"/>
                <a:gd name="T50" fmla="*/ 62 w 62"/>
                <a:gd name="T51" fmla="*/ 22 h 40"/>
                <a:gd name="T52" fmla="*/ 62 w 62"/>
                <a:gd name="T53" fmla="*/ 26 h 40"/>
                <a:gd name="T54" fmla="*/ 58 w 62"/>
                <a:gd name="T55" fmla="*/ 22 h 40"/>
                <a:gd name="T56" fmla="*/ 56 w 62"/>
                <a:gd name="T57" fmla="*/ 26 h 40"/>
                <a:gd name="T58" fmla="*/ 56 w 62"/>
                <a:gd name="T59" fmla="*/ 30 h 40"/>
                <a:gd name="T60" fmla="*/ 56 w 62"/>
                <a:gd name="T61" fmla="*/ 30 h 40"/>
                <a:gd name="T62" fmla="*/ 52 w 62"/>
                <a:gd name="T63" fmla="*/ 30 h 40"/>
                <a:gd name="T64" fmla="*/ 48 w 62"/>
                <a:gd name="T65" fmla="*/ 30 h 40"/>
                <a:gd name="T66" fmla="*/ 44 w 62"/>
                <a:gd name="T67" fmla="*/ 26 h 40"/>
                <a:gd name="T68" fmla="*/ 44 w 62"/>
                <a:gd name="T69" fmla="*/ 30 h 40"/>
                <a:gd name="T70" fmla="*/ 40 w 62"/>
                <a:gd name="T71" fmla="*/ 34 h 40"/>
                <a:gd name="T72" fmla="*/ 40 w 62"/>
                <a:gd name="T73" fmla="*/ 36 h 40"/>
                <a:gd name="T74" fmla="*/ 40 w 62"/>
                <a:gd name="T75" fmla="*/ 36 h 40"/>
                <a:gd name="T76" fmla="*/ 40 w 62"/>
                <a:gd name="T77" fmla="*/ 34 h 40"/>
                <a:gd name="T78" fmla="*/ 36 w 62"/>
                <a:gd name="T79" fmla="*/ 34 h 40"/>
                <a:gd name="T80" fmla="*/ 32 w 62"/>
                <a:gd name="T81" fmla="*/ 30 h 40"/>
                <a:gd name="T82" fmla="*/ 32 w 62"/>
                <a:gd name="T83" fmla="*/ 26 h 40"/>
                <a:gd name="T84" fmla="*/ 26 w 62"/>
                <a:gd name="T85" fmla="*/ 36 h 40"/>
                <a:gd name="T86" fmla="*/ 26 w 62"/>
                <a:gd name="T87" fmla="*/ 36 h 40"/>
                <a:gd name="T88" fmla="*/ 22 w 62"/>
                <a:gd name="T89" fmla="*/ 36 h 40"/>
                <a:gd name="T90" fmla="*/ 18 w 62"/>
                <a:gd name="T91" fmla="*/ 36 h 40"/>
                <a:gd name="T92" fmla="*/ 14 w 62"/>
                <a:gd name="T93" fmla="*/ 36 h 40"/>
                <a:gd name="T94" fmla="*/ 10 w 62"/>
                <a:gd name="T95" fmla="*/ 34 h 40"/>
                <a:gd name="T96" fmla="*/ 10 w 62"/>
                <a:gd name="T97" fmla="*/ 26 h 40"/>
                <a:gd name="T98" fmla="*/ 2 w 62"/>
                <a:gd name="T99" fmla="*/ 26 h 40"/>
                <a:gd name="T100" fmla="*/ 2 w 62"/>
                <a:gd name="T101" fmla="*/ 30 h 40"/>
                <a:gd name="T102" fmla="*/ 0 w 62"/>
                <a:gd name="T103" fmla="*/ 34 h 40"/>
                <a:gd name="T104" fmla="*/ 0 w 62"/>
                <a:gd name="T105" fmla="*/ 30 h 40"/>
                <a:gd name="T106" fmla="*/ 0 w 62"/>
                <a:gd name="T107" fmla="*/ 26 h 40"/>
                <a:gd name="T108" fmla="*/ 2 w 62"/>
                <a:gd name="T109" fmla="*/ 22 h 40"/>
                <a:gd name="T110" fmla="*/ 2 w 62"/>
                <a:gd name="T111" fmla="*/ 18 h 40"/>
                <a:gd name="T112" fmla="*/ 36 w 62"/>
                <a:gd name="T1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2" h="40">
                  <a:moveTo>
                    <a:pt x="2" y="18"/>
                  </a:moveTo>
                  <a:lnTo>
                    <a:pt x="6" y="18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10" y="14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4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48" y="6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6" y="14"/>
                  </a:lnTo>
                  <a:lnTo>
                    <a:pt x="52" y="14"/>
                  </a:lnTo>
                  <a:lnTo>
                    <a:pt x="52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62" y="14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6" y="22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8" y="30"/>
                  </a:lnTo>
                  <a:lnTo>
                    <a:pt x="58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28" y="30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0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2" y="26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6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close/>
                  <a:moveTo>
                    <a:pt x="36" y="0"/>
                  </a:move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008BE5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85" name="Freeform 125">
              <a:extLst>
                <a:ext uri="{FF2B5EF4-FFF2-40B4-BE49-F238E27FC236}">
                  <a16:creationId xmlns:a16="http://schemas.microsoft.com/office/drawing/2014/main" id="{72A5D6E2-EB99-DE9C-21F6-AD87EDEE24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0974" y="2353509"/>
              <a:ext cx="494848" cy="309223"/>
            </a:xfrm>
            <a:custGeom>
              <a:avLst/>
              <a:gdLst>
                <a:gd name="T0" fmla="*/ 96 w 254"/>
                <a:gd name="T1" fmla="*/ 134 h 164"/>
                <a:gd name="T2" fmla="*/ 104 w 254"/>
                <a:gd name="T3" fmla="*/ 124 h 164"/>
                <a:gd name="T4" fmla="*/ 108 w 254"/>
                <a:gd name="T5" fmla="*/ 124 h 164"/>
                <a:gd name="T6" fmla="*/ 104 w 254"/>
                <a:gd name="T7" fmla="*/ 108 h 164"/>
                <a:gd name="T8" fmla="*/ 100 w 254"/>
                <a:gd name="T9" fmla="*/ 98 h 164"/>
                <a:gd name="T10" fmla="*/ 86 w 254"/>
                <a:gd name="T11" fmla="*/ 90 h 164"/>
                <a:gd name="T12" fmla="*/ 64 w 254"/>
                <a:gd name="T13" fmla="*/ 86 h 164"/>
                <a:gd name="T14" fmla="*/ 46 w 254"/>
                <a:gd name="T15" fmla="*/ 98 h 164"/>
                <a:gd name="T16" fmla="*/ 24 w 254"/>
                <a:gd name="T17" fmla="*/ 94 h 164"/>
                <a:gd name="T18" fmla="*/ 8 w 254"/>
                <a:gd name="T19" fmla="*/ 90 h 164"/>
                <a:gd name="T20" fmla="*/ 4 w 254"/>
                <a:gd name="T21" fmla="*/ 74 h 164"/>
                <a:gd name="T22" fmla="*/ 16 w 254"/>
                <a:gd name="T23" fmla="*/ 48 h 164"/>
                <a:gd name="T24" fmla="*/ 26 w 254"/>
                <a:gd name="T25" fmla="*/ 38 h 164"/>
                <a:gd name="T26" fmla="*/ 24 w 254"/>
                <a:gd name="T27" fmla="*/ 18 h 164"/>
                <a:gd name="T28" fmla="*/ 42 w 254"/>
                <a:gd name="T29" fmla="*/ 12 h 164"/>
                <a:gd name="T30" fmla="*/ 64 w 254"/>
                <a:gd name="T31" fmla="*/ 16 h 164"/>
                <a:gd name="T32" fmla="*/ 82 w 254"/>
                <a:gd name="T33" fmla="*/ 18 h 164"/>
                <a:gd name="T34" fmla="*/ 94 w 254"/>
                <a:gd name="T35" fmla="*/ 18 h 164"/>
                <a:gd name="T36" fmla="*/ 108 w 254"/>
                <a:gd name="T37" fmla="*/ 22 h 164"/>
                <a:gd name="T38" fmla="*/ 120 w 254"/>
                <a:gd name="T39" fmla="*/ 18 h 164"/>
                <a:gd name="T40" fmla="*/ 134 w 254"/>
                <a:gd name="T41" fmla="*/ 8 h 164"/>
                <a:gd name="T42" fmla="*/ 156 w 254"/>
                <a:gd name="T43" fmla="*/ 0 h 164"/>
                <a:gd name="T44" fmla="*/ 172 w 254"/>
                <a:gd name="T45" fmla="*/ 12 h 164"/>
                <a:gd name="T46" fmla="*/ 176 w 254"/>
                <a:gd name="T47" fmla="*/ 26 h 164"/>
                <a:gd name="T48" fmla="*/ 190 w 254"/>
                <a:gd name="T49" fmla="*/ 38 h 164"/>
                <a:gd name="T50" fmla="*/ 198 w 254"/>
                <a:gd name="T51" fmla="*/ 42 h 164"/>
                <a:gd name="T52" fmla="*/ 212 w 254"/>
                <a:gd name="T53" fmla="*/ 46 h 164"/>
                <a:gd name="T54" fmla="*/ 232 w 254"/>
                <a:gd name="T55" fmla="*/ 48 h 164"/>
                <a:gd name="T56" fmla="*/ 246 w 254"/>
                <a:gd name="T57" fmla="*/ 56 h 164"/>
                <a:gd name="T58" fmla="*/ 250 w 254"/>
                <a:gd name="T59" fmla="*/ 72 h 164"/>
                <a:gd name="T60" fmla="*/ 254 w 254"/>
                <a:gd name="T61" fmla="*/ 90 h 164"/>
                <a:gd name="T62" fmla="*/ 236 w 254"/>
                <a:gd name="T63" fmla="*/ 98 h 164"/>
                <a:gd name="T64" fmla="*/ 224 w 254"/>
                <a:gd name="T65" fmla="*/ 112 h 164"/>
                <a:gd name="T66" fmla="*/ 206 w 254"/>
                <a:gd name="T67" fmla="*/ 120 h 164"/>
                <a:gd name="T68" fmla="*/ 190 w 254"/>
                <a:gd name="T69" fmla="*/ 124 h 164"/>
                <a:gd name="T70" fmla="*/ 186 w 254"/>
                <a:gd name="T71" fmla="*/ 128 h 164"/>
                <a:gd name="T72" fmla="*/ 172 w 254"/>
                <a:gd name="T73" fmla="*/ 128 h 164"/>
                <a:gd name="T74" fmla="*/ 168 w 254"/>
                <a:gd name="T75" fmla="*/ 130 h 164"/>
                <a:gd name="T76" fmla="*/ 176 w 254"/>
                <a:gd name="T77" fmla="*/ 134 h 164"/>
                <a:gd name="T78" fmla="*/ 186 w 254"/>
                <a:gd name="T79" fmla="*/ 146 h 164"/>
                <a:gd name="T80" fmla="*/ 184 w 254"/>
                <a:gd name="T81" fmla="*/ 138 h 164"/>
                <a:gd name="T82" fmla="*/ 198 w 254"/>
                <a:gd name="T83" fmla="*/ 146 h 164"/>
                <a:gd name="T84" fmla="*/ 194 w 254"/>
                <a:gd name="T85" fmla="*/ 154 h 164"/>
                <a:gd name="T86" fmla="*/ 176 w 254"/>
                <a:gd name="T87" fmla="*/ 160 h 164"/>
                <a:gd name="T88" fmla="*/ 160 w 254"/>
                <a:gd name="T89" fmla="*/ 158 h 164"/>
                <a:gd name="T90" fmla="*/ 150 w 254"/>
                <a:gd name="T91" fmla="*/ 146 h 164"/>
                <a:gd name="T92" fmla="*/ 160 w 254"/>
                <a:gd name="T93" fmla="*/ 134 h 164"/>
                <a:gd name="T94" fmla="*/ 146 w 254"/>
                <a:gd name="T95" fmla="*/ 130 h 164"/>
                <a:gd name="T96" fmla="*/ 138 w 254"/>
                <a:gd name="T97" fmla="*/ 124 h 164"/>
                <a:gd name="T98" fmla="*/ 142 w 254"/>
                <a:gd name="T99" fmla="*/ 124 h 164"/>
                <a:gd name="T100" fmla="*/ 138 w 254"/>
                <a:gd name="T101" fmla="*/ 112 h 164"/>
                <a:gd name="T102" fmla="*/ 134 w 254"/>
                <a:gd name="T103" fmla="*/ 120 h 164"/>
                <a:gd name="T104" fmla="*/ 116 w 254"/>
                <a:gd name="T105" fmla="*/ 134 h 164"/>
                <a:gd name="T106" fmla="*/ 108 w 254"/>
                <a:gd name="T107" fmla="*/ 146 h 164"/>
                <a:gd name="T108" fmla="*/ 94 w 254"/>
                <a:gd name="T109" fmla="*/ 15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4" h="164">
                  <a:moveTo>
                    <a:pt x="86" y="146"/>
                  </a:moveTo>
                  <a:lnTo>
                    <a:pt x="86" y="142"/>
                  </a:lnTo>
                  <a:lnTo>
                    <a:pt x="90" y="142"/>
                  </a:lnTo>
                  <a:lnTo>
                    <a:pt x="90" y="138"/>
                  </a:lnTo>
                  <a:lnTo>
                    <a:pt x="94" y="138"/>
                  </a:lnTo>
                  <a:lnTo>
                    <a:pt x="94" y="134"/>
                  </a:lnTo>
                  <a:lnTo>
                    <a:pt x="96" y="134"/>
                  </a:lnTo>
                  <a:lnTo>
                    <a:pt x="96" y="130"/>
                  </a:lnTo>
                  <a:lnTo>
                    <a:pt x="96" y="128"/>
                  </a:lnTo>
                  <a:lnTo>
                    <a:pt x="96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8" y="124"/>
                  </a:lnTo>
                  <a:lnTo>
                    <a:pt x="108" y="128"/>
                  </a:lnTo>
                  <a:lnTo>
                    <a:pt x="112" y="128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12" y="124"/>
                  </a:lnTo>
                  <a:lnTo>
                    <a:pt x="112" y="120"/>
                  </a:lnTo>
                  <a:lnTo>
                    <a:pt x="112" y="116"/>
                  </a:lnTo>
                  <a:lnTo>
                    <a:pt x="108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4" y="108"/>
                  </a:lnTo>
                  <a:lnTo>
                    <a:pt x="104" y="104"/>
                  </a:lnTo>
                  <a:lnTo>
                    <a:pt x="104" y="108"/>
                  </a:lnTo>
                  <a:lnTo>
                    <a:pt x="100" y="104"/>
                  </a:lnTo>
                  <a:lnTo>
                    <a:pt x="104" y="104"/>
                  </a:lnTo>
                  <a:lnTo>
                    <a:pt x="100" y="104"/>
                  </a:lnTo>
                  <a:lnTo>
                    <a:pt x="100" y="102"/>
                  </a:lnTo>
                  <a:lnTo>
                    <a:pt x="100" y="98"/>
                  </a:lnTo>
                  <a:lnTo>
                    <a:pt x="100" y="94"/>
                  </a:lnTo>
                  <a:lnTo>
                    <a:pt x="96" y="94"/>
                  </a:lnTo>
                  <a:lnTo>
                    <a:pt x="94" y="90"/>
                  </a:lnTo>
                  <a:lnTo>
                    <a:pt x="90" y="90"/>
                  </a:lnTo>
                  <a:lnTo>
                    <a:pt x="90" y="86"/>
                  </a:lnTo>
                  <a:lnTo>
                    <a:pt x="86" y="86"/>
                  </a:lnTo>
                  <a:lnTo>
                    <a:pt x="86" y="90"/>
                  </a:lnTo>
                  <a:lnTo>
                    <a:pt x="86" y="86"/>
                  </a:lnTo>
                  <a:lnTo>
                    <a:pt x="82" y="86"/>
                  </a:lnTo>
                  <a:lnTo>
                    <a:pt x="80" y="82"/>
                  </a:lnTo>
                  <a:lnTo>
                    <a:pt x="76" y="82"/>
                  </a:lnTo>
                  <a:lnTo>
                    <a:pt x="72" y="86"/>
                  </a:lnTo>
                  <a:lnTo>
                    <a:pt x="68" y="86"/>
                  </a:lnTo>
                  <a:lnTo>
                    <a:pt x="64" y="86"/>
                  </a:lnTo>
                  <a:lnTo>
                    <a:pt x="64" y="90"/>
                  </a:lnTo>
                  <a:lnTo>
                    <a:pt x="60" y="90"/>
                  </a:lnTo>
                  <a:lnTo>
                    <a:pt x="56" y="94"/>
                  </a:lnTo>
                  <a:lnTo>
                    <a:pt x="54" y="94"/>
                  </a:lnTo>
                  <a:lnTo>
                    <a:pt x="50" y="94"/>
                  </a:lnTo>
                  <a:lnTo>
                    <a:pt x="46" y="94"/>
                  </a:lnTo>
                  <a:lnTo>
                    <a:pt x="46" y="98"/>
                  </a:lnTo>
                  <a:lnTo>
                    <a:pt x="42" y="98"/>
                  </a:lnTo>
                  <a:lnTo>
                    <a:pt x="38" y="98"/>
                  </a:lnTo>
                  <a:lnTo>
                    <a:pt x="38" y="94"/>
                  </a:lnTo>
                  <a:lnTo>
                    <a:pt x="34" y="94"/>
                  </a:lnTo>
                  <a:lnTo>
                    <a:pt x="30" y="94"/>
                  </a:lnTo>
                  <a:lnTo>
                    <a:pt x="26" y="94"/>
                  </a:lnTo>
                  <a:lnTo>
                    <a:pt x="24" y="94"/>
                  </a:lnTo>
                  <a:lnTo>
                    <a:pt x="20" y="94"/>
                  </a:lnTo>
                  <a:lnTo>
                    <a:pt x="16" y="94"/>
                  </a:lnTo>
                  <a:lnTo>
                    <a:pt x="16" y="90"/>
                  </a:lnTo>
                  <a:lnTo>
                    <a:pt x="16" y="94"/>
                  </a:lnTo>
                  <a:lnTo>
                    <a:pt x="12" y="94"/>
                  </a:lnTo>
                  <a:lnTo>
                    <a:pt x="12" y="90"/>
                  </a:lnTo>
                  <a:lnTo>
                    <a:pt x="8" y="90"/>
                  </a:lnTo>
                  <a:lnTo>
                    <a:pt x="4" y="86"/>
                  </a:lnTo>
                  <a:lnTo>
                    <a:pt x="0" y="82"/>
                  </a:lnTo>
                  <a:lnTo>
                    <a:pt x="0" y="86"/>
                  </a:lnTo>
                  <a:lnTo>
                    <a:pt x="0" y="82"/>
                  </a:lnTo>
                  <a:lnTo>
                    <a:pt x="0" y="78"/>
                  </a:lnTo>
                  <a:lnTo>
                    <a:pt x="4" y="78"/>
                  </a:lnTo>
                  <a:lnTo>
                    <a:pt x="4" y="74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0" y="46"/>
                  </a:lnTo>
                  <a:lnTo>
                    <a:pt x="24" y="46"/>
                  </a:lnTo>
                  <a:lnTo>
                    <a:pt x="24" y="42"/>
                  </a:lnTo>
                  <a:lnTo>
                    <a:pt x="26" y="42"/>
                  </a:lnTo>
                  <a:lnTo>
                    <a:pt x="30" y="42"/>
                  </a:lnTo>
                  <a:lnTo>
                    <a:pt x="26" y="38"/>
                  </a:lnTo>
                  <a:lnTo>
                    <a:pt x="26" y="34"/>
                  </a:lnTo>
                  <a:lnTo>
                    <a:pt x="30" y="34"/>
                  </a:lnTo>
                  <a:lnTo>
                    <a:pt x="26" y="34"/>
                  </a:lnTo>
                  <a:lnTo>
                    <a:pt x="26" y="30"/>
                  </a:lnTo>
                  <a:lnTo>
                    <a:pt x="24" y="26"/>
                  </a:lnTo>
                  <a:lnTo>
                    <a:pt x="24" y="22"/>
                  </a:lnTo>
                  <a:lnTo>
                    <a:pt x="24" y="18"/>
                  </a:lnTo>
                  <a:lnTo>
                    <a:pt x="24" y="16"/>
                  </a:lnTo>
                  <a:lnTo>
                    <a:pt x="26" y="18"/>
                  </a:lnTo>
                  <a:lnTo>
                    <a:pt x="30" y="16"/>
                  </a:lnTo>
                  <a:lnTo>
                    <a:pt x="30" y="12"/>
                  </a:lnTo>
                  <a:lnTo>
                    <a:pt x="34" y="12"/>
                  </a:lnTo>
                  <a:lnTo>
                    <a:pt x="38" y="12"/>
                  </a:lnTo>
                  <a:lnTo>
                    <a:pt x="42" y="12"/>
                  </a:lnTo>
                  <a:lnTo>
                    <a:pt x="46" y="12"/>
                  </a:lnTo>
                  <a:lnTo>
                    <a:pt x="50" y="12"/>
                  </a:lnTo>
                  <a:lnTo>
                    <a:pt x="54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6"/>
                  </a:lnTo>
                  <a:lnTo>
                    <a:pt x="64" y="16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8"/>
                  </a:lnTo>
                  <a:lnTo>
                    <a:pt x="80" y="18"/>
                  </a:lnTo>
                  <a:lnTo>
                    <a:pt x="82" y="18"/>
                  </a:lnTo>
                  <a:lnTo>
                    <a:pt x="86" y="18"/>
                  </a:lnTo>
                  <a:lnTo>
                    <a:pt x="86" y="16"/>
                  </a:lnTo>
                  <a:lnTo>
                    <a:pt x="86" y="18"/>
                  </a:lnTo>
                  <a:lnTo>
                    <a:pt x="90" y="18"/>
                  </a:lnTo>
                  <a:lnTo>
                    <a:pt x="94" y="18"/>
                  </a:lnTo>
                  <a:lnTo>
                    <a:pt x="94" y="22"/>
                  </a:lnTo>
                  <a:lnTo>
                    <a:pt x="94" y="18"/>
                  </a:lnTo>
                  <a:lnTo>
                    <a:pt x="96" y="18"/>
                  </a:lnTo>
                  <a:lnTo>
                    <a:pt x="100" y="18"/>
                  </a:lnTo>
                  <a:lnTo>
                    <a:pt x="100" y="22"/>
                  </a:lnTo>
                  <a:lnTo>
                    <a:pt x="104" y="22"/>
                  </a:lnTo>
                  <a:lnTo>
                    <a:pt x="104" y="18"/>
                  </a:lnTo>
                  <a:lnTo>
                    <a:pt x="108" y="18"/>
                  </a:lnTo>
                  <a:lnTo>
                    <a:pt x="108" y="22"/>
                  </a:lnTo>
                  <a:lnTo>
                    <a:pt x="112" y="18"/>
                  </a:lnTo>
                  <a:lnTo>
                    <a:pt x="116" y="18"/>
                  </a:lnTo>
                  <a:lnTo>
                    <a:pt x="116" y="22"/>
                  </a:lnTo>
                  <a:lnTo>
                    <a:pt x="120" y="22"/>
                  </a:lnTo>
                  <a:lnTo>
                    <a:pt x="120" y="26"/>
                  </a:lnTo>
                  <a:lnTo>
                    <a:pt x="120" y="22"/>
                  </a:lnTo>
                  <a:lnTo>
                    <a:pt x="120" y="18"/>
                  </a:lnTo>
                  <a:lnTo>
                    <a:pt x="120" y="16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4" y="8"/>
                  </a:lnTo>
                  <a:lnTo>
                    <a:pt x="126" y="8"/>
                  </a:lnTo>
                  <a:lnTo>
                    <a:pt x="130" y="8"/>
                  </a:lnTo>
                  <a:lnTo>
                    <a:pt x="134" y="8"/>
                  </a:lnTo>
                  <a:lnTo>
                    <a:pt x="138" y="8"/>
                  </a:lnTo>
                  <a:lnTo>
                    <a:pt x="142" y="8"/>
                  </a:lnTo>
                  <a:lnTo>
                    <a:pt x="146" y="8"/>
                  </a:lnTo>
                  <a:lnTo>
                    <a:pt x="146" y="4"/>
                  </a:lnTo>
                  <a:lnTo>
                    <a:pt x="150" y="4"/>
                  </a:lnTo>
                  <a:lnTo>
                    <a:pt x="154" y="4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0" y="4"/>
                  </a:lnTo>
                  <a:lnTo>
                    <a:pt x="164" y="4"/>
                  </a:lnTo>
                  <a:lnTo>
                    <a:pt x="164" y="0"/>
                  </a:lnTo>
                  <a:lnTo>
                    <a:pt x="168" y="4"/>
                  </a:lnTo>
                  <a:lnTo>
                    <a:pt x="168" y="8"/>
                  </a:lnTo>
                  <a:lnTo>
                    <a:pt x="172" y="12"/>
                  </a:lnTo>
                  <a:lnTo>
                    <a:pt x="176" y="16"/>
                  </a:lnTo>
                  <a:lnTo>
                    <a:pt x="172" y="16"/>
                  </a:lnTo>
                  <a:lnTo>
                    <a:pt x="168" y="16"/>
                  </a:lnTo>
                  <a:lnTo>
                    <a:pt x="172" y="18"/>
                  </a:lnTo>
                  <a:lnTo>
                    <a:pt x="172" y="22"/>
                  </a:lnTo>
                  <a:lnTo>
                    <a:pt x="172" y="26"/>
                  </a:lnTo>
                  <a:lnTo>
                    <a:pt x="176" y="26"/>
                  </a:lnTo>
                  <a:lnTo>
                    <a:pt x="180" y="26"/>
                  </a:lnTo>
                  <a:lnTo>
                    <a:pt x="184" y="26"/>
                  </a:lnTo>
                  <a:lnTo>
                    <a:pt x="184" y="30"/>
                  </a:lnTo>
                  <a:lnTo>
                    <a:pt x="186" y="30"/>
                  </a:lnTo>
                  <a:lnTo>
                    <a:pt x="186" y="34"/>
                  </a:lnTo>
                  <a:lnTo>
                    <a:pt x="190" y="34"/>
                  </a:lnTo>
                  <a:lnTo>
                    <a:pt x="190" y="38"/>
                  </a:lnTo>
                  <a:lnTo>
                    <a:pt x="186" y="38"/>
                  </a:lnTo>
                  <a:lnTo>
                    <a:pt x="186" y="42"/>
                  </a:lnTo>
                  <a:lnTo>
                    <a:pt x="190" y="42"/>
                  </a:lnTo>
                  <a:lnTo>
                    <a:pt x="190" y="46"/>
                  </a:lnTo>
                  <a:lnTo>
                    <a:pt x="194" y="46"/>
                  </a:lnTo>
                  <a:lnTo>
                    <a:pt x="194" y="42"/>
                  </a:lnTo>
                  <a:lnTo>
                    <a:pt x="198" y="42"/>
                  </a:lnTo>
                  <a:lnTo>
                    <a:pt x="198" y="46"/>
                  </a:lnTo>
                  <a:lnTo>
                    <a:pt x="202" y="46"/>
                  </a:lnTo>
                  <a:lnTo>
                    <a:pt x="206" y="46"/>
                  </a:lnTo>
                  <a:lnTo>
                    <a:pt x="206" y="48"/>
                  </a:lnTo>
                  <a:lnTo>
                    <a:pt x="206" y="46"/>
                  </a:lnTo>
                  <a:lnTo>
                    <a:pt x="210" y="46"/>
                  </a:lnTo>
                  <a:lnTo>
                    <a:pt x="212" y="46"/>
                  </a:lnTo>
                  <a:lnTo>
                    <a:pt x="216" y="42"/>
                  </a:lnTo>
                  <a:lnTo>
                    <a:pt x="220" y="48"/>
                  </a:lnTo>
                  <a:lnTo>
                    <a:pt x="224" y="48"/>
                  </a:lnTo>
                  <a:lnTo>
                    <a:pt x="224" y="52"/>
                  </a:lnTo>
                  <a:lnTo>
                    <a:pt x="228" y="52"/>
                  </a:lnTo>
                  <a:lnTo>
                    <a:pt x="228" y="48"/>
                  </a:lnTo>
                  <a:lnTo>
                    <a:pt x="232" y="48"/>
                  </a:lnTo>
                  <a:lnTo>
                    <a:pt x="232" y="52"/>
                  </a:lnTo>
                  <a:lnTo>
                    <a:pt x="236" y="52"/>
                  </a:lnTo>
                  <a:lnTo>
                    <a:pt x="240" y="52"/>
                  </a:lnTo>
                  <a:lnTo>
                    <a:pt x="240" y="56"/>
                  </a:lnTo>
                  <a:lnTo>
                    <a:pt x="242" y="52"/>
                  </a:lnTo>
                  <a:lnTo>
                    <a:pt x="242" y="56"/>
                  </a:lnTo>
                  <a:lnTo>
                    <a:pt x="246" y="56"/>
                  </a:lnTo>
                  <a:lnTo>
                    <a:pt x="246" y="60"/>
                  </a:lnTo>
                  <a:lnTo>
                    <a:pt x="250" y="60"/>
                  </a:lnTo>
                  <a:lnTo>
                    <a:pt x="254" y="60"/>
                  </a:lnTo>
                  <a:lnTo>
                    <a:pt x="254" y="64"/>
                  </a:lnTo>
                  <a:lnTo>
                    <a:pt x="254" y="68"/>
                  </a:lnTo>
                  <a:lnTo>
                    <a:pt x="254" y="72"/>
                  </a:lnTo>
                  <a:lnTo>
                    <a:pt x="250" y="72"/>
                  </a:lnTo>
                  <a:lnTo>
                    <a:pt x="250" y="74"/>
                  </a:lnTo>
                  <a:lnTo>
                    <a:pt x="254" y="74"/>
                  </a:lnTo>
                  <a:lnTo>
                    <a:pt x="250" y="74"/>
                  </a:lnTo>
                  <a:lnTo>
                    <a:pt x="250" y="78"/>
                  </a:lnTo>
                  <a:lnTo>
                    <a:pt x="250" y="82"/>
                  </a:lnTo>
                  <a:lnTo>
                    <a:pt x="254" y="86"/>
                  </a:lnTo>
                  <a:lnTo>
                    <a:pt x="254" y="90"/>
                  </a:lnTo>
                  <a:lnTo>
                    <a:pt x="250" y="90"/>
                  </a:lnTo>
                  <a:lnTo>
                    <a:pt x="250" y="94"/>
                  </a:lnTo>
                  <a:lnTo>
                    <a:pt x="250" y="98"/>
                  </a:lnTo>
                  <a:lnTo>
                    <a:pt x="246" y="98"/>
                  </a:lnTo>
                  <a:lnTo>
                    <a:pt x="242" y="98"/>
                  </a:lnTo>
                  <a:lnTo>
                    <a:pt x="240" y="98"/>
                  </a:lnTo>
                  <a:lnTo>
                    <a:pt x="236" y="98"/>
                  </a:lnTo>
                  <a:lnTo>
                    <a:pt x="236" y="102"/>
                  </a:lnTo>
                  <a:lnTo>
                    <a:pt x="232" y="102"/>
                  </a:lnTo>
                  <a:lnTo>
                    <a:pt x="228" y="102"/>
                  </a:lnTo>
                  <a:lnTo>
                    <a:pt x="228" y="104"/>
                  </a:lnTo>
                  <a:lnTo>
                    <a:pt x="228" y="108"/>
                  </a:lnTo>
                  <a:lnTo>
                    <a:pt x="228" y="112"/>
                  </a:lnTo>
                  <a:lnTo>
                    <a:pt x="224" y="112"/>
                  </a:lnTo>
                  <a:lnTo>
                    <a:pt x="220" y="112"/>
                  </a:lnTo>
                  <a:lnTo>
                    <a:pt x="216" y="112"/>
                  </a:lnTo>
                  <a:lnTo>
                    <a:pt x="216" y="116"/>
                  </a:lnTo>
                  <a:lnTo>
                    <a:pt x="212" y="116"/>
                  </a:lnTo>
                  <a:lnTo>
                    <a:pt x="210" y="116"/>
                  </a:lnTo>
                  <a:lnTo>
                    <a:pt x="210" y="120"/>
                  </a:lnTo>
                  <a:lnTo>
                    <a:pt x="206" y="120"/>
                  </a:lnTo>
                  <a:lnTo>
                    <a:pt x="206" y="116"/>
                  </a:lnTo>
                  <a:lnTo>
                    <a:pt x="206" y="120"/>
                  </a:lnTo>
                  <a:lnTo>
                    <a:pt x="202" y="120"/>
                  </a:lnTo>
                  <a:lnTo>
                    <a:pt x="198" y="120"/>
                  </a:lnTo>
                  <a:lnTo>
                    <a:pt x="194" y="120"/>
                  </a:lnTo>
                  <a:lnTo>
                    <a:pt x="194" y="124"/>
                  </a:lnTo>
                  <a:lnTo>
                    <a:pt x="190" y="124"/>
                  </a:lnTo>
                  <a:lnTo>
                    <a:pt x="186" y="128"/>
                  </a:lnTo>
                  <a:lnTo>
                    <a:pt x="186" y="130"/>
                  </a:lnTo>
                  <a:lnTo>
                    <a:pt x="184" y="130"/>
                  </a:lnTo>
                  <a:lnTo>
                    <a:pt x="186" y="130"/>
                  </a:lnTo>
                  <a:lnTo>
                    <a:pt x="186" y="128"/>
                  </a:lnTo>
                  <a:lnTo>
                    <a:pt x="186" y="124"/>
                  </a:lnTo>
                  <a:lnTo>
                    <a:pt x="186" y="128"/>
                  </a:lnTo>
                  <a:lnTo>
                    <a:pt x="184" y="128"/>
                  </a:lnTo>
                  <a:lnTo>
                    <a:pt x="180" y="130"/>
                  </a:lnTo>
                  <a:lnTo>
                    <a:pt x="176" y="130"/>
                  </a:lnTo>
                  <a:lnTo>
                    <a:pt x="176" y="134"/>
                  </a:lnTo>
                  <a:lnTo>
                    <a:pt x="176" y="130"/>
                  </a:lnTo>
                  <a:lnTo>
                    <a:pt x="172" y="130"/>
                  </a:lnTo>
                  <a:lnTo>
                    <a:pt x="172" y="128"/>
                  </a:lnTo>
                  <a:lnTo>
                    <a:pt x="172" y="130"/>
                  </a:lnTo>
                  <a:lnTo>
                    <a:pt x="168" y="130"/>
                  </a:lnTo>
                  <a:lnTo>
                    <a:pt x="172" y="130"/>
                  </a:lnTo>
                  <a:lnTo>
                    <a:pt x="168" y="130"/>
                  </a:lnTo>
                  <a:lnTo>
                    <a:pt x="164" y="128"/>
                  </a:lnTo>
                  <a:lnTo>
                    <a:pt x="164" y="130"/>
                  </a:lnTo>
                  <a:lnTo>
                    <a:pt x="168" y="130"/>
                  </a:lnTo>
                  <a:lnTo>
                    <a:pt x="168" y="134"/>
                  </a:lnTo>
                  <a:lnTo>
                    <a:pt x="168" y="130"/>
                  </a:lnTo>
                  <a:lnTo>
                    <a:pt x="168" y="134"/>
                  </a:lnTo>
                  <a:lnTo>
                    <a:pt x="172" y="134"/>
                  </a:lnTo>
                  <a:lnTo>
                    <a:pt x="176" y="134"/>
                  </a:lnTo>
                  <a:lnTo>
                    <a:pt x="172" y="134"/>
                  </a:lnTo>
                  <a:lnTo>
                    <a:pt x="176" y="134"/>
                  </a:lnTo>
                  <a:lnTo>
                    <a:pt x="176" y="138"/>
                  </a:lnTo>
                  <a:lnTo>
                    <a:pt x="180" y="138"/>
                  </a:lnTo>
                  <a:lnTo>
                    <a:pt x="180" y="142"/>
                  </a:lnTo>
                  <a:lnTo>
                    <a:pt x="184" y="142"/>
                  </a:lnTo>
                  <a:lnTo>
                    <a:pt x="184" y="146"/>
                  </a:lnTo>
                  <a:lnTo>
                    <a:pt x="186" y="150"/>
                  </a:lnTo>
                  <a:lnTo>
                    <a:pt x="186" y="146"/>
                  </a:lnTo>
                  <a:lnTo>
                    <a:pt x="184" y="142"/>
                  </a:lnTo>
                  <a:lnTo>
                    <a:pt x="184" y="138"/>
                  </a:lnTo>
                  <a:lnTo>
                    <a:pt x="180" y="138"/>
                  </a:lnTo>
                  <a:lnTo>
                    <a:pt x="180" y="134"/>
                  </a:lnTo>
                  <a:lnTo>
                    <a:pt x="180" y="130"/>
                  </a:lnTo>
                  <a:lnTo>
                    <a:pt x="180" y="134"/>
                  </a:lnTo>
                  <a:lnTo>
                    <a:pt x="184" y="138"/>
                  </a:lnTo>
                  <a:lnTo>
                    <a:pt x="184" y="142"/>
                  </a:lnTo>
                  <a:lnTo>
                    <a:pt x="186" y="146"/>
                  </a:lnTo>
                  <a:lnTo>
                    <a:pt x="190" y="146"/>
                  </a:lnTo>
                  <a:lnTo>
                    <a:pt x="190" y="150"/>
                  </a:lnTo>
                  <a:lnTo>
                    <a:pt x="190" y="146"/>
                  </a:lnTo>
                  <a:lnTo>
                    <a:pt x="194" y="146"/>
                  </a:lnTo>
                  <a:lnTo>
                    <a:pt x="198" y="146"/>
                  </a:lnTo>
                  <a:lnTo>
                    <a:pt x="202" y="146"/>
                  </a:lnTo>
                  <a:lnTo>
                    <a:pt x="206" y="146"/>
                  </a:lnTo>
                  <a:lnTo>
                    <a:pt x="202" y="146"/>
                  </a:lnTo>
                  <a:lnTo>
                    <a:pt x="202" y="150"/>
                  </a:lnTo>
                  <a:lnTo>
                    <a:pt x="202" y="154"/>
                  </a:lnTo>
                  <a:lnTo>
                    <a:pt x="198" y="154"/>
                  </a:lnTo>
                  <a:lnTo>
                    <a:pt x="194" y="154"/>
                  </a:lnTo>
                  <a:lnTo>
                    <a:pt x="190" y="154"/>
                  </a:lnTo>
                  <a:lnTo>
                    <a:pt x="190" y="150"/>
                  </a:lnTo>
                  <a:lnTo>
                    <a:pt x="186" y="154"/>
                  </a:lnTo>
                  <a:lnTo>
                    <a:pt x="184" y="158"/>
                  </a:lnTo>
                  <a:lnTo>
                    <a:pt x="180" y="158"/>
                  </a:lnTo>
                  <a:lnTo>
                    <a:pt x="176" y="158"/>
                  </a:lnTo>
                  <a:lnTo>
                    <a:pt x="176" y="160"/>
                  </a:lnTo>
                  <a:lnTo>
                    <a:pt x="172" y="160"/>
                  </a:lnTo>
                  <a:lnTo>
                    <a:pt x="172" y="164"/>
                  </a:lnTo>
                  <a:lnTo>
                    <a:pt x="168" y="164"/>
                  </a:lnTo>
                  <a:lnTo>
                    <a:pt x="164" y="164"/>
                  </a:lnTo>
                  <a:lnTo>
                    <a:pt x="160" y="164"/>
                  </a:lnTo>
                  <a:lnTo>
                    <a:pt x="160" y="160"/>
                  </a:lnTo>
                  <a:lnTo>
                    <a:pt x="160" y="158"/>
                  </a:lnTo>
                  <a:lnTo>
                    <a:pt x="164" y="158"/>
                  </a:lnTo>
                  <a:lnTo>
                    <a:pt x="164" y="154"/>
                  </a:lnTo>
                  <a:lnTo>
                    <a:pt x="160" y="154"/>
                  </a:lnTo>
                  <a:lnTo>
                    <a:pt x="160" y="150"/>
                  </a:lnTo>
                  <a:lnTo>
                    <a:pt x="156" y="150"/>
                  </a:lnTo>
                  <a:lnTo>
                    <a:pt x="154" y="146"/>
                  </a:lnTo>
                  <a:lnTo>
                    <a:pt x="150" y="146"/>
                  </a:lnTo>
                  <a:lnTo>
                    <a:pt x="146" y="146"/>
                  </a:lnTo>
                  <a:lnTo>
                    <a:pt x="150" y="142"/>
                  </a:lnTo>
                  <a:lnTo>
                    <a:pt x="154" y="142"/>
                  </a:lnTo>
                  <a:lnTo>
                    <a:pt x="154" y="138"/>
                  </a:lnTo>
                  <a:lnTo>
                    <a:pt x="156" y="138"/>
                  </a:lnTo>
                  <a:lnTo>
                    <a:pt x="160" y="138"/>
                  </a:lnTo>
                  <a:lnTo>
                    <a:pt x="160" y="134"/>
                  </a:lnTo>
                  <a:lnTo>
                    <a:pt x="164" y="134"/>
                  </a:lnTo>
                  <a:lnTo>
                    <a:pt x="164" y="130"/>
                  </a:lnTo>
                  <a:lnTo>
                    <a:pt x="160" y="130"/>
                  </a:lnTo>
                  <a:lnTo>
                    <a:pt x="156" y="130"/>
                  </a:lnTo>
                  <a:lnTo>
                    <a:pt x="154" y="130"/>
                  </a:lnTo>
                  <a:lnTo>
                    <a:pt x="150" y="130"/>
                  </a:lnTo>
                  <a:lnTo>
                    <a:pt x="146" y="130"/>
                  </a:lnTo>
                  <a:lnTo>
                    <a:pt x="142" y="130"/>
                  </a:lnTo>
                  <a:lnTo>
                    <a:pt x="142" y="128"/>
                  </a:lnTo>
                  <a:lnTo>
                    <a:pt x="138" y="128"/>
                  </a:lnTo>
                  <a:lnTo>
                    <a:pt x="142" y="128"/>
                  </a:lnTo>
                  <a:lnTo>
                    <a:pt x="138" y="124"/>
                  </a:lnTo>
                  <a:lnTo>
                    <a:pt x="134" y="124"/>
                  </a:lnTo>
                  <a:lnTo>
                    <a:pt x="138" y="124"/>
                  </a:lnTo>
                  <a:lnTo>
                    <a:pt x="142" y="124"/>
                  </a:lnTo>
                  <a:lnTo>
                    <a:pt x="146" y="124"/>
                  </a:lnTo>
                  <a:lnTo>
                    <a:pt x="150" y="120"/>
                  </a:lnTo>
                  <a:lnTo>
                    <a:pt x="146" y="120"/>
                  </a:lnTo>
                  <a:lnTo>
                    <a:pt x="146" y="124"/>
                  </a:lnTo>
                  <a:lnTo>
                    <a:pt x="142" y="120"/>
                  </a:lnTo>
                  <a:lnTo>
                    <a:pt x="142" y="124"/>
                  </a:lnTo>
                  <a:lnTo>
                    <a:pt x="138" y="120"/>
                  </a:lnTo>
                  <a:lnTo>
                    <a:pt x="138" y="116"/>
                  </a:lnTo>
                  <a:lnTo>
                    <a:pt x="138" y="112"/>
                  </a:lnTo>
                  <a:lnTo>
                    <a:pt x="138" y="108"/>
                  </a:lnTo>
                  <a:lnTo>
                    <a:pt x="134" y="108"/>
                  </a:lnTo>
                  <a:lnTo>
                    <a:pt x="138" y="108"/>
                  </a:lnTo>
                  <a:lnTo>
                    <a:pt x="138" y="112"/>
                  </a:lnTo>
                  <a:lnTo>
                    <a:pt x="138" y="116"/>
                  </a:lnTo>
                  <a:lnTo>
                    <a:pt x="138" y="120"/>
                  </a:lnTo>
                  <a:lnTo>
                    <a:pt x="134" y="120"/>
                  </a:lnTo>
                  <a:lnTo>
                    <a:pt x="130" y="120"/>
                  </a:lnTo>
                  <a:lnTo>
                    <a:pt x="134" y="120"/>
                  </a:lnTo>
                  <a:lnTo>
                    <a:pt x="134" y="116"/>
                  </a:lnTo>
                  <a:lnTo>
                    <a:pt x="134" y="120"/>
                  </a:lnTo>
                  <a:lnTo>
                    <a:pt x="130" y="120"/>
                  </a:lnTo>
                  <a:lnTo>
                    <a:pt x="126" y="120"/>
                  </a:lnTo>
                  <a:lnTo>
                    <a:pt x="124" y="124"/>
                  </a:lnTo>
                  <a:lnTo>
                    <a:pt x="124" y="128"/>
                  </a:lnTo>
                  <a:lnTo>
                    <a:pt x="120" y="128"/>
                  </a:lnTo>
                  <a:lnTo>
                    <a:pt x="120" y="130"/>
                  </a:lnTo>
                  <a:lnTo>
                    <a:pt x="116" y="134"/>
                  </a:lnTo>
                  <a:lnTo>
                    <a:pt x="112" y="138"/>
                  </a:lnTo>
                  <a:lnTo>
                    <a:pt x="108" y="138"/>
                  </a:lnTo>
                  <a:lnTo>
                    <a:pt x="108" y="142"/>
                  </a:lnTo>
                  <a:lnTo>
                    <a:pt x="108" y="138"/>
                  </a:lnTo>
                  <a:lnTo>
                    <a:pt x="104" y="138"/>
                  </a:lnTo>
                  <a:lnTo>
                    <a:pt x="104" y="142"/>
                  </a:lnTo>
                  <a:lnTo>
                    <a:pt x="108" y="146"/>
                  </a:lnTo>
                  <a:lnTo>
                    <a:pt x="108" y="150"/>
                  </a:lnTo>
                  <a:lnTo>
                    <a:pt x="108" y="146"/>
                  </a:lnTo>
                  <a:lnTo>
                    <a:pt x="104" y="146"/>
                  </a:lnTo>
                  <a:lnTo>
                    <a:pt x="100" y="146"/>
                  </a:lnTo>
                  <a:lnTo>
                    <a:pt x="96" y="146"/>
                  </a:lnTo>
                  <a:lnTo>
                    <a:pt x="94" y="146"/>
                  </a:lnTo>
                  <a:lnTo>
                    <a:pt x="94" y="150"/>
                  </a:lnTo>
                  <a:lnTo>
                    <a:pt x="90" y="150"/>
                  </a:lnTo>
                  <a:lnTo>
                    <a:pt x="90" y="146"/>
                  </a:lnTo>
                  <a:lnTo>
                    <a:pt x="86" y="146"/>
                  </a:lnTo>
                  <a:lnTo>
                    <a:pt x="86" y="146"/>
                  </a:lnTo>
                  <a:lnTo>
                    <a:pt x="86" y="146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86" name="Freeform 126">
              <a:extLst>
                <a:ext uri="{FF2B5EF4-FFF2-40B4-BE49-F238E27FC236}">
                  <a16:creationId xmlns:a16="http://schemas.microsoft.com/office/drawing/2014/main" id="{F64CE522-1BBF-EF49-E1E0-6CE8B8FB13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7136" y="2002805"/>
              <a:ext cx="276647" cy="452522"/>
            </a:xfrm>
            <a:custGeom>
              <a:avLst/>
              <a:gdLst>
                <a:gd name="T0" fmla="*/ 106 w 142"/>
                <a:gd name="T1" fmla="*/ 2 h 240"/>
                <a:gd name="T2" fmla="*/ 98 w 142"/>
                <a:gd name="T3" fmla="*/ 10 h 240"/>
                <a:gd name="T4" fmla="*/ 94 w 142"/>
                <a:gd name="T5" fmla="*/ 14 h 240"/>
                <a:gd name="T6" fmla="*/ 76 w 142"/>
                <a:gd name="T7" fmla="*/ 44 h 240"/>
                <a:gd name="T8" fmla="*/ 72 w 142"/>
                <a:gd name="T9" fmla="*/ 48 h 240"/>
                <a:gd name="T10" fmla="*/ 46 w 142"/>
                <a:gd name="T11" fmla="*/ 130 h 240"/>
                <a:gd name="T12" fmla="*/ 50 w 142"/>
                <a:gd name="T13" fmla="*/ 108 h 240"/>
                <a:gd name="T14" fmla="*/ 38 w 142"/>
                <a:gd name="T15" fmla="*/ 122 h 240"/>
                <a:gd name="T16" fmla="*/ 34 w 142"/>
                <a:gd name="T17" fmla="*/ 108 h 240"/>
                <a:gd name="T18" fmla="*/ 42 w 142"/>
                <a:gd name="T19" fmla="*/ 92 h 240"/>
                <a:gd name="T20" fmla="*/ 34 w 142"/>
                <a:gd name="T21" fmla="*/ 92 h 240"/>
                <a:gd name="T22" fmla="*/ 34 w 142"/>
                <a:gd name="T23" fmla="*/ 78 h 240"/>
                <a:gd name="T24" fmla="*/ 42 w 142"/>
                <a:gd name="T25" fmla="*/ 62 h 240"/>
                <a:gd name="T26" fmla="*/ 56 w 142"/>
                <a:gd name="T27" fmla="*/ 52 h 240"/>
                <a:gd name="T28" fmla="*/ 60 w 142"/>
                <a:gd name="T29" fmla="*/ 62 h 240"/>
                <a:gd name="T30" fmla="*/ 56 w 142"/>
                <a:gd name="T31" fmla="*/ 70 h 240"/>
                <a:gd name="T32" fmla="*/ 72 w 142"/>
                <a:gd name="T33" fmla="*/ 70 h 240"/>
                <a:gd name="T34" fmla="*/ 90 w 142"/>
                <a:gd name="T35" fmla="*/ 82 h 240"/>
                <a:gd name="T36" fmla="*/ 80 w 142"/>
                <a:gd name="T37" fmla="*/ 100 h 240"/>
                <a:gd name="T38" fmla="*/ 82 w 142"/>
                <a:gd name="T39" fmla="*/ 108 h 240"/>
                <a:gd name="T40" fmla="*/ 98 w 142"/>
                <a:gd name="T41" fmla="*/ 134 h 240"/>
                <a:gd name="T42" fmla="*/ 112 w 142"/>
                <a:gd name="T43" fmla="*/ 156 h 240"/>
                <a:gd name="T44" fmla="*/ 108 w 142"/>
                <a:gd name="T45" fmla="*/ 160 h 240"/>
                <a:gd name="T46" fmla="*/ 124 w 142"/>
                <a:gd name="T47" fmla="*/ 176 h 240"/>
                <a:gd name="T48" fmla="*/ 136 w 142"/>
                <a:gd name="T49" fmla="*/ 198 h 240"/>
                <a:gd name="T50" fmla="*/ 124 w 142"/>
                <a:gd name="T51" fmla="*/ 210 h 240"/>
                <a:gd name="T52" fmla="*/ 132 w 142"/>
                <a:gd name="T53" fmla="*/ 220 h 240"/>
                <a:gd name="T54" fmla="*/ 106 w 142"/>
                <a:gd name="T55" fmla="*/ 224 h 240"/>
                <a:gd name="T56" fmla="*/ 82 w 142"/>
                <a:gd name="T57" fmla="*/ 224 h 240"/>
                <a:gd name="T58" fmla="*/ 50 w 142"/>
                <a:gd name="T59" fmla="*/ 232 h 240"/>
                <a:gd name="T60" fmla="*/ 46 w 142"/>
                <a:gd name="T61" fmla="*/ 228 h 240"/>
                <a:gd name="T62" fmla="*/ 76 w 142"/>
                <a:gd name="T63" fmla="*/ 210 h 240"/>
                <a:gd name="T64" fmla="*/ 64 w 142"/>
                <a:gd name="T65" fmla="*/ 210 h 240"/>
                <a:gd name="T66" fmla="*/ 46 w 142"/>
                <a:gd name="T67" fmla="*/ 206 h 240"/>
                <a:gd name="T68" fmla="*/ 56 w 142"/>
                <a:gd name="T69" fmla="*/ 190 h 240"/>
                <a:gd name="T70" fmla="*/ 50 w 142"/>
                <a:gd name="T71" fmla="*/ 176 h 240"/>
                <a:gd name="T72" fmla="*/ 76 w 142"/>
                <a:gd name="T73" fmla="*/ 168 h 240"/>
                <a:gd name="T74" fmla="*/ 68 w 142"/>
                <a:gd name="T75" fmla="*/ 146 h 240"/>
                <a:gd name="T76" fmla="*/ 64 w 142"/>
                <a:gd name="T77" fmla="*/ 134 h 240"/>
                <a:gd name="T78" fmla="*/ 50 w 142"/>
                <a:gd name="T79" fmla="*/ 138 h 240"/>
                <a:gd name="T80" fmla="*/ 16 w 142"/>
                <a:gd name="T81" fmla="*/ 62 h 240"/>
                <a:gd name="T82" fmla="*/ 26 w 142"/>
                <a:gd name="T83" fmla="*/ 60 h 240"/>
                <a:gd name="T84" fmla="*/ 8 w 142"/>
                <a:gd name="T85" fmla="*/ 74 h 240"/>
                <a:gd name="T86" fmla="*/ 26 w 142"/>
                <a:gd name="T87" fmla="*/ 86 h 240"/>
                <a:gd name="T88" fmla="*/ 30 w 142"/>
                <a:gd name="T89" fmla="*/ 74 h 240"/>
                <a:gd name="T90" fmla="*/ 30 w 142"/>
                <a:gd name="T91" fmla="*/ 78 h 240"/>
                <a:gd name="T92" fmla="*/ 12 w 142"/>
                <a:gd name="T93" fmla="*/ 82 h 240"/>
                <a:gd name="T94" fmla="*/ 12 w 142"/>
                <a:gd name="T95" fmla="*/ 90 h 240"/>
                <a:gd name="T96" fmla="*/ 22 w 142"/>
                <a:gd name="T97" fmla="*/ 96 h 240"/>
                <a:gd name="T98" fmla="*/ 34 w 142"/>
                <a:gd name="T99" fmla="*/ 104 h 240"/>
                <a:gd name="T100" fmla="*/ 26 w 142"/>
                <a:gd name="T101" fmla="*/ 96 h 240"/>
                <a:gd name="T102" fmla="*/ 30 w 142"/>
                <a:gd name="T103" fmla="*/ 112 h 240"/>
                <a:gd name="T104" fmla="*/ 26 w 142"/>
                <a:gd name="T105" fmla="*/ 112 h 240"/>
                <a:gd name="T106" fmla="*/ 46 w 142"/>
                <a:gd name="T107" fmla="*/ 116 h 240"/>
                <a:gd name="T108" fmla="*/ 20 w 142"/>
                <a:gd name="T109" fmla="*/ 146 h 240"/>
                <a:gd name="T110" fmla="*/ 4 w 142"/>
                <a:gd name="T111" fmla="*/ 138 h 240"/>
                <a:gd name="T112" fmla="*/ 34 w 142"/>
                <a:gd name="T113" fmla="*/ 138 h 240"/>
                <a:gd name="T114" fmla="*/ 34 w 142"/>
                <a:gd name="T115" fmla="*/ 150 h 240"/>
                <a:gd name="T116" fmla="*/ 56 w 142"/>
                <a:gd name="T117" fmla="*/ 164 h 240"/>
                <a:gd name="T118" fmla="*/ 128 w 142"/>
                <a:gd name="T119" fmla="*/ 21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2" h="240">
                  <a:moveTo>
                    <a:pt x="80" y="36"/>
                  </a:moveTo>
                  <a:lnTo>
                    <a:pt x="82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close/>
                  <a:moveTo>
                    <a:pt x="106" y="2"/>
                  </a:moveTo>
                  <a:lnTo>
                    <a:pt x="102" y="2"/>
                  </a:lnTo>
                  <a:lnTo>
                    <a:pt x="106" y="0"/>
                  </a:lnTo>
                  <a:lnTo>
                    <a:pt x="106" y="2"/>
                  </a:lnTo>
                  <a:lnTo>
                    <a:pt x="106" y="2"/>
                  </a:lnTo>
                  <a:lnTo>
                    <a:pt x="106" y="2"/>
                  </a:lnTo>
                  <a:close/>
                  <a:moveTo>
                    <a:pt x="102" y="6"/>
                  </a:moveTo>
                  <a:lnTo>
                    <a:pt x="102" y="2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2" y="6"/>
                  </a:lnTo>
                  <a:close/>
                  <a:moveTo>
                    <a:pt x="94" y="14"/>
                  </a:moveTo>
                  <a:lnTo>
                    <a:pt x="98" y="10"/>
                  </a:lnTo>
                  <a:lnTo>
                    <a:pt x="94" y="10"/>
                  </a:lnTo>
                  <a:lnTo>
                    <a:pt x="94" y="6"/>
                  </a:lnTo>
                  <a:lnTo>
                    <a:pt x="98" y="6"/>
                  </a:lnTo>
                  <a:lnTo>
                    <a:pt x="98" y="10"/>
                  </a:lnTo>
                  <a:lnTo>
                    <a:pt x="102" y="10"/>
                  </a:lnTo>
                  <a:lnTo>
                    <a:pt x="102" y="14"/>
                  </a:lnTo>
                  <a:lnTo>
                    <a:pt x="98" y="14"/>
                  </a:lnTo>
                  <a:lnTo>
                    <a:pt x="102" y="14"/>
                  </a:lnTo>
                  <a:lnTo>
                    <a:pt x="102" y="18"/>
                  </a:lnTo>
                  <a:lnTo>
                    <a:pt x="98" y="18"/>
                  </a:lnTo>
                  <a:lnTo>
                    <a:pt x="98" y="22"/>
                  </a:lnTo>
                  <a:lnTo>
                    <a:pt x="98" y="18"/>
                  </a:lnTo>
                  <a:lnTo>
                    <a:pt x="98" y="14"/>
                  </a:lnTo>
                  <a:lnTo>
                    <a:pt x="94" y="18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4" y="14"/>
                  </a:lnTo>
                  <a:close/>
                  <a:moveTo>
                    <a:pt x="76" y="44"/>
                  </a:moveTo>
                  <a:lnTo>
                    <a:pt x="72" y="44"/>
                  </a:lnTo>
                  <a:lnTo>
                    <a:pt x="68" y="44"/>
                  </a:lnTo>
                  <a:lnTo>
                    <a:pt x="68" y="40"/>
                  </a:lnTo>
                  <a:lnTo>
                    <a:pt x="72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close/>
                  <a:moveTo>
                    <a:pt x="72" y="48"/>
                  </a:move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close/>
                  <a:moveTo>
                    <a:pt x="76" y="48"/>
                  </a:moveTo>
                  <a:lnTo>
                    <a:pt x="72" y="48"/>
                  </a:lnTo>
                  <a:lnTo>
                    <a:pt x="76" y="48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close/>
                  <a:moveTo>
                    <a:pt x="50" y="138"/>
                  </a:moveTo>
                  <a:lnTo>
                    <a:pt x="46" y="138"/>
                  </a:lnTo>
                  <a:lnTo>
                    <a:pt x="46" y="134"/>
                  </a:lnTo>
                  <a:lnTo>
                    <a:pt x="42" y="134"/>
                  </a:lnTo>
                  <a:lnTo>
                    <a:pt x="42" y="130"/>
                  </a:lnTo>
                  <a:lnTo>
                    <a:pt x="46" y="130"/>
                  </a:lnTo>
                  <a:lnTo>
                    <a:pt x="46" y="126"/>
                  </a:lnTo>
                  <a:lnTo>
                    <a:pt x="50" y="126"/>
                  </a:lnTo>
                  <a:lnTo>
                    <a:pt x="50" y="122"/>
                  </a:lnTo>
                  <a:lnTo>
                    <a:pt x="50" y="120"/>
                  </a:lnTo>
                  <a:lnTo>
                    <a:pt x="50" y="116"/>
                  </a:lnTo>
                  <a:lnTo>
                    <a:pt x="46" y="116"/>
                  </a:lnTo>
                  <a:lnTo>
                    <a:pt x="46" y="112"/>
                  </a:lnTo>
                  <a:lnTo>
                    <a:pt x="50" y="112"/>
                  </a:lnTo>
                  <a:lnTo>
                    <a:pt x="52" y="112"/>
                  </a:lnTo>
                  <a:lnTo>
                    <a:pt x="50" y="112"/>
                  </a:lnTo>
                  <a:lnTo>
                    <a:pt x="50" y="108"/>
                  </a:lnTo>
                  <a:lnTo>
                    <a:pt x="46" y="108"/>
                  </a:lnTo>
                  <a:lnTo>
                    <a:pt x="46" y="112"/>
                  </a:lnTo>
                  <a:lnTo>
                    <a:pt x="42" y="112"/>
                  </a:lnTo>
                  <a:lnTo>
                    <a:pt x="42" y="108"/>
                  </a:lnTo>
                  <a:lnTo>
                    <a:pt x="46" y="104"/>
                  </a:lnTo>
                  <a:lnTo>
                    <a:pt x="42" y="108"/>
                  </a:lnTo>
                  <a:lnTo>
                    <a:pt x="38" y="108"/>
                  </a:lnTo>
                  <a:lnTo>
                    <a:pt x="38" y="112"/>
                  </a:lnTo>
                  <a:lnTo>
                    <a:pt x="42" y="116"/>
                  </a:lnTo>
                  <a:lnTo>
                    <a:pt x="38" y="116"/>
                  </a:lnTo>
                  <a:lnTo>
                    <a:pt x="38" y="122"/>
                  </a:lnTo>
                  <a:lnTo>
                    <a:pt x="34" y="126"/>
                  </a:lnTo>
                  <a:lnTo>
                    <a:pt x="34" y="122"/>
                  </a:lnTo>
                  <a:lnTo>
                    <a:pt x="34" y="120"/>
                  </a:lnTo>
                  <a:lnTo>
                    <a:pt x="34" y="116"/>
                  </a:lnTo>
                  <a:lnTo>
                    <a:pt x="38" y="116"/>
                  </a:lnTo>
                  <a:lnTo>
                    <a:pt x="34" y="116"/>
                  </a:lnTo>
                  <a:lnTo>
                    <a:pt x="34" y="112"/>
                  </a:lnTo>
                  <a:lnTo>
                    <a:pt x="38" y="112"/>
                  </a:lnTo>
                  <a:lnTo>
                    <a:pt x="38" y="108"/>
                  </a:lnTo>
                  <a:lnTo>
                    <a:pt x="34" y="112"/>
                  </a:lnTo>
                  <a:lnTo>
                    <a:pt x="34" y="108"/>
                  </a:lnTo>
                  <a:lnTo>
                    <a:pt x="38" y="108"/>
                  </a:lnTo>
                  <a:lnTo>
                    <a:pt x="38" y="104"/>
                  </a:lnTo>
                  <a:lnTo>
                    <a:pt x="38" y="100"/>
                  </a:lnTo>
                  <a:lnTo>
                    <a:pt x="42" y="100"/>
                  </a:lnTo>
                  <a:lnTo>
                    <a:pt x="46" y="100"/>
                  </a:lnTo>
                  <a:lnTo>
                    <a:pt x="46" y="96"/>
                  </a:lnTo>
                  <a:lnTo>
                    <a:pt x="42" y="100"/>
                  </a:lnTo>
                  <a:lnTo>
                    <a:pt x="42" y="96"/>
                  </a:lnTo>
                  <a:lnTo>
                    <a:pt x="42" y="92"/>
                  </a:lnTo>
                  <a:lnTo>
                    <a:pt x="46" y="92"/>
                  </a:lnTo>
                  <a:lnTo>
                    <a:pt x="42" y="92"/>
                  </a:lnTo>
                  <a:lnTo>
                    <a:pt x="38" y="96"/>
                  </a:lnTo>
                  <a:lnTo>
                    <a:pt x="34" y="96"/>
                  </a:lnTo>
                  <a:lnTo>
                    <a:pt x="30" y="96"/>
                  </a:lnTo>
                  <a:lnTo>
                    <a:pt x="34" y="96"/>
                  </a:lnTo>
                  <a:lnTo>
                    <a:pt x="34" y="92"/>
                  </a:lnTo>
                  <a:lnTo>
                    <a:pt x="38" y="92"/>
                  </a:lnTo>
                  <a:lnTo>
                    <a:pt x="34" y="92"/>
                  </a:lnTo>
                  <a:lnTo>
                    <a:pt x="30" y="92"/>
                  </a:lnTo>
                  <a:lnTo>
                    <a:pt x="26" y="92"/>
                  </a:lnTo>
                  <a:lnTo>
                    <a:pt x="30" y="92"/>
                  </a:lnTo>
                  <a:lnTo>
                    <a:pt x="34" y="92"/>
                  </a:lnTo>
                  <a:lnTo>
                    <a:pt x="34" y="90"/>
                  </a:lnTo>
                  <a:lnTo>
                    <a:pt x="38" y="90"/>
                  </a:lnTo>
                  <a:lnTo>
                    <a:pt x="34" y="90"/>
                  </a:lnTo>
                  <a:lnTo>
                    <a:pt x="34" y="86"/>
                  </a:lnTo>
                  <a:lnTo>
                    <a:pt x="34" y="90"/>
                  </a:lnTo>
                  <a:lnTo>
                    <a:pt x="38" y="90"/>
                  </a:lnTo>
                  <a:lnTo>
                    <a:pt x="34" y="86"/>
                  </a:lnTo>
                  <a:lnTo>
                    <a:pt x="38" y="86"/>
                  </a:lnTo>
                  <a:lnTo>
                    <a:pt x="38" y="82"/>
                  </a:lnTo>
                  <a:lnTo>
                    <a:pt x="38" y="78"/>
                  </a:lnTo>
                  <a:lnTo>
                    <a:pt x="34" y="78"/>
                  </a:lnTo>
                  <a:lnTo>
                    <a:pt x="34" y="74"/>
                  </a:lnTo>
                  <a:lnTo>
                    <a:pt x="38" y="74"/>
                  </a:lnTo>
                  <a:lnTo>
                    <a:pt x="34" y="74"/>
                  </a:lnTo>
                  <a:lnTo>
                    <a:pt x="34" y="70"/>
                  </a:lnTo>
                  <a:lnTo>
                    <a:pt x="34" y="66"/>
                  </a:lnTo>
                  <a:lnTo>
                    <a:pt x="38" y="70"/>
                  </a:lnTo>
                  <a:lnTo>
                    <a:pt x="38" y="66"/>
                  </a:lnTo>
                  <a:lnTo>
                    <a:pt x="42" y="66"/>
                  </a:lnTo>
                  <a:lnTo>
                    <a:pt x="46" y="66"/>
                  </a:lnTo>
                  <a:lnTo>
                    <a:pt x="42" y="66"/>
                  </a:lnTo>
                  <a:lnTo>
                    <a:pt x="42" y="62"/>
                  </a:lnTo>
                  <a:lnTo>
                    <a:pt x="38" y="62"/>
                  </a:lnTo>
                  <a:lnTo>
                    <a:pt x="42" y="62"/>
                  </a:lnTo>
                  <a:lnTo>
                    <a:pt x="42" y="60"/>
                  </a:lnTo>
                  <a:lnTo>
                    <a:pt x="46" y="60"/>
                  </a:lnTo>
                  <a:lnTo>
                    <a:pt x="42" y="60"/>
                  </a:lnTo>
                  <a:lnTo>
                    <a:pt x="42" y="56"/>
                  </a:lnTo>
                  <a:lnTo>
                    <a:pt x="46" y="52"/>
                  </a:lnTo>
                  <a:lnTo>
                    <a:pt x="50" y="52"/>
                  </a:lnTo>
                  <a:lnTo>
                    <a:pt x="50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4" y="52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2" y="56"/>
                  </a:lnTo>
                  <a:lnTo>
                    <a:pt x="72" y="60"/>
                  </a:lnTo>
                  <a:lnTo>
                    <a:pt x="68" y="60"/>
                  </a:lnTo>
                  <a:lnTo>
                    <a:pt x="68" y="62"/>
                  </a:lnTo>
                  <a:lnTo>
                    <a:pt x="64" y="62"/>
                  </a:lnTo>
                  <a:lnTo>
                    <a:pt x="60" y="62"/>
                  </a:lnTo>
                  <a:lnTo>
                    <a:pt x="60" y="66"/>
                  </a:lnTo>
                  <a:lnTo>
                    <a:pt x="56" y="66"/>
                  </a:lnTo>
                  <a:lnTo>
                    <a:pt x="52" y="66"/>
                  </a:lnTo>
                  <a:lnTo>
                    <a:pt x="56" y="66"/>
                  </a:lnTo>
                  <a:lnTo>
                    <a:pt x="56" y="70"/>
                  </a:lnTo>
                  <a:lnTo>
                    <a:pt x="60" y="70"/>
                  </a:lnTo>
                  <a:lnTo>
                    <a:pt x="60" y="66"/>
                  </a:lnTo>
                  <a:lnTo>
                    <a:pt x="64" y="66"/>
                  </a:lnTo>
                  <a:lnTo>
                    <a:pt x="64" y="70"/>
                  </a:lnTo>
                  <a:lnTo>
                    <a:pt x="60" y="70"/>
                  </a:lnTo>
                  <a:lnTo>
                    <a:pt x="56" y="70"/>
                  </a:lnTo>
                  <a:lnTo>
                    <a:pt x="52" y="74"/>
                  </a:lnTo>
                  <a:lnTo>
                    <a:pt x="56" y="74"/>
                  </a:lnTo>
                  <a:lnTo>
                    <a:pt x="56" y="70"/>
                  </a:lnTo>
                  <a:lnTo>
                    <a:pt x="60" y="74"/>
                  </a:lnTo>
                  <a:lnTo>
                    <a:pt x="56" y="74"/>
                  </a:lnTo>
                  <a:lnTo>
                    <a:pt x="56" y="78"/>
                  </a:lnTo>
                  <a:lnTo>
                    <a:pt x="60" y="74"/>
                  </a:lnTo>
                  <a:lnTo>
                    <a:pt x="64" y="74"/>
                  </a:lnTo>
                  <a:lnTo>
                    <a:pt x="68" y="74"/>
                  </a:lnTo>
                  <a:lnTo>
                    <a:pt x="68" y="70"/>
                  </a:lnTo>
                  <a:lnTo>
                    <a:pt x="72" y="70"/>
                  </a:lnTo>
                  <a:lnTo>
                    <a:pt x="72" y="74"/>
                  </a:lnTo>
                  <a:lnTo>
                    <a:pt x="76" y="74"/>
                  </a:lnTo>
                  <a:lnTo>
                    <a:pt x="76" y="70"/>
                  </a:lnTo>
                  <a:lnTo>
                    <a:pt x="80" y="70"/>
                  </a:lnTo>
                  <a:lnTo>
                    <a:pt x="82" y="74"/>
                  </a:lnTo>
                  <a:lnTo>
                    <a:pt x="86" y="74"/>
                  </a:lnTo>
                  <a:lnTo>
                    <a:pt x="86" y="70"/>
                  </a:lnTo>
                  <a:lnTo>
                    <a:pt x="90" y="70"/>
                  </a:lnTo>
                  <a:lnTo>
                    <a:pt x="90" y="74"/>
                  </a:lnTo>
                  <a:lnTo>
                    <a:pt x="90" y="78"/>
                  </a:lnTo>
                  <a:lnTo>
                    <a:pt x="90" y="82"/>
                  </a:lnTo>
                  <a:lnTo>
                    <a:pt x="86" y="82"/>
                  </a:lnTo>
                  <a:lnTo>
                    <a:pt x="86" y="86"/>
                  </a:lnTo>
                  <a:lnTo>
                    <a:pt x="86" y="90"/>
                  </a:lnTo>
                  <a:lnTo>
                    <a:pt x="82" y="92"/>
                  </a:lnTo>
                  <a:lnTo>
                    <a:pt x="82" y="96"/>
                  </a:lnTo>
                  <a:lnTo>
                    <a:pt x="80" y="96"/>
                  </a:lnTo>
                  <a:lnTo>
                    <a:pt x="80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6" y="100"/>
                  </a:lnTo>
                  <a:lnTo>
                    <a:pt x="80" y="100"/>
                  </a:lnTo>
                  <a:lnTo>
                    <a:pt x="80" y="104"/>
                  </a:lnTo>
                  <a:lnTo>
                    <a:pt x="76" y="104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8" y="108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80" y="108"/>
                  </a:lnTo>
                  <a:lnTo>
                    <a:pt x="82" y="108"/>
                  </a:lnTo>
                  <a:lnTo>
                    <a:pt x="82" y="112"/>
                  </a:lnTo>
                  <a:lnTo>
                    <a:pt x="86" y="112"/>
                  </a:lnTo>
                  <a:lnTo>
                    <a:pt x="86" y="116"/>
                  </a:lnTo>
                  <a:lnTo>
                    <a:pt x="90" y="116"/>
                  </a:lnTo>
                  <a:lnTo>
                    <a:pt x="90" y="120"/>
                  </a:lnTo>
                  <a:lnTo>
                    <a:pt x="94" y="120"/>
                  </a:lnTo>
                  <a:lnTo>
                    <a:pt x="94" y="122"/>
                  </a:lnTo>
                  <a:lnTo>
                    <a:pt x="94" y="126"/>
                  </a:lnTo>
                  <a:lnTo>
                    <a:pt x="94" y="130"/>
                  </a:lnTo>
                  <a:lnTo>
                    <a:pt x="98" y="130"/>
                  </a:lnTo>
                  <a:lnTo>
                    <a:pt x="98" y="134"/>
                  </a:lnTo>
                  <a:lnTo>
                    <a:pt x="98" y="138"/>
                  </a:lnTo>
                  <a:lnTo>
                    <a:pt x="102" y="138"/>
                  </a:lnTo>
                  <a:lnTo>
                    <a:pt x="106" y="142"/>
                  </a:lnTo>
                  <a:lnTo>
                    <a:pt x="108" y="142"/>
                  </a:lnTo>
                  <a:lnTo>
                    <a:pt x="108" y="146"/>
                  </a:lnTo>
                  <a:lnTo>
                    <a:pt x="112" y="146"/>
                  </a:lnTo>
                  <a:lnTo>
                    <a:pt x="112" y="150"/>
                  </a:lnTo>
                  <a:lnTo>
                    <a:pt x="116" y="150"/>
                  </a:lnTo>
                  <a:lnTo>
                    <a:pt x="112" y="150"/>
                  </a:lnTo>
                  <a:lnTo>
                    <a:pt x="112" y="152"/>
                  </a:lnTo>
                  <a:lnTo>
                    <a:pt x="112" y="156"/>
                  </a:lnTo>
                  <a:lnTo>
                    <a:pt x="116" y="156"/>
                  </a:lnTo>
                  <a:lnTo>
                    <a:pt x="116" y="160"/>
                  </a:lnTo>
                  <a:lnTo>
                    <a:pt x="120" y="160"/>
                  </a:lnTo>
                  <a:lnTo>
                    <a:pt x="116" y="164"/>
                  </a:lnTo>
                  <a:lnTo>
                    <a:pt x="116" y="160"/>
                  </a:lnTo>
                  <a:lnTo>
                    <a:pt x="120" y="160"/>
                  </a:lnTo>
                  <a:lnTo>
                    <a:pt x="116" y="160"/>
                  </a:lnTo>
                  <a:lnTo>
                    <a:pt x="112" y="160"/>
                  </a:lnTo>
                  <a:lnTo>
                    <a:pt x="108" y="160"/>
                  </a:lnTo>
                  <a:lnTo>
                    <a:pt x="106" y="160"/>
                  </a:lnTo>
                  <a:lnTo>
                    <a:pt x="108" y="160"/>
                  </a:lnTo>
                  <a:lnTo>
                    <a:pt x="112" y="160"/>
                  </a:lnTo>
                  <a:lnTo>
                    <a:pt x="116" y="160"/>
                  </a:lnTo>
                  <a:lnTo>
                    <a:pt x="116" y="164"/>
                  </a:lnTo>
                  <a:lnTo>
                    <a:pt x="120" y="164"/>
                  </a:lnTo>
                  <a:lnTo>
                    <a:pt x="120" y="168"/>
                  </a:lnTo>
                  <a:lnTo>
                    <a:pt x="120" y="172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20" y="180"/>
                  </a:lnTo>
                  <a:lnTo>
                    <a:pt x="124" y="180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32" y="176"/>
                  </a:lnTo>
                  <a:lnTo>
                    <a:pt x="136" y="176"/>
                  </a:lnTo>
                  <a:lnTo>
                    <a:pt x="138" y="180"/>
                  </a:lnTo>
                  <a:lnTo>
                    <a:pt x="142" y="182"/>
                  </a:lnTo>
                  <a:lnTo>
                    <a:pt x="142" y="186"/>
                  </a:lnTo>
                  <a:lnTo>
                    <a:pt x="138" y="190"/>
                  </a:lnTo>
                  <a:lnTo>
                    <a:pt x="138" y="194"/>
                  </a:lnTo>
                  <a:lnTo>
                    <a:pt x="136" y="198"/>
                  </a:lnTo>
                  <a:lnTo>
                    <a:pt x="132" y="194"/>
                  </a:lnTo>
                  <a:lnTo>
                    <a:pt x="136" y="198"/>
                  </a:lnTo>
                  <a:lnTo>
                    <a:pt x="136" y="202"/>
                  </a:lnTo>
                  <a:lnTo>
                    <a:pt x="132" y="202"/>
                  </a:lnTo>
                  <a:lnTo>
                    <a:pt x="132" y="198"/>
                  </a:lnTo>
                  <a:lnTo>
                    <a:pt x="132" y="202"/>
                  </a:lnTo>
                  <a:lnTo>
                    <a:pt x="128" y="202"/>
                  </a:lnTo>
                  <a:lnTo>
                    <a:pt x="132" y="202"/>
                  </a:lnTo>
                  <a:lnTo>
                    <a:pt x="132" y="206"/>
                  </a:lnTo>
                  <a:lnTo>
                    <a:pt x="128" y="206"/>
                  </a:lnTo>
                  <a:lnTo>
                    <a:pt x="124" y="206"/>
                  </a:lnTo>
                  <a:lnTo>
                    <a:pt x="120" y="210"/>
                  </a:lnTo>
                  <a:lnTo>
                    <a:pt x="124" y="210"/>
                  </a:lnTo>
                  <a:lnTo>
                    <a:pt x="124" y="206"/>
                  </a:lnTo>
                  <a:lnTo>
                    <a:pt x="128" y="206"/>
                  </a:lnTo>
                  <a:lnTo>
                    <a:pt x="128" y="210"/>
                  </a:lnTo>
                  <a:lnTo>
                    <a:pt x="124" y="210"/>
                  </a:lnTo>
                  <a:lnTo>
                    <a:pt x="128" y="210"/>
                  </a:lnTo>
                  <a:lnTo>
                    <a:pt x="132" y="210"/>
                  </a:lnTo>
                  <a:lnTo>
                    <a:pt x="136" y="210"/>
                  </a:lnTo>
                  <a:lnTo>
                    <a:pt x="136" y="212"/>
                  </a:lnTo>
                  <a:lnTo>
                    <a:pt x="136" y="216"/>
                  </a:lnTo>
                  <a:lnTo>
                    <a:pt x="132" y="216"/>
                  </a:lnTo>
                  <a:lnTo>
                    <a:pt x="132" y="220"/>
                  </a:lnTo>
                  <a:lnTo>
                    <a:pt x="128" y="220"/>
                  </a:lnTo>
                  <a:lnTo>
                    <a:pt x="128" y="216"/>
                  </a:lnTo>
                  <a:lnTo>
                    <a:pt x="128" y="220"/>
                  </a:lnTo>
                  <a:lnTo>
                    <a:pt x="124" y="220"/>
                  </a:lnTo>
                  <a:lnTo>
                    <a:pt x="120" y="220"/>
                  </a:lnTo>
                  <a:lnTo>
                    <a:pt x="120" y="224"/>
                  </a:lnTo>
                  <a:lnTo>
                    <a:pt x="116" y="220"/>
                  </a:lnTo>
                  <a:lnTo>
                    <a:pt x="112" y="220"/>
                  </a:lnTo>
                  <a:lnTo>
                    <a:pt x="108" y="220"/>
                  </a:lnTo>
                  <a:lnTo>
                    <a:pt x="106" y="220"/>
                  </a:lnTo>
                  <a:lnTo>
                    <a:pt x="106" y="224"/>
                  </a:lnTo>
                  <a:lnTo>
                    <a:pt x="106" y="220"/>
                  </a:lnTo>
                  <a:lnTo>
                    <a:pt x="102" y="220"/>
                  </a:lnTo>
                  <a:lnTo>
                    <a:pt x="98" y="220"/>
                  </a:lnTo>
                  <a:lnTo>
                    <a:pt x="94" y="224"/>
                  </a:lnTo>
                  <a:lnTo>
                    <a:pt x="90" y="224"/>
                  </a:lnTo>
                  <a:lnTo>
                    <a:pt x="86" y="224"/>
                  </a:lnTo>
                  <a:lnTo>
                    <a:pt x="90" y="224"/>
                  </a:lnTo>
                  <a:lnTo>
                    <a:pt x="86" y="224"/>
                  </a:lnTo>
                  <a:lnTo>
                    <a:pt x="82" y="224"/>
                  </a:lnTo>
                  <a:lnTo>
                    <a:pt x="82" y="228"/>
                  </a:lnTo>
                  <a:lnTo>
                    <a:pt x="82" y="224"/>
                  </a:lnTo>
                  <a:lnTo>
                    <a:pt x="80" y="224"/>
                  </a:lnTo>
                  <a:lnTo>
                    <a:pt x="76" y="224"/>
                  </a:lnTo>
                  <a:lnTo>
                    <a:pt x="72" y="224"/>
                  </a:lnTo>
                  <a:lnTo>
                    <a:pt x="68" y="224"/>
                  </a:lnTo>
                  <a:lnTo>
                    <a:pt x="68" y="228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50" y="232"/>
                  </a:lnTo>
                  <a:lnTo>
                    <a:pt x="46" y="236"/>
                  </a:lnTo>
                  <a:lnTo>
                    <a:pt x="46" y="240"/>
                  </a:lnTo>
                  <a:lnTo>
                    <a:pt x="42" y="240"/>
                  </a:lnTo>
                  <a:lnTo>
                    <a:pt x="42" y="236"/>
                  </a:lnTo>
                  <a:lnTo>
                    <a:pt x="38" y="236"/>
                  </a:lnTo>
                  <a:lnTo>
                    <a:pt x="38" y="240"/>
                  </a:lnTo>
                  <a:lnTo>
                    <a:pt x="34" y="240"/>
                  </a:lnTo>
                  <a:lnTo>
                    <a:pt x="34" y="236"/>
                  </a:lnTo>
                  <a:lnTo>
                    <a:pt x="38" y="236"/>
                  </a:lnTo>
                  <a:lnTo>
                    <a:pt x="42" y="232"/>
                  </a:lnTo>
                  <a:lnTo>
                    <a:pt x="46" y="228"/>
                  </a:lnTo>
                  <a:lnTo>
                    <a:pt x="46" y="224"/>
                  </a:lnTo>
                  <a:lnTo>
                    <a:pt x="50" y="224"/>
                  </a:lnTo>
                  <a:lnTo>
                    <a:pt x="52" y="220"/>
                  </a:lnTo>
                  <a:lnTo>
                    <a:pt x="52" y="216"/>
                  </a:lnTo>
                  <a:lnTo>
                    <a:pt x="56" y="216"/>
                  </a:lnTo>
                  <a:lnTo>
                    <a:pt x="56" y="212"/>
                  </a:lnTo>
                  <a:lnTo>
                    <a:pt x="60" y="212"/>
                  </a:lnTo>
                  <a:lnTo>
                    <a:pt x="64" y="212"/>
                  </a:lnTo>
                  <a:lnTo>
                    <a:pt x="68" y="212"/>
                  </a:lnTo>
                  <a:lnTo>
                    <a:pt x="76" y="212"/>
                  </a:lnTo>
                  <a:lnTo>
                    <a:pt x="76" y="210"/>
                  </a:lnTo>
                  <a:lnTo>
                    <a:pt x="76" y="206"/>
                  </a:lnTo>
                  <a:lnTo>
                    <a:pt x="80" y="206"/>
                  </a:lnTo>
                  <a:lnTo>
                    <a:pt x="80" y="202"/>
                  </a:lnTo>
                  <a:lnTo>
                    <a:pt x="82" y="202"/>
                  </a:lnTo>
                  <a:lnTo>
                    <a:pt x="80" y="202"/>
                  </a:lnTo>
                  <a:lnTo>
                    <a:pt x="80" y="206"/>
                  </a:lnTo>
                  <a:lnTo>
                    <a:pt x="76" y="206"/>
                  </a:lnTo>
                  <a:lnTo>
                    <a:pt x="72" y="206"/>
                  </a:lnTo>
                  <a:lnTo>
                    <a:pt x="72" y="210"/>
                  </a:lnTo>
                  <a:lnTo>
                    <a:pt x="68" y="210"/>
                  </a:lnTo>
                  <a:lnTo>
                    <a:pt x="64" y="210"/>
                  </a:lnTo>
                  <a:lnTo>
                    <a:pt x="64" y="206"/>
                  </a:lnTo>
                  <a:lnTo>
                    <a:pt x="60" y="206"/>
                  </a:lnTo>
                  <a:lnTo>
                    <a:pt x="56" y="206"/>
                  </a:lnTo>
                  <a:lnTo>
                    <a:pt x="60" y="202"/>
                  </a:lnTo>
                  <a:lnTo>
                    <a:pt x="56" y="202"/>
                  </a:lnTo>
                  <a:lnTo>
                    <a:pt x="52" y="202"/>
                  </a:lnTo>
                  <a:lnTo>
                    <a:pt x="50" y="202"/>
                  </a:lnTo>
                  <a:lnTo>
                    <a:pt x="50" y="206"/>
                  </a:lnTo>
                  <a:lnTo>
                    <a:pt x="50" y="202"/>
                  </a:lnTo>
                  <a:lnTo>
                    <a:pt x="50" y="206"/>
                  </a:lnTo>
                  <a:lnTo>
                    <a:pt x="46" y="206"/>
                  </a:lnTo>
                  <a:lnTo>
                    <a:pt x="46" y="202"/>
                  </a:lnTo>
                  <a:lnTo>
                    <a:pt x="50" y="202"/>
                  </a:lnTo>
                  <a:lnTo>
                    <a:pt x="46" y="202"/>
                  </a:lnTo>
                  <a:lnTo>
                    <a:pt x="42" y="202"/>
                  </a:lnTo>
                  <a:lnTo>
                    <a:pt x="46" y="202"/>
                  </a:lnTo>
                  <a:lnTo>
                    <a:pt x="46" y="198"/>
                  </a:lnTo>
                  <a:lnTo>
                    <a:pt x="42" y="198"/>
                  </a:lnTo>
                  <a:lnTo>
                    <a:pt x="46" y="198"/>
                  </a:lnTo>
                  <a:lnTo>
                    <a:pt x="50" y="194"/>
                  </a:lnTo>
                  <a:lnTo>
                    <a:pt x="52" y="194"/>
                  </a:lnTo>
                  <a:lnTo>
                    <a:pt x="56" y="190"/>
                  </a:lnTo>
                  <a:lnTo>
                    <a:pt x="56" y="186"/>
                  </a:lnTo>
                  <a:lnTo>
                    <a:pt x="60" y="186"/>
                  </a:lnTo>
                  <a:lnTo>
                    <a:pt x="60" y="182"/>
                  </a:lnTo>
                  <a:lnTo>
                    <a:pt x="56" y="182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6" y="176"/>
                  </a:lnTo>
                  <a:lnTo>
                    <a:pt x="52" y="176"/>
                  </a:lnTo>
                  <a:lnTo>
                    <a:pt x="52" y="180"/>
                  </a:lnTo>
                  <a:lnTo>
                    <a:pt x="50" y="180"/>
                  </a:lnTo>
                  <a:lnTo>
                    <a:pt x="50" y="176"/>
                  </a:lnTo>
                  <a:lnTo>
                    <a:pt x="52" y="176"/>
                  </a:lnTo>
                  <a:lnTo>
                    <a:pt x="56" y="172"/>
                  </a:lnTo>
                  <a:lnTo>
                    <a:pt x="56" y="168"/>
                  </a:lnTo>
                  <a:lnTo>
                    <a:pt x="60" y="168"/>
                  </a:lnTo>
                  <a:lnTo>
                    <a:pt x="64" y="168"/>
                  </a:lnTo>
                  <a:lnTo>
                    <a:pt x="68" y="168"/>
                  </a:lnTo>
                  <a:lnTo>
                    <a:pt x="72" y="168"/>
                  </a:lnTo>
                  <a:lnTo>
                    <a:pt x="72" y="164"/>
                  </a:lnTo>
                  <a:lnTo>
                    <a:pt x="76" y="168"/>
                  </a:lnTo>
                  <a:lnTo>
                    <a:pt x="80" y="168"/>
                  </a:lnTo>
                  <a:lnTo>
                    <a:pt x="76" y="168"/>
                  </a:lnTo>
                  <a:lnTo>
                    <a:pt x="76" y="164"/>
                  </a:lnTo>
                  <a:lnTo>
                    <a:pt x="72" y="164"/>
                  </a:lnTo>
                  <a:lnTo>
                    <a:pt x="72" y="160"/>
                  </a:lnTo>
                  <a:lnTo>
                    <a:pt x="76" y="160"/>
                  </a:lnTo>
                  <a:lnTo>
                    <a:pt x="72" y="156"/>
                  </a:lnTo>
                  <a:lnTo>
                    <a:pt x="76" y="152"/>
                  </a:lnTo>
                  <a:lnTo>
                    <a:pt x="76" y="150"/>
                  </a:lnTo>
                  <a:lnTo>
                    <a:pt x="72" y="152"/>
                  </a:lnTo>
                  <a:lnTo>
                    <a:pt x="72" y="150"/>
                  </a:lnTo>
                  <a:lnTo>
                    <a:pt x="68" y="150"/>
                  </a:lnTo>
                  <a:lnTo>
                    <a:pt x="68" y="146"/>
                  </a:lnTo>
                  <a:lnTo>
                    <a:pt x="68" y="142"/>
                  </a:lnTo>
                  <a:lnTo>
                    <a:pt x="64" y="142"/>
                  </a:lnTo>
                  <a:lnTo>
                    <a:pt x="64" y="138"/>
                  </a:lnTo>
                  <a:lnTo>
                    <a:pt x="68" y="134"/>
                  </a:lnTo>
                  <a:lnTo>
                    <a:pt x="72" y="134"/>
                  </a:lnTo>
                  <a:lnTo>
                    <a:pt x="76" y="134"/>
                  </a:lnTo>
                  <a:lnTo>
                    <a:pt x="76" y="130"/>
                  </a:lnTo>
                  <a:lnTo>
                    <a:pt x="72" y="130"/>
                  </a:lnTo>
                  <a:lnTo>
                    <a:pt x="68" y="130"/>
                  </a:lnTo>
                  <a:lnTo>
                    <a:pt x="64" y="130"/>
                  </a:lnTo>
                  <a:lnTo>
                    <a:pt x="64" y="134"/>
                  </a:lnTo>
                  <a:lnTo>
                    <a:pt x="60" y="134"/>
                  </a:lnTo>
                  <a:lnTo>
                    <a:pt x="60" y="138"/>
                  </a:lnTo>
                  <a:lnTo>
                    <a:pt x="56" y="138"/>
                  </a:lnTo>
                  <a:lnTo>
                    <a:pt x="52" y="134"/>
                  </a:lnTo>
                  <a:lnTo>
                    <a:pt x="52" y="138"/>
                  </a:lnTo>
                  <a:lnTo>
                    <a:pt x="56" y="138"/>
                  </a:lnTo>
                  <a:lnTo>
                    <a:pt x="52" y="138"/>
                  </a:lnTo>
                  <a:lnTo>
                    <a:pt x="50" y="134"/>
                  </a:lnTo>
                  <a:lnTo>
                    <a:pt x="46" y="134"/>
                  </a:lnTo>
                  <a:lnTo>
                    <a:pt x="46" y="138"/>
                  </a:lnTo>
                  <a:lnTo>
                    <a:pt x="50" y="138"/>
                  </a:lnTo>
                  <a:lnTo>
                    <a:pt x="50" y="138"/>
                  </a:lnTo>
                  <a:lnTo>
                    <a:pt x="50" y="138"/>
                  </a:lnTo>
                  <a:close/>
                  <a:moveTo>
                    <a:pt x="22" y="66"/>
                  </a:moveTo>
                  <a:lnTo>
                    <a:pt x="22" y="62"/>
                  </a:lnTo>
                  <a:lnTo>
                    <a:pt x="20" y="66"/>
                  </a:lnTo>
                  <a:lnTo>
                    <a:pt x="22" y="66"/>
                  </a:lnTo>
                  <a:lnTo>
                    <a:pt x="20" y="70"/>
                  </a:lnTo>
                  <a:lnTo>
                    <a:pt x="16" y="70"/>
                  </a:lnTo>
                  <a:lnTo>
                    <a:pt x="20" y="66"/>
                  </a:lnTo>
                  <a:lnTo>
                    <a:pt x="16" y="66"/>
                  </a:lnTo>
                  <a:lnTo>
                    <a:pt x="16" y="62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62"/>
                  </a:lnTo>
                  <a:lnTo>
                    <a:pt x="20" y="60"/>
                  </a:lnTo>
                  <a:lnTo>
                    <a:pt x="22" y="56"/>
                  </a:lnTo>
                  <a:lnTo>
                    <a:pt x="26" y="56"/>
                  </a:lnTo>
                  <a:lnTo>
                    <a:pt x="26" y="52"/>
                  </a:lnTo>
                  <a:lnTo>
                    <a:pt x="26" y="56"/>
                  </a:lnTo>
                  <a:lnTo>
                    <a:pt x="30" y="56"/>
                  </a:lnTo>
                  <a:lnTo>
                    <a:pt x="26" y="56"/>
                  </a:lnTo>
                  <a:lnTo>
                    <a:pt x="26" y="60"/>
                  </a:lnTo>
                  <a:lnTo>
                    <a:pt x="30" y="60"/>
                  </a:lnTo>
                  <a:lnTo>
                    <a:pt x="26" y="60"/>
                  </a:lnTo>
                  <a:lnTo>
                    <a:pt x="26" y="62"/>
                  </a:lnTo>
                  <a:lnTo>
                    <a:pt x="22" y="62"/>
                  </a:lnTo>
                  <a:lnTo>
                    <a:pt x="26" y="62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2" y="66"/>
                  </a:lnTo>
                  <a:close/>
                  <a:moveTo>
                    <a:pt x="16" y="74"/>
                  </a:moveTo>
                  <a:lnTo>
                    <a:pt x="12" y="74"/>
                  </a:lnTo>
                  <a:lnTo>
                    <a:pt x="8" y="74"/>
                  </a:lnTo>
                  <a:lnTo>
                    <a:pt x="12" y="74"/>
                  </a:lnTo>
                  <a:lnTo>
                    <a:pt x="16" y="70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close/>
                  <a:moveTo>
                    <a:pt x="34" y="86"/>
                  </a:moveTo>
                  <a:lnTo>
                    <a:pt x="30" y="86"/>
                  </a:lnTo>
                  <a:lnTo>
                    <a:pt x="30" y="82"/>
                  </a:lnTo>
                  <a:lnTo>
                    <a:pt x="30" y="86"/>
                  </a:lnTo>
                  <a:lnTo>
                    <a:pt x="30" y="82"/>
                  </a:lnTo>
                  <a:lnTo>
                    <a:pt x="26" y="86"/>
                  </a:lnTo>
                  <a:lnTo>
                    <a:pt x="26" y="82"/>
                  </a:lnTo>
                  <a:lnTo>
                    <a:pt x="22" y="82"/>
                  </a:lnTo>
                  <a:lnTo>
                    <a:pt x="26" y="82"/>
                  </a:lnTo>
                  <a:lnTo>
                    <a:pt x="22" y="78"/>
                  </a:lnTo>
                  <a:lnTo>
                    <a:pt x="22" y="82"/>
                  </a:lnTo>
                  <a:lnTo>
                    <a:pt x="22" y="78"/>
                  </a:lnTo>
                  <a:lnTo>
                    <a:pt x="20" y="78"/>
                  </a:lnTo>
                  <a:lnTo>
                    <a:pt x="22" y="74"/>
                  </a:lnTo>
                  <a:lnTo>
                    <a:pt x="26" y="74"/>
                  </a:lnTo>
                  <a:lnTo>
                    <a:pt x="26" y="70"/>
                  </a:lnTo>
                  <a:lnTo>
                    <a:pt x="30" y="74"/>
                  </a:lnTo>
                  <a:lnTo>
                    <a:pt x="30" y="78"/>
                  </a:lnTo>
                  <a:lnTo>
                    <a:pt x="30" y="82"/>
                  </a:lnTo>
                  <a:lnTo>
                    <a:pt x="34" y="82"/>
                  </a:lnTo>
                  <a:lnTo>
                    <a:pt x="38" y="82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close/>
                  <a:moveTo>
                    <a:pt x="30" y="82"/>
                  </a:moveTo>
                  <a:lnTo>
                    <a:pt x="30" y="78"/>
                  </a:lnTo>
                  <a:lnTo>
                    <a:pt x="30" y="74"/>
                  </a:lnTo>
                  <a:lnTo>
                    <a:pt x="30" y="78"/>
                  </a:lnTo>
                  <a:lnTo>
                    <a:pt x="30" y="82"/>
                  </a:lnTo>
                  <a:lnTo>
                    <a:pt x="30" y="82"/>
                  </a:lnTo>
                  <a:lnTo>
                    <a:pt x="30" y="82"/>
                  </a:lnTo>
                  <a:close/>
                  <a:moveTo>
                    <a:pt x="12" y="78"/>
                  </a:moveTo>
                  <a:lnTo>
                    <a:pt x="16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8"/>
                  </a:lnTo>
                  <a:close/>
                  <a:moveTo>
                    <a:pt x="16" y="86"/>
                  </a:moveTo>
                  <a:lnTo>
                    <a:pt x="12" y="86"/>
                  </a:lnTo>
                  <a:lnTo>
                    <a:pt x="12" y="82"/>
                  </a:lnTo>
                  <a:lnTo>
                    <a:pt x="12" y="78"/>
                  </a:lnTo>
                  <a:lnTo>
                    <a:pt x="16" y="78"/>
                  </a:lnTo>
                  <a:lnTo>
                    <a:pt x="16" y="82"/>
                  </a:lnTo>
                  <a:lnTo>
                    <a:pt x="12" y="82"/>
                  </a:lnTo>
                  <a:lnTo>
                    <a:pt x="12" y="78"/>
                  </a:lnTo>
                  <a:lnTo>
                    <a:pt x="12" y="82"/>
                  </a:lnTo>
                  <a:lnTo>
                    <a:pt x="12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6"/>
                  </a:lnTo>
                  <a:close/>
                  <a:moveTo>
                    <a:pt x="12" y="90"/>
                  </a:moveTo>
                  <a:lnTo>
                    <a:pt x="8" y="90"/>
                  </a:lnTo>
                  <a:lnTo>
                    <a:pt x="12" y="86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90"/>
                  </a:lnTo>
                  <a:close/>
                  <a:moveTo>
                    <a:pt x="26" y="90"/>
                  </a:moveTo>
                  <a:lnTo>
                    <a:pt x="26" y="86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6" y="90"/>
                  </a:lnTo>
                  <a:close/>
                  <a:moveTo>
                    <a:pt x="22" y="96"/>
                  </a:moveTo>
                  <a:lnTo>
                    <a:pt x="22" y="92"/>
                  </a:lnTo>
                  <a:lnTo>
                    <a:pt x="26" y="92"/>
                  </a:lnTo>
                  <a:lnTo>
                    <a:pt x="22" y="96"/>
                  </a:lnTo>
                  <a:lnTo>
                    <a:pt x="22" y="96"/>
                  </a:lnTo>
                  <a:lnTo>
                    <a:pt x="22" y="96"/>
                  </a:lnTo>
                  <a:close/>
                  <a:moveTo>
                    <a:pt x="30" y="96"/>
                  </a:moveTo>
                  <a:lnTo>
                    <a:pt x="34" y="96"/>
                  </a:lnTo>
                  <a:lnTo>
                    <a:pt x="34" y="100"/>
                  </a:lnTo>
                  <a:lnTo>
                    <a:pt x="38" y="100"/>
                  </a:lnTo>
                  <a:lnTo>
                    <a:pt x="34" y="100"/>
                  </a:lnTo>
                  <a:lnTo>
                    <a:pt x="34" y="104"/>
                  </a:lnTo>
                  <a:lnTo>
                    <a:pt x="34" y="100"/>
                  </a:lnTo>
                  <a:lnTo>
                    <a:pt x="30" y="104"/>
                  </a:lnTo>
                  <a:lnTo>
                    <a:pt x="26" y="104"/>
                  </a:lnTo>
                  <a:lnTo>
                    <a:pt x="26" y="100"/>
                  </a:lnTo>
                  <a:lnTo>
                    <a:pt x="26" y="104"/>
                  </a:lnTo>
                  <a:lnTo>
                    <a:pt x="30" y="100"/>
                  </a:lnTo>
                  <a:lnTo>
                    <a:pt x="26" y="100"/>
                  </a:lnTo>
                  <a:lnTo>
                    <a:pt x="30" y="100"/>
                  </a:lnTo>
                  <a:lnTo>
                    <a:pt x="30" y="96"/>
                  </a:lnTo>
                  <a:lnTo>
                    <a:pt x="30" y="100"/>
                  </a:lnTo>
                  <a:lnTo>
                    <a:pt x="26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close/>
                  <a:moveTo>
                    <a:pt x="20" y="100"/>
                  </a:moveTo>
                  <a:lnTo>
                    <a:pt x="16" y="96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close/>
                  <a:moveTo>
                    <a:pt x="30" y="116"/>
                  </a:moveTo>
                  <a:lnTo>
                    <a:pt x="30" y="112"/>
                  </a:lnTo>
                  <a:lnTo>
                    <a:pt x="30" y="108"/>
                  </a:lnTo>
                  <a:lnTo>
                    <a:pt x="34" y="108"/>
                  </a:lnTo>
                  <a:lnTo>
                    <a:pt x="34" y="112"/>
                  </a:lnTo>
                  <a:lnTo>
                    <a:pt x="30" y="112"/>
                  </a:lnTo>
                  <a:lnTo>
                    <a:pt x="30" y="116"/>
                  </a:lnTo>
                  <a:lnTo>
                    <a:pt x="30" y="116"/>
                  </a:lnTo>
                  <a:lnTo>
                    <a:pt x="30" y="116"/>
                  </a:lnTo>
                  <a:close/>
                  <a:moveTo>
                    <a:pt x="26" y="120"/>
                  </a:moveTo>
                  <a:lnTo>
                    <a:pt x="26" y="116"/>
                  </a:lnTo>
                  <a:lnTo>
                    <a:pt x="22" y="116"/>
                  </a:lnTo>
                  <a:lnTo>
                    <a:pt x="26" y="112"/>
                  </a:lnTo>
                  <a:lnTo>
                    <a:pt x="30" y="112"/>
                  </a:lnTo>
                  <a:lnTo>
                    <a:pt x="30" y="116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26" y="120"/>
                  </a:lnTo>
                  <a:close/>
                  <a:moveTo>
                    <a:pt x="46" y="116"/>
                  </a:moveTo>
                  <a:lnTo>
                    <a:pt x="42" y="112"/>
                  </a:lnTo>
                  <a:lnTo>
                    <a:pt x="46" y="112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6" y="116"/>
                  </a:lnTo>
                  <a:close/>
                  <a:moveTo>
                    <a:pt x="42" y="122"/>
                  </a:moveTo>
                  <a:lnTo>
                    <a:pt x="42" y="120"/>
                  </a:lnTo>
                  <a:lnTo>
                    <a:pt x="42" y="116"/>
                  </a:lnTo>
                  <a:lnTo>
                    <a:pt x="46" y="120"/>
                  </a:lnTo>
                  <a:lnTo>
                    <a:pt x="46" y="122"/>
                  </a:lnTo>
                  <a:lnTo>
                    <a:pt x="42" y="122"/>
                  </a:lnTo>
                  <a:lnTo>
                    <a:pt x="42" y="122"/>
                  </a:lnTo>
                  <a:lnTo>
                    <a:pt x="42" y="122"/>
                  </a:lnTo>
                  <a:close/>
                  <a:moveTo>
                    <a:pt x="22" y="152"/>
                  </a:moveTo>
                  <a:lnTo>
                    <a:pt x="20" y="150"/>
                  </a:lnTo>
                  <a:lnTo>
                    <a:pt x="20" y="146"/>
                  </a:lnTo>
                  <a:lnTo>
                    <a:pt x="16" y="146"/>
                  </a:lnTo>
                  <a:lnTo>
                    <a:pt x="16" y="150"/>
                  </a:lnTo>
                  <a:lnTo>
                    <a:pt x="12" y="150"/>
                  </a:lnTo>
                  <a:lnTo>
                    <a:pt x="8" y="150"/>
                  </a:lnTo>
                  <a:lnTo>
                    <a:pt x="4" y="150"/>
                  </a:lnTo>
                  <a:lnTo>
                    <a:pt x="4" y="146"/>
                  </a:lnTo>
                  <a:lnTo>
                    <a:pt x="0" y="146"/>
                  </a:lnTo>
                  <a:lnTo>
                    <a:pt x="0" y="142"/>
                  </a:lnTo>
                  <a:lnTo>
                    <a:pt x="4" y="142"/>
                  </a:lnTo>
                  <a:lnTo>
                    <a:pt x="8" y="142"/>
                  </a:lnTo>
                  <a:lnTo>
                    <a:pt x="4" y="138"/>
                  </a:lnTo>
                  <a:lnTo>
                    <a:pt x="8" y="138"/>
                  </a:lnTo>
                  <a:lnTo>
                    <a:pt x="12" y="134"/>
                  </a:lnTo>
                  <a:lnTo>
                    <a:pt x="12" y="130"/>
                  </a:lnTo>
                  <a:lnTo>
                    <a:pt x="16" y="130"/>
                  </a:lnTo>
                  <a:lnTo>
                    <a:pt x="20" y="126"/>
                  </a:lnTo>
                  <a:lnTo>
                    <a:pt x="22" y="126"/>
                  </a:lnTo>
                  <a:lnTo>
                    <a:pt x="26" y="126"/>
                  </a:lnTo>
                  <a:lnTo>
                    <a:pt x="30" y="126"/>
                  </a:lnTo>
                  <a:lnTo>
                    <a:pt x="30" y="130"/>
                  </a:lnTo>
                  <a:lnTo>
                    <a:pt x="34" y="134"/>
                  </a:lnTo>
                  <a:lnTo>
                    <a:pt x="34" y="138"/>
                  </a:lnTo>
                  <a:lnTo>
                    <a:pt x="34" y="142"/>
                  </a:lnTo>
                  <a:lnTo>
                    <a:pt x="34" y="138"/>
                  </a:lnTo>
                  <a:lnTo>
                    <a:pt x="38" y="138"/>
                  </a:lnTo>
                  <a:lnTo>
                    <a:pt x="38" y="142"/>
                  </a:lnTo>
                  <a:lnTo>
                    <a:pt x="38" y="146"/>
                  </a:lnTo>
                  <a:lnTo>
                    <a:pt x="38" y="142"/>
                  </a:lnTo>
                  <a:lnTo>
                    <a:pt x="34" y="142"/>
                  </a:lnTo>
                  <a:lnTo>
                    <a:pt x="38" y="142"/>
                  </a:lnTo>
                  <a:lnTo>
                    <a:pt x="38" y="146"/>
                  </a:lnTo>
                  <a:lnTo>
                    <a:pt x="38" y="150"/>
                  </a:lnTo>
                  <a:lnTo>
                    <a:pt x="34" y="150"/>
                  </a:lnTo>
                  <a:lnTo>
                    <a:pt x="34" y="152"/>
                  </a:lnTo>
                  <a:lnTo>
                    <a:pt x="30" y="152"/>
                  </a:lnTo>
                  <a:lnTo>
                    <a:pt x="26" y="150"/>
                  </a:lnTo>
                  <a:lnTo>
                    <a:pt x="26" y="152"/>
                  </a:lnTo>
                  <a:lnTo>
                    <a:pt x="22" y="152"/>
                  </a:lnTo>
                  <a:lnTo>
                    <a:pt x="22" y="152"/>
                  </a:lnTo>
                  <a:lnTo>
                    <a:pt x="22" y="152"/>
                  </a:lnTo>
                  <a:close/>
                  <a:moveTo>
                    <a:pt x="52" y="172"/>
                  </a:moveTo>
                  <a:lnTo>
                    <a:pt x="52" y="168"/>
                  </a:lnTo>
                  <a:lnTo>
                    <a:pt x="52" y="164"/>
                  </a:lnTo>
                  <a:lnTo>
                    <a:pt x="56" y="164"/>
                  </a:lnTo>
                  <a:lnTo>
                    <a:pt x="56" y="168"/>
                  </a:lnTo>
                  <a:lnTo>
                    <a:pt x="60" y="168"/>
                  </a:lnTo>
                  <a:lnTo>
                    <a:pt x="56" y="168"/>
                  </a:lnTo>
                  <a:lnTo>
                    <a:pt x="56" y="172"/>
                  </a:lnTo>
                  <a:lnTo>
                    <a:pt x="52" y="172"/>
                  </a:lnTo>
                  <a:lnTo>
                    <a:pt x="52" y="172"/>
                  </a:lnTo>
                  <a:lnTo>
                    <a:pt x="52" y="172"/>
                  </a:lnTo>
                  <a:close/>
                  <a:moveTo>
                    <a:pt x="128" y="210"/>
                  </a:moveTo>
                  <a:lnTo>
                    <a:pt x="132" y="210"/>
                  </a:lnTo>
                  <a:lnTo>
                    <a:pt x="128" y="210"/>
                  </a:lnTo>
                  <a:lnTo>
                    <a:pt x="128" y="210"/>
                  </a:lnTo>
                  <a:lnTo>
                    <a:pt x="128" y="210"/>
                  </a:lnTo>
                  <a:close/>
                  <a:moveTo>
                    <a:pt x="98" y="224"/>
                  </a:moveTo>
                  <a:lnTo>
                    <a:pt x="94" y="224"/>
                  </a:lnTo>
                  <a:lnTo>
                    <a:pt x="98" y="220"/>
                  </a:lnTo>
                  <a:lnTo>
                    <a:pt x="102" y="224"/>
                  </a:lnTo>
                  <a:lnTo>
                    <a:pt x="98" y="224"/>
                  </a:lnTo>
                  <a:lnTo>
                    <a:pt x="98" y="224"/>
                  </a:lnTo>
                  <a:lnTo>
                    <a:pt x="98" y="224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87" name="Freeform 127">
              <a:extLst>
                <a:ext uri="{FF2B5EF4-FFF2-40B4-BE49-F238E27FC236}">
                  <a16:creationId xmlns:a16="http://schemas.microsoft.com/office/drawing/2014/main" id="{9F9FB824-FC57-FE52-D6F9-0FEE2AC21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1550" y="2930474"/>
              <a:ext cx="568880" cy="625988"/>
            </a:xfrm>
            <a:custGeom>
              <a:avLst/>
              <a:gdLst>
                <a:gd name="T0" fmla="*/ 202 w 292"/>
                <a:gd name="T1" fmla="*/ 10 h 332"/>
                <a:gd name="T2" fmla="*/ 214 w 292"/>
                <a:gd name="T3" fmla="*/ 4 h 332"/>
                <a:gd name="T4" fmla="*/ 224 w 292"/>
                <a:gd name="T5" fmla="*/ 4 h 332"/>
                <a:gd name="T6" fmla="*/ 228 w 292"/>
                <a:gd name="T7" fmla="*/ 4 h 332"/>
                <a:gd name="T8" fmla="*/ 236 w 292"/>
                <a:gd name="T9" fmla="*/ 8 h 332"/>
                <a:gd name="T10" fmla="*/ 246 w 292"/>
                <a:gd name="T11" fmla="*/ 8 h 332"/>
                <a:gd name="T12" fmla="*/ 240 w 292"/>
                <a:gd name="T13" fmla="*/ 10 h 332"/>
                <a:gd name="T14" fmla="*/ 244 w 292"/>
                <a:gd name="T15" fmla="*/ 26 h 332"/>
                <a:gd name="T16" fmla="*/ 240 w 292"/>
                <a:gd name="T17" fmla="*/ 44 h 332"/>
                <a:gd name="T18" fmla="*/ 232 w 292"/>
                <a:gd name="T19" fmla="*/ 56 h 332"/>
                <a:gd name="T20" fmla="*/ 232 w 292"/>
                <a:gd name="T21" fmla="*/ 66 h 332"/>
                <a:gd name="T22" fmla="*/ 240 w 292"/>
                <a:gd name="T23" fmla="*/ 78 h 332"/>
                <a:gd name="T24" fmla="*/ 246 w 292"/>
                <a:gd name="T25" fmla="*/ 90 h 332"/>
                <a:gd name="T26" fmla="*/ 254 w 292"/>
                <a:gd name="T27" fmla="*/ 112 h 332"/>
                <a:gd name="T28" fmla="*/ 258 w 292"/>
                <a:gd name="T29" fmla="*/ 130 h 332"/>
                <a:gd name="T30" fmla="*/ 262 w 292"/>
                <a:gd name="T31" fmla="*/ 142 h 332"/>
                <a:gd name="T32" fmla="*/ 262 w 292"/>
                <a:gd name="T33" fmla="*/ 160 h 332"/>
                <a:gd name="T34" fmla="*/ 262 w 292"/>
                <a:gd name="T35" fmla="*/ 180 h 332"/>
                <a:gd name="T36" fmla="*/ 266 w 292"/>
                <a:gd name="T37" fmla="*/ 194 h 332"/>
                <a:gd name="T38" fmla="*/ 266 w 292"/>
                <a:gd name="T39" fmla="*/ 216 h 332"/>
                <a:gd name="T40" fmla="*/ 270 w 292"/>
                <a:gd name="T41" fmla="*/ 232 h 332"/>
                <a:gd name="T42" fmla="*/ 284 w 292"/>
                <a:gd name="T43" fmla="*/ 236 h 332"/>
                <a:gd name="T44" fmla="*/ 288 w 292"/>
                <a:gd name="T45" fmla="*/ 254 h 332"/>
                <a:gd name="T46" fmla="*/ 270 w 292"/>
                <a:gd name="T47" fmla="*/ 270 h 332"/>
                <a:gd name="T48" fmla="*/ 246 w 292"/>
                <a:gd name="T49" fmla="*/ 284 h 332"/>
                <a:gd name="T50" fmla="*/ 228 w 292"/>
                <a:gd name="T51" fmla="*/ 300 h 332"/>
                <a:gd name="T52" fmla="*/ 210 w 292"/>
                <a:gd name="T53" fmla="*/ 320 h 332"/>
                <a:gd name="T54" fmla="*/ 188 w 292"/>
                <a:gd name="T55" fmla="*/ 328 h 332"/>
                <a:gd name="T56" fmla="*/ 170 w 292"/>
                <a:gd name="T57" fmla="*/ 328 h 332"/>
                <a:gd name="T58" fmla="*/ 162 w 292"/>
                <a:gd name="T59" fmla="*/ 314 h 332"/>
                <a:gd name="T60" fmla="*/ 150 w 292"/>
                <a:gd name="T61" fmla="*/ 306 h 332"/>
                <a:gd name="T62" fmla="*/ 142 w 292"/>
                <a:gd name="T63" fmla="*/ 300 h 332"/>
                <a:gd name="T64" fmla="*/ 128 w 292"/>
                <a:gd name="T65" fmla="*/ 284 h 332"/>
                <a:gd name="T66" fmla="*/ 106 w 292"/>
                <a:gd name="T67" fmla="*/ 266 h 332"/>
                <a:gd name="T68" fmla="*/ 80 w 292"/>
                <a:gd name="T69" fmla="*/ 242 h 332"/>
                <a:gd name="T70" fmla="*/ 56 w 292"/>
                <a:gd name="T71" fmla="*/ 224 h 332"/>
                <a:gd name="T72" fmla="*/ 34 w 292"/>
                <a:gd name="T73" fmla="*/ 210 h 332"/>
                <a:gd name="T74" fmla="*/ 20 w 292"/>
                <a:gd name="T75" fmla="*/ 198 h 332"/>
                <a:gd name="T76" fmla="*/ 0 w 292"/>
                <a:gd name="T77" fmla="*/ 180 h 332"/>
                <a:gd name="T78" fmla="*/ 4 w 292"/>
                <a:gd name="T79" fmla="*/ 154 h 332"/>
                <a:gd name="T80" fmla="*/ 16 w 292"/>
                <a:gd name="T81" fmla="*/ 146 h 332"/>
                <a:gd name="T82" fmla="*/ 30 w 292"/>
                <a:gd name="T83" fmla="*/ 142 h 332"/>
                <a:gd name="T84" fmla="*/ 42 w 292"/>
                <a:gd name="T85" fmla="*/ 134 h 332"/>
                <a:gd name="T86" fmla="*/ 54 w 292"/>
                <a:gd name="T87" fmla="*/ 126 h 332"/>
                <a:gd name="T88" fmla="*/ 68 w 292"/>
                <a:gd name="T89" fmla="*/ 116 h 332"/>
                <a:gd name="T90" fmla="*/ 68 w 292"/>
                <a:gd name="T91" fmla="*/ 108 h 332"/>
                <a:gd name="T92" fmla="*/ 76 w 292"/>
                <a:gd name="T93" fmla="*/ 100 h 332"/>
                <a:gd name="T94" fmla="*/ 94 w 292"/>
                <a:gd name="T95" fmla="*/ 94 h 332"/>
                <a:gd name="T96" fmla="*/ 110 w 292"/>
                <a:gd name="T97" fmla="*/ 94 h 332"/>
                <a:gd name="T98" fmla="*/ 106 w 292"/>
                <a:gd name="T99" fmla="*/ 86 h 332"/>
                <a:gd name="T100" fmla="*/ 102 w 292"/>
                <a:gd name="T101" fmla="*/ 66 h 332"/>
                <a:gd name="T102" fmla="*/ 98 w 292"/>
                <a:gd name="T103" fmla="*/ 52 h 332"/>
                <a:gd name="T104" fmla="*/ 94 w 292"/>
                <a:gd name="T105" fmla="*/ 40 h 332"/>
                <a:gd name="T106" fmla="*/ 106 w 292"/>
                <a:gd name="T107" fmla="*/ 34 h 332"/>
                <a:gd name="T108" fmla="*/ 120 w 292"/>
                <a:gd name="T109" fmla="*/ 22 h 332"/>
                <a:gd name="T110" fmla="*/ 132 w 292"/>
                <a:gd name="T111" fmla="*/ 18 h 332"/>
                <a:gd name="T112" fmla="*/ 142 w 292"/>
                <a:gd name="T113" fmla="*/ 10 h 332"/>
                <a:gd name="T114" fmla="*/ 162 w 292"/>
                <a:gd name="T115" fmla="*/ 10 h 332"/>
                <a:gd name="T116" fmla="*/ 176 w 292"/>
                <a:gd name="T117" fmla="*/ 8 h 332"/>
                <a:gd name="T118" fmla="*/ 188 w 292"/>
                <a:gd name="T119" fmla="*/ 4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2" h="332">
                  <a:moveTo>
                    <a:pt x="188" y="4"/>
                  </a:moveTo>
                  <a:lnTo>
                    <a:pt x="192" y="4"/>
                  </a:lnTo>
                  <a:lnTo>
                    <a:pt x="194" y="8"/>
                  </a:lnTo>
                  <a:lnTo>
                    <a:pt x="198" y="10"/>
                  </a:lnTo>
                  <a:lnTo>
                    <a:pt x="202" y="10"/>
                  </a:lnTo>
                  <a:lnTo>
                    <a:pt x="202" y="8"/>
                  </a:lnTo>
                  <a:lnTo>
                    <a:pt x="206" y="8"/>
                  </a:lnTo>
                  <a:lnTo>
                    <a:pt x="210" y="8"/>
                  </a:lnTo>
                  <a:lnTo>
                    <a:pt x="210" y="4"/>
                  </a:lnTo>
                  <a:lnTo>
                    <a:pt x="214" y="4"/>
                  </a:lnTo>
                  <a:lnTo>
                    <a:pt x="214" y="0"/>
                  </a:lnTo>
                  <a:lnTo>
                    <a:pt x="216" y="0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8" y="4"/>
                  </a:lnTo>
                  <a:lnTo>
                    <a:pt x="224" y="4"/>
                  </a:lnTo>
                  <a:lnTo>
                    <a:pt x="224" y="0"/>
                  </a:lnTo>
                  <a:lnTo>
                    <a:pt x="228" y="0"/>
                  </a:lnTo>
                  <a:lnTo>
                    <a:pt x="228" y="4"/>
                  </a:lnTo>
                  <a:lnTo>
                    <a:pt x="228" y="0"/>
                  </a:lnTo>
                  <a:lnTo>
                    <a:pt x="228" y="4"/>
                  </a:lnTo>
                  <a:lnTo>
                    <a:pt x="232" y="4"/>
                  </a:lnTo>
                  <a:lnTo>
                    <a:pt x="236" y="4"/>
                  </a:lnTo>
                  <a:lnTo>
                    <a:pt x="236" y="8"/>
                  </a:lnTo>
                  <a:lnTo>
                    <a:pt x="240" y="8"/>
                  </a:lnTo>
                  <a:lnTo>
                    <a:pt x="240" y="4"/>
                  </a:lnTo>
                  <a:lnTo>
                    <a:pt x="244" y="4"/>
                  </a:lnTo>
                  <a:lnTo>
                    <a:pt x="246" y="4"/>
                  </a:lnTo>
                  <a:lnTo>
                    <a:pt x="246" y="8"/>
                  </a:lnTo>
                  <a:lnTo>
                    <a:pt x="244" y="8"/>
                  </a:lnTo>
                  <a:lnTo>
                    <a:pt x="244" y="10"/>
                  </a:lnTo>
                  <a:lnTo>
                    <a:pt x="240" y="10"/>
                  </a:lnTo>
                  <a:lnTo>
                    <a:pt x="240" y="14"/>
                  </a:lnTo>
                  <a:lnTo>
                    <a:pt x="240" y="10"/>
                  </a:lnTo>
                  <a:lnTo>
                    <a:pt x="244" y="14"/>
                  </a:lnTo>
                  <a:lnTo>
                    <a:pt x="244" y="18"/>
                  </a:lnTo>
                  <a:lnTo>
                    <a:pt x="240" y="22"/>
                  </a:lnTo>
                  <a:lnTo>
                    <a:pt x="240" y="26"/>
                  </a:lnTo>
                  <a:lnTo>
                    <a:pt x="244" y="26"/>
                  </a:lnTo>
                  <a:lnTo>
                    <a:pt x="244" y="30"/>
                  </a:lnTo>
                  <a:lnTo>
                    <a:pt x="244" y="34"/>
                  </a:lnTo>
                  <a:lnTo>
                    <a:pt x="244" y="38"/>
                  </a:lnTo>
                  <a:lnTo>
                    <a:pt x="240" y="40"/>
                  </a:lnTo>
                  <a:lnTo>
                    <a:pt x="240" y="44"/>
                  </a:lnTo>
                  <a:lnTo>
                    <a:pt x="240" y="48"/>
                  </a:lnTo>
                  <a:lnTo>
                    <a:pt x="236" y="48"/>
                  </a:lnTo>
                  <a:lnTo>
                    <a:pt x="236" y="52"/>
                  </a:lnTo>
                  <a:lnTo>
                    <a:pt x="236" y="56"/>
                  </a:lnTo>
                  <a:lnTo>
                    <a:pt x="232" y="56"/>
                  </a:lnTo>
                  <a:lnTo>
                    <a:pt x="232" y="60"/>
                  </a:lnTo>
                  <a:lnTo>
                    <a:pt x="228" y="60"/>
                  </a:lnTo>
                  <a:lnTo>
                    <a:pt x="228" y="64"/>
                  </a:lnTo>
                  <a:lnTo>
                    <a:pt x="232" y="64"/>
                  </a:lnTo>
                  <a:lnTo>
                    <a:pt x="232" y="66"/>
                  </a:lnTo>
                  <a:lnTo>
                    <a:pt x="232" y="70"/>
                  </a:lnTo>
                  <a:lnTo>
                    <a:pt x="232" y="74"/>
                  </a:lnTo>
                  <a:lnTo>
                    <a:pt x="236" y="74"/>
                  </a:lnTo>
                  <a:lnTo>
                    <a:pt x="240" y="74"/>
                  </a:lnTo>
                  <a:lnTo>
                    <a:pt x="240" y="78"/>
                  </a:lnTo>
                  <a:lnTo>
                    <a:pt x="240" y="82"/>
                  </a:lnTo>
                  <a:lnTo>
                    <a:pt x="244" y="82"/>
                  </a:lnTo>
                  <a:lnTo>
                    <a:pt x="244" y="86"/>
                  </a:lnTo>
                  <a:lnTo>
                    <a:pt x="244" y="90"/>
                  </a:lnTo>
                  <a:lnTo>
                    <a:pt x="246" y="90"/>
                  </a:lnTo>
                  <a:lnTo>
                    <a:pt x="250" y="94"/>
                  </a:lnTo>
                  <a:lnTo>
                    <a:pt x="250" y="96"/>
                  </a:lnTo>
                  <a:lnTo>
                    <a:pt x="254" y="96"/>
                  </a:lnTo>
                  <a:lnTo>
                    <a:pt x="254" y="104"/>
                  </a:lnTo>
                  <a:lnTo>
                    <a:pt x="254" y="112"/>
                  </a:lnTo>
                  <a:lnTo>
                    <a:pt x="254" y="116"/>
                  </a:lnTo>
                  <a:lnTo>
                    <a:pt x="258" y="120"/>
                  </a:lnTo>
                  <a:lnTo>
                    <a:pt x="258" y="124"/>
                  </a:lnTo>
                  <a:lnTo>
                    <a:pt x="258" y="126"/>
                  </a:lnTo>
                  <a:lnTo>
                    <a:pt x="258" y="130"/>
                  </a:lnTo>
                  <a:lnTo>
                    <a:pt x="254" y="130"/>
                  </a:lnTo>
                  <a:lnTo>
                    <a:pt x="258" y="134"/>
                  </a:lnTo>
                  <a:lnTo>
                    <a:pt x="258" y="138"/>
                  </a:lnTo>
                  <a:lnTo>
                    <a:pt x="262" y="138"/>
                  </a:lnTo>
                  <a:lnTo>
                    <a:pt x="262" y="142"/>
                  </a:lnTo>
                  <a:lnTo>
                    <a:pt x="262" y="146"/>
                  </a:lnTo>
                  <a:lnTo>
                    <a:pt x="262" y="150"/>
                  </a:lnTo>
                  <a:lnTo>
                    <a:pt x="262" y="154"/>
                  </a:lnTo>
                  <a:lnTo>
                    <a:pt x="262" y="156"/>
                  </a:lnTo>
                  <a:lnTo>
                    <a:pt x="262" y="160"/>
                  </a:lnTo>
                  <a:lnTo>
                    <a:pt x="262" y="164"/>
                  </a:lnTo>
                  <a:lnTo>
                    <a:pt x="262" y="168"/>
                  </a:lnTo>
                  <a:lnTo>
                    <a:pt x="266" y="172"/>
                  </a:lnTo>
                  <a:lnTo>
                    <a:pt x="266" y="176"/>
                  </a:lnTo>
                  <a:lnTo>
                    <a:pt x="262" y="180"/>
                  </a:lnTo>
                  <a:lnTo>
                    <a:pt x="262" y="182"/>
                  </a:lnTo>
                  <a:lnTo>
                    <a:pt x="262" y="186"/>
                  </a:lnTo>
                  <a:lnTo>
                    <a:pt x="262" y="190"/>
                  </a:lnTo>
                  <a:lnTo>
                    <a:pt x="266" y="190"/>
                  </a:lnTo>
                  <a:lnTo>
                    <a:pt x="266" y="194"/>
                  </a:lnTo>
                  <a:lnTo>
                    <a:pt x="262" y="198"/>
                  </a:lnTo>
                  <a:lnTo>
                    <a:pt x="258" y="202"/>
                  </a:lnTo>
                  <a:lnTo>
                    <a:pt x="258" y="206"/>
                  </a:lnTo>
                  <a:lnTo>
                    <a:pt x="262" y="212"/>
                  </a:lnTo>
                  <a:lnTo>
                    <a:pt x="266" y="216"/>
                  </a:lnTo>
                  <a:lnTo>
                    <a:pt x="266" y="220"/>
                  </a:lnTo>
                  <a:lnTo>
                    <a:pt x="266" y="224"/>
                  </a:lnTo>
                  <a:lnTo>
                    <a:pt x="266" y="228"/>
                  </a:lnTo>
                  <a:lnTo>
                    <a:pt x="270" y="228"/>
                  </a:lnTo>
                  <a:lnTo>
                    <a:pt x="270" y="232"/>
                  </a:lnTo>
                  <a:lnTo>
                    <a:pt x="272" y="236"/>
                  </a:lnTo>
                  <a:lnTo>
                    <a:pt x="272" y="232"/>
                  </a:lnTo>
                  <a:lnTo>
                    <a:pt x="276" y="232"/>
                  </a:lnTo>
                  <a:lnTo>
                    <a:pt x="280" y="236"/>
                  </a:lnTo>
                  <a:lnTo>
                    <a:pt x="284" y="236"/>
                  </a:lnTo>
                  <a:lnTo>
                    <a:pt x="288" y="236"/>
                  </a:lnTo>
                  <a:lnTo>
                    <a:pt x="292" y="242"/>
                  </a:lnTo>
                  <a:lnTo>
                    <a:pt x="292" y="250"/>
                  </a:lnTo>
                  <a:lnTo>
                    <a:pt x="292" y="254"/>
                  </a:lnTo>
                  <a:lnTo>
                    <a:pt x="288" y="254"/>
                  </a:lnTo>
                  <a:lnTo>
                    <a:pt x="280" y="262"/>
                  </a:lnTo>
                  <a:lnTo>
                    <a:pt x="276" y="262"/>
                  </a:lnTo>
                  <a:lnTo>
                    <a:pt x="276" y="266"/>
                  </a:lnTo>
                  <a:lnTo>
                    <a:pt x="272" y="266"/>
                  </a:lnTo>
                  <a:lnTo>
                    <a:pt x="270" y="270"/>
                  </a:lnTo>
                  <a:lnTo>
                    <a:pt x="266" y="270"/>
                  </a:lnTo>
                  <a:lnTo>
                    <a:pt x="262" y="272"/>
                  </a:lnTo>
                  <a:lnTo>
                    <a:pt x="258" y="276"/>
                  </a:lnTo>
                  <a:lnTo>
                    <a:pt x="250" y="280"/>
                  </a:lnTo>
                  <a:lnTo>
                    <a:pt x="246" y="284"/>
                  </a:lnTo>
                  <a:lnTo>
                    <a:pt x="246" y="288"/>
                  </a:lnTo>
                  <a:lnTo>
                    <a:pt x="240" y="292"/>
                  </a:lnTo>
                  <a:lnTo>
                    <a:pt x="236" y="296"/>
                  </a:lnTo>
                  <a:lnTo>
                    <a:pt x="232" y="296"/>
                  </a:lnTo>
                  <a:lnTo>
                    <a:pt x="228" y="300"/>
                  </a:lnTo>
                  <a:lnTo>
                    <a:pt x="220" y="306"/>
                  </a:lnTo>
                  <a:lnTo>
                    <a:pt x="216" y="310"/>
                  </a:lnTo>
                  <a:lnTo>
                    <a:pt x="216" y="314"/>
                  </a:lnTo>
                  <a:lnTo>
                    <a:pt x="214" y="316"/>
                  </a:lnTo>
                  <a:lnTo>
                    <a:pt x="210" y="320"/>
                  </a:lnTo>
                  <a:lnTo>
                    <a:pt x="206" y="324"/>
                  </a:lnTo>
                  <a:lnTo>
                    <a:pt x="202" y="324"/>
                  </a:lnTo>
                  <a:lnTo>
                    <a:pt x="198" y="324"/>
                  </a:lnTo>
                  <a:lnTo>
                    <a:pt x="194" y="324"/>
                  </a:lnTo>
                  <a:lnTo>
                    <a:pt x="188" y="328"/>
                  </a:lnTo>
                  <a:lnTo>
                    <a:pt x="184" y="328"/>
                  </a:lnTo>
                  <a:lnTo>
                    <a:pt x="180" y="328"/>
                  </a:lnTo>
                  <a:lnTo>
                    <a:pt x="176" y="328"/>
                  </a:lnTo>
                  <a:lnTo>
                    <a:pt x="172" y="332"/>
                  </a:lnTo>
                  <a:lnTo>
                    <a:pt x="170" y="328"/>
                  </a:lnTo>
                  <a:lnTo>
                    <a:pt x="170" y="324"/>
                  </a:lnTo>
                  <a:lnTo>
                    <a:pt x="170" y="320"/>
                  </a:lnTo>
                  <a:lnTo>
                    <a:pt x="170" y="316"/>
                  </a:lnTo>
                  <a:lnTo>
                    <a:pt x="166" y="314"/>
                  </a:lnTo>
                  <a:lnTo>
                    <a:pt x="162" y="314"/>
                  </a:lnTo>
                  <a:lnTo>
                    <a:pt x="158" y="314"/>
                  </a:lnTo>
                  <a:lnTo>
                    <a:pt x="158" y="310"/>
                  </a:lnTo>
                  <a:lnTo>
                    <a:pt x="154" y="310"/>
                  </a:lnTo>
                  <a:lnTo>
                    <a:pt x="150" y="310"/>
                  </a:lnTo>
                  <a:lnTo>
                    <a:pt x="150" y="306"/>
                  </a:lnTo>
                  <a:lnTo>
                    <a:pt x="146" y="306"/>
                  </a:lnTo>
                  <a:lnTo>
                    <a:pt x="146" y="302"/>
                  </a:lnTo>
                  <a:lnTo>
                    <a:pt x="142" y="302"/>
                  </a:lnTo>
                  <a:lnTo>
                    <a:pt x="140" y="300"/>
                  </a:lnTo>
                  <a:lnTo>
                    <a:pt x="142" y="300"/>
                  </a:lnTo>
                  <a:lnTo>
                    <a:pt x="142" y="296"/>
                  </a:lnTo>
                  <a:lnTo>
                    <a:pt x="140" y="296"/>
                  </a:lnTo>
                  <a:lnTo>
                    <a:pt x="136" y="292"/>
                  </a:lnTo>
                  <a:lnTo>
                    <a:pt x="132" y="284"/>
                  </a:lnTo>
                  <a:lnTo>
                    <a:pt x="128" y="284"/>
                  </a:lnTo>
                  <a:lnTo>
                    <a:pt x="124" y="280"/>
                  </a:lnTo>
                  <a:lnTo>
                    <a:pt x="116" y="276"/>
                  </a:lnTo>
                  <a:lnTo>
                    <a:pt x="114" y="272"/>
                  </a:lnTo>
                  <a:lnTo>
                    <a:pt x="110" y="270"/>
                  </a:lnTo>
                  <a:lnTo>
                    <a:pt x="106" y="266"/>
                  </a:lnTo>
                  <a:lnTo>
                    <a:pt x="98" y="262"/>
                  </a:lnTo>
                  <a:lnTo>
                    <a:pt x="94" y="258"/>
                  </a:lnTo>
                  <a:lnTo>
                    <a:pt x="90" y="250"/>
                  </a:lnTo>
                  <a:lnTo>
                    <a:pt x="84" y="246"/>
                  </a:lnTo>
                  <a:lnTo>
                    <a:pt x="80" y="242"/>
                  </a:lnTo>
                  <a:lnTo>
                    <a:pt x="76" y="240"/>
                  </a:lnTo>
                  <a:lnTo>
                    <a:pt x="72" y="236"/>
                  </a:lnTo>
                  <a:lnTo>
                    <a:pt x="64" y="232"/>
                  </a:lnTo>
                  <a:lnTo>
                    <a:pt x="60" y="228"/>
                  </a:lnTo>
                  <a:lnTo>
                    <a:pt x="56" y="224"/>
                  </a:lnTo>
                  <a:lnTo>
                    <a:pt x="54" y="224"/>
                  </a:lnTo>
                  <a:lnTo>
                    <a:pt x="50" y="220"/>
                  </a:lnTo>
                  <a:lnTo>
                    <a:pt x="46" y="216"/>
                  </a:lnTo>
                  <a:lnTo>
                    <a:pt x="42" y="212"/>
                  </a:lnTo>
                  <a:lnTo>
                    <a:pt x="34" y="210"/>
                  </a:lnTo>
                  <a:lnTo>
                    <a:pt x="30" y="206"/>
                  </a:lnTo>
                  <a:lnTo>
                    <a:pt x="28" y="202"/>
                  </a:lnTo>
                  <a:lnTo>
                    <a:pt x="24" y="202"/>
                  </a:lnTo>
                  <a:lnTo>
                    <a:pt x="24" y="198"/>
                  </a:lnTo>
                  <a:lnTo>
                    <a:pt x="20" y="198"/>
                  </a:lnTo>
                  <a:lnTo>
                    <a:pt x="16" y="194"/>
                  </a:lnTo>
                  <a:lnTo>
                    <a:pt x="8" y="190"/>
                  </a:lnTo>
                  <a:lnTo>
                    <a:pt x="8" y="186"/>
                  </a:lnTo>
                  <a:lnTo>
                    <a:pt x="0" y="182"/>
                  </a:lnTo>
                  <a:lnTo>
                    <a:pt x="0" y="180"/>
                  </a:lnTo>
                  <a:lnTo>
                    <a:pt x="0" y="176"/>
                  </a:lnTo>
                  <a:lnTo>
                    <a:pt x="0" y="172"/>
                  </a:lnTo>
                  <a:lnTo>
                    <a:pt x="0" y="156"/>
                  </a:lnTo>
                  <a:lnTo>
                    <a:pt x="4" y="156"/>
                  </a:lnTo>
                  <a:lnTo>
                    <a:pt x="4" y="154"/>
                  </a:lnTo>
                  <a:lnTo>
                    <a:pt x="8" y="154"/>
                  </a:lnTo>
                  <a:lnTo>
                    <a:pt x="8" y="150"/>
                  </a:lnTo>
                  <a:lnTo>
                    <a:pt x="12" y="150"/>
                  </a:lnTo>
                  <a:lnTo>
                    <a:pt x="12" y="146"/>
                  </a:lnTo>
                  <a:lnTo>
                    <a:pt x="16" y="146"/>
                  </a:lnTo>
                  <a:lnTo>
                    <a:pt x="20" y="146"/>
                  </a:lnTo>
                  <a:lnTo>
                    <a:pt x="20" y="142"/>
                  </a:lnTo>
                  <a:lnTo>
                    <a:pt x="24" y="142"/>
                  </a:lnTo>
                  <a:lnTo>
                    <a:pt x="28" y="142"/>
                  </a:lnTo>
                  <a:lnTo>
                    <a:pt x="30" y="142"/>
                  </a:lnTo>
                  <a:lnTo>
                    <a:pt x="30" y="138"/>
                  </a:lnTo>
                  <a:lnTo>
                    <a:pt x="34" y="138"/>
                  </a:lnTo>
                  <a:lnTo>
                    <a:pt x="38" y="138"/>
                  </a:lnTo>
                  <a:lnTo>
                    <a:pt x="42" y="138"/>
                  </a:lnTo>
                  <a:lnTo>
                    <a:pt x="42" y="134"/>
                  </a:lnTo>
                  <a:lnTo>
                    <a:pt x="46" y="134"/>
                  </a:lnTo>
                  <a:lnTo>
                    <a:pt x="50" y="134"/>
                  </a:lnTo>
                  <a:lnTo>
                    <a:pt x="50" y="130"/>
                  </a:lnTo>
                  <a:lnTo>
                    <a:pt x="54" y="130"/>
                  </a:lnTo>
                  <a:lnTo>
                    <a:pt x="54" y="126"/>
                  </a:lnTo>
                  <a:lnTo>
                    <a:pt x="54" y="124"/>
                  </a:lnTo>
                  <a:lnTo>
                    <a:pt x="56" y="124"/>
                  </a:lnTo>
                  <a:lnTo>
                    <a:pt x="60" y="124"/>
                  </a:lnTo>
                  <a:lnTo>
                    <a:pt x="64" y="120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4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76" y="104"/>
                  </a:lnTo>
                  <a:lnTo>
                    <a:pt x="76" y="100"/>
                  </a:lnTo>
                  <a:lnTo>
                    <a:pt x="80" y="100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90" y="94"/>
                  </a:lnTo>
                  <a:lnTo>
                    <a:pt x="94" y="94"/>
                  </a:lnTo>
                  <a:lnTo>
                    <a:pt x="98" y="94"/>
                  </a:lnTo>
                  <a:lnTo>
                    <a:pt x="102" y="94"/>
                  </a:lnTo>
                  <a:lnTo>
                    <a:pt x="106" y="94"/>
                  </a:lnTo>
                  <a:lnTo>
                    <a:pt x="106" y="96"/>
                  </a:lnTo>
                  <a:lnTo>
                    <a:pt x="110" y="94"/>
                  </a:lnTo>
                  <a:lnTo>
                    <a:pt x="106" y="94"/>
                  </a:lnTo>
                  <a:lnTo>
                    <a:pt x="106" y="90"/>
                  </a:lnTo>
                  <a:lnTo>
                    <a:pt x="110" y="90"/>
                  </a:lnTo>
                  <a:lnTo>
                    <a:pt x="110" y="86"/>
                  </a:lnTo>
                  <a:lnTo>
                    <a:pt x="106" y="86"/>
                  </a:lnTo>
                  <a:lnTo>
                    <a:pt x="106" y="82"/>
                  </a:lnTo>
                  <a:lnTo>
                    <a:pt x="102" y="78"/>
                  </a:lnTo>
                  <a:lnTo>
                    <a:pt x="102" y="74"/>
                  </a:lnTo>
                  <a:lnTo>
                    <a:pt x="102" y="70"/>
                  </a:lnTo>
                  <a:lnTo>
                    <a:pt x="102" y="66"/>
                  </a:lnTo>
                  <a:lnTo>
                    <a:pt x="98" y="64"/>
                  </a:lnTo>
                  <a:lnTo>
                    <a:pt x="102" y="64"/>
                  </a:lnTo>
                  <a:lnTo>
                    <a:pt x="102" y="60"/>
                  </a:lnTo>
                  <a:lnTo>
                    <a:pt x="98" y="56"/>
                  </a:lnTo>
                  <a:lnTo>
                    <a:pt x="98" y="52"/>
                  </a:lnTo>
                  <a:lnTo>
                    <a:pt x="102" y="52"/>
                  </a:lnTo>
                  <a:lnTo>
                    <a:pt x="98" y="52"/>
                  </a:lnTo>
                  <a:lnTo>
                    <a:pt x="98" y="48"/>
                  </a:lnTo>
                  <a:lnTo>
                    <a:pt x="98" y="44"/>
                  </a:lnTo>
                  <a:lnTo>
                    <a:pt x="94" y="40"/>
                  </a:lnTo>
                  <a:lnTo>
                    <a:pt x="98" y="40"/>
                  </a:lnTo>
                  <a:lnTo>
                    <a:pt x="98" y="38"/>
                  </a:lnTo>
                  <a:lnTo>
                    <a:pt x="102" y="38"/>
                  </a:lnTo>
                  <a:lnTo>
                    <a:pt x="102" y="34"/>
                  </a:lnTo>
                  <a:lnTo>
                    <a:pt x="106" y="34"/>
                  </a:lnTo>
                  <a:lnTo>
                    <a:pt x="106" y="30"/>
                  </a:lnTo>
                  <a:lnTo>
                    <a:pt x="110" y="30"/>
                  </a:lnTo>
                  <a:lnTo>
                    <a:pt x="114" y="26"/>
                  </a:lnTo>
                  <a:lnTo>
                    <a:pt x="116" y="26"/>
                  </a:lnTo>
                  <a:lnTo>
                    <a:pt x="120" y="22"/>
                  </a:lnTo>
                  <a:lnTo>
                    <a:pt x="120" y="26"/>
                  </a:lnTo>
                  <a:lnTo>
                    <a:pt x="124" y="26"/>
                  </a:lnTo>
                  <a:lnTo>
                    <a:pt x="124" y="22"/>
                  </a:lnTo>
                  <a:lnTo>
                    <a:pt x="128" y="18"/>
                  </a:lnTo>
                  <a:lnTo>
                    <a:pt x="132" y="18"/>
                  </a:lnTo>
                  <a:lnTo>
                    <a:pt x="132" y="14"/>
                  </a:lnTo>
                  <a:lnTo>
                    <a:pt x="136" y="14"/>
                  </a:lnTo>
                  <a:lnTo>
                    <a:pt x="140" y="14"/>
                  </a:lnTo>
                  <a:lnTo>
                    <a:pt x="140" y="10"/>
                  </a:lnTo>
                  <a:lnTo>
                    <a:pt x="142" y="10"/>
                  </a:lnTo>
                  <a:lnTo>
                    <a:pt x="146" y="10"/>
                  </a:lnTo>
                  <a:lnTo>
                    <a:pt x="150" y="10"/>
                  </a:lnTo>
                  <a:lnTo>
                    <a:pt x="154" y="10"/>
                  </a:lnTo>
                  <a:lnTo>
                    <a:pt x="158" y="10"/>
                  </a:lnTo>
                  <a:lnTo>
                    <a:pt x="162" y="10"/>
                  </a:lnTo>
                  <a:lnTo>
                    <a:pt x="166" y="10"/>
                  </a:lnTo>
                  <a:lnTo>
                    <a:pt x="166" y="8"/>
                  </a:lnTo>
                  <a:lnTo>
                    <a:pt x="170" y="8"/>
                  </a:lnTo>
                  <a:lnTo>
                    <a:pt x="172" y="8"/>
                  </a:lnTo>
                  <a:lnTo>
                    <a:pt x="176" y="8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4"/>
                  </a:lnTo>
                  <a:lnTo>
                    <a:pt x="188" y="4"/>
                  </a:lnTo>
                  <a:lnTo>
                    <a:pt x="188" y="4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88" name="Freeform 128">
              <a:extLst>
                <a:ext uri="{FF2B5EF4-FFF2-40B4-BE49-F238E27FC236}">
                  <a16:creationId xmlns:a16="http://schemas.microsoft.com/office/drawing/2014/main" id="{F7229B6A-F6CC-FD30-4259-606152D239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431" y="4314436"/>
              <a:ext cx="335094" cy="444980"/>
            </a:xfrm>
            <a:custGeom>
              <a:avLst/>
              <a:gdLst>
                <a:gd name="T0" fmla="*/ 10 w 172"/>
                <a:gd name="T1" fmla="*/ 12 h 236"/>
                <a:gd name="T2" fmla="*/ 4 w 172"/>
                <a:gd name="T3" fmla="*/ 22 h 236"/>
                <a:gd name="T4" fmla="*/ 4 w 172"/>
                <a:gd name="T5" fmla="*/ 8 h 236"/>
                <a:gd name="T6" fmla="*/ 14 w 172"/>
                <a:gd name="T7" fmla="*/ 0 h 236"/>
                <a:gd name="T8" fmla="*/ 18 w 172"/>
                <a:gd name="T9" fmla="*/ 4 h 236"/>
                <a:gd name="T10" fmla="*/ 152 w 172"/>
                <a:gd name="T11" fmla="*/ 232 h 236"/>
                <a:gd name="T12" fmla="*/ 134 w 172"/>
                <a:gd name="T13" fmla="*/ 232 h 236"/>
                <a:gd name="T14" fmla="*/ 122 w 172"/>
                <a:gd name="T15" fmla="*/ 232 h 236"/>
                <a:gd name="T16" fmla="*/ 108 w 172"/>
                <a:gd name="T17" fmla="*/ 232 h 236"/>
                <a:gd name="T18" fmla="*/ 96 w 172"/>
                <a:gd name="T19" fmla="*/ 228 h 236"/>
                <a:gd name="T20" fmla="*/ 82 w 172"/>
                <a:gd name="T21" fmla="*/ 224 h 236"/>
                <a:gd name="T22" fmla="*/ 52 w 172"/>
                <a:gd name="T23" fmla="*/ 224 h 236"/>
                <a:gd name="T24" fmla="*/ 34 w 172"/>
                <a:gd name="T25" fmla="*/ 224 h 236"/>
                <a:gd name="T26" fmla="*/ 22 w 172"/>
                <a:gd name="T27" fmla="*/ 216 h 236"/>
                <a:gd name="T28" fmla="*/ 8 w 172"/>
                <a:gd name="T29" fmla="*/ 220 h 236"/>
                <a:gd name="T30" fmla="*/ 0 w 172"/>
                <a:gd name="T31" fmla="*/ 212 h 236"/>
                <a:gd name="T32" fmla="*/ 0 w 172"/>
                <a:gd name="T33" fmla="*/ 198 h 236"/>
                <a:gd name="T34" fmla="*/ 4 w 172"/>
                <a:gd name="T35" fmla="*/ 182 h 236"/>
                <a:gd name="T36" fmla="*/ 8 w 172"/>
                <a:gd name="T37" fmla="*/ 168 h 236"/>
                <a:gd name="T38" fmla="*/ 8 w 172"/>
                <a:gd name="T39" fmla="*/ 154 h 236"/>
                <a:gd name="T40" fmla="*/ 14 w 172"/>
                <a:gd name="T41" fmla="*/ 146 h 236"/>
                <a:gd name="T42" fmla="*/ 18 w 172"/>
                <a:gd name="T43" fmla="*/ 142 h 236"/>
                <a:gd name="T44" fmla="*/ 26 w 172"/>
                <a:gd name="T45" fmla="*/ 130 h 236"/>
                <a:gd name="T46" fmla="*/ 26 w 172"/>
                <a:gd name="T47" fmla="*/ 116 h 236"/>
                <a:gd name="T48" fmla="*/ 22 w 172"/>
                <a:gd name="T49" fmla="*/ 100 h 236"/>
                <a:gd name="T50" fmla="*/ 18 w 172"/>
                <a:gd name="T51" fmla="*/ 90 h 236"/>
                <a:gd name="T52" fmla="*/ 18 w 172"/>
                <a:gd name="T53" fmla="*/ 74 h 236"/>
                <a:gd name="T54" fmla="*/ 18 w 172"/>
                <a:gd name="T55" fmla="*/ 74 h 236"/>
                <a:gd name="T56" fmla="*/ 22 w 172"/>
                <a:gd name="T57" fmla="*/ 64 h 236"/>
                <a:gd name="T58" fmla="*/ 14 w 172"/>
                <a:gd name="T59" fmla="*/ 52 h 236"/>
                <a:gd name="T60" fmla="*/ 10 w 172"/>
                <a:gd name="T61" fmla="*/ 42 h 236"/>
                <a:gd name="T62" fmla="*/ 4 w 172"/>
                <a:gd name="T63" fmla="*/ 26 h 236"/>
                <a:gd name="T64" fmla="*/ 14 w 172"/>
                <a:gd name="T65" fmla="*/ 22 h 236"/>
                <a:gd name="T66" fmla="*/ 22 w 172"/>
                <a:gd name="T67" fmla="*/ 22 h 236"/>
                <a:gd name="T68" fmla="*/ 34 w 172"/>
                <a:gd name="T69" fmla="*/ 26 h 236"/>
                <a:gd name="T70" fmla="*/ 56 w 172"/>
                <a:gd name="T71" fmla="*/ 22 h 236"/>
                <a:gd name="T72" fmla="*/ 66 w 172"/>
                <a:gd name="T73" fmla="*/ 26 h 236"/>
                <a:gd name="T74" fmla="*/ 70 w 172"/>
                <a:gd name="T75" fmla="*/ 42 h 236"/>
                <a:gd name="T76" fmla="*/ 74 w 172"/>
                <a:gd name="T77" fmla="*/ 52 h 236"/>
                <a:gd name="T78" fmla="*/ 82 w 172"/>
                <a:gd name="T79" fmla="*/ 64 h 236"/>
                <a:gd name="T80" fmla="*/ 90 w 172"/>
                <a:gd name="T81" fmla="*/ 60 h 236"/>
                <a:gd name="T82" fmla="*/ 108 w 172"/>
                <a:gd name="T83" fmla="*/ 60 h 236"/>
                <a:gd name="T84" fmla="*/ 108 w 172"/>
                <a:gd name="T85" fmla="*/ 52 h 236"/>
                <a:gd name="T86" fmla="*/ 120 w 172"/>
                <a:gd name="T87" fmla="*/ 44 h 236"/>
                <a:gd name="T88" fmla="*/ 122 w 172"/>
                <a:gd name="T89" fmla="*/ 48 h 236"/>
                <a:gd name="T90" fmla="*/ 142 w 172"/>
                <a:gd name="T91" fmla="*/ 52 h 236"/>
                <a:gd name="T92" fmla="*/ 142 w 172"/>
                <a:gd name="T93" fmla="*/ 68 h 236"/>
                <a:gd name="T94" fmla="*/ 142 w 172"/>
                <a:gd name="T95" fmla="*/ 82 h 236"/>
                <a:gd name="T96" fmla="*/ 146 w 172"/>
                <a:gd name="T97" fmla="*/ 98 h 236"/>
                <a:gd name="T98" fmla="*/ 146 w 172"/>
                <a:gd name="T99" fmla="*/ 108 h 236"/>
                <a:gd name="T100" fmla="*/ 150 w 172"/>
                <a:gd name="T101" fmla="*/ 112 h 236"/>
                <a:gd name="T102" fmla="*/ 164 w 172"/>
                <a:gd name="T103" fmla="*/ 112 h 236"/>
                <a:gd name="T104" fmla="*/ 172 w 172"/>
                <a:gd name="T105" fmla="*/ 112 h 236"/>
                <a:gd name="T106" fmla="*/ 172 w 172"/>
                <a:gd name="T107" fmla="*/ 126 h 236"/>
                <a:gd name="T108" fmla="*/ 172 w 172"/>
                <a:gd name="T109" fmla="*/ 146 h 236"/>
                <a:gd name="T110" fmla="*/ 156 w 172"/>
                <a:gd name="T111" fmla="*/ 146 h 236"/>
                <a:gd name="T112" fmla="*/ 142 w 172"/>
                <a:gd name="T113" fmla="*/ 160 h 236"/>
                <a:gd name="T114" fmla="*/ 142 w 172"/>
                <a:gd name="T115" fmla="*/ 180 h 236"/>
                <a:gd name="T116" fmla="*/ 146 w 172"/>
                <a:gd name="T117" fmla="*/ 202 h 236"/>
                <a:gd name="T118" fmla="*/ 150 w 172"/>
                <a:gd name="T119" fmla="*/ 212 h 236"/>
                <a:gd name="T120" fmla="*/ 164 w 172"/>
                <a:gd name="T121" fmla="*/ 228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2" h="236">
                  <a:moveTo>
                    <a:pt x="18" y="4"/>
                  </a:moveTo>
                  <a:lnTo>
                    <a:pt x="14" y="4"/>
                  </a:lnTo>
                  <a:lnTo>
                    <a:pt x="10" y="8"/>
                  </a:lnTo>
                  <a:lnTo>
                    <a:pt x="10" y="12"/>
                  </a:lnTo>
                  <a:lnTo>
                    <a:pt x="10" y="1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4" y="22"/>
                  </a:lnTo>
                  <a:lnTo>
                    <a:pt x="4" y="18"/>
                  </a:lnTo>
                  <a:lnTo>
                    <a:pt x="4" y="14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4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close/>
                  <a:moveTo>
                    <a:pt x="164" y="228"/>
                  </a:moveTo>
                  <a:lnTo>
                    <a:pt x="160" y="228"/>
                  </a:lnTo>
                  <a:lnTo>
                    <a:pt x="156" y="228"/>
                  </a:lnTo>
                  <a:lnTo>
                    <a:pt x="152" y="232"/>
                  </a:lnTo>
                  <a:lnTo>
                    <a:pt x="150" y="232"/>
                  </a:lnTo>
                  <a:lnTo>
                    <a:pt x="142" y="232"/>
                  </a:lnTo>
                  <a:lnTo>
                    <a:pt x="134" y="236"/>
                  </a:lnTo>
                  <a:lnTo>
                    <a:pt x="134" y="232"/>
                  </a:lnTo>
                  <a:lnTo>
                    <a:pt x="130" y="232"/>
                  </a:lnTo>
                  <a:lnTo>
                    <a:pt x="126" y="236"/>
                  </a:lnTo>
                  <a:lnTo>
                    <a:pt x="122" y="236"/>
                  </a:lnTo>
                  <a:lnTo>
                    <a:pt x="122" y="232"/>
                  </a:lnTo>
                  <a:lnTo>
                    <a:pt x="120" y="232"/>
                  </a:lnTo>
                  <a:lnTo>
                    <a:pt x="116" y="232"/>
                  </a:lnTo>
                  <a:lnTo>
                    <a:pt x="112" y="232"/>
                  </a:lnTo>
                  <a:lnTo>
                    <a:pt x="108" y="232"/>
                  </a:lnTo>
                  <a:lnTo>
                    <a:pt x="104" y="232"/>
                  </a:lnTo>
                  <a:lnTo>
                    <a:pt x="100" y="232"/>
                  </a:lnTo>
                  <a:lnTo>
                    <a:pt x="96" y="232"/>
                  </a:lnTo>
                  <a:lnTo>
                    <a:pt x="96" y="228"/>
                  </a:lnTo>
                  <a:lnTo>
                    <a:pt x="94" y="224"/>
                  </a:lnTo>
                  <a:lnTo>
                    <a:pt x="90" y="224"/>
                  </a:lnTo>
                  <a:lnTo>
                    <a:pt x="86" y="224"/>
                  </a:lnTo>
                  <a:lnTo>
                    <a:pt x="82" y="224"/>
                  </a:lnTo>
                  <a:lnTo>
                    <a:pt x="78" y="224"/>
                  </a:lnTo>
                  <a:lnTo>
                    <a:pt x="66" y="224"/>
                  </a:lnTo>
                  <a:lnTo>
                    <a:pt x="60" y="224"/>
                  </a:lnTo>
                  <a:lnTo>
                    <a:pt x="52" y="224"/>
                  </a:lnTo>
                  <a:lnTo>
                    <a:pt x="44" y="224"/>
                  </a:lnTo>
                  <a:lnTo>
                    <a:pt x="40" y="224"/>
                  </a:lnTo>
                  <a:lnTo>
                    <a:pt x="38" y="224"/>
                  </a:lnTo>
                  <a:lnTo>
                    <a:pt x="34" y="224"/>
                  </a:lnTo>
                  <a:lnTo>
                    <a:pt x="30" y="224"/>
                  </a:lnTo>
                  <a:lnTo>
                    <a:pt x="30" y="220"/>
                  </a:lnTo>
                  <a:lnTo>
                    <a:pt x="26" y="220"/>
                  </a:lnTo>
                  <a:lnTo>
                    <a:pt x="22" y="216"/>
                  </a:lnTo>
                  <a:lnTo>
                    <a:pt x="18" y="216"/>
                  </a:lnTo>
                  <a:lnTo>
                    <a:pt x="14" y="216"/>
                  </a:lnTo>
                  <a:lnTo>
                    <a:pt x="10" y="220"/>
                  </a:lnTo>
                  <a:lnTo>
                    <a:pt x="8" y="220"/>
                  </a:lnTo>
                  <a:lnTo>
                    <a:pt x="4" y="220"/>
                  </a:lnTo>
                  <a:lnTo>
                    <a:pt x="0" y="220"/>
                  </a:lnTo>
                  <a:lnTo>
                    <a:pt x="0" y="216"/>
                  </a:lnTo>
                  <a:lnTo>
                    <a:pt x="0" y="212"/>
                  </a:lnTo>
                  <a:lnTo>
                    <a:pt x="0" y="210"/>
                  </a:lnTo>
                  <a:lnTo>
                    <a:pt x="0" y="206"/>
                  </a:lnTo>
                  <a:lnTo>
                    <a:pt x="0" y="202"/>
                  </a:lnTo>
                  <a:lnTo>
                    <a:pt x="0" y="198"/>
                  </a:lnTo>
                  <a:lnTo>
                    <a:pt x="0" y="194"/>
                  </a:lnTo>
                  <a:lnTo>
                    <a:pt x="4" y="190"/>
                  </a:lnTo>
                  <a:lnTo>
                    <a:pt x="4" y="186"/>
                  </a:lnTo>
                  <a:lnTo>
                    <a:pt x="4" y="182"/>
                  </a:lnTo>
                  <a:lnTo>
                    <a:pt x="4" y="180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10" y="156"/>
                  </a:lnTo>
                  <a:lnTo>
                    <a:pt x="8" y="154"/>
                  </a:lnTo>
                  <a:lnTo>
                    <a:pt x="10" y="154"/>
                  </a:lnTo>
                  <a:lnTo>
                    <a:pt x="10" y="150"/>
                  </a:lnTo>
                  <a:lnTo>
                    <a:pt x="14" y="150"/>
                  </a:lnTo>
                  <a:lnTo>
                    <a:pt x="14" y="146"/>
                  </a:lnTo>
                  <a:lnTo>
                    <a:pt x="14" y="142"/>
                  </a:lnTo>
                  <a:lnTo>
                    <a:pt x="18" y="142"/>
                  </a:lnTo>
                  <a:lnTo>
                    <a:pt x="18" y="138"/>
                  </a:lnTo>
                  <a:lnTo>
                    <a:pt x="18" y="142"/>
                  </a:lnTo>
                  <a:lnTo>
                    <a:pt x="22" y="138"/>
                  </a:lnTo>
                  <a:lnTo>
                    <a:pt x="22" y="134"/>
                  </a:lnTo>
                  <a:lnTo>
                    <a:pt x="26" y="134"/>
                  </a:lnTo>
                  <a:lnTo>
                    <a:pt x="26" y="130"/>
                  </a:lnTo>
                  <a:lnTo>
                    <a:pt x="26" y="126"/>
                  </a:lnTo>
                  <a:lnTo>
                    <a:pt x="26" y="124"/>
                  </a:lnTo>
                  <a:lnTo>
                    <a:pt x="26" y="120"/>
                  </a:lnTo>
                  <a:lnTo>
                    <a:pt x="26" y="116"/>
                  </a:lnTo>
                  <a:lnTo>
                    <a:pt x="30" y="112"/>
                  </a:lnTo>
                  <a:lnTo>
                    <a:pt x="26" y="108"/>
                  </a:lnTo>
                  <a:lnTo>
                    <a:pt x="26" y="104"/>
                  </a:lnTo>
                  <a:lnTo>
                    <a:pt x="22" y="100"/>
                  </a:lnTo>
                  <a:lnTo>
                    <a:pt x="22" y="98"/>
                  </a:lnTo>
                  <a:lnTo>
                    <a:pt x="22" y="94"/>
                  </a:lnTo>
                  <a:lnTo>
                    <a:pt x="18" y="94"/>
                  </a:lnTo>
                  <a:lnTo>
                    <a:pt x="18" y="90"/>
                  </a:lnTo>
                  <a:lnTo>
                    <a:pt x="18" y="86"/>
                  </a:lnTo>
                  <a:lnTo>
                    <a:pt x="18" y="82"/>
                  </a:lnTo>
                  <a:lnTo>
                    <a:pt x="14" y="78"/>
                  </a:lnTo>
                  <a:lnTo>
                    <a:pt x="18" y="74"/>
                  </a:lnTo>
                  <a:lnTo>
                    <a:pt x="18" y="78"/>
                  </a:lnTo>
                  <a:lnTo>
                    <a:pt x="14" y="78"/>
                  </a:lnTo>
                  <a:lnTo>
                    <a:pt x="18" y="78"/>
                  </a:lnTo>
                  <a:lnTo>
                    <a:pt x="18" y="74"/>
                  </a:lnTo>
                  <a:lnTo>
                    <a:pt x="22" y="74"/>
                  </a:lnTo>
                  <a:lnTo>
                    <a:pt x="22" y="70"/>
                  </a:lnTo>
                  <a:lnTo>
                    <a:pt x="22" y="68"/>
                  </a:lnTo>
                  <a:lnTo>
                    <a:pt x="22" y="64"/>
                  </a:lnTo>
                  <a:lnTo>
                    <a:pt x="18" y="64"/>
                  </a:lnTo>
                  <a:lnTo>
                    <a:pt x="18" y="60"/>
                  </a:lnTo>
                  <a:lnTo>
                    <a:pt x="18" y="56"/>
                  </a:lnTo>
                  <a:lnTo>
                    <a:pt x="14" y="52"/>
                  </a:lnTo>
                  <a:lnTo>
                    <a:pt x="14" y="48"/>
                  </a:lnTo>
                  <a:lnTo>
                    <a:pt x="14" y="44"/>
                  </a:lnTo>
                  <a:lnTo>
                    <a:pt x="14" y="42"/>
                  </a:lnTo>
                  <a:lnTo>
                    <a:pt x="10" y="42"/>
                  </a:lnTo>
                  <a:lnTo>
                    <a:pt x="10" y="38"/>
                  </a:lnTo>
                  <a:lnTo>
                    <a:pt x="8" y="34"/>
                  </a:lnTo>
                  <a:lnTo>
                    <a:pt x="8" y="30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14" y="22"/>
                  </a:lnTo>
                  <a:lnTo>
                    <a:pt x="18" y="22"/>
                  </a:lnTo>
                  <a:lnTo>
                    <a:pt x="18" y="26"/>
                  </a:lnTo>
                  <a:lnTo>
                    <a:pt x="18" y="22"/>
                  </a:lnTo>
                  <a:lnTo>
                    <a:pt x="22" y="22"/>
                  </a:lnTo>
                  <a:lnTo>
                    <a:pt x="26" y="22"/>
                  </a:lnTo>
                  <a:lnTo>
                    <a:pt x="30" y="22"/>
                  </a:lnTo>
                  <a:lnTo>
                    <a:pt x="34" y="22"/>
                  </a:lnTo>
                  <a:lnTo>
                    <a:pt x="34" y="26"/>
                  </a:lnTo>
                  <a:lnTo>
                    <a:pt x="38" y="26"/>
                  </a:lnTo>
                  <a:lnTo>
                    <a:pt x="40" y="22"/>
                  </a:lnTo>
                  <a:lnTo>
                    <a:pt x="44" y="22"/>
                  </a:lnTo>
                  <a:lnTo>
                    <a:pt x="56" y="22"/>
                  </a:lnTo>
                  <a:lnTo>
                    <a:pt x="60" y="22"/>
                  </a:lnTo>
                  <a:lnTo>
                    <a:pt x="64" y="22"/>
                  </a:lnTo>
                  <a:lnTo>
                    <a:pt x="66" y="22"/>
                  </a:lnTo>
                  <a:lnTo>
                    <a:pt x="66" y="26"/>
                  </a:lnTo>
                  <a:lnTo>
                    <a:pt x="66" y="30"/>
                  </a:lnTo>
                  <a:lnTo>
                    <a:pt x="66" y="34"/>
                  </a:lnTo>
                  <a:lnTo>
                    <a:pt x="70" y="38"/>
                  </a:lnTo>
                  <a:lnTo>
                    <a:pt x="70" y="42"/>
                  </a:lnTo>
                  <a:lnTo>
                    <a:pt x="70" y="44"/>
                  </a:lnTo>
                  <a:lnTo>
                    <a:pt x="70" y="48"/>
                  </a:lnTo>
                  <a:lnTo>
                    <a:pt x="74" y="48"/>
                  </a:lnTo>
                  <a:lnTo>
                    <a:pt x="74" y="52"/>
                  </a:lnTo>
                  <a:lnTo>
                    <a:pt x="78" y="56"/>
                  </a:lnTo>
                  <a:lnTo>
                    <a:pt x="78" y="60"/>
                  </a:lnTo>
                  <a:lnTo>
                    <a:pt x="82" y="60"/>
                  </a:lnTo>
                  <a:lnTo>
                    <a:pt x="82" y="64"/>
                  </a:lnTo>
                  <a:lnTo>
                    <a:pt x="86" y="60"/>
                  </a:lnTo>
                  <a:lnTo>
                    <a:pt x="86" y="64"/>
                  </a:lnTo>
                  <a:lnTo>
                    <a:pt x="90" y="64"/>
                  </a:lnTo>
                  <a:lnTo>
                    <a:pt x="90" y="60"/>
                  </a:lnTo>
                  <a:lnTo>
                    <a:pt x="94" y="60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8" y="60"/>
                  </a:lnTo>
                  <a:lnTo>
                    <a:pt x="104" y="60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08" y="44"/>
                  </a:lnTo>
                  <a:lnTo>
                    <a:pt x="116" y="44"/>
                  </a:lnTo>
                  <a:lnTo>
                    <a:pt x="120" y="44"/>
                  </a:lnTo>
                  <a:lnTo>
                    <a:pt x="120" y="42"/>
                  </a:lnTo>
                  <a:lnTo>
                    <a:pt x="122" y="42"/>
                  </a:lnTo>
                  <a:lnTo>
                    <a:pt x="122" y="44"/>
                  </a:lnTo>
                  <a:lnTo>
                    <a:pt x="122" y="48"/>
                  </a:lnTo>
                  <a:lnTo>
                    <a:pt x="130" y="48"/>
                  </a:lnTo>
                  <a:lnTo>
                    <a:pt x="138" y="48"/>
                  </a:lnTo>
                  <a:lnTo>
                    <a:pt x="142" y="48"/>
                  </a:lnTo>
                  <a:lnTo>
                    <a:pt x="142" y="52"/>
                  </a:lnTo>
                  <a:lnTo>
                    <a:pt x="142" y="56"/>
                  </a:lnTo>
                  <a:lnTo>
                    <a:pt x="142" y="60"/>
                  </a:lnTo>
                  <a:lnTo>
                    <a:pt x="142" y="64"/>
                  </a:lnTo>
                  <a:lnTo>
                    <a:pt x="142" y="68"/>
                  </a:lnTo>
                  <a:lnTo>
                    <a:pt x="142" y="70"/>
                  </a:lnTo>
                  <a:lnTo>
                    <a:pt x="142" y="74"/>
                  </a:lnTo>
                  <a:lnTo>
                    <a:pt x="142" y="78"/>
                  </a:lnTo>
                  <a:lnTo>
                    <a:pt x="142" y="82"/>
                  </a:lnTo>
                  <a:lnTo>
                    <a:pt x="142" y="86"/>
                  </a:lnTo>
                  <a:lnTo>
                    <a:pt x="142" y="90"/>
                  </a:lnTo>
                  <a:lnTo>
                    <a:pt x="146" y="94"/>
                  </a:lnTo>
                  <a:lnTo>
                    <a:pt x="146" y="98"/>
                  </a:lnTo>
                  <a:lnTo>
                    <a:pt x="150" y="100"/>
                  </a:lnTo>
                  <a:lnTo>
                    <a:pt x="150" y="104"/>
                  </a:lnTo>
                  <a:lnTo>
                    <a:pt x="150" y="108"/>
                  </a:lnTo>
                  <a:lnTo>
                    <a:pt x="146" y="108"/>
                  </a:lnTo>
                  <a:lnTo>
                    <a:pt x="146" y="112"/>
                  </a:lnTo>
                  <a:lnTo>
                    <a:pt x="146" y="116"/>
                  </a:lnTo>
                  <a:lnTo>
                    <a:pt x="150" y="116"/>
                  </a:lnTo>
                  <a:lnTo>
                    <a:pt x="150" y="112"/>
                  </a:lnTo>
                  <a:lnTo>
                    <a:pt x="152" y="112"/>
                  </a:lnTo>
                  <a:lnTo>
                    <a:pt x="156" y="112"/>
                  </a:lnTo>
                  <a:lnTo>
                    <a:pt x="160" y="112"/>
                  </a:lnTo>
                  <a:lnTo>
                    <a:pt x="164" y="112"/>
                  </a:lnTo>
                  <a:lnTo>
                    <a:pt x="168" y="112"/>
                  </a:lnTo>
                  <a:lnTo>
                    <a:pt x="172" y="112"/>
                  </a:lnTo>
                  <a:lnTo>
                    <a:pt x="172" y="108"/>
                  </a:lnTo>
                  <a:lnTo>
                    <a:pt x="172" y="112"/>
                  </a:lnTo>
                  <a:lnTo>
                    <a:pt x="172" y="116"/>
                  </a:lnTo>
                  <a:lnTo>
                    <a:pt x="172" y="120"/>
                  </a:lnTo>
                  <a:lnTo>
                    <a:pt x="172" y="124"/>
                  </a:lnTo>
                  <a:lnTo>
                    <a:pt x="172" y="126"/>
                  </a:lnTo>
                  <a:lnTo>
                    <a:pt x="172" y="134"/>
                  </a:lnTo>
                  <a:lnTo>
                    <a:pt x="172" y="138"/>
                  </a:lnTo>
                  <a:lnTo>
                    <a:pt x="172" y="142"/>
                  </a:lnTo>
                  <a:lnTo>
                    <a:pt x="172" y="146"/>
                  </a:lnTo>
                  <a:lnTo>
                    <a:pt x="168" y="146"/>
                  </a:lnTo>
                  <a:lnTo>
                    <a:pt x="164" y="146"/>
                  </a:lnTo>
                  <a:lnTo>
                    <a:pt x="160" y="146"/>
                  </a:lnTo>
                  <a:lnTo>
                    <a:pt x="156" y="146"/>
                  </a:lnTo>
                  <a:lnTo>
                    <a:pt x="150" y="146"/>
                  </a:lnTo>
                  <a:lnTo>
                    <a:pt x="142" y="146"/>
                  </a:lnTo>
                  <a:lnTo>
                    <a:pt x="142" y="154"/>
                  </a:lnTo>
                  <a:lnTo>
                    <a:pt x="142" y="160"/>
                  </a:lnTo>
                  <a:lnTo>
                    <a:pt x="142" y="164"/>
                  </a:lnTo>
                  <a:lnTo>
                    <a:pt x="142" y="172"/>
                  </a:lnTo>
                  <a:lnTo>
                    <a:pt x="142" y="176"/>
                  </a:lnTo>
                  <a:lnTo>
                    <a:pt x="142" y="180"/>
                  </a:lnTo>
                  <a:lnTo>
                    <a:pt x="142" y="190"/>
                  </a:lnTo>
                  <a:lnTo>
                    <a:pt x="142" y="198"/>
                  </a:lnTo>
                  <a:lnTo>
                    <a:pt x="142" y="202"/>
                  </a:lnTo>
                  <a:lnTo>
                    <a:pt x="146" y="202"/>
                  </a:lnTo>
                  <a:lnTo>
                    <a:pt x="146" y="206"/>
                  </a:lnTo>
                  <a:lnTo>
                    <a:pt x="146" y="210"/>
                  </a:lnTo>
                  <a:lnTo>
                    <a:pt x="150" y="210"/>
                  </a:lnTo>
                  <a:lnTo>
                    <a:pt x="150" y="212"/>
                  </a:lnTo>
                  <a:lnTo>
                    <a:pt x="152" y="216"/>
                  </a:lnTo>
                  <a:lnTo>
                    <a:pt x="160" y="224"/>
                  </a:lnTo>
                  <a:lnTo>
                    <a:pt x="164" y="228"/>
                  </a:lnTo>
                  <a:lnTo>
                    <a:pt x="164" y="228"/>
                  </a:lnTo>
                  <a:lnTo>
                    <a:pt x="164" y="22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89" name="Freeform 129">
              <a:extLst>
                <a:ext uri="{FF2B5EF4-FFF2-40B4-BE49-F238E27FC236}">
                  <a16:creationId xmlns:a16="http://schemas.microsoft.com/office/drawing/2014/main" id="{50D17577-F609-F6B4-26B2-4EA903673C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6508" y="3767639"/>
              <a:ext cx="85722" cy="203635"/>
            </a:xfrm>
            <a:custGeom>
              <a:avLst/>
              <a:gdLst>
                <a:gd name="T0" fmla="*/ 30 w 44"/>
                <a:gd name="T1" fmla="*/ 90 h 108"/>
                <a:gd name="T2" fmla="*/ 26 w 44"/>
                <a:gd name="T3" fmla="*/ 96 h 108"/>
                <a:gd name="T4" fmla="*/ 26 w 44"/>
                <a:gd name="T5" fmla="*/ 104 h 108"/>
                <a:gd name="T6" fmla="*/ 26 w 44"/>
                <a:gd name="T7" fmla="*/ 104 h 108"/>
                <a:gd name="T8" fmla="*/ 22 w 44"/>
                <a:gd name="T9" fmla="*/ 104 h 108"/>
                <a:gd name="T10" fmla="*/ 18 w 44"/>
                <a:gd name="T11" fmla="*/ 108 h 108"/>
                <a:gd name="T12" fmla="*/ 10 w 44"/>
                <a:gd name="T13" fmla="*/ 108 h 108"/>
                <a:gd name="T14" fmla="*/ 10 w 44"/>
                <a:gd name="T15" fmla="*/ 108 h 108"/>
                <a:gd name="T16" fmla="*/ 14 w 44"/>
                <a:gd name="T17" fmla="*/ 108 h 108"/>
                <a:gd name="T18" fmla="*/ 10 w 44"/>
                <a:gd name="T19" fmla="*/ 100 h 108"/>
                <a:gd name="T20" fmla="*/ 10 w 44"/>
                <a:gd name="T21" fmla="*/ 100 h 108"/>
                <a:gd name="T22" fmla="*/ 10 w 44"/>
                <a:gd name="T23" fmla="*/ 96 h 108"/>
                <a:gd name="T24" fmla="*/ 10 w 44"/>
                <a:gd name="T25" fmla="*/ 90 h 108"/>
                <a:gd name="T26" fmla="*/ 10 w 44"/>
                <a:gd name="T27" fmla="*/ 86 h 108"/>
                <a:gd name="T28" fmla="*/ 10 w 44"/>
                <a:gd name="T29" fmla="*/ 78 h 108"/>
                <a:gd name="T30" fmla="*/ 10 w 44"/>
                <a:gd name="T31" fmla="*/ 66 h 108"/>
                <a:gd name="T32" fmla="*/ 10 w 44"/>
                <a:gd name="T33" fmla="*/ 60 h 108"/>
                <a:gd name="T34" fmla="*/ 10 w 44"/>
                <a:gd name="T35" fmla="*/ 56 h 108"/>
                <a:gd name="T36" fmla="*/ 6 w 44"/>
                <a:gd name="T37" fmla="*/ 56 h 108"/>
                <a:gd name="T38" fmla="*/ 6 w 44"/>
                <a:gd name="T39" fmla="*/ 52 h 108"/>
                <a:gd name="T40" fmla="*/ 6 w 44"/>
                <a:gd name="T41" fmla="*/ 48 h 108"/>
                <a:gd name="T42" fmla="*/ 6 w 44"/>
                <a:gd name="T43" fmla="*/ 40 h 108"/>
                <a:gd name="T44" fmla="*/ 0 w 44"/>
                <a:gd name="T45" fmla="*/ 38 h 108"/>
                <a:gd name="T46" fmla="*/ 0 w 44"/>
                <a:gd name="T47" fmla="*/ 34 h 108"/>
                <a:gd name="T48" fmla="*/ 0 w 44"/>
                <a:gd name="T49" fmla="*/ 30 h 108"/>
                <a:gd name="T50" fmla="*/ 0 w 44"/>
                <a:gd name="T51" fmla="*/ 26 h 108"/>
                <a:gd name="T52" fmla="*/ 2 w 44"/>
                <a:gd name="T53" fmla="*/ 22 h 108"/>
                <a:gd name="T54" fmla="*/ 6 w 44"/>
                <a:gd name="T55" fmla="*/ 18 h 108"/>
                <a:gd name="T56" fmla="*/ 6 w 44"/>
                <a:gd name="T57" fmla="*/ 18 h 108"/>
                <a:gd name="T58" fmla="*/ 10 w 44"/>
                <a:gd name="T59" fmla="*/ 18 h 108"/>
                <a:gd name="T60" fmla="*/ 14 w 44"/>
                <a:gd name="T61" fmla="*/ 18 h 108"/>
                <a:gd name="T62" fmla="*/ 18 w 44"/>
                <a:gd name="T63" fmla="*/ 18 h 108"/>
                <a:gd name="T64" fmla="*/ 18 w 44"/>
                <a:gd name="T65" fmla="*/ 14 h 108"/>
                <a:gd name="T66" fmla="*/ 22 w 44"/>
                <a:gd name="T67" fmla="*/ 12 h 108"/>
                <a:gd name="T68" fmla="*/ 22 w 44"/>
                <a:gd name="T69" fmla="*/ 8 h 108"/>
                <a:gd name="T70" fmla="*/ 26 w 44"/>
                <a:gd name="T71" fmla="*/ 4 h 108"/>
                <a:gd name="T72" fmla="*/ 30 w 44"/>
                <a:gd name="T73" fmla="*/ 0 h 108"/>
                <a:gd name="T74" fmla="*/ 34 w 44"/>
                <a:gd name="T75" fmla="*/ 8 h 108"/>
                <a:gd name="T76" fmla="*/ 36 w 44"/>
                <a:gd name="T77" fmla="*/ 12 h 108"/>
                <a:gd name="T78" fmla="*/ 36 w 44"/>
                <a:gd name="T79" fmla="*/ 12 h 108"/>
                <a:gd name="T80" fmla="*/ 40 w 44"/>
                <a:gd name="T81" fmla="*/ 14 h 108"/>
                <a:gd name="T82" fmla="*/ 40 w 44"/>
                <a:gd name="T83" fmla="*/ 22 h 108"/>
                <a:gd name="T84" fmla="*/ 40 w 44"/>
                <a:gd name="T85" fmla="*/ 26 h 108"/>
                <a:gd name="T86" fmla="*/ 40 w 44"/>
                <a:gd name="T87" fmla="*/ 30 h 108"/>
                <a:gd name="T88" fmla="*/ 44 w 44"/>
                <a:gd name="T89" fmla="*/ 30 h 108"/>
                <a:gd name="T90" fmla="*/ 40 w 44"/>
                <a:gd name="T91" fmla="*/ 38 h 108"/>
                <a:gd name="T92" fmla="*/ 40 w 44"/>
                <a:gd name="T93" fmla="*/ 38 h 108"/>
                <a:gd name="T94" fmla="*/ 40 w 44"/>
                <a:gd name="T95" fmla="*/ 40 h 108"/>
                <a:gd name="T96" fmla="*/ 36 w 44"/>
                <a:gd name="T97" fmla="*/ 44 h 108"/>
                <a:gd name="T98" fmla="*/ 36 w 44"/>
                <a:gd name="T99" fmla="*/ 48 h 108"/>
                <a:gd name="T100" fmla="*/ 34 w 44"/>
                <a:gd name="T101" fmla="*/ 52 h 108"/>
                <a:gd name="T102" fmla="*/ 34 w 44"/>
                <a:gd name="T103" fmla="*/ 56 h 108"/>
                <a:gd name="T104" fmla="*/ 30 w 44"/>
                <a:gd name="T105" fmla="*/ 60 h 108"/>
                <a:gd name="T106" fmla="*/ 30 w 44"/>
                <a:gd name="T107" fmla="*/ 60 h 108"/>
                <a:gd name="T108" fmla="*/ 26 w 44"/>
                <a:gd name="T109" fmla="*/ 66 h 108"/>
                <a:gd name="T110" fmla="*/ 26 w 44"/>
                <a:gd name="T111" fmla="*/ 70 h 108"/>
                <a:gd name="T112" fmla="*/ 26 w 44"/>
                <a:gd name="T113" fmla="*/ 74 h 108"/>
                <a:gd name="T114" fmla="*/ 26 w 44"/>
                <a:gd name="T115" fmla="*/ 78 h 108"/>
                <a:gd name="T116" fmla="*/ 26 w 44"/>
                <a:gd name="T117" fmla="*/ 82 h 108"/>
                <a:gd name="T118" fmla="*/ 26 w 44"/>
                <a:gd name="T119" fmla="*/ 8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" h="108">
                  <a:moveTo>
                    <a:pt x="26" y="82"/>
                  </a:moveTo>
                  <a:lnTo>
                    <a:pt x="26" y="82"/>
                  </a:lnTo>
                  <a:lnTo>
                    <a:pt x="26" y="86"/>
                  </a:lnTo>
                  <a:lnTo>
                    <a:pt x="30" y="90"/>
                  </a:lnTo>
                  <a:lnTo>
                    <a:pt x="30" y="92"/>
                  </a:lnTo>
                  <a:lnTo>
                    <a:pt x="26" y="92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6" y="100"/>
                  </a:lnTo>
                  <a:lnTo>
                    <a:pt x="26" y="100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8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04"/>
                  </a:lnTo>
                  <a:lnTo>
                    <a:pt x="14" y="104"/>
                  </a:lnTo>
                  <a:lnTo>
                    <a:pt x="10" y="100"/>
                  </a:lnTo>
                  <a:lnTo>
                    <a:pt x="10" y="100"/>
                  </a:lnTo>
                  <a:lnTo>
                    <a:pt x="10" y="100"/>
                  </a:lnTo>
                  <a:lnTo>
                    <a:pt x="10" y="100"/>
                  </a:lnTo>
                  <a:lnTo>
                    <a:pt x="10" y="100"/>
                  </a:lnTo>
                  <a:lnTo>
                    <a:pt x="10" y="100"/>
                  </a:lnTo>
                  <a:lnTo>
                    <a:pt x="10" y="100"/>
                  </a:lnTo>
                  <a:lnTo>
                    <a:pt x="10" y="96"/>
                  </a:lnTo>
                  <a:lnTo>
                    <a:pt x="10" y="96"/>
                  </a:lnTo>
                  <a:lnTo>
                    <a:pt x="10" y="96"/>
                  </a:lnTo>
                  <a:lnTo>
                    <a:pt x="10" y="96"/>
                  </a:lnTo>
                  <a:lnTo>
                    <a:pt x="10" y="92"/>
                  </a:lnTo>
                  <a:lnTo>
                    <a:pt x="10" y="92"/>
                  </a:lnTo>
                  <a:lnTo>
                    <a:pt x="10" y="90"/>
                  </a:lnTo>
                  <a:lnTo>
                    <a:pt x="10" y="90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2"/>
                  </a:lnTo>
                  <a:lnTo>
                    <a:pt x="10" y="78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0" y="66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0" y="0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6" y="14"/>
                  </a:lnTo>
                  <a:lnTo>
                    <a:pt x="36" y="18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4"/>
                  </a:lnTo>
                  <a:lnTo>
                    <a:pt x="40" y="34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6" y="82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90" name="Freeform 130">
              <a:extLst>
                <a:ext uri="{FF2B5EF4-FFF2-40B4-BE49-F238E27FC236}">
                  <a16:creationId xmlns:a16="http://schemas.microsoft.com/office/drawing/2014/main" id="{7B9D1535-6A6E-B682-CE42-EA92B70A0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2528" y="4751874"/>
              <a:ext cx="253269" cy="301681"/>
            </a:xfrm>
            <a:custGeom>
              <a:avLst/>
              <a:gdLst>
                <a:gd name="T0" fmla="*/ 82 w 130"/>
                <a:gd name="T1" fmla="*/ 124 h 160"/>
                <a:gd name="T2" fmla="*/ 80 w 130"/>
                <a:gd name="T3" fmla="*/ 134 h 160"/>
                <a:gd name="T4" fmla="*/ 76 w 130"/>
                <a:gd name="T5" fmla="*/ 142 h 160"/>
                <a:gd name="T6" fmla="*/ 68 w 130"/>
                <a:gd name="T7" fmla="*/ 142 h 160"/>
                <a:gd name="T8" fmla="*/ 64 w 130"/>
                <a:gd name="T9" fmla="*/ 138 h 160"/>
                <a:gd name="T10" fmla="*/ 60 w 130"/>
                <a:gd name="T11" fmla="*/ 138 h 160"/>
                <a:gd name="T12" fmla="*/ 54 w 130"/>
                <a:gd name="T13" fmla="*/ 134 h 160"/>
                <a:gd name="T14" fmla="*/ 46 w 130"/>
                <a:gd name="T15" fmla="*/ 130 h 160"/>
                <a:gd name="T16" fmla="*/ 42 w 130"/>
                <a:gd name="T17" fmla="*/ 138 h 160"/>
                <a:gd name="T18" fmla="*/ 38 w 130"/>
                <a:gd name="T19" fmla="*/ 146 h 160"/>
                <a:gd name="T20" fmla="*/ 30 w 130"/>
                <a:gd name="T21" fmla="*/ 152 h 160"/>
                <a:gd name="T22" fmla="*/ 26 w 130"/>
                <a:gd name="T23" fmla="*/ 156 h 160"/>
                <a:gd name="T24" fmla="*/ 26 w 130"/>
                <a:gd name="T25" fmla="*/ 160 h 160"/>
                <a:gd name="T26" fmla="*/ 20 w 130"/>
                <a:gd name="T27" fmla="*/ 160 h 160"/>
                <a:gd name="T28" fmla="*/ 16 w 130"/>
                <a:gd name="T29" fmla="*/ 160 h 160"/>
                <a:gd name="T30" fmla="*/ 12 w 130"/>
                <a:gd name="T31" fmla="*/ 160 h 160"/>
                <a:gd name="T32" fmla="*/ 8 w 130"/>
                <a:gd name="T33" fmla="*/ 152 h 160"/>
                <a:gd name="T34" fmla="*/ 12 w 130"/>
                <a:gd name="T35" fmla="*/ 150 h 160"/>
                <a:gd name="T36" fmla="*/ 8 w 130"/>
                <a:gd name="T37" fmla="*/ 138 h 160"/>
                <a:gd name="T38" fmla="*/ 4 w 130"/>
                <a:gd name="T39" fmla="*/ 128 h 160"/>
                <a:gd name="T40" fmla="*/ 0 w 130"/>
                <a:gd name="T41" fmla="*/ 124 h 160"/>
                <a:gd name="T42" fmla="*/ 0 w 130"/>
                <a:gd name="T43" fmla="*/ 104 h 160"/>
                <a:gd name="T44" fmla="*/ 0 w 130"/>
                <a:gd name="T45" fmla="*/ 90 h 160"/>
                <a:gd name="T46" fmla="*/ 0 w 130"/>
                <a:gd name="T47" fmla="*/ 74 h 160"/>
                <a:gd name="T48" fmla="*/ 16 w 130"/>
                <a:gd name="T49" fmla="*/ 68 h 160"/>
                <a:gd name="T50" fmla="*/ 16 w 130"/>
                <a:gd name="T51" fmla="*/ 22 h 160"/>
                <a:gd name="T52" fmla="*/ 26 w 130"/>
                <a:gd name="T53" fmla="*/ 8 h 160"/>
                <a:gd name="T54" fmla="*/ 46 w 130"/>
                <a:gd name="T55" fmla="*/ 4 h 160"/>
                <a:gd name="T56" fmla="*/ 50 w 130"/>
                <a:gd name="T57" fmla="*/ 8 h 160"/>
                <a:gd name="T58" fmla="*/ 54 w 130"/>
                <a:gd name="T59" fmla="*/ 12 h 160"/>
                <a:gd name="T60" fmla="*/ 56 w 130"/>
                <a:gd name="T61" fmla="*/ 8 h 160"/>
                <a:gd name="T62" fmla="*/ 64 w 130"/>
                <a:gd name="T63" fmla="*/ 4 h 160"/>
                <a:gd name="T64" fmla="*/ 68 w 130"/>
                <a:gd name="T65" fmla="*/ 0 h 160"/>
                <a:gd name="T66" fmla="*/ 76 w 130"/>
                <a:gd name="T67" fmla="*/ 0 h 160"/>
                <a:gd name="T68" fmla="*/ 76 w 130"/>
                <a:gd name="T69" fmla="*/ 4 h 160"/>
                <a:gd name="T70" fmla="*/ 80 w 130"/>
                <a:gd name="T71" fmla="*/ 8 h 160"/>
                <a:gd name="T72" fmla="*/ 82 w 130"/>
                <a:gd name="T73" fmla="*/ 18 h 160"/>
                <a:gd name="T74" fmla="*/ 86 w 130"/>
                <a:gd name="T75" fmla="*/ 22 h 160"/>
                <a:gd name="T76" fmla="*/ 90 w 130"/>
                <a:gd name="T77" fmla="*/ 30 h 160"/>
                <a:gd name="T78" fmla="*/ 94 w 130"/>
                <a:gd name="T79" fmla="*/ 34 h 160"/>
                <a:gd name="T80" fmla="*/ 102 w 130"/>
                <a:gd name="T81" fmla="*/ 38 h 160"/>
                <a:gd name="T82" fmla="*/ 106 w 130"/>
                <a:gd name="T83" fmla="*/ 46 h 160"/>
                <a:gd name="T84" fmla="*/ 110 w 130"/>
                <a:gd name="T85" fmla="*/ 46 h 160"/>
                <a:gd name="T86" fmla="*/ 110 w 130"/>
                <a:gd name="T87" fmla="*/ 52 h 160"/>
                <a:gd name="T88" fmla="*/ 112 w 130"/>
                <a:gd name="T89" fmla="*/ 64 h 160"/>
                <a:gd name="T90" fmla="*/ 116 w 130"/>
                <a:gd name="T91" fmla="*/ 68 h 160"/>
                <a:gd name="T92" fmla="*/ 120 w 130"/>
                <a:gd name="T93" fmla="*/ 68 h 160"/>
                <a:gd name="T94" fmla="*/ 126 w 130"/>
                <a:gd name="T95" fmla="*/ 68 h 160"/>
                <a:gd name="T96" fmla="*/ 126 w 130"/>
                <a:gd name="T97" fmla="*/ 74 h 160"/>
                <a:gd name="T98" fmla="*/ 130 w 130"/>
                <a:gd name="T99" fmla="*/ 74 h 160"/>
                <a:gd name="T100" fmla="*/ 126 w 130"/>
                <a:gd name="T101" fmla="*/ 78 h 160"/>
                <a:gd name="T102" fmla="*/ 126 w 130"/>
                <a:gd name="T103" fmla="*/ 82 h 160"/>
                <a:gd name="T104" fmla="*/ 116 w 130"/>
                <a:gd name="T105" fmla="*/ 86 h 160"/>
                <a:gd name="T106" fmla="*/ 112 w 130"/>
                <a:gd name="T107" fmla="*/ 90 h 160"/>
                <a:gd name="T108" fmla="*/ 110 w 130"/>
                <a:gd name="T109" fmla="*/ 98 h 160"/>
                <a:gd name="T110" fmla="*/ 102 w 130"/>
                <a:gd name="T111" fmla="*/ 100 h 160"/>
                <a:gd name="T112" fmla="*/ 98 w 130"/>
                <a:gd name="T113" fmla="*/ 108 h 160"/>
                <a:gd name="T114" fmla="*/ 94 w 130"/>
                <a:gd name="T115" fmla="*/ 116 h 160"/>
                <a:gd name="T116" fmla="*/ 90 w 130"/>
                <a:gd name="T117" fmla="*/ 12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0" h="160">
                  <a:moveTo>
                    <a:pt x="90" y="120"/>
                  </a:move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86" y="120"/>
                  </a:lnTo>
                  <a:lnTo>
                    <a:pt x="86" y="120"/>
                  </a:lnTo>
                  <a:lnTo>
                    <a:pt x="82" y="124"/>
                  </a:lnTo>
                  <a:lnTo>
                    <a:pt x="82" y="124"/>
                  </a:lnTo>
                  <a:lnTo>
                    <a:pt x="82" y="124"/>
                  </a:lnTo>
                  <a:lnTo>
                    <a:pt x="82" y="124"/>
                  </a:lnTo>
                  <a:lnTo>
                    <a:pt x="82" y="128"/>
                  </a:lnTo>
                  <a:lnTo>
                    <a:pt x="82" y="130"/>
                  </a:lnTo>
                  <a:lnTo>
                    <a:pt x="80" y="134"/>
                  </a:lnTo>
                  <a:lnTo>
                    <a:pt x="80" y="134"/>
                  </a:lnTo>
                  <a:lnTo>
                    <a:pt x="80" y="138"/>
                  </a:lnTo>
                  <a:lnTo>
                    <a:pt x="80" y="138"/>
                  </a:lnTo>
                  <a:lnTo>
                    <a:pt x="80" y="138"/>
                  </a:lnTo>
                  <a:lnTo>
                    <a:pt x="80" y="138"/>
                  </a:lnTo>
                  <a:lnTo>
                    <a:pt x="76" y="138"/>
                  </a:lnTo>
                  <a:lnTo>
                    <a:pt x="76" y="142"/>
                  </a:lnTo>
                  <a:lnTo>
                    <a:pt x="76" y="142"/>
                  </a:lnTo>
                  <a:lnTo>
                    <a:pt x="72" y="142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2" y="142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42"/>
                  </a:lnTo>
                  <a:lnTo>
                    <a:pt x="64" y="142"/>
                  </a:lnTo>
                  <a:lnTo>
                    <a:pt x="64" y="142"/>
                  </a:lnTo>
                  <a:lnTo>
                    <a:pt x="64" y="138"/>
                  </a:lnTo>
                  <a:lnTo>
                    <a:pt x="64" y="138"/>
                  </a:lnTo>
                  <a:lnTo>
                    <a:pt x="64" y="142"/>
                  </a:lnTo>
                  <a:lnTo>
                    <a:pt x="60" y="142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56" y="138"/>
                  </a:lnTo>
                  <a:lnTo>
                    <a:pt x="56" y="138"/>
                  </a:lnTo>
                  <a:lnTo>
                    <a:pt x="56" y="138"/>
                  </a:lnTo>
                  <a:lnTo>
                    <a:pt x="56" y="138"/>
                  </a:lnTo>
                  <a:lnTo>
                    <a:pt x="56" y="138"/>
                  </a:lnTo>
                  <a:lnTo>
                    <a:pt x="54" y="134"/>
                  </a:lnTo>
                  <a:lnTo>
                    <a:pt x="54" y="134"/>
                  </a:lnTo>
                  <a:lnTo>
                    <a:pt x="54" y="134"/>
                  </a:lnTo>
                  <a:lnTo>
                    <a:pt x="54" y="134"/>
                  </a:lnTo>
                  <a:lnTo>
                    <a:pt x="54" y="134"/>
                  </a:lnTo>
                  <a:lnTo>
                    <a:pt x="50" y="130"/>
                  </a:lnTo>
                  <a:lnTo>
                    <a:pt x="50" y="130"/>
                  </a:lnTo>
                  <a:lnTo>
                    <a:pt x="46" y="130"/>
                  </a:lnTo>
                  <a:lnTo>
                    <a:pt x="46" y="130"/>
                  </a:lnTo>
                  <a:lnTo>
                    <a:pt x="42" y="130"/>
                  </a:lnTo>
                  <a:lnTo>
                    <a:pt x="42" y="130"/>
                  </a:lnTo>
                  <a:lnTo>
                    <a:pt x="42" y="134"/>
                  </a:lnTo>
                  <a:lnTo>
                    <a:pt x="42" y="134"/>
                  </a:lnTo>
                  <a:lnTo>
                    <a:pt x="42" y="138"/>
                  </a:lnTo>
                  <a:lnTo>
                    <a:pt x="42" y="138"/>
                  </a:lnTo>
                  <a:lnTo>
                    <a:pt x="42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4" y="150"/>
                  </a:lnTo>
                  <a:lnTo>
                    <a:pt x="34" y="150"/>
                  </a:lnTo>
                  <a:lnTo>
                    <a:pt x="30" y="150"/>
                  </a:lnTo>
                  <a:lnTo>
                    <a:pt x="30" y="152"/>
                  </a:lnTo>
                  <a:lnTo>
                    <a:pt x="30" y="152"/>
                  </a:lnTo>
                  <a:lnTo>
                    <a:pt x="30" y="152"/>
                  </a:lnTo>
                  <a:lnTo>
                    <a:pt x="30" y="152"/>
                  </a:lnTo>
                  <a:lnTo>
                    <a:pt x="30" y="156"/>
                  </a:lnTo>
                  <a:lnTo>
                    <a:pt x="30" y="156"/>
                  </a:lnTo>
                  <a:lnTo>
                    <a:pt x="26" y="156"/>
                  </a:lnTo>
                  <a:lnTo>
                    <a:pt x="26" y="156"/>
                  </a:lnTo>
                  <a:lnTo>
                    <a:pt x="26" y="156"/>
                  </a:lnTo>
                  <a:lnTo>
                    <a:pt x="26" y="156"/>
                  </a:lnTo>
                  <a:lnTo>
                    <a:pt x="26" y="156"/>
                  </a:lnTo>
                  <a:lnTo>
                    <a:pt x="26" y="156"/>
                  </a:lnTo>
                  <a:lnTo>
                    <a:pt x="26" y="156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20" y="160"/>
                  </a:lnTo>
                  <a:lnTo>
                    <a:pt x="20" y="160"/>
                  </a:lnTo>
                  <a:lnTo>
                    <a:pt x="20" y="160"/>
                  </a:lnTo>
                  <a:lnTo>
                    <a:pt x="20" y="160"/>
                  </a:lnTo>
                  <a:lnTo>
                    <a:pt x="20" y="160"/>
                  </a:lnTo>
                  <a:lnTo>
                    <a:pt x="20" y="160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12" y="152"/>
                  </a:lnTo>
                  <a:lnTo>
                    <a:pt x="12" y="150"/>
                  </a:lnTo>
                  <a:lnTo>
                    <a:pt x="12" y="150"/>
                  </a:lnTo>
                  <a:lnTo>
                    <a:pt x="12" y="150"/>
                  </a:lnTo>
                  <a:lnTo>
                    <a:pt x="12" y="146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8" y="138"/>
                  </a:lnTo>
                  <a:lnTo>
                    <a:pt x="8" y="138"/>
                  </a:lnTo>
                  <a:lnTo>
                    <a:pt x="12" y="138"/>
                  </a:lnTo>
                  <a:lnTo>
                    <a:pt x="8" y="134"/>
                  </a:lnTo>
                  <a:lnTo>
                    <a:pt x="8" y="134"/>
                  </a:lnTo>
                  <a:lnTo>
                    <a:pt x="8" y="134"/>
                  </a:lnTo>
                  <a:lnTo>
                    <a:pt x="8" y="130"/>
                  </a:lnTo>
                  <a:lnTo>
                    <a:pt x="8" y="130"/>
                  </a:lnTo>
                  <a:lnTo>
                    <a:pt x="4" y="128"/>
                  </a:lnTo>
                  <a:lnTo>
                    <a:pt x="4" y="128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0" y="94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86"/>
                  </a:lnTo>
                  <a:lnTo>
                    <a:pt x="0" y="82"/>
                  </a:lnTo>
                  <a:lnTo>
                    <a:pt x="0" y="78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4" y="74"/>
                  </a:lnTo>
                  <a:lnTo>
                    <a:pt x="8" y="74"/>
                  </a:lnTo>
                  <a:lnTo>
                    <a:pt x="12" y="74"/>
                  </a:lnTo>
                  <a:lnTo>
                    <a:pt x="16" y="74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2"/>
                  </a:lnTo>
                  <a:lnTo>
                    <a:pt x="16" y="38"/>
                  </a:lnTo>
                  <a:lnTo>
                    <a:pt x="16" y="2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6" y="8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8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2" y="12"/>
                  </a:lnTo>
                  <a:lnTo>
                    <a:pt x="82" y="16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8"/>
                  </a:lnTo>
                  <a:lnTo>
                    <a:pt x="98" y="38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102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6"/>
                  </a:lnTo>
                  <a:lnTo>
                    <a:pt x="106" y="46"/>
                  </a:lnTo>
                  <a:lnTo>
                    <a:pt x="106" y="46"/>
                  </a:lnTo>
                  <a:lnTo>
                    <a:pt x="106" y="46"/>
                  </a:lnTo>
                  <a:lnTo>
                    <a:pt x="106" y="46"/>
                  </a:lnTo>
                  <a:lnTo>
                    <a:pt x="106" y="46"/>
                  </a:lnTo>
                  <a:lnTo>
                    <a:pt x="106" y="46"/>
                  </a:lnTo>
                  <a:lnTo>
                    <a:pt x="106" y="46"/>
                  </a:lnTo>
                  <a:lnTo>
                    <a:pt x="106" y="46"/>
                  </a:lnTo>
                  <a:lnTo>
                    <a:pt x="110" y="46"/>
                  </a:lnTo>
                  <a:lnTo>
                    <a:pt x="110" y="46"/>
                  </a:lnTo>
                  <a:lnTo>
                    <a:pt x="110" y="46"/>
                  </a:lnTo>
                  <a:lnTo>
                    <a:pt x="110" y="48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10" y="60"/>
                  </a:lnTo>
                  <a:lnTo>
                    <a:pt x="110" y="60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4" y="68"/>
                  </a:lnTo>
                  <a:lnTo>
                    <a:pt x="126" y="68"/>
                  </a:lnTo>
                  <a:lnTo>
                    <a:pt x="126" y="68"/>
                  </a:lnTo>
                  <a:lnTo>
                    <a:pt x="126" y="68"/>
                  </a:lnTo>
                  <a:lnTo>
                    <a:pt x="126" y="68"/>
                  </a:lnTo>
                  <a:lnTo>
                    <a:pt x="126" y="72"/>
                  </a:lnTo>
                  <a:lnTo>
                    <a:pt x="126" y="72"/>
                  </a:lnTo>
                  <a:lnTo>
                    <a:pt x="126" y="72"/>
                  </a:lnTo>
                  <a:lnTo>
                    <a:pt x="126" y="72"/>
                  </a:lnTo>
                  <a:lnTo>
                    <a:pt x="126" y="72"/>
                  </a:lnTo>
                  <a:lnTo>
                    <a:pt x="126" y="72"/>
                  </a:lnTo>
                  <a:lnTo>
                    <a:pt x="126" y="74"/>
                  </a:lnTo>
                  <a:lnTo>
                    <a:pt x="126" y="74"/>
                  </a:lnTo>
                  <a:lnTo>
                    <a:pt x="126" y="74"/>
                  </a:lnTo>
                  <a:lnTo>
                    <a:pt x="126" y="74"/>
                  </a:lnTo>
                  <a:lnTo>
                    <a:pt x="126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126" y="82"/>
                  </a:lnTo>
                  <a:lnTo>
                    <a:pt x="126" y="82"/>
                  </a:lnTo>
                  <a:lnTo>
                    <a:pt x="124" y="82"/>
                  </a:lnTo>
                  <a:lnTo>
                    <a:pt x="124" y="82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16" y="82"/>
                  </a:lnTo>
                  <a:lnTo>
                    <a:pt x="116" y="86"/>
                  </a:lnTo>
                  <a:lnTo>
                    <a:pt x="116" y="86"/>
                  </a:lnTo>
                  <a:lnTo>
                    <a:pt x="116" y="86"/>
                  </a:lnTo>
                  <a:lnTo>
                    <a:pt x="116" y="86"/>
                  </a:lnTo>
                  <a:lnTo>
                    <a:pt x="116" y="86"/>
                  </a:lnTo>
                  <a:lnTo>
                    <a:pt x="116" y="86"/>
                  </a:lnTo>
                  <a:lnTo>
                    <a:pt x="116" y="86"/>
                  </a:lnTo>
                  <a:lnTo>
                    <a:pt x="112" y="90"/>
                  </a:lnTo>
                  <a:lnTo>
                    <a:pt x="112" y="90"/>
                  </a:lnTo>
                  <a:lnTo>
                    <a:pt x="112" y="90"/>
                  </a:lnTo>
                  <a:lnTo>
                    <a:pt x="110" y="94"/>
                  </a:lnTo>
                  <a:lnTo>
                    <a:pt x="110" y="94"/>
                  </a:lnTo>
                  <a:lnTo>
                    <a:pt x="110" y="94"/>
                  </a:lnTo>
                  <a:lnTo>
                    <a:pt x="110" y="98"/>
                  </a:lnTo>
                  <a:lnTo>
                    <a:pt x="110" y="98"/>
                  </a:lnTo>
                  <a:lnTo>
                    <a:pt x="110" y="98"/>
                  </a:lnTo>
                  <a:lnTo>
                    <a:pt x="106" y="98"/>
                  </a:lnTo>
                  <a:lnTo>
                    <a:pt x="106" y="98"/>
                  </a:lnTo>
                  <a:lnTo>
                    <a:pt x="106" y="98"/>
                  </a:lnTo>
                  <a:lnTo>
                    <a:pt x="106" y="98"/>
                  </a:lnTo>
                  <a:lnTo>
                    <a:pt x="106" y="98"/>
                  </a:lnTo>
                  <a:lnTo>
                    <a:pt x="102" y="100"/>
                  </a:lnTo>
                  <a:lnTo>
                    <a:pt x="102" y="100"/>
                  </a:lnTo>
                  <a:lnTo>
                    <a:pt x="102" y="100"/>
                  </a:lnTo>
                  <a:lnTo>
                    <a:pt x="102" y="100"/>
                  </a:lnTo>
                  <a:lnTo>
                    <a:pt x="98" y="100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8"/>
                  </a:lnTo>
                  <a:lnTo>
                    <a:pt x="98" y="108"/>
                  </a:lnTo>
                  <a:lnTo>
                    <a:pt x="98" y="112"/>
                  </a:lnTo>
                  <a:lnTo>
                    <a:pt x="98" y="112"/>
                  </a:lnTo>
                  <a:lnTo>
                    <a:pt x="98" y="112"/>
                  </a:lnTo>
                  <a:lnTo>
                    <a:pt x="98" y="116"/>
                  </a:lnTo>
                  <a:lnTo>
                    <a:pt x="94" y="116"/>
                  </a:lnTo>
                  <a:lnTo>
                    <a:pt x="94" y="116"/>
                  </a:lnTo>
                  <a:lnTo>
                    <a:pt x="94" y="116"/>
                  </a:lnTo>
                  <a:lnTo>
                    <a:pt x="94" y="120"/>
                  </a:lnTo>
                  <a:lnTo>
                    <a:pt x="94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91" name="Freeform 131">
              <a:extLst>
                <a:ext uri="{FF2B5EF4-FFF2-40B4-BE49-F238E27FC236}">
                  <a16:creationId xmlns:a16="http://schemas.microsoft.com/office/drawing/2014/main" id="{FF580261-040D-5E1A-4198-BE1FD30440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1168" y="3680906"/>
              <a:ext cx="218201" cy="184780"/>
            </a:xfrm>
            <a:custGeom>
              <a:avLst/>
              <a:gdLst>
                <a:gd name="T0" fmla="*/ 86 w 112"/>
                <a:gd name="T1" fmla="*/ 72 h 98"/>
                <a:gd name="T2" fmla="*/ 82 w 112"/>
                <a:gd name="T3" fmla="*/ 72 h 98"/>
                <a:gd name="T4" fmla="*/ 74 w 112"/>
                <a:gd name="T5" fmla="*/ 68 h 98"/>
                <a:gd name="T6" fmla="*/ 66 w 112"/>
                <a:gd name="T7" fmla="*/ 72 h 98"/>
                <a:gd name="T8" fmla="*/ 64 w 112"/>
                <a:gd name="T9" fmla="*/ 72 h 98"/>
                <a:gd name="T10" fmla="*/ 56 w 112"/>
                <a:gd name="T11" fmla="*/ 72 h 98"/>
                <a:gd name="T12" fmla="*/ 38 w 112"/>
                <a:gd name="T13" fmla="*/ 72 h 98"/>
                <a:gd name="T14" fmla="*/ 38 w 112"/>
                <a:gd name="T15" fmla="*/ 80 h 98"/>
                <a:gd name="T16" fmla="*/ 38 w 112"/>
                <a:gd name="T17" fmla="*/ 86 h 98"/>
                <a:gd name="T18" fmla="*/ 38 w 112"/>
                <a:gd name="T19" fmla="*/ 94 h 98"/>
                <a:gd name="T20" fmla="*/ 38 w 112"/>
                <a:gd name="T21" fmla="*/ 94 h 98"/>
                <a:gd name="T22" fmla="*/ 40 w 112"/>
                <a:gd name="T23" fmla="*/ 98 h 98"/>
                <a:gd name="T24" fmla="*/ 38 w 112"/>
                <a:gd name="T25" fmla="*/ 98 h 98"/>
                <a:gd name="T26" fmla="*/ 34 w 112"/>
                <a:gd name="T27" fmla="*/ 90 h 98"/>
                <a:gd name="T28" fmla="*/ 26 w 112"/>
                <a:gd name="T29" fmla="*/ 90 h 98"/>
                <a:gd name="T30" fmla="*/ 22 w 112"/>
                <a:gd name="T31" fmla="*/ 90 h 98"/>
                <a:gd name="T32" fmla="*/ 18 w 112"/>
                <a:gd name="T33" fmla="*/ 94 h 98"/>
                <a:gd name="T34" fmla="*/ 14 w 112"/>
                <a:gd name="T35" fmla="*/ 94 h 98"/>
                <a:gd name="T36" fmla="*/ 12 w 112"/>
                <a:gd name="T37" fmla="*/ 94 h 98"/>
                <a:gd name="T38" fmla="*/ 8 w 112"/>
                <a:gd name="T39" fmla="*/ 84 h 98"/>
                <a:gd name="T40" fmla="*/ 4 w 112"/>
                <a:gd name="T41" fmla="*/ 84 h 98"/>
                <a:gd name="T42" fmla="*/ 0 w 112"/>
                <a:gd name="T43" fmla="*/ 80 h 98"/>
                <a:gd name="T44" fmla="*/ 0 w 112"/>
                <a:gd name="T45" fmla="*/ 76 h 98"/>
                <a:gd name="T46" fmla="*/ 0 w 112"/>
                <a:gd name="T47" fmla="*/ 72 h 98"/>
                <a:gd name="T48" fmla="*/ 4 w 112"/>
                <a:gd name="T49" fmla="*/ 68 h 98"/>
                <a:gd name="T50" fmla="*/ 4 w 112"/>
                <a:gd name="T51" fmla="*/ 60 h 98"/>
                <a:gd name="T52" fmla="*/ 8 w 112"/>
                <a:gd name="T53" fmla="*/ 54 h 98"/>
                <a:gd name="T54" fmla="*/ 12 w 112"/>
                <a:gd name="T55" fmla="*/ 54 h 98"/>
                <a:gd name="T56" fmla="*/ 14 w 112"/>
                <a:gd name="T57" fmla="*/ 46 h 98"/>
                <a:gd name="T58" fmla="*/ 14 w 112"/>
                <a:gd name="T59" fmla="*/ 42 h 98"/>
                <a:gd name="T60" fmla="*/ 18 w 112"/>
                <a:gd name="T61" fmla="*/ 42 h 98"/>
                <a:gd name="T62" fmla="*/ 18 w 112"/>
                <a:gd name="T63" fmla="*/ 38 h 98"/>
                <a:gd name="T64" fmla="*/ 18 w 112"/>
                <a:gd name="T65" fmla="*/ 34 h 98"/>
                <a:gd name="T66" fmla="*/ 22 w 112"/>
                <a:gd name="T67" fmla="*/ 28 h 98"/>
                <a:gd name="T68" fmla="*/ 30 w 112"/>
                <a:gd name="T69" fmla="*/ 34 h 98"/>
                <a:gd name="T70" fmla="*/ 30 w 112"/>
                <a:gd name="T71" fmla="*/ 34 h 98"/>
                <a:gd name="T72" fmla="*/ 30 w 112"/>
                <a:gd name="T73" fmla="*/ 30 h 98"/>
                <a:gd name="T74" fmla="*/ 34 w 112"/>
                <a:gd name="T75" fmla="*/ 28 h 98"/>
                <a:gd name="T76" fmla="*/ 38 w 112"/>
                <a:gd name="T77" fmla="*/ 28 h 98"/>
                <a:gd name="T78" fmla="*/ 38 w 112"/>
                <a:gd name="T79" fmla="*/ 20 h 98"/>
                <a:gd name="T80" fmla="*/ 44 w 112"/>
                <a:gd name="T81" fmla="*/ 16 h 98"/>
                <a:gd name="T82" fmla="*/ 48 w 112"/>
                <a:gd name="T83" fmla="*/ 16 h 98"/>
                <a:gd name="T84" fmla="*/ 52 w 112"/>
                <a:gd name="T85" fmla="*/ 12 h 98"/>
                <a:gd name="T86" fmla="*/ 64 w 112"/>
                <a:gd name="T87" fmla="*/ 4 h 98"/>
                <a:gd name="T88" fmla="*/ 70 w 112"/>
                <a:gd name="T89" fmla="*/ 0 h 98"/>
                <a:gd name="T90" fmla="*/ 82 w 112"/>
                <a:gd name="T91" fmla="*/ 4 h 98"/>
                <a:gd name="T92" fmla="*/ 82 w 112"/>
                <a:gd name="T93" fmla="*/ 12 h 98"/>
                <a:gd name="T94" fmla="*/ 82 w 112"/>
                <a:gd name="T95" fmla="*/ 16 h 98"/>
                <a:gd name="T96" fmla="*/ 86 w 112"/>
                <a:gd name="T97" fmla="*/ 24 h 98"/>
                <a:gd name="T98" fmla="*/ 92 w 112"/>
                <a:gd name="T99" fmla="*/ 28 h 98"/>
                <a:gd name="T100" fmla="*/ 96 w 112"/>
                <a:gd name="T101" fmla="*/ 30 h 98"/>
                <a:gd name="T102" fmla="*/ 92 w 112"/>
                <a:gd name="T103" fmla="*/ 30 h 98"/>
                <a:gd name="T104" fmla="*/ 92 w 112"/>
                <a:gd name="T105" fmla="*/ 34 h 98"/>
                <a:gd name="T106" fmla="*/ 100 w 112"/>
                <a:gd name="T107" fmla="*/ 42 h 98"/>
                <a:gd name="T108" fmla="*/ 108 w 112"/>
                <a:gd name="T109" fmla="*/ 42 h 98"/>
                <a:gd name="T110" fmla="*/ 108 w 112"/>
                <a:gd name="T111" fmla="*/ 46 h 98"/>
                <a:gd name="T112" fmla="*/ 112 w 112"/>
                <a:gd name="T113" fmla="*/ 56 h 98"/>
                <a:gd name="T114" fmla="*/ 108 w 112"/>
                <a:gd name="T115" fmla="*/ 60 h 98"/>
                <a:gd name="T116" fmla="*/ 108 w 112"/>
                <a:gd name="T117" fmla="*/ 64 h 98"/>
                <a:gd name="T118" fmla="*/ 100 w 112"/>
                <a:gd name="T119" fmla="*/ 64 h 98"/>
                <a:gd name="T120" fmla="*/ 96 w 112"/>
                <a:gd name="T121" fmla="*/ 64 h 98"/>
                <a:gd name="T122" fmla="*/ 96 w 112"/>
                <a:gd name="T123" fmla="*/ 64 h 98"/>
                <a:gd name="T124" fmla="*/ 92 w 112"/>
                <a:gd name="T125" fmla="*/ 72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2" h="98">
                  <a:moveTo>
                    <a:pt x="90" y="72"/>
                  </a:moveTo>
                  <a:lnTo>
                    <a:pt x="90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2" y="72"/>
                  </a:lnTo>
                  <a:lnTo>
                    <a:pt x="82" y="72"/>
                  </a:lnTo>
                  <a:lnTo>
                    <a:pt x="78" y="68"/>
                  </a:lnTo>
                  <a:lnTo>
                    <a:pt x="78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72"/>
                  </a:lnTo>
                  <a:lnTo>
                    <a:pt x="70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84"/>
                  </a:lnTo>
                  <a:lnTo>
                    <a:pt x="38" y="84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90"/>
                  </a:lnTo>
                  <a:lnTo>
                    <a:pt x="40" y="90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40" y="94"/>
                  </a:lnTo>
                  <a:lnTo>
                    <a:pt x="40" y="94"/>
                  </a:lnTo>
                  <a:lnTo>
                    <a:pt x="40" y="94"/>
                  </a:lnTo>
                  <a:lnTo>
                    <a:pt x="38" y="94"/>
                  </a:lnTo>
                  <a:lnTo>
                    <a:pt x="38" y="98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0" y="90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18" y="90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4" y="94"/>
                  </a:lnTo>
                  <a:lnTo>
                    <a:pt x="14" y="94"/>
                  </a:lnTo>
                  <a:lnTo>
                    <a:pt x="14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8" y="90"/>
                  </a:lnTo>
                  <a:lnTo>
                    <a:pt x="8" y="86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30"/>
                  </a:lnTo>
                  <a:lnTo>
                    <a:pt x="26" y="30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70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6"/>
                  </a:lnTo>
                  <a:lnTo>
                    <a:pt x="86" y="16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6" y="20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8"/>
                  </a:lnTo>
                  <a:lnTo>
                    <a:pt x="90" y="28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6" y="38"/>
                  </a:lnTo>
                  <a:lnTo>
                    <a:pt x="100" y="42"/>
                  </a:lnTo>
                  <a:lnTo>
                    <a:pt x="104" y="46"/>
                  </a:lnTo>
                  <a:lnTo>
                    <a:pt x="104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8" y="46"/>
                  </a:lnTo>
                  <a:lnTo>
                    <a:pt x="112" y="46"/>
                  </a:lnTo>
                  <a:lnTo>
                    <a:pt x="108" y="46"/>
                  </a:lnTo>
                  <a:lnTo>
                    <a:pt x="108" y="46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12" y="54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96" y="64"/>
                  </a:lnTo>
                  <a:lnTo>
                    <a:pt x="96" y="64"/>
                  </a:lnTo>
                  <a:lnTo>
                    <a:pt x="96" y="64"/>
                  </a:lnTo>
                  <a:lnTo>
                    <a:pt x="96" y="64"/>
                  </a:lnTo>
                  <a:lnTo>
                    <a:pt x="96" y="64"/>
                  </a:lnTo>
                  <a:lnTo>
                    <a:pt x="96" y="64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2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92" name="Freeform 132">
              <a:extLst>
                <a:ext uri="{FF2B5EF4-FFF2-40B4-BE49-F238E27FC236}">
                  <a16:creationId xmlns:a16="http://schemas.microsoft.com/office/drawing/2014/main" id="{4637F6D6-2370-BE64-7705-FB9F0D660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1900" y="4246558"/>
              <a:ext cx="50654" cy="67878"/>
            </a:xfrm>
            <a:custGeom>
              <a:avLst/>
              <a:gdLst>
                <a:gd name="T0" fmla="*/ 26 w 26"/>
                <a:gd name="T1" fmla="*/ 14 h 36"/>
                <a:gd name="T2" fmla="*/ 26 w 26"/>
                <a:gd name="T3" fmla="*/ 18 h 36"/>
                <a:gd name="T4" fmla="*/ 22 w 26"/>
                <a:gd name="T5" fmla="*/ 18 h 36"/>
                <a:gd name="T6" fmla="*/ 22 w 26"/>
                <a:gd name="T7" fmla="*/ 18 h 36"/>
                <a:gd name="T8" fmla="*/ 22 w 26"/>
                <a:gd name="T9" fmla="*/ 18 h 36"/>
                <a:gd name="T10" fmla="*/ 22 w 26"/>
                <a:gd name="T11" fmla="*/ 18 h 36"/>
                <a:gd name="T12" fmla="*/ 18 w 26"/>
                <a:gd name="T13" fmla="*/ 22 h 36"/>
                <a:gd name="T14" fmla="*/ 18 w 26"/>
                <a:gd name="T15" fmla="*/ 24 h 36"/>
                <a:gd name="T16" fmla="*/ 18 w 26"/>
                <a:gd name="T17" fmla="*/ 24 h 36"/>
                <a:gd name="T18" fmla="*/ 18 w 26"/>
                <a:gd name="T19" fmla="*/ 28 h 36"/>
                <a:gd name="T20" fmla="*/ 10 w 26"/>
                <a:gd name="T21" fmla="*/ 36 h 36"/>
                <a:gd name="T22" fmla="*/ 8 w 26"/>
                <a:gd name="T23" fmla="*/ 36 h 36"/>
                <a:gd name="T24" fmla="*/ 8 w 26"/>
                <a:gd name="T25" fmla="*/ 32 h 36"/>
                <a:gd name="T26" fmla="*/ 4 w 26"/>
                <a:gd name="T27" fmla="*/ 28 h 36"/>
                <a:gd name="T28" fmla="*/ 4 w 26"/>
                <a:gd name="T29" fmla="*/ 28 h 36"/>
                <a:gd name="T30" fmla="*/ 4 w 26"/>
                <a:gd name="T31" fmla="*/ 28 h 36"/>
                <a:gd name="T32" fmla="*/ 4 w 26"/>
                <a:gd name="T33" fmla="*/ 24 h 36"/>
                <a:gd name="T34" fmla="*/ 4 w 26"/>
                <a:gd name="T35" fmla="*/ 24 h 36"/>
                <a:gd name="T36" fmla="*/ 4 w 26"/>
                <a:gd name="T37" fmla="*/ 22 h 36"/>
                <a:gd name="T38" fmla="*/ 4 w 26"/>
                <a:gd name="T39" fmla="*/ 18 h 36"/>
                <a:gd name="T40" fmla="*/ 4 w 26"/>
                <a:gd name="T41" fmla="*/ 18 h 36"/>
                <a:gd name="T42" fmla="*/ 4 w 26"/>
                <a:gd name="T43" fmla="*/ 14 h 36"/>
                <a:gd name="T44" fmla="*/ 4 w 26"/>
                <a:gd name="T45" fmla="*/ 10 h 36"/>
                <a:gd name="T46" fmla="*/ 0 w 26"/>
                <a:gd name="T47" fmla="*/ 8 h 36"/>
                <a:gd name="T48" fmla="*/ 0 w 26"/>
                <a:gd name="T49" fmla="*/ 8 h 36"/>
                <a:gd name="T50" fmla="*/ 0 w 26"/>
                <a:gd name="T51" fmla="*/ 8 h 36"/>
                <a:gd name="T52" fmla="*/ 4 w 26"/>
                <a:gd name="T53" fmla="*/ 4 h 36"/>
                <a:gd name="T54" fmla="*/ 4 w 26"/>
                <a:gd name="T55" fmla="*/ 8 h 36"/>
                <a:gd name="T56" fmla="*/ 4 w 26"/>
                <a:gd name="T57" fmla="*/ 8 h 36"/>
                <a:gd name="T58" fmla="*/ 8 w 26"/>
                <a:gd name="T59" fmla="*/ 8 h 36"/>
                <a:gd name="T60" fmla="*/ 8 w 26"/>
                <a:gd name="T61" fmla="*/ 8 h 36"/>
                <a:gd name="T62" fmla="*/ 8 w 26"/>
                <a:gd name="T63" fmla="*/ 8 h 36"/>
                <a:gd name="T64" fmla="*/ 10 w 26"/>
                <a:gd name="T65" fmla="*/ 8 h 36"/>
                <a:gd name="T66" fmla="*/ 10 w 26"/>
                <a:gd name="T67" fmla="*/ 8 h 36"/>
                <a:gd name="T68" fmla="*/ 14 w 26"/>
                <a:gd name="T69" fmla="*/ 4 h 36"/>
                <a:gd name="T70" fmla="*/ 14 w 26"/>
                <a:gd name="T71" fmla="*/ 0 h 36"/>
                <a:gd name="T72" fmla="*/ 14 w 26"/>
                <a:gd name="T73" fmla="*/ 4 h 36"/>
                <a:gd name="T74" fmla="*/ 18 w 26"/>
                <a:gd name="T75" fmla="*/ 0 h 36"/>
                <a:gd name="T76" fmla="*/ 22 w 26"/>
                <a:gd name="T77" fmla="*/ 0 h 36"/>
                <a:gd name="T78" fmla="*/ 22 w 26"/>
                <a:gd name="T79" fmla="*/ 0 h 36"/>
                <a:gd name="T80" fmla="*/ 18 w 26"/>
                <a:gd name="T81" fmla="*/ 10 h 36"/>
                <a:gd name="T82" fmla="*/ 22 w 26"/>
                <a:gd name="T83" fmla="*/ 10 h 36"/>
                <a:gd name="T84" fmla="*/ 22 w 26"/>
                <a:gd name="T85" fmla="*/ 10 h 36"/>
                <a:gd name="T86" fmla="*/ 26 w 26"/>
                <a:gd name="T87" fmla="*/ 1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" h="36">
                  <a:moveTo>
                    <a:pt x="26" y="10"/>
                  </a:moveTo>
                  <a:lnTo>
                    <a:pt x="26" y="10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18" y="22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18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93" name="Freeform 133">
              <a:extLst>
                <a:ext uri="{FF2B5EF4-FFF2-40B4-BE49-F238E27FC236}">
                  <a16:creationId xmlns:a16="http://schemas.microsoft.com/office/drawing/2014/main" id="{27FCD2D0-F4EE-767F-B90B-E50703BC7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3020" y="3745013"/>
              <a:ext cx="222097" cy="373330"/>
            </a:xfrm>
            <a:custGeom>
              <a:avLst/>
              <a:gdLst>
                <a:gd name="T0" fmla="*/ 24 w 114"/>
                <a:gd name="T1" fmla="*/ 188 h 198"/>
                <a:gd name="T2" fmla="*/ 20 w 114"/>
                <a:gd name="T3" fmla="*/ 176 h 198"/>
                <a:gd name="T4" fmla="*/ 20 w 114"/>
                <a:gd name="T5" fmla="*/ 168 h 198"/>
                <a:gd name="T6" fmla="*/ 20 w 114"/>
                <a:gd name="T7" fmla="*/ 162 h 198"/>
                <a:gd name="T8" fmla="*/ 12 w 114"/>
                <a:gd name="T9" fmla="*/ 162 h 198"/>
                <a:gd name="T10" fmla="*/ 8 w 114"/>
                <a:gd name="T11" fmla="*/ 154 h 198"/>
                <a:gd name="T12" fmla="*/ 8 w 114"/>
                <a:gd name="T13" fmla="*/ 150 h 198"/>
                <a:gd name="T14" fmla="*/ 4 w 114"/>
                <a:gd name="T15" fmla="*/ 150 h 198"/>
                <a:gd name="T16" fmla="*/ 4 w 114"/>
                <a:gd name="T17" fmla="*/ 142 h 198"/>
                <a:gd name="T18" fmla="*/ 8 w 114"/>
                <a:gd name="T19" fmla="*/ 132 h 198"/>
                <a:gd name="T20" fmla="*/ 12 w 114"/>
                <a:gd name="T21" fmla="*/ 120 h 198"/>
                <a:gd name="T22" fmla="*/ 20 w 114"/>
                <a:gd name="T23" fmla="*/ 112 h 198"/>
                <a:gd name="T24" fmla="*/ 26 w 114"/>
                <a:gd name="T25" fmla="*/ 106 h 198"/>
                <a:gd name="T26" fmla="*/ 30 w 114"/>
                <a:gd name="T27" fmla="*/ 106 h 198"/>
                <a:gd name="T28" fmla="*/ 38 w 114"/>
                <a:gd name="T29" fmla="*/ 108 h 198"/>
                <a:gd name="T30" fmla="*/ 42 w 114"/>
                <a:gd name="T31" fmla="*/ 116 h 198"/>
                <a:gd name="T32" fmla="*/ 46 w 114"/>
                <a:gd name="T33" fmla="*/ 108 h 198"/>
                <a:gd name="T34" fmla="*/ 50 w 114"/>
                <a:gd name="T35" fmla="*/ 98 h 198"/>
                <a:gd name="T36" fmla="*/ 54 w 114"/>
                <a:gd name="T37" fmla="*/ 90 h 198"/>
                <a:gd name="T38" fmla="*/ 54 w 114"/>
                <a:gd name="T39" fmla="*/ 86 h 198"/>
                <a:gd name="T40" fmla="*/ 56 w 114"/>
                <a:gd name="T41" fmla="*/ 78 h 198"/>
                <a:gd name="T42" fmla="*/ 64 w 114"/>
                <a:gd name="T43" fmla="*/ 72 h 198"/>
                <a:gd name="T44" fmla="*/ 68 w 114"/>
                <a:gd name="T45" fmla="*/ 64 h 198"/>
                <a:gd name="T46" fmla="*/ 68 w 114"/>
                <a:gd name="T47" fmla="*/ 52 h 198"/>
                <a:gd name="T48" fmla="*/ 72 w 114"/>
                <a:gd name="T49" fmla="*/ 46 h 198"/>
                <a:gd name="T50" fmla="*/ 80 w 114"/>
                <a:gd name="T51" fmla="*/ 34 h 198"/>
                <a:gd name="T52" fmla="*/ 86 w 114"/>
                <a:gd name="T53" fmla="*/ 30 h 198"/>
                <a:gd name="T54" fmla="*/ 86 w 114"/>
                <a:gd name="T55" fmla="*/ 22 h 198"/>
                <a:gd name="T56" fmla="*/ 86 w 114"/>
                <a:gd name="T57" fmla="*/ 20 h 198"/>
                <a:gd name="T58" fmla="*/ 86 w 114"/>
                <a:gd name="T59" fmla="*/ 16 h 198"/>
                <a:gd name="T60" fmla="*/ 84 w 114"/>
                <a:gd name="T61" fmla="*/ 8 h 198"/>
                <a:gd name="T62" fmla="*/ 84 w 114"/>
                <a:gd name="T63" fmla="*/ 0 h 198"/>
                <a:gd name="T64" fmla="*/ 86 w 114"/>
                <a:gd name="T65" fmla="*/ 8 h 198"/>
                <a:gd name="T66" fmla="*/ 94 w 114"/>
                <a:gd name="T67" fmla="*/ 20 h 198"/>
                <a:gd name="T68" fmla="*/ 94 w 114"/>
                <a:gd name="T69" fmla="*/ 30 h 198"/>
                <a:gd name="T70" fmla="*/ 94 w 114"/>
                <a:gd name="T71" fmla="*/ 42 h 198"/>
                <a:gd name="T72" fmla="*/ 98 w 114"/>
                <a:gd name="T73" fmla="*/ 50 h 198"/>
                <a:gd name="T74" fmla="*/ 98 w 114"/>
                <a:gd name="T75" fmla="*/ 56 h 198"/>
                <a:gd name="T76" fmla="*/ 86 w 114"/>
                <a:gd name="T77" fmla="*/ 56 h 198"/>
                <a:gd name="T78" fmla="*/ 84 w 114"/>
                <a:gd name="T79" fmla="*/ 68 h 198"/>
                <a:gd name="T80" fmla="*/ 94 w 114"/>
                <a:gd name="T81" fmla="*/ 76 h 198"/>
                <a:gd name="T82" fmla="*/ 98 w 114"/>
                <a:gd name="T83" fmla="*/ 86 h 198"/>
                <a:gd name="T84" fmla="*/ 102 w 114"/>
                <a:gd name="T85" fmla="*/ 94 h 198"/>
                <a:gd name="T86" fmla="*/ 98 w 114"/>
                <a:gd name="T87" fmla="*/ 102 h 198"/>
                <a:gd name="T88" fmla="*/ 94 w 114"/>
                <a:gd name="T89" fmla="*/ 108 h 198"/>
                <a:gd name="T90" fmla="*/ 90 w 114"/>
                <a:gd name="T91" fmla="*/ 120 h 198"/>
                <a:gd name="T92" fmla="*/ 86 w 114"/>
                <a:gd name="T93" fmla="*/ 128 h 198"/>
                <a:gd name="T94" fmla="*/ 86 w 114"/>
                <a:gd name="T95" fmla="*/ 134 h 198"/>
                <a:gd name="T96" fmla="*/ 90 w 114"/>
                <a:gd name="T97" fmla="*/ 146 h 198"/>
                <a:gd name="T98" fmla="*/ 94 w 114"/>
                <a:gd name="T99" fmla="*/ 154 h 198"/>
                <a:gd name="T100" fmla="*/ 98 w 114"/>
                <a:gd name="T101" fmla="*/ 162 h 198"/>
                <a:gd name="T102" fmla="*/ 106 w 114"/>
                <a:gd name="T103" fmla="*/ 172 h 198"/>
                <a:gd name="T104" fmla="*/ 110 w 114"/>
                <a:gd name="T105" fmla="*/ 184 h 198"/>
                <a:gd name="T106" fmla="*/ 110 w 114"/>
                <a:gd name="T107" fmla="*/ 188 h 198"/>
                <a:gd name="T108" fmla="*/ 110 w 114"/>
                <a:gd name="T109" fmla="*/ 198 h 198"/>
                <a:gd name="T110" fmla="*/ 102 w 114"/>
                <a:gd name="T111" fmla="*/ 194 h 198"/>
                <a:gd name="T112" fmla="*/ 94 w 114"/>
                <a:gd name="T113" fmla="*/ 190 h 198"/>
                <a:gd name="T114" fmla="*/ 84 w 114"/>
                <a:gd name="T115" fmla="*/ 190 h 198"/>
                <a:gd name="T116" fmla="*/ 68 w 114"/>
                <a:gd name="T117" fmla="*/ 188 h 198"/>
                <a:gd name="T118" fmla="*/ 56 w 114"/>
                <a:gd name="T119" fmla="*/ 188 h 198"/>
                <a:gd name="T120" fmla="*/ 46 w 114"/>
                <a:gd name="T121" fmla="*/ 188 h 198"/>
                <a:gd name="T122" fmla="*/ 38 w 114"/>
                <a:gd name="T123" fmla="*/ 190 h 198"/>
                <a:gd name="T124" fmla="*/ 26 w 114"/>
                <a:gd name="T125" fmla="*/ 19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4" h="198">
                  <a:moveTo>
                    <a:pt x="26" y="190"/>
                  </a:moveTo>
                  <a:lnTo>
                    <a:pt x="24" y="190"/>
                  </a:lnTo>
                  <a:lnTo>
                    <a:pt x="24" y="188"/>
                  </a:lnTo>
                  <a:lnTo>
                    <a:pt x="20" y="188"/>
                  </a:lnTo>
                  <a:lnTo>
                    <a:pt x="20" y="184"/>
                  </a:lnTo>
                  <a:lnTo>
                    <a:pt x="20" y="176"/>
                  </a:lnTo>
                  <a:lnTo>
                    <a:pt x="24" y="176"/>
                  </a:lnTo>
                  <a:lnTo>
                    <a:pt x="24" y="172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16" y="162"/>
                  </a:lnTo>
                  <a:lnTo>
                    <a:pt x="20" y="162"/>
                  </a:lnTo>
                  <a:lnTo>
                    <a:pt x="16" y="158"/>
                  </a:lnTo>
                  <a:lnTo>
                    <a:pt x="16" y="162"/>
                  </a:lnTo>
                  <a:lnTo>
                    <a:pt x="12" y="162"/>
                  </a:lnTo>
                  <a:lnTo>
                    <a:pt x="12" y="158"/>
                  </a:lnTo>
                  <a:lnTo>
                    <a:pt x="8" y="158"/>
                  </a:lnTo>
                  <a:lnTo>
                    <a:pt x="8" y="154"/>
                  </a:lnTo>
                  <a:lnTo>
                    <a:pt x="8" y="150"/>
                  </a:lnTo>
                  <a:lnTo>
                    <a:pt x="8" y="146"/>
                  </a:lnTo>
                  <a:lnTo>
                    <a:pt x="8" y="150"/>
                  </a:lnTo>
                  <a:lnTo>
                    <a:pt x="4" y="150"/>
                  </a:lnTo>
                  <a:lnTo>
                    <a:pt x="4" y="146"/>
                  </a:lnTo>
                  <a:lnTo>
                    <a:pt x="4" y="150"/>
                  </a:lnTo>
                  <a:lnTo>
                    <a:pt x="0" y="150"/>
                  </a:lnTo>
                  <a:lnTo>
                    <a:pt x="0" y="146"/>
                  </a:lnTo>
                  <a:lnTo>
                    <a:pt x="4" y="142"/>
                  </a:lnTo>
                  <a:lnTo>
                    <a:pt x="4" y="138"/>
                  </a:lnTo>
                  <a:lnTo>
                    <a:pt x="8" y="134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0"/>
                  </a:lnTo>
                  <a:lnTo>
                    <a:pt x="16" y="116"/>
                  </a:lnTo>
                  <a:lnTo>
                    <a:pt x="20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4" y="108"/>
                  </a:lnTo>
                  <a:lnTo>
                    <a:pt x="26" y="106"/>
                  </a:lnTo>
                  <a:lnTo>
                    <a:pt x="26" y="108"/>
                  </a:lnTo>
                  <a:lnTo>
                    <a:pt x="30" y="108"/>
                  </a:lnTo>
                  <a:lnTo>
                    <a:pt x="30" y="106"/>
                  </a:lnTo>
                  <a:lnTo>
                    <a:pt x="34" y="106"/>
                  </a:lnTo>
                  <a:lnTo>
                    <a:pt x="34" y="108"/>
                  </a:lnTo>
                  <a:lnTo>
                    <a:pt x="38" y="108"/>
                  </a:lnTo>
                  <a:lnTo>
                    <a:pt x="38" y="112"/>
                  </a:lnTo>
                  <a:lnTo>
                    <a:pt x="38" y="116"/>
                  </a:lnTo>
                  <a:lnTo>
                    <a:pt x="42" y="116"/>
                  </a:lnTo>
                  <a:lnTo>
                    <a:pt x="42" y="112"/>
                  </a:lnTo>
                  <a:lnTo>
                    <a:pt x="46" y="112"/>
                  </a:lnTo>
                  <a:lnTo>
                    <a:pt x="46" y="108"/>
                  </a:lnTo>
                  <a:lnTo>
                    <a:pt x="50" y="106"/>
                  </a:lnTo>
                  <a:lnTo>
                    <a:pt x="50" y="102"/>
                  </a:lnTo>
                  <a:lnTo>
                    <a:pt x="50" y="98"/>
                  </a:lnTo>
                  <a:lnTo>
                    <a:pt x="54" y="98"/>
                  </a:lnTo>
                  <a:lnTo>
                    <a:pt x="54" y="94"/>
                  </a:lnTo>
                  <a:lnTo>
                    <a:pt x="54" y="90"/>
                  </a:lnTo>
                  <a:lnTo>
                    <a:pt x="54" y="86"/>
                  </a:lnTo>
                  <a:lnTo>
                    <a:pt x="56" y="86"/>
                  </a:lnTo>
                  <a:lnTo>
                    <a:pt x="54" y="86"/>
                  </a:lnTo>
                  <a:lnTo>
                    <a:pt x="54" y="82"/>
                  </a:lnTo>
                  <a:lnTo>
                    <a:pt x="56" y="82"/>
                  </a:lnTo>
                  <a:lnTo>
                    <a:pt x="56" y="78"/>
                  </a:lnTo>
                  <a:lnTo>
                    <a:pt x="60" y="78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0"/>
                  </a:lnTo>
                  <a:lnTo>
                    <a:pt x="68" y="56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2" y="50"/>
                  </a:lnTo>
                  <a:lnTo>
                    <a:pt x="72" y="46"/>
                  </a:lnTo>
                  <a:lnTo>
                    <a:pt x="76" y="42"/>
                  </a:lnTo>
                  <a:lnTo>
                    <a:pt x="76" y="38"/>
                  </a:lnTo>
                  <a:lnTo>
                    <a:pt x="80" y="34"/>
                  </a:lnTo>
                  <a:lnTo>
                    <a:pt x="84" y="34"/>
                  </a:lnTo>
                  <a:lnTo>
                    <a:pt x="84" y="30"/>
                  </a:lnTo>
                  <a:lnTo>
                    <a:pt x="86" y="30"/>
                  </a:lnTo>
                  <a:lnTo>
                    <a:pt x="90" y="26"/>
                  </a:lnTo>
                  <a:lnTo>
                    <a:pt x="86" y="26"/>
                  </a:lnTo>
                  <a:lnTo>
                    <a:pt x="86" y="22"/>
                  </a:lnTo>
                  <a:lnTo>
                    <a:pt x="90" y="22"/>
                  </a:lnTo>
                  <a:lnTo>
                    <a:pt x="90" y="20"/>
                  </a:lnTo>
                  <a:lnTo>
                    <a:pt x="86" y="20"/>
                  </a:lnTo>
                  <a:lnTo>
                    <a:pt x="90" y="20"/>
                  </a:lnTo>
                  <a:lnTo>
                    <a:pt x="90" y="16"/>
                  </a:lnTo>
                  <a:lnTo>
                    <a:pt x="86" y="16"/>
                  </a:lnTo>
                  <a:lnTo>
                    <a:pt x="84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6" y="0"/>
                  </a:lnTo>
                  <a:lnTo>
                    <a:pt x="86" y="4"/>
                  </a:lnTo>
                  <a:lnTo>
                    <a:pt x="86" y="8"/>
                  </a:lnTo>
                  <a:lnTo>
                    <a:pt x="90" y="8"/>
                  </a:lnTo>
                  <a:lnTo>
                    <a:pt x="94" y="16"/>
                  </a:lnTo>
                  <a:lnTo>
                    <a:pt x="94" y="20"/>
                  </a:lnTo>
                  <a:lnTo>
                    <a:pt x="94" y="22"/>
                  </a:lnTo>
                  <a:lnTo>
                    <a:pt x="94" y="26"/>
                  </a:lnTo>
                  <a:lnTo>
                    <a:pt x="94" y="30"/>
                  </a:lnTo>
                  <a:lnTo>
                    <a:pt x="94" y="34"/>
                  </a:lnTo>
                  <a:lnTo>
                    <a:pt x="94" y="38"/>
                  </a:lnTo>
                  <a:lnTo>
                    <a:pt x="94" y="42"/>
                  </a:lnTo>
                  <a:lnTo>
                    <a:pt x="94" y="46"/>
                  </a:lnTo>
                  <a:lnTo>
                    <a:pt x="98" y="46"/>
                  </a:lnTo>
                  <a:lnTo>
                    <a:pt x="98" y="50"/>
                  </a:lnTo>
                  <a:lnTo>
                    <a:pt x="102" y="52"/>
                  </a:lnTo>
                  <a:lnTo>
                    <a:pt x="102" y="56"/>
                  </a:lnTo>
                  <a:lnTo>
                    <a:pt x="98" y="56"/>
                  </a:lnTo>
                  <a:lnTo>
                    <a:pt x="94" y="56"/>
                  </a:lnTo>
                  <a:lnTo>
                    <a:pt x="90" y="56"/>
                  </a:lnTo>
                  <a:lnTo>
                    <a:pt x="86" y="56"/>
                  </a:lnTo>
                  <a:lnTo>
                    <a:pt x="84" y="56"/>
                  </a:lnTo>
                  <a:lnTo>
                    <a:pt x="80" y="60"/>
                  </a:lnTo>
                  <a:lnTo>
                    <a:pt x="84" y="68"/>
                  </a:lnTo>
                  <a:lnTo>
                    <a:pt x="86" y="72"/>
                  </a:lnTo>
                  <a:lnTo>
                    <a:pt x="90" y="76"/>
                  </a:lnTo>
                  <a:lnTo>
                    <a:pt x="94" y="76"/>
                  </a:lnTo>
                  <a:lnTo>
                    <a:pt x="94" y="78"/>
                  </a:lnTo>
                  <a:lnTo>
                    <a:pt x="98" y="82"/>
                  </a:lnTo>
                  <a:lnTo>
                    <a:pt x="98" y="86"/>
                  </a:lnTo>
                  <a:lnTo>
                    <a:pt x="98" y="90"/>
                  </a:lnTo>
                  <a:lnTo>
                    <a:pt x="102" y="90"/>
                  </a:lnTo>
                  <a:lnTo>
                    <a:pt x="102" y="94"/>
                  </a:lnTo>
                  <a:lnTo>
                    <a:pt x="102" y="98"/>
                  </a:lnTo>
                  <a:lnTo>
                    <a:pt x="102" y="102"/>
                  </a:lnTo>
                  <a:lnTo>
                    <a:pt x="98" y="102"/>
                  </a:lnTo>
                  <a:lnTo>
                    <a:pt x="98" y="106"/>
                  </a:lnTo>
                  <a:lnTo>
                    <a:pt x="94" y="106"/>
                  </a:lnTo>
                  <a:lnTo>
                    <a:pt x="94" y="108"/>
                  </a:lnTo>
                  <a:lnTo>
                    <a:pt x="94" y="112"/>
                  </a:lnTo>
                  <a:lnTo>
                    <a:pt x="90" y="116"/>
                  </a:lnTo>
                  <a:lnTo>
                    <a:pt x="90" y="120"/>
                  </a:lnTo>
                  <a:lnTo>
                    <a:pt x="86" y="120"/>
                  </a:lnTo>
                  <a:lnTo>
                    <a:pt x="86" y="124"/>
                  </a:lnTo>
                  <a:lnTo>
                    <a:pt x="86" y="128"/>
                  </a:lnTo>
                  <a:lnTo>
                    <a:pt x="90" y="128"/>
                  </a:lnTo>
                  <a:lnTo>
                    <a:pt x="86" y="132"/>
                  </a:lnTo>
                  <a:lnTo>
                    <a:pt x="86" y="134"/>
                  </a:lnTo>
                  <a:lnTo>
                    <a:pt x="90" y="138"/>
                  </a:lnTo>
                  <a:lnTo>
                    <a:pt x="90" y="142"/>
                  </a:lnTo>
                  <a:lnTo>
                    <a:pt x="90" y="146"/>
                  </a:lnTo>
                  <a:lnTo>
                    <a:pt x="90" y="150"/>
                  </a:lnTo>
                  <a:lnTo>
                    <a:pt x="94" y="150"/>
                  </a:lnTo>
                  <a:lnTo>
                    <a:pt x="94" y="154"/>
                  </a:lnTo>
                  <a:lnTo>
                    <a:pt x="94" y="158"/>
                  </a:lnTo>
                  <a:lnTo>
                    <a:pt x="94" y="162"/>
                  </a:lnTo>
                  <a:lnTo>
                    <a:pt x="98" y="162"/>
                  </a:lnTo>
                  <a:lnTo>
                    <a:pt x="98" y="164"/>
                  </a:lnTo>
                  <a:lnTo>
                    <a:pt x="102" y="168"/>
                  </a:lnTo>
                  <a:lnTo>
                    <a:pt x="106" y="172"/>
                  </a:lnTo>
                  <a:lnTo>
                    <a:pt x="110" y="176"/>
                  </a:lnTo>
                  <a:lnTo>
                    <a:pt x="110" y="180"/>
                  </a:lnTo>
                  <a:lnTo>
                    <a:pt x="110" y="184"/>
                  </a:lnTo>
                  <a:lnTo>
                    <a:pt x="110" y="188"/>
                  </a:lnTo>
                  <a:lnTo>
                    <a:pt x="114" y="188"/>
                  </a:lnTo>
                  <a:lnTo>
                    <a:pt x="110" y="188"/>
                  </a:lnTo>
                  <a:lnTo>
                    <a:pt x="110" y="190"/>
                  </a:lnTo>
                  <a:lnTo>
                    <a:pt x="110" y="194"/>
                  </a:lnTo>
                  <a:lnTo>
                    <a:pt x="110" y="198"/>
                  </a:lnTo>
                  <a:lnTo>
                    <a:pt x="110" y="194"/>
                  </a:lnTo>
                  <a:lnTo>
                    <a:pt x="106" y="194"/>
                  </a:lnTo>
                  <a:lnTo>
                    <a:pt x="102" y="194"/>
                  </a:lnTo>
                  <a:lnTo>
                    <a:pt x="102" y="190"/>
                  </a:lnTo>
                  <a:lnTo>
                    <a:pt x="98" y="190"/>
                  </a:lnTo>
                  <a:lnTo>
                    <a:pt x="94" y="190"/>
                  </a:lnTo>
                  <a:lnTo>
                    <a:pt x="90" y="190"/>
                  </a:lnTo>
                  <a:lnTo>
                    <a:pt x="86" y="190"/>
                  </a:lnTo>
                  <a:lnTo>
                    <a:pt x="84" y="190"/>
                  </a:lnTo>
                  <a:lnTo>
                    <a:pt x="76" y="190"/>
                  </a:lnTo>
                  <a:lnTo>
                    <a:pt x="68" y="190"/>
                  </a:lnTo>
                  <a:lnTo>
                    <a:pt x="68" y="188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4" y="188"/>
                  </a:lnTo>
                  <a:lnTo>
                    <a:pt x="50" y="188"/>
                  </a:lnTo>
                  <a:lnTo>
                    <a:pt x="46" y="188"/>
                  </a:lnTo>
                  <a:lnTo>
                    <a:pt x="42" y="188"/>
                  </a:lnTo>
                  <a:lnTo>
                    <a:pt x="42" y="190"/>
                  </a:lnTo>
                  <a:lnTo>
                    <a:pt x="38" y="190"/>
                  </a:lnTo>
                  <a:lnTo>
                    <a:pt x="30" y="190"/>
                  </a:lnTo>
                  <a:lnTo>
                    <a:pt x="26" y="190"/>
                  </a:lnTo>
                  <a:lnTo>
                    <a:pt x="26" y="190"/>
                  </a:lnTo>
                  <a:lnTo>
                    <a:pt x="26" y="19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94" name="Freeform 134">
              <a:extLst>
                <a:ext uri="{FF2B5EF4-FFF2-40B4-BE49-F238E27FC236}">
                  <a16:creationId xmlns:a16="http://schemas.microsoft.com/office/drawing/2014/main" id="{D34B033B-6FB4-65FE-FAB6-09D9684567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5667" y="3613028"/>
              <a:ext cx="74032" cy="75420"/>
            </a:xfrm>
            <a:custGeom>
              <a:avLst/>
              <a:gdLst>
                <a:gd name="T0" fmla="*/ 0 w 38"/>
                <a:gd name="T1" fmla="*/ 4 h 40"/>
                <a:gd name="T2" fmla="*/ 0 w 38"/>
                <a:gd name="T3" fmla="*/ 4 h 40"/>
                <a:gd name="T4" fmla="*/ 4 w 38"/>
                <a:gd name="T5" fmla="*/ 0 h 40"/>
                <a:gd name="T6" fmla="*/ 4 w 38"/>
                <a:gd name="T7" fmla="*/ 4 h 40"/>
                <a:gd name="T8" fmla="*/ 4 w 38"/>
                <a:gd name="T9" fmla="*/ 4 h 40"/>
                <a:gd name="T10" fmla="*/ 4 w 38"/>
                <a:gd name="T11" fmla="*/ 4 h 40"/>
                <a:gd name="T12" fmla="*/ 0 w 38"/>
                <a:gd name="T13" fmla="*/ 4 h 40"/>
                <a:gd name="T14" fmla="*/ 0 w 38"/>
                <a:gd name="T15" fmla="*/ 4 h 40"/>
                <a:gd name="T16" fmla="*/ 4 w 38"/>
                <a:gd name="T17" fmla="*/ 8 h 40"/>
                <a:gd name="T18" fmla="*/ 4 w 38"/>
                <a:gd name="T19" fmla="*/ 8 h 40"/>
                <a:gd name="T20" fmla="*/ 4 w 38"/>
                <a:gd name="T21" fmla="*/ 4 h 40"/>
                <a:gd name="T22" fmla="*/ 8 w 38"/>
                <a:gd name="T23" fmla="*/ 8 h 40"/>
                <a:gd name="T24" fmla="*/ 4 w 38"/>
                <a:gd name="T25" fmla="*/ 8 h 40"/>
                <a:gd name="T26" fmla="*/ 34 w 38"/>
                <a:gd name="T27" fmla="*/ 10 h 40"/>
                <a:gd name="T28" fmla="*/ 34 w 38"/>
                <a:gd name="T29" fmla="*/ 8 h 40"/>
                <a:gd name="T30" fmla="*/ 34 w 38"/>
                <a:gd name="T31" fmla="*/ 8 h 40"/>
                <a:gd name="T32" fmla="*/ 34 w 38"/>
                <a:gd name="T33" fmla="*/ 8 h 40"/>
                <a:gd name="T34" fmla="*/ 34 w 38"/>
                <a:gd name="T35" fmla="*/ 10 h 40"/>
                <a:gd name="T36" fmla="*/ 16 w 38"/>
                <a:gd name="T37" fmla="*/ 10 h 40"/>
                <a:gd name="T38" fmla="*/ 12 w 38"/>
                <a:gd name="T39" fmla="*/ 10 h 40"/>
                <a:gd name="T40" fmla="*/ 16 w 38"/>
                <a:gd name="T41" fmla="*/ 10 h 40"/>
                <a:gd name="T42" fmla="*/ 20 w 38"/>
                <a:gd name="T43" fmla="*/ 10 h 40"/>
                <a:gd name="T44" fmla="*/ 20 w 38"/>
                <a:gd name="T45" fmla="*/ 10 h 40"/>
                <a:gd name="T46" fmla="*/ 16 w 38"/>
                <a:gd name="T47" fmla="*/ 10 h 40"/>
                <a:gd name="T48" fmla="*/ 16 w 38"/>
                <a:gd name="T49" fmla="*/ 10 h 40"/>
                <a:gd name="T50" fmla="*/ 16 w 38"/>
                <a:gd name="T51" fmla="*/ 10 h 40"/>
                <a:gd name="T52" fmla="*/ 16 w 38"/>
                <a:gd name="T53" fmla="*/ 10 h 40"/>
                <a:gd name="T54" fmla="*/ 16 w 38"/>
                <a:gd name="T55" fmla="*/ 10 h 40"/>
                <a:gd name="T56" fmla="*/ 34 w 38"/>
                <a:gd name="T57" fmla="*/ 22 h 40"/>
                <a:gd name="T58" fmla="*/ 34 w 38"/>
                <a:gd name="T59" fmla="*/ 22 h 40"/>
                <a:gd name="T60" fmla="*/ 34 w 38"/>
                <a:gd name="T61" fmla="*/ 18 h 40"/>
                <a:gd name="T62" fmla="*/ 38 w 38"/>
                <a:gd name="T63" fmla="*/ 18 h 40"/>
                <a:gd name="T64" fmla="*/ 38 w 38"/>
                <a:gd name="T65" fmla="*/ 18 h 40"/>
                <a:gd name="T66" fmla="*/ 34 w 38"/>
                <a:gd name="T67" fmla="*/ 22 h 40"/>
                <a:gd name="T68" fmla="*/ 30 w 38"/>
                <a:gd name="T69" fmla="*/ 38 h 40"/>
                <a:gd name="T70" fmla="*/ 30 w 38"/>
                <a:gd name="T71" fmla="*/ 38 h 40"/>
                <a:gd name="T72" fmla="*/ 30 w 38"/>
                <a:gd name="T73" fmla="*/ 34 h 40"/>
                <a:gd name="T74" fmla="*/ 30 w 38"/>
                <a:gd name="T75" fmla="*/ 34 h 40"/>
                <a:gd name="T76" fmla="*/ 30 w 38"/>
                <a:gd name="T77" fmla="*/ 38 h 40"/>
                <a:gd name="T78" fmla="*/ 30 w 38"/>
                <a:gd name="T79" fmla="*/ 38 h 40"/>
                <a:gd name="T80" fmla="*/ 24 w 38"/>
                <a:gd name="T81" fmla="*/ 40 h 40"/>
                <a:gd name="T82" fmla="*/ 24 w 38"/>
                <a:gd name="T83" fmla="*/ 38 h 40"/>
                <a:gd name="T84" fmla="*/ 24 w 38"/>
                <a:gd name="T85" fmla="*/ 38 h 40"/>
                <a:gd name="T86" fmla="*/ 24 w 38"/>
                <a:gd name="T87" fmla="*/ 34 h 40"/>
                <a:gd name="T88" fmla="*/ 26 w 38"/>
                <a:gd name="T89" fmla="*/ 38 h 40"/>
                <a:gd name="T90" fmla="*/ 26 w 38"/>
                <a:gd name="T91" fmla="*/ 38 h 40"/>
                <a:gd name="T92" fmla="*/ 26 w 38"/>
                <a:gd name="T93" fmla="*/ 40 h 40"/>
                <a:gd name="T94" fmla="*/ 12 w 38"/>
                <a:gd name="T95" fmla="*/ 40 h 40"/>
                <a:gd name="T96" fmla="*/ 12 w 38"/>
                <a:gd name="T97" fmla="*/ 40 h 40"/>
                <a:gd name="T98" fmla="*/ 12 w 38"/>
                <a:gd name="T99" fmla="*/ 40 h 40"/>
                <a:gd name="T100" fmla="*/ 12 w 38"/>
                <a:gd name="T101" fmla="*/ 38 h 40"/>
                <a:gd name="T102" fmla="*/ 16 w 38"/>
                <a:gd name="T103" fmla="*/ 38 h 40"/>
                <a:gd name="T104" fmla="*/ 16 w 38"/>
                <a:gd name="T105" fmla="*/ 40 h 40"/>
                <a:gd name="T106" fmla="*/ 16 w 38"/>
                <a:gd name="T107" fmla="*/ 40 h 40"/>
                <a:gd name="T108" fmla="*/ 12 w 38"/>
                <a:gd name="T10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" h="40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34" y="10"/>
                  </a:moveTo>
                  <a:lnTo>
                    <a:pt x="34" y="10"/>
                  </a:lnTo>
                  <a:lnTo>
                    <a:pt x="34" y="10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close/>
                  <a:moveTo>
                    <a:pt x="16" y="10"/>
                  </a:move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close/>
                  <a:moveTo>
                    <a:pt x="34" y="22"/>
                  </a:move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close/>
                  <a:moveTo>
                    <a:pt x="30" y="38"/>
                  </a:move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close/>
                  <a:moveTo>
                    <a:pt x="26" y="40"/>
                  </a:move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4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close/>
                  <a:moveTo>
                    <a:pt x="12" y="40"/>
                  </a:move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95" name="Freeform 135">
              <a:extLst>
                <a:ext uri="{FF2B5EF4-FFF2-40B4-BE49-F238E27FC236}">
                  <a16:creationId xmlns:a16="http://schemas.microsoft.com/office/drawing/2014/main" id="{2C40B8E4-37DF-E576-F16B-07D7B31AA1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4463" y="3816663"/>
              <a:ext cx="354576" cy="282826"/>
            </a:xfrm>
            <a:custGeom>
              <a:avLst/>
              <a:gdLst>
                <a:gd name="T0" fmla="*/ 82 w 182"/>
                <a:gd name="T1" fmla="*/ 104 h 150"/>
                <a:gd name="T2" fmla="*/ 70 w 182"/>
                <a:gd name="T3" fmla="*/ 102 h 150"/>
                <a:gd name="T4" fmla="*/ 58 w 182"/>
                <a:gd name="T5" fmla="*/ 112 h 150"/>
                <a:gd name="T6" fmla="*/ 58 w 182"/>
                <a:gd name="T7" fmla="*/ 116 h 150"/>
                <a:gd name="T8" fmla="*/ 58 w 182"/>
                <a:gd name="T9" fmla="*/ 132 h 150"/>
                <a:gd name="T10" fmla="*/ 52 w 182"/>
                <a:gd name="T11" fmla="*/ 132 h 150"/>
                <a:gd name="T12" fmla="*/ 40 w 182"/>
                <a:gd name="T13" fmla="*/ 128 h 150"/>
                <a:gd name="T14" fmla="*/ 32 w 182"/>
                <a:gd name="T15" fmla="*/ 128 h 150"/>
                <a:gd name="T16" fmla="*/ 26 w 182"/>
                <a:gd name="T17" fmla="*/ 138 h 150"/>
                <a:gd name="T18" fmla="*/ 26 w 182"/>
                <a:gd name="T19" fmla="*/ 146 h 150"/>
                <a:gd name="T20" fmla="*/ 22 w 182"/>
                <a:gd name="T21" fmla="*/ 142 h 150"/>
                <a:gd name="T22" fmla="*/ 10 w 182"/>
                <a:gd name="T23" fmla="*/ 128 h 150"/>
                <a:gd name="T24" fmla="*/ 6 w 182"/>
                <a:gd name="T25" fmla="*/ 116 h 150"/>
                <a:gd name="T26" fmla="*/ 2 w 182"/>
                <a:gd name="T27" fmla="*/ 104 h 150"/>
                <a:gd name="T28" fmla="*/ 2 w 182"/>
                <a:gd name="T29" fmla="*/ 90 h 150"/>
                <a:gd name="T30" fmla="*/ 2 w 182"/>
                <a:gd name="T31" fmla="*/ 82 h 150"/>
                <a:gd name="T32" fmla="*/ 6 w 182"/>
                <a:gd name="T33" fmla="*/ 68 h 150"/>
                <a:gd name="T34" fmla="*/ 14 w 182"/>
                <a:gd name="T35" fmla="*/ 60 h 150"/>
                <a:gd name="T36" fmla="*/ 26 w 182"/>
                <a:gd name="T37" fmla="*/ 56 h 150"/>
                <a:gd name="T38" fmla="*/ 32 w 182"/>
                <a:gd name="T39" fmla="*/ 56 h 150"/>
                <a:gd name="T40" fmla="*/ 48 w 182"/>
                <a:gd name="T41" fmla="*/ 52 h 150"/>
                <a:gd name="T42" fmla="*/ 58 w 182"/>
                <a:gd name="T43" fmla="*/ 48 h 150"/>
                <a:gd name="T44" fmla="*/ 66 w 182"/>
                <a:gd name="T45" fmla="*/ 42 h 150"/>
                <a:gd name="T46" fmla="*/ 70 w 182"/>
                <a:gd name="T47" fmla="*/ 34 h 150"/>
                <a:gd name="T48" fmla="*/ 84 w 182"/>
                <a:gd name="T49" fmla="*/ 34 h 150"/>
                <a:gd name="T50" fmla="*/ 96 w 182"/>
                <a:gd name="T51" fmla="*/ 18 h 150"/>
                <a:gd name="T52" fmla="*/ 104 w 182"/>
                <a:gd name="T53" fmla="*/ 12 h 150"/>
                <a:gd name="T54" fmla="*/ 108 w 182"/>
                <a:gd name="T55" fmla="*/ 4 h 150"/>
                <a:gd name="T56" fmla="*/ 118 w 182"/>
                <a:gd name="T57" fmla="*/ 0 h 150"/>
                <a:gd name="T58" fmla="*/ 126 w 182"/>
                <a:gd name="T59" fmla="*/ 14 h 150"/>
                <a:gd name="T60" fmla="*/ 130 w 182"/>
                <a:gd name="T61" fmla="*/ 30 h 150"/>
                <a:gd name="T62" fmla="*/ 126 w 182"/>
                <a:gd name="T63" fmla="*/ 42 h 150"/>
                <a:gd name="T64" fmla="*/ 134 w 182"/>
                <a:gd name="T65" fmla="*/ 42 h 150"/>
                <a:gd name="T66" fmla="*/ 140 w 182"/>
                <a:gd name="T67" fmla="*/ 48 h 150"/>
                <a:gd name="T68" fmla="*/ 152 w 182"/>
                <a:gd name="T69" fmla="*/ 52 h 150"/>
                <a:gd name="T70" fmla="*/ 156 w 182"/>
                <a:gd name="T71" fmla="*/ 64 h 150"/>
                <a:gd name="T72" fmla="*/ 166 w 182"/>
                <a:gd name="T73" fmla="*/ 74 h 150"/>
                <a:gd name="T74" fmla="*/ 166 w 182"/>
                <a:gd name="T75" fmla="*/ 82 h 150"/>
                <a:gd name="T76" fmla="*/ 174 w 182"/>
                <a:gd name="T77" fmla="*/ 90 h 150"/>
                <a:gd name="T78" fmla="*/ 178 w 182"/>
                <a:gd name="T79" fmla="*/ 94 h 150"/>
                <a:gd name="T80" fmla="*/ 182 w 182"/>
                <a:gd name="T81" fmla="*/ 104 h 150"/>
                <a:gd name="T82" fmla="*/ 170 w 182"/>
                <a:gd name="T83" fmla="*/ 102 h 150"/>
                <a:gd name="T84" fmla="*/ 162 w 182"/>
                <a:gd name="T85" fmla="*/ 102 h 150"/>
                <a:gd name="T86" fmla="*/ 152 w 182"/>
                <a:gd name="T87" fmla="*/ 98 h 150"/>
                <a:gd name="T88" fmla="*/ 144 w 182"/>
                <a:gd name="T89" fmla="*/ 104 h 150"/>
                <a:gd name="T90" fmla="*/ 136 w 182"/>
                <a:gd name="T91" fmla="*/ 104 h 150"/>
                <a:gd name="T92" fmla="*/ 122 w 182"/>
                <a:gd name="T93" fmla="*/ 108 h 150"/>
                <a:gd name="T94" fmla="*/ 114 w 182"/>
                <a:gd name="T95" fmla="*/ 108 h 150"/>
                <a:gd name="T96" fmla="*/ 110 w 182"/>
                <a:gd name="T97" fmla="*/ 120 h 150"/>
                <a:gd name="T98" fmla="*/ 100 w 182"/>
                <a:gd name="T99" fmla="*/ 116 h 150"/>
                <a:gd name="T100" fmla="*/ 84 w 182"/>
                <a:gd name="T101" fmla="*/ 11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2" h="150">
                  <a:moveTo>
                    <a:pt x="84" y="112"/>
                  </a:moveTo>
                  <a:lnTo>
                    <a:pt x="84" y="108"/>
                  </a:lnTo>
                  <a:lnTo>
                    <a:pt x="82" y="108"/>
                  </a:lnTo>
                  <a:lnTo>
                    <a:pt x="82" y="104"/>
                  </a:lnTo>
                  <a:lnTo>
                    <a:pt x="78" y="104"/>
                  </a:lnTo>
                  <a:lnTo>
                    <a:pt x="74" y="104"/>
                  </a:lnTo>
                  <a:lnTo>
                    <a:pt x="74" y="102"/>
                  </a:lnTo>
                  <a:lnTo>
                    <a:pt x="70" y="102"/>
                  </a:lnTo>
                  <a:lnTo>
                    <a:pt x="66" y="104"/>
                  </a:lnTo>
                  <a:lnTo>
                    <a:pt x="62" y="104"/>
                  </a:lnTo>
                  <a:lnTo>
                    <a:pt x="62" y="108"/>
                  </a:lnTo>
                  <a:lnTo>
                    <a:pt x="58" y="112"/>
                  </a:lnTo>
                  <a:lnTo>
                    <a:pt x="58" y="116"/>
                  </a:lnTo>
                  <a:lnTo>
                    <a:pt x="58" y="112"/>
                  </a:lnTo>
                  <a:lnTo>
                    <a:pt x="54" y="116"/>
                  </a:lnTo>
                  <a:lnTo>
                    <a:pt x="58" y="116"/>
                  </a:lnTo>
                  <a:lnTo>
                    <a:pt x="58" y="120"/>
                  </a:lnTo>
                  <a:lnTo>
                    <a:pt x="58" y="124"/>
                  </a:lnTo>
                  <a:lnTo>
                    <a:pt x="58" y="128"/>
                  </a:lnTo>
                  <a:lnTo>
                    <a:pt x="58" y="132"/>
                  </a:lnTo>
                  <a:lnTo>
                    <a:pt x="58" y="128"/>
                  </a:lnTo>
                  <a:lnTo>
                    <a:pt x="54" y="128"/>
                  </a:lnTo>
                  <a:lnTo>
                    <a:pt x="52" y="128"/>
                  </a:lnTo>
                  <a:lnTo>
                    <a:pt x="52" y="132"/>
                  </a:lnTo>
                  <a:lnTo>
                    <a:pt x="52" y="128"/>
                  </a:lnTo>
                  <a:lnTo>
                    <a:pt x="48" y="128"/>
                  </a:lnTo>
                  <a:lnTo>
                    <a:pt x="44" y="128"/>
                  </a:lnTo>
                  <a:lnTo>
                    <a:pt x="40" y="128"/>
                  </a:lnTo>
                  <a:lnTo>
                    <a:pt x="40" y="124"/>
                  </a:lnTo>
                  <a:lnTo>
                    <a:pt x="40" y="128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32"/>
                  </a:lnTo>
                  <a:lnTo>
                    <a:pt x="28" y="134"/>
                  </a:lnTo>
                  <a:lnTo>
                    <a:pt x="26" y="138"/>
                  </a:lnTo>
                  <a:lnTo>
                    <a:pt x="28" y="138"/>
                  </a:lnTo>
                  <a:lnTo>
                    <a:pt x="28" y="142"/>
                  </a:lnTo>
                  <a:lnTo>
                    <a:pt x="26" y="142"/>
                  </a:lnTo>
                  <a:lnTo>
                    <a:pt x="26" y="146"/>
                  </a:lnTo>
                  <a:lnTo>
                    <a:pt x="26" y="150"/>
                  </a:lnTo>
                  <a:lnTo>
                    <a:pt x="22" y="150"/>
                  </a:lnTo>
                  <a:lnTo>
                    <a:pt x="22" y="146"/>
                  </a:lnTo>
                  <a:lnTo>
                    <a:pt x="22" y="142"/>
                  </a:lnTo>
                  <a:lnTo>
                    <a:pt x="22" y="138"/>
                  </a:lnTo>
                  <a:lnTo>
                    <a:pt x="18" y="134"/>
                  </a:lnTo>
                  <a:lnTo>
                    <a:pt x="14" y="132"/>
                  </a:lnTo>
                  <a:lnTo>
                    <a:pt x="10" y="128"/>
                  </a:lnTo>
                  <a:lnTo>
                    <a:pt x="10" y="124"/>
                  </a:lnTo>
                  <a:lnTo>
                    <a:pt x="6" y="124"/>
                  </a:lnTo>
                  <a:lnTo>
                    <a:pt x="6" y="120"/>
                  </a:lnTo>
                  <a:lnTo>
                    <a:pt x="6" y="116"/>
                  </a:lnTo>
                  <a:lnTo>
                    <a:pt x="6" y="112"/>
                  </a:lnTo>
                  <a:lnTo>
                    <a:pt x="2" y="112"/>
                  </a:lnTo>
                  <a:lnTo>
                    <a:pt x="2" y="108"/>
                  </a:lnTo>
                  <a:lnTo>
                    <a:pt x="2" y="104"/>
                  </a:lnTo>
                  <a:lnTo>
                    <a:pt x="2" y="102"/>
                  </a:lnTo>
                  <a:lnTo>
                    <a:pt x="0" y="98"/>
                  </a:lnTo>
                  <a:lnTo>
                    <a:pt x="0" y="94"/>
                  </a:lnTo>
                  <a:lnTo>
                    <a:pt x="2" y="90"/>
                  </a:lnTo>
                  <a:lnTo>
                    <a:pt x="0" y="90"/>
                  </a:lnTo>
                  <a:lnTo>
                    <a:pt x="0" y="86"/>
                  </a:lnTo>
                  <a:lnTo>
                    <a:pt x="0" y="82"/>
                  </a:lnTo>
                  <a:lnTo>
                    <a:pt x="2" y="82"/>
                  </a:lnTo>
                  <a:lnTo>
                    <a:pt x="2" y="78"/>
                  </a:lnTo>
                  <a:lnTo>
                    <a:pt x="6" y="74"/>
                  </a:lnTo>
                  <a:lnTo>
                    <a:pt x="6" y="72"/>
                  </a:lnTo>
                  <a:lnTo>
                    <a:pt x="6" y="68"/>
                  </a:lnTo>
                  <a:lnTo>
                    <a:pt x="10" y="68"/>
                  </a:lnTo>
                  <a:lnTo>
                    <a:pt x="10" y="64"/>
                  </a:lnTo>
                  <a:lnTo>
                    <a:pt x="14" y="64"/>
                  </a:lnTo>
                  <a:lnTo>
                    <a:pt x="14" y="60"/>
                  </a:lnTo>
                  <a:lnTo>
                    <a:pt x="18" y="60"/>
                  </a:lnTo>
                  <a:lnTo>
                    <a:pt x="22" y="60"/>
                  </a:lnTo>
                  <a:lnTo>
                    <a:pt x="26" y="60"/>
                  </a:lnTo>
                  <a:lnTo>
                    <a:pt x="26" y="56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6" y="56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54" y="52"/>
                  </a:lnTo>
                  <a:lnTo>
                    <a:pt x="58" y="52"/>
                  </a:lnTo>
                  <a:lnTo>
                    <a:pt x="58" y="48"/>
                  </a:lnTo>
                  <a:lnTo>
                    <a:pt x="58" y="44"/>
                  </a:lnTo>
                  <a:lnTo>
                    <a:pt x="62" y="44"/>
                  </a:lnTo>
                  <a:lnTo>
                    <a:pt x="62" y="42"/>
                  </a:lnTo>
                  <a:lnTo>
                    <a:pt x="66" y="42"/>
                  </a:lnTo>
                  <a:lnTo>
                    <a:pt x="62" y="38"/>
                  </a:lnTo>
                  <a:lnTo>
                    <a:pt x="62" y="34"/>
                  </a:lnTo>
                  <a:lnTo>
                    <a:pt x="66" y="34"/>
                  </a:lnTo>
                  <a:lnTo>
                    <a:pt x="70" y="34"/>
                  </a:lnTo>
                  <a:lnTo>
                    <a:pt x="74" y="34"/>
                  </a:lnTo>
                  <a:lnTo>
                    <a:pt x="78" y="34"/>
                  </a:lnTo>
                  <a:lnTo>
                    <a:pt x="82" y="34"/>
                  </a:lnTo>
                  <a:lnTo>
                    <a:pt x="84" y="34"/>
                  </a:lnTo>
                  <a:lnTo>
                    <a:pt x="84" y="30"/>
                  </a:lnTo>
                  <a:lnTo>
                    <a:pt x="88" y="26"/>
                  </a:lnTo>
                  <a:lnTo>
                    <a:pt x="92" y="22"/>
                  </a:lnTo>
                  <a:lnTo>
                    <a:pt x="96" y="18"/>
                  </a:lnTo>
                  <a:lnTo>
                    <a:pt x="96" y="14"/>
                  </a:lnTo>
                  <a:lnTo>
                    <a:pt x="100" y="14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0" y="12"/>
                  </a:lnTo>
                  <a:lnTo>
                    <a:pt x="100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0"/>
                  </a:lnTo>
                  <a:lnTo>
                    <a:pt x="110" y="0"/>
                  </a:lnTo>
                  <a:lnTo>
                    <a:pt x="114" y="0"/>
                  </a:lnTo>
                  <a:lnTo>
                    <a:pt x="118" y="0"/>
                  </a:lnTo>
                  <a:lnTo>
                    <a:pt x="118" y="4"/>
                  </a:lnTo>
                  <a:lnTo>
                    <a:pt x="122" y="8"/>
                  </a:lnTo>
                  <a:lnTo>
                    <a:pt x="126" y="12"/>
                  </a:lnTo>
                  <a:lnTo>
                    <a:pt x="126" y="14"/>
                  </a:lnTo>
                  <a:lnTo>
                    <a:pt x="130" y="18"/>
                  </a:lnTo>
                  <a:lnTo>
                    <a:pt x="130" y="22"/>
                  </a:lnTo>
                  <a:lnTo>
                    <a:pt x="130" y="26"/>
                  </a:lnTo>
                  <a:lnTo>
                    <a:pt x="130" y="30"/>
                  </a:lnTo>
                  <a:lnTo>
                    <a:pt x="126" y="30"/>
                  </a:lnTo>
                  <a:lnTo>
                    <a:pt x="126" y="34"/>
                  </a:lnTo>
                  <a:lnTo>
                    <a:pt x="126" y="38"/>
                  </a:lnTo>
                  <a:lnTo>
                    <a:pt x="126" y="42"/>
                  </a:lnTo>
                  <a:lnTo>
                    <a:pt x="130" y="42"/>
                  </a:lnTo>
                  <a:lnTo>
                    <a:pt x="130" y="38"/>
                  </a:lnTo>
                  <a:lnTo>
                    <a:pt x="134" y="38"/>
                  </a:lnTo>
                  <a:lnTo>
                    <a:pt x="134" y="42"/>
                  </a:lnTo>
                  <a:lnTo>
                    <a:pt x="136" y="42"/>
                  </a:lnTo>
                  <a:lnTo>
                    <a:pt x="136" y="44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6" y="64"/>
                  </a:lnTo>
                  <a:lnTo>
                    <a:pt x="160" y="68"/>
                  </a:lnTo>
                  <a:lnTo>
                    <a:pt x="162" y="68"/>
                  </a:lnTo>
                  <a:lnTo>
                    <a:pt x="162" y="72"/>
                  </a:lnTo>
                  <a:lnTo>
                    <a:pt x="166" y="74"/>
                  </a:lnTo>
                  <a:lnTo>
                    <a:pt x="166" y="78"/>
                  </a:lnTo>
                  <a:lnTo>
                    <a:pt x="166" y="82"/>
                  </a:lnTo>
                  <a:lnTo>
                    <a:pt x="170" y="82"/>
                  </a:lnTo>
                  <a:lnTo>
                    <a:pt x="166" y="82"/>
                  </a:lnTo>
                  <a:lnTo>
                    <a:pt x="166" y="86"/>
                  </a:lnTo>
                  <a:lnTo>
                    <a:pt x="170" y="86"/>
                  </a:lnTo>
                  <a:lnTo>
                    <a:pt x="174" y="86"/>
                  </a:lnTo>
                  <a:lnTo>
                    <a:pt x="174" y="90"/>
                  </a:lnTo>
                  <a:lnTo>
                    <a:pt x="178" y="90"/>
                  </a:lnTo>
                  <a:lnTo>
                    <a:pt x="178" y="94"/>
                  </a:lnTo>
                  <a:lnTo>
                    <a:pt x="182" y="94"/>
                  </a:lnTo>
                  <a:lnTo>
                    <a:pt x="178" y="94"/>
                  </a:lnTo>
                  <a:lnTo>
                    <a:pt x="178" y="98"/>
                  </a:lnTo>
                  <a:lnTo>
                    <a:pt x="182" y="98"/>
                  </a:lnTo>
                  <a:lnTo>
                    <a:pt x="182" y="102"/>
                  </a:lnTo>
                  <a:lnTo>
                    <a:pt x="182" y="104"/>
                  </a:lnTo>
                  <a:lnTo>
                    <a:pt x="182" y="102"/>
                  </a:lnTo>
                  <a:lnTo>
                    <a:pt x="178" y="102"/>
                  </a:lnTo>
                  <a:lnTo>
                    <a:pt x="174" y="102"/>
                  </a:lnTo>
                  <a:lnTo>
                    <a:pt x="170" y="102"/>
                  </a:lnTo>
                  <a:lnTo>
                    <a:pt x="166" y="102"/>
                  </a:lnTo>
                  <a:lnTo>
                    <a:pt x="162" y="102"/>
                  </a:lnTo>
                  <a:lnTo>
                    <a:pt x="162" y="98"/>
                  </a:lnTo>
                  <a:lnTo>
                    <a:pt x="162" y="102"/>
                  </a:lnTo>
                  <a:lnTo>
                    <a:pt x="160" y="102"/>
                  </a:lnTo>
                  <a:lnTo>
                    <a:pt x="160" y="98"/>
                  </a:lnTo>
                  <a:lnTo>
                    <a:pt x="156" y="98"/>
                  </a:lnTo>
                  <a:lnTo>
                    <a:pt x="152" y="98"/>
                  </a:lnTo>
                  <a:lnTo>
                    <a:pt x="152" y="102"/>
                  </a:lnTo>
                  <a:lnTo>
                    <a:pt x="152" y="104"/>
                  </a:lnTo>
                  <a:lnTo>
                    <a:pt x="148" y="104"/>
                  </a:lnTo>
                  <a:lnTo>
                    <a:pt x="144" y="104"/>
                  </a:lnTo>
                  <a:lnTo>
                    <a:pt x="140" y="102"/>
                  </a:lnTo>
                  <a:lnTo>
                    <a:pt x="136" y="102"/>
                  </a:lnTo>
                  <a:lnTo>
                    <a:pt x="140" y="102"/>
                  </a:lnTo>
                  <a:lnTo>
                    <a:pt x="136" y="104"/>
                  </a:lnTo>
                  <a:lnTo>
                    <a:pt x="134" y="104"/>
                  </a:lnTo>
                  <a:lnTo>
                    <a:pt x="130" y="104"/>
                  </a:lnTo>
                  <a:lnTo>
                    <a:pt x="126" y="108"/>
                  </a:lnTo>
                  <a:lnTo>
                    <a:pt x="122" y="108"/>
                  </a:lnTo>
                  <a:lnTo>
                    <a:pt x="118" y="108"/>
                  </a:lnTo>
                  <a:lnTo>
                    <a:pt x="118" y="104"/>
                  </a:lnTo>
                  <a:lnTo>
                    <a:pt x="118" y="108"/>
                  </a:lnTo>
                  <a:lnTo>
                    <a:pt x="114" y="108"/>
                  </a:lnTo>
                  <a:lnTo>
                    <a:pt x="114" y="112"/>
                  </a:lnTo>
                  <a:lnTo>
                    <a:pt x="114" y="116"/>
                  </a:lnTo>
                  <a:lnTo>
                    <a:pt x="110" y="116"/>
                  </a:lnTo>
                  <a:lnTo>
                    <a:pt x="110" y="120"/>
                  </a:lnTo>
                  <a:lnTo>
                    <a:pt x="108" y="120"/>
                  </a:lnTo>
                  <a:lnTo>
                    <a:pt x="108" y="116"/>
                  </a:lnTo>
                  <a:lnTo>
                    <a:pt x="104" y="116"/>
                  </a:lnTo>
                  <a:lnTo>
                    <a:pt x="100" y="116"/>
                  </a:lnTo>
                  <a:lnTo>
                    <a:pt x="92" y="116"/>
                  </a:lnTo>
                  <a:lnTo>
                    <a:pt x="92" y="112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4" y="112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96" name="Freeform 136">
              <a:extLst>
                <a:ext uri="{FF2B5EF4-FFF2-40B4-BE49-F238E27FC236}">
                  <a16:creationId xmlns:a16="http://schemas.microsoft.com/office/drawing/2014/main" id="{89ED35B8-D714-CFF8-62A0-C3D37B26BA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3291" y="3409393"/>
              <a:ext cx="292233" cy="520400"/>
            </a:xfrm>
            <a:custGeom>
              <a:avLst/>
              <a:gdLst>
                <a:gd name="T0" fmla="*/ 22 w 150"/>
                <a:gd name="T1" fmla="*/ 234 h 276"/>
                <a:gd name="T2" fmla="*/ 30 w 150"/>
                <a:gd name="T3" fmla="*/ 234 h 276"/>
                <a:gd name="T4" fmla="*/ 26 w 150"/>
                <a:gd name="T5" fmla="*/ 226 h 276"/>
                <a:gd name="T6" fmla="*/ 22 w 150"/>
                <a:gd name="T7" fmla="*/ 220 h 276"/>
                <a:gd name="T8" fmla="*/ 22 w 150"/>
                <a:gd name="T9" fmla="*/ 208 h 276"/>
                <a:gd name="T10" fmla="*/ 22 w 150"/>
                <a:gd name="T11" fmla="*/ 198 h 276"/>
                <a:gd name="T12" fmla="*/ 14 w 150"/>
                <a:gd name="T13" fmla="*/ 186 h 276"/>
                <a:gd name="T14" fmla="*/ 14 w 150"/>
                <a:gd name="T15" fmla="*/ 178 h 276"/>
                <a:gd name="T16" fmla="*/ 0 w 150"/>
                <a:gd name="T17" fmla="*/ 164 h 276"/>
                <a:gd name="T18" fmla="*/ 4 w 150"/>
                <a:gd name="T19" fmla="*/ 156 h 276"/>
                <a:gd name="T20" fmla="*/ 4 w 150"/>
                <a:gd name="T21" fmla="*/ 148 h 276"/>
                <a:gd name="T22" fmla="*/ 14 w 150"/>
                <a:gd name="T23" fmla="*/ 130 h 276"/>
                <a:gd name="T24" fmla="*/ 30 w 150"/>
                <a:gd name="T25" fmla="*/ 112 h 276"/>
                <a:gd name="T26" fmla="*/ 34 w 150"/>
                <a:gd name="T27" fmla="*/ 66 h 276"/>
                <a:gd name="T28" fmla="*/ 30 w 150"/>
                <a:gd name="T29" fmla="*/ 48 h 276"/>
                <a:gd name="T30" fmla="*/ 30 w 150"/>
                <a:gd name="T31" fmla="*/ 42 h 276"/>
                <a:gd name="T32" fmla="*/ 26 w 150"/>
                <a:gd name="T33" fmla="*/ 26 h 276"/>
                <a:gd name="T34" fmla="*/ 38 w 150"/>
                <a:gd name="T35" fmla="*/ 0 h 276"/>
                <a:gd name="T36" fmla="*/ 78 w 150"/>
                <a:gd name="T37" fmla="*/ 22 h 276"/>
                <a:gd name="T38" fmla="*/ 134 w 150"/>
                <a:gd name="T39" fmla="*/ 58 h 276"/>
                <a:gd name="T40" fmla="*/ 150 w 150"/>
                <a:gd name="T41" fmla="*/ 88 h 276"/>
                <a:gd name="T42" fmla="*/ 146 w 150"/>
                <a:gd name="T43" fmla="*/ 134 h 276"/>
                <a:gd name="T44" fmla="*/ 142 w 150"/>
                <a:gd name="T45" fmla="*/ 134 h 276"/>
                <a:gd name="T46" fmla="*/ 138 w 150"/>
                <a:gd name="T47" fmla="*/ 134 h 276"/>
                <a:gd name="T48" fmla="*/ 134 w 150"/>
                <a:gd name="T49" fmla="*/ 142 h 276"/>
                <a:gd name="T50" fmla="*/ 134 w 150"/>
                <a:gd name="T51" fmla="*/ 144 h 276"/>
                <a:gd name="T52" fmla="*/ 128 w 150"/>
                <a:gd name="T53" fmla="*/ 152 h 276"/>
                <a:gd name="T54" fmla="*/ 128 w 150"/>
                <a:gd name="T55" fmla="*/ 160 h 276"/>
                <a:gd name="T56" fmla="*/ 124 w 150"/>
                <a:gd name="T57" fmla="*/ 164 h 276"/>
                <a:gd name="T58" fmla="*/ 124 w 150"/>
                <a:gd name="T59" fmla="*/ 178 h 276"/>
                <a:gd name="T60" fmla="*/ 120 w 150"/>
                <a:gd name="T61" fmla="*/ 186 h 276"/>
                <a:gd name="T62" fmla="*/ 124 w 150"/>
                <a:gd name="T63" fmla="*/ 186 h 276"/>
                <a:gd name="T64" fmla="*/ 130 w 150"/>
                <a:gd name="T65" fmla="*/ 198 h 276"/>
                <a:gd name="T66" fmla="*/ 130 w 150"/>
                <a:gd name="T67" fmla="*/ 204 h 276"/>
                <a:gd name="T68" fmla="*/ 134 w 150"/>
                <a:gd name="T69" fmla="*/ 216 h 276"/>
                <a:gd name="T70" fmla="*/ 124 w 150"/>
                <a:gd name="T71" fmla="*/ 220 h 276"/>
                <a:gd name="T72" fmla="*/ 116 w 150"/>
                <a:gd name="T73" fmla="*/ 224 h 276"/>
                <a:gd name="T74" fmla="*/ 116 w 150"/>
                <a:gd name="T75" fmla="*/ 230 h 276"/>
                <a:gd name="T76" fmla="*/ 112 w 150"/>
                <a:gd name="T77" fmla="*/ 234 h 276"/>
                <a:gd name="T78" fmla="*/ 104 w 150"/>
                <a:gd name="T79" fmla="*/ 242 h 276"/>
                <a:gd name="T80" fmla="*/ 100 w 150"/>
                <a:gd name="T81" fmla="*/ 246 h 276"/>
                <a:gd name="T82" fmla="*/ 94 w 150"/>
                <a:gd name="T83" fmla="*/ 250 h 276"/>
                <a:gd name="T84" fmla="*/ 78 w 150"/>
                <a:gd name="T85" fmla="*/ 250 h 276"/>
                <a:gd name="T86" fmla="*/ 78 w 150"/>
                <a:gd name="T87" fmla="*/ 254 h 276"/>
                <a:gd name="T88" fmla="*/ 78 w 150"/>
                <a:gd name="T89" fmla="*/ 260 h 276"/>
                <a:gd name="T90" fmla="*/ 74 w 150"/>
                <a:gd name="T91" fmla="*/ 264 h 276"/>
                <a:gd name="T92" fmla="*/ 64 w 150"/>
                <a:gd name="T93" fmla="*/ 268 h 276"/>
                <a:gd name="T94" fmla="*/ 56 w 150"/>
                <a:gd name="T95" fmla="*/ 268 h 276"/>
                <a:gd name="T96" fmla="*/ 48 w 150"/>
                <a:gd name="T97" fmla="*/ 276 h 276"/>
                <a:gd name="T98" fmla="*/ 44 w 150"/>
                <a:gd name="T99" fmla="*/ 268 h 276"/>
                <a:gd name="T100" fmla="*/ 38 w 150"/>
                <a:gd name="T101" fmla="*/ 276 h 276"/>
                <a:gd name="T102" fmla="*/ 34 w 150"/>
                <a:gd name="T103" fmla="*/ 276 h 276"/>
                <a:gd name="T104" fmla="*/ 30 w 150"/>
                <a:gd name="T105" fmla="*/ 276 h 276"/>
                <a:gd name="T106" fmla="*/ 30 w 150"/>
                <a:gd name="T107" fmla="*/ 272 h 276"/>
                <a:gd name="T108" fmla="*/ 26 w 150"/>
                <a:gd name="T109" fmla="*/ 264 h 276"/>
                <a:gd name="T110" fmla="*/ 18 w 150"/>
                <a:gd name="T111" fmla="*/ 254 h 276"/>
                <a:gd name="T112" fmla="*/ 8 w 150"/>
                <a:gd name="T113" fmla="*/ 238 h 276"/>
                <a:gd name="T114" fmla="*/ 12 w 150"/>
                <a:gd name="T115" fmla="*/ 234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0" h="276">
                  <a:moveTo>
                    <a:pt x="12" y="234"/>
                  </a:moveTo>
                  <a:lnTo>
                    <a:pt x="14" y="234"/>
                  </a:lnTo>
                  <a:lnTo>
                    <a:pt x="14" y="234"/>
                  </a:lnTo>
                  <a:lnTo>
                    <a:pt x="18" y="234"/>
                  </a:lnTo>
                  <a:lnTo>
                    <a:pt x="18" y="234"/>
                  </a:lnTo>
                  <a:lnTo>
                    <a:pt x="22" y="234"/>
                  </a:lnTo>
                  <a:lnTo>
                    <a:pt x="22" y="234"/>
                  </a:lnTo>
                  <a:lnTo>
                    <a:pt x="22" y="234"/>
                  </a:lnTo>
                  <a:lnTo>
                    <a:pt x="22" y="234"/>
                  </a:lnTo>
                  <a:lnTo>
                    <a:pt x="22" y="234"/>
                  </a:lnTo>
                  <a:lnTo>
                    <a:pt x="22" y="234"/>
                  </a:lnTo>
                  <a:lnTo>
                    <a:pt x="26" y="234"/>
                  </a:lnTo>
                  <a:lnTo>
                    <a:pt x="26" y="234"/>
                  </a:lnTo>
                  <a:lnTo>
                    <a:pt x="26" y="234"/>
                  </a:lnTo>
                  <a:lnTo>
                    <a:pt x="30" y="234"/>
                  </a:lnTo>
                  <a:lnTo>
                    <a:pt x="30" y="234"/>
                  </a:lnTo>
                  <a:lnTo>
                    <a:pt x="30" y="234"/>
                  </a:lnTo>
                  <a:lnTo>
                    <a:pt x="30" y="234"/>
                  </a:lnTo>
                  <a:lnTo>
                    <a:pt x="30" y="234"/>
                  </a:lnTo>
                  <a:lnTo>
                    <a:pt x="30" y="230"/>
                  </a:lnTo>
                  <a:lnTo>
                    <a:pt x="30" y="230"/>
                  </a:lnTo>
                  <a:lnTo>
                    <a:pt x="30" y="230"/>
                  </a:lnTo>
                  <a:lnTo>
                    <a:pt x="30" y="230"/>
                  </a:lnTo>
                  <a:lnTo>
                    <a:pt x="26" y="226"/>
                  </a:lnTo>
                  <a:lnTo>
                    <a:pt x="26" y="226"/>
                  </a:lnTo>
                  <a:lnTo>
                    <a:pt x="26" y="224"/>
                  </a:lnTo>
                  <a:lnTo>
                    <a:pt x="22" y="224"/>
                  </a:lnTo>
                  <a:lnTo>
                    <a:pt x="22" y="224"/>
                  </a:lnTo>
                  <a:lnTo>
                    <a:pt x="22" y="220"/>
                  </a:lnTo>
                  <a:lnTo>
                    <a:pt x="22" y="220"/>
                  </a:lnTo>
                  <a:lnTo>
                    <a:pt x="22" y="220"/>
                  </a:lnTo>
                  <a:lnTo>
                    <a:pt x="22" y="220"/>
                  </a:lnTo>
                  <a:lnTo>
                    <a:pt x="22" y="220"/>
                  </a:lnTo>
                  <a:lnTo>
                    <a:pt x="22" y="220"/>
                  </a:lnTo>
                  <a:lnTo>
                    <a:pt x="22" y="216"/>
                  </a:lnTo>
                  <a:lnTo>
                    <a:pt x="22" y="216"/>
                  </a:lnTo>
                  <a:lnTo>
                    <a:pt x="22" y="212"/>
                  </a:lnTo>
                  <a:lnTo>
                    <a:pt x="22" y="212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2" y="208"/>
                  </a:lnTo>
                  <a:lnTo>
                    <a:pt x="22" y="204"/>
                  </a:lnTo>
                  <a:lnTo>
                    <a:pt x="22" y="204"/>
                  </a:lnTo>
                  <a:lnTo>
                    <a:pt x="22" y="200"/>
                  </a:lnTo>
                  <a:lnTo>
                    <a:pt x="22" y="198"/>
                  </a:lnTo>
                  <a:lnTo>
                    <a:pt x="22" y="198"/>
                  </a:lnTo>
                  <a:lnTo>
                    <a:pt x="22" y="198"/>
                  </a:lnTo>
                  <a:lnTo>
                    <a:pt x="22" y="198"/>
                  </a:lnTo>
                  <a:lnTo>
                    <a:pt x="22" y="194"/>
                  </a:lnTo>
                  <a:lnTo>
                    <a:pt x="22" y="194"/>
                  </a:lnTo>
                  <a:lnTo>
                    <a:pt x="22" y="194"/>
                  </a:lnTo>
                  <a:lnTo>
                    <a:pt x="22" y="194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14" y="186"/>
                  </a:lnTo>
                  <a:lnTo>
                    <a:pt x="14" y="186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4" y="178"/>
                  </a:lnTo>
                  <a:lnTo>
                    <a:pt x="14" y="178"/>
                  </a:lnTo>
                  <a:lnTo>
                    <a:pt x="12" y="178"/>
                  </a:lnTo>
                  <a:lnTo>
                    <a:pt x="8" y="178"/>
                  </a:lnTo>
                  <a:lnTo>
                    <a:pt x="8" y="174"/>
                  </a:lnTo>
                  <a:lnTo>
                    <a:pt x="4" y="170"/>
                  </a:lnTo>
                  <a:lnTo>
                    <a:pt x="4" y="168"/>
                  </a:lnTo>
                  <a:lnTo>
                    <a:pt x="4" y="168"/>
                  </a:lnTo>
                  <a:lnTo>
                    <a:pt x="4" y="168"/>
                  </a:lnTo>
                  <a:lnTo>
                    <a:pt x="0" y="164"/>
                  </a:lnTo>
                  <a:lnTo>
                    <a:pt x="0" y="156"/>
                  </a:lnTo>
                  <a:lnTo>
                    <a:pt x="0" y="156"/>
                  </a:lnTo>
                  <a:lnTo>
                    <a:pt x="0" y="156"/>
                  </a:lnTo>
                  <a:lnTo>
                    <a:pt x="0" y="156"/>
                  </a:lnTo>
                  <a:lnTo>
                    <a:pt x="0" y="156"/>
                  </a:lnTo>
                  <a:lnTo>
                    <a:pt x="0" y="156"/>
                  </a:lnTo>
                  <a:lnTo>
                    <a:pt x="4" y="156"/>
                  </a:lnTo>
                  <a:lnTo>
                    <a:pt x="4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52"/>
                  </a:lnTo>
                  <a:lnTo>
                    <a:pt x="4" y="152"/>
                  </a:lnTo>
                  <a:lnTo>
                    <a:pt x="4" y="152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4" y="148"/>
                  </a:lnTo>
                  <a:lnTo>
                    <a:pt x="4" y="148"/>
                  </a:lnTo>
                  <a:lnTo>
                    <a:pt x="8" y="144"/>
                  </a:lnTo>
                  <a:lnTo>
                    <a:pt x="8" y="142"/>
                  </a:lnTo>
                  <a:lnTo>
                    <a:pt x="8" y="142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4" y="134"/>
                  </a:lnTo>
                  <a:lnTo>
                    <a:pt x="14" y="130"/>
                  </a:lnTo>
                  <a:lnTo>
                    <a:pt x="22" y="122"/>
                  </a:lnTo>
                  <a:lnTo>
                    <a:pt x="22" y="118"/>
                  </a:lnTo>
                  <a:lnTo>
                    <a:pt x="26" y="118"/>
                  </a:lnTo>
                  <a:lnTo>
                    <a:pt x="26" y="114"/>
                  </a:lnTo>
                  <a:lnTo>
                    <a:pt x="30" y="114"/>
                  </a:lnTo>
                  <a:lnTo>
                    <a:pt x="30" y="114"/>
                  </a:lnTo>
                  <a:lnTo>
                    <a:pt x="30" y="114"/>
                  </a:lnTo>
                  <a:lnTo>
                    <a:pt x="30" y="112"/>
                  </a:lnTo>
                  <a:lnTo>
                    <a:pt x="30" y="104"/>
                  </a:lnTo>
                  <a:lnTo>
                    <a:pt x="30" y="92"/>
                  </a:lnTo>
                  <a:lnTo>
                    <a:pt x="30" y="88"/>
                  </a:lnTo>
                  <a:lnTo>
                    <a:pt x="30" y="88"/>
                  </a:lnTo>
                  <a:lnTo>
                    <a:pt x="30" y="82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34" y="66"/>
                  </a:lnTo>
                  <a:lnTo>
                    <a:pt x="34" y="62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6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26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2" y="12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8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4"/>
                  </a:lnTo>
                  <a:lnTo>
                    <a:pt x="70" y="18"/>
                  </a:lnTo>
                  <a:lnTo>
                    <a:pt x="74" y="22"/>
                  </a:lnTo>
                  <a:lnTo>
                    <a:pt x="78" y="22"/>
                  </a:lnTo>
                  <a:lnTo>
                    <a:pt x="82" y="26"/>
                  </a:lnTo>
                  <a:lnTo>
                    <a:pt x="90" y="30"/>
                  </a:lnTo>
                  <a:lnTo>
                    <a:pt x="98" y="38"/>
                  </a:lnTo>
                  <a:lnTo>
                    <a:pt x="108" y="42"/>
                  </a:lnTo>
                  <a:lnTo>
                    <a:pt x="112" y="44"/>
                  </a:lnTo>
                  <a:lnTo>
                    <a:pt x="120" y="48"/>
                  </a:lnTo>
                  <a:lnTo>
                    <a:pt x="128" y="52"/>
                  </a:lnTo>
                  <a:lnTo>
                    <a:pt x="134" y="58"/>
                  </a:lnTo>
                  <a:lnTo>
                    <a:pt x="142" y="62"/>
                  </a:lnTo>
                  <a:lnTo>
                    <a:pt x="150" y="66"/>
                  </a:lnTo>
                  <a:lnTo>
                    <a:pt x="150" y="66"/>
                  </a:lnTo>
                  <a:lnTo>
                    <a:pt x="150" y="70"/>
                  </a:lnTo>
                  <a:lnTo>
                    <a:pt x="150" y="78"/>
                  </a:lnTo>
                  <a:lnTo>
                    <a:pt x="150" y="82"/>
                  </a:lnTo>
                  <a:lnTo>
                    <a:pt x="150" y="84"/>
                  </a:lnTo>
                  <a:lnTo>
                    <a:pt x="150" y="88"/>
                  </a:lnTo>
                  <a:lnTo>
                    <a:pt x="150" y="122"/>
                  </a:lnTo>
                  <a:lnTo>
                    <a:pt x="150" y="126"/>
                  </a:lnTo>
                  <a:lnTo>
                    <a:pt x="150" y="134"/>
                  </a:lnTo>
                  <a:lnTo>
                    <a:pt x="150" y="134"/>
                  </a:lnTo>
                  <a:lnTo>
                    <a:pt x="150" y="134"/>
                  </a:lnTo>
                  <a:lnTo>
                    <a:pt x="150" y="134"/>
                  </a:lnTo>
                  <a:lnTo>
                    <a:pt x="150" y="134"/>
                  </a:lnTo>
                  <a:lnTo>
                    <a:pt x="146" y="134"/>
                  </a:lnTo>
                  <a:lnTo>
                    <a:pt x="146" y="134"/>
                  </a:lnTo>
                  <a:lnTo>
                    <a:pt x="146" y="134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38" y="134"/>
                  </a:lnTo>
                  <a:lnTo>
                    <a:pt x="138" y="134"/>
                  </a:lnTo>
                  <a:lnTo>
                    <a:pt x="138" y="134"/>
                  </a:lnTo>
                  <a:lnTo>
                    <a:pt x="138" y="134"/>
                  </a:lnTo>
                  <a:lnTo>
                    <a:pt x="138" y="134"/>
                  </a:lnTo>
                  <a:lnTo>
                    <a:pt x="138" y="134"/>
                  </a:lnTo>
                  <a:lnTo>
                    <a:pt x="134" y="138"/>
                  </a:lnTo>
                  <a:lnTo>
                    <a:pt x="134" y="138"/>
                  </a:lnTo>
                  <a:lnTo>
                    <a:pt x="134" y="138"/>
                  </a:lnTo>
                  <a:lnTo>
                    <a:pt x="134" y="138"/>
                  </a:lnTo>
                  <a:lnTo>
                    <a:pt x="134" y="138"/>
                  </a:lnTo>
                  <a:lnTo>
                    <a:pt x="134" y="138"/>
                  </a:lnTo>
                  <a:lnTo>
                    <a:pt x="134" y="142"/>
                  </a:lnTo>
                  <a:lnTo>
                    <a:pt x="134" y="142"/>
                  </a:lnTo>
                  <a:lnTo>
                    <a:pt x="134" y="142"/>
                  </a:lnTo>
                  <a:lnTo>
                    <a:pt x="134" y="142"/>
                  </a:lnTo>
                  <a:lnTo>
                    <a:pt x="134" y="142"/>
                  </a:lnTo>
                  <a:lnTo>
                    <a:pt x="134" y="144"/>
                  </a:lnTo>
                  <a:lnTo>
                    <a:pt x="134" y="144"/>
                  </a:lnTo>
                  <a:lnTo>
                    <a:pt x="134" y="144"/>
                  </a:lnTo>
                  <a:lnTo>
                    <a:pt x="134" y="144"/>
                  </a:lnTo>
                  <a:lnTo>
                    <a:pt x="130" y="144"/>
                  </a:lnTo>
                  <a:lnTo>
                    <a:pt x="130" y="148"/>
                  </a:lnTo>
                  <a:lnTo>
                    <a:pt x="130" y="148"/>
                  </a:lnTo>
                  <a:lnTo>
                    <a:pt x="130" y="148"/>
                  </a:lnTo>
                  <a:lnTo>
                    <a:pt x="130" y="152"/>
                  </a:lnTo>
                  <a:lnTo>
                    <a:pt x="130" y="152"/>
                  </a:lnTo>
                  <a:lnTo>
                    <a:pt x="128" y="152"/>
                  </a:lnTo>
                  <a:lnTo>
                    <a:pt x="128" y="152"/>
                  </a:lnTo>
                  <a:lnTo>
                    <a:pt x="128" y="152"/>
                  </a:lnTo>
                  <a:lnTo>
                    <a:pt x="128" y="152"/>
                  </a:lnTo>
                  <a:lnTo>
                    <a:pt x="128" y="152"/>
                  </a:lnTo>
                  <a:lnTo>
                    <a:pt x="128" y="156"/>
                  </a:lnTo>
                  <a:lnTo>
                    <a:pt x="128" y="156"/>
                  </a:lnTo>
                  <a:lnTo>
                    <a:pt x="128" y="156"/>
                  </a:lnTo>
                  <a:lnTo>
                    <a:pt x="128" y="156"/>
                  </a:lnTo>
                  <a:lnTo>
                    <a:pt x="128" y="160"/>
                  </a:lnTo>
                  <a:lnTo>
                    <a:pt x="128" y="160"/>
                  </a:lnTo>
                  <a:lnTo>
                    <a:pt x="130" y="160"/>
                  </a:lnTo>
                  <a:lnTo>
                    <a:pt x="130" y="160"/>
                  </a:lnTo>
                  <a:lnTo>
                    <a:pt x="130" y="160"/>
                  </a:lnTo>
                  <a:lnTo>
                    <a:pt x="128" y="164"/>
                  </a:lnTo>
                  <a:lnTo>
                    <a:pt x="128" y="164"/>
                  </a:lnTo>
                  <a:lnTo>
                    <a:pt x="128" y="164"/>
                  </a:lnTo>
                  <a:lnTo>
                    <a:pt x="124" y="164"/>
                  </a:lnTo>
                  <a:lnTo>
                    <a:pt x="124" y="164"/>
                  </a:lnTo>
                  <a:lnTo>
                    <a:pt x="124" y="168"/>
                  </a:lnTo>
                  <a:lnTo>
                    <a:pt x="124" y="170"/>
                  </a:lnTo>
                  <a:lnTo>
                    <a:pt x="124" y="170"/>
                  </a:lnTo>
                  <a:lnTo>
                    <a:pt x="128" y="174"/>
                  </a:lnTo>
                  <a:lnTo>
                    <a:pt x="128" y="174"/>
                  </a:lnTo>
                  <a:lnTo>
                    <a:pt x="128" y="174"/>
                  </a:lnTo>
                  <a:lnTo>
                    <a:pt x="124" y="178"/>
                  </a:lnTo>
                  <a:lnTo>
                    <a:pt x="124" y="178"/>
                  </a:lnTo>
                  <a:lnTo>
                    <a:pt x="124" y="178"/>
                  </a:lnTo>
                  <a:lnTo>
                    <a:pt x="120" y="178"/>
                  </a:lnTo>
                  <a:lnTo>
                    <a:pt x="120" y="182"/>
                  </a:lnTo>
                  <a:lnTo>
                    <a:pt x="120" y="186"/>
                  </a:lnTo>
                  <a:lnTo>
                    <a:pt x="120" y="186"/>
                  </a:lnTo>
                  <a:lnTo>
                    <a:pt x="120" y="186"/>
                  </a:lnTo>
                  <a:lnTo>
                    <a:pt x="120" y="186"/>
                  </a:lnTo>
                  <a:lnTo>
                    <a:pt x="120" y="186"/>
                  </a:lnTo>
                  <a:lnTo>
                    <a:pt x="120" y="186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8" y="186"/>
                  </a:lnTo>
                  <a:lnTo>
                    <a:pt x="128" y="186"/>
                  </a:lnTo>
                  <a:lnTo>
                    <a:pt x="128" y="190"/>
                  </a:lnTo>
                  <a:lnTo>
                    <a:pt x="128" y="194"/>
                  </a:lnTo>
                  <a:lnTo>
                    <a:pt x="128" y="198"/>
                  </a:lnTo>
                  <a:lnTo>
                    <a:pt x="130" y="198"/>
                  </a:lnTo>
                  <a:lnTo>
                    <a:pt x="130" y="198"/>
                  </a:lnTo>
                  <a:lnTo>
                    <a:pt x="130" y="200"/>
                  </a:lnTo>
                  <a:lnTo>
                    <a:pt x="130" y="200"/>
                  </a:lnTo>
                  <a:lnTo>
                    <a:pt x="130" y="204"/>
                  </a:lnTo>
                  <a:lnTo>
                    <a:pt x="130" y="204"/>
                  </a:lnTo>
                  <a:lnTo>
                    <a:pt x="130" y="204"/>
                  </a:lnTo>
                  <a:lnTo>
                    <a:pt x="130" y="204"/>
                  </a:lnTo>
                  <a:lnTo>
                    <a:pt x="130" y="204"/>
                  </a:lnTo>
                  <a:lnTo>
                    <a:pt x="130" y="208"/>
                  </a:lnTo>
                  <a:lnTo>
                    <a:pt x="130" y="208"/>
                  </a:lnTo>
                  <a:lnTo>
                    <a:pt x="134" y="208"/>
                  </a:lnTo>
                  <a:lnTo>
                    <a:pt x="134" y="212"/>
                  </a:lnTo>
                  <a:lnTo>
                    <a:pt x="134" y="212"/>
                  </a:lnTo>
                  <a:lnTo>
                    <a:pt x="134" y="216"/>
                  </a:lnTo>
                  <a:lnTo>
                    <a:pt x="134" y="216"/>
                  </a:lnTo>
                  <a:lnTo>
                    <a:pt x="134" y="216"/>
                  </a:lnTo>
                  <a:lnTo>
                    <a:pt x="130" y="216"/>
                  </a:lnTo>
                  <a:lnTo>
                    <a:pt x="128" y="216"/>
                  </a:lnTo>
                  <a:lnTo>
                    <a:pt x="128" y="216"/>
                  </a:lnTo>
                  <a:lnTo>
                    <a:pt x="128" y="216"/>
                  </a:lnTo>
                  <a:lnTo>
                    <a:pt x="128" y="216"/>
                  </a:lnTo>
                  <a:lnTo>
                    <a:pt x="128" y="216"/>
                  </a:lnTo>
                  <a:lnTo>
                    <a:pt x="124" y="216"/>
                  </a:lnTo>
                  <a:lnTo>
                    <a:pt x="124" y="220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20" y="220"/>
                  </a:lnTo>
                  <a:lnTo>
                    <a:pt x="116" y="224"/>
                  </a:lnTo>
                  <a:lnTo>
                    <a:pt x="116" y="224"/>
                  </a:lnTo>
                  <a:lnTo>
                    <a:pt x="116" y="224"/>
                  </a:lnTo>
                  <a:lnTo>
                    <a:pt x="116" y="224"/>
                  </a:lnTo>
                  <a:lnTo>
                    <a:pt x="116" y="224"/>
                  </a:lnTo>
                  <a:lnTo>
                    <a:pt x="116" y="226"/>
                  </a:lnTo>
                  <a:lnTo>
                    <a:pt x="120" y="226"/>
                  </a:lnTo>
                  <a:lnTo>
                    <a:pt x="116" y="226"/>
                  </a:lnTo>
                  <a:lnTo>
                    <a:pt x="116" y="226"/>
                  </a:lnTo>
                  <a:lnTo>
                    <a:pt x="116" y="230"/>
                  </a:lnTo>
                  <a:lnTo>
                    <a:pt x="116" y="230"/>
                  </a:lnTo>
                  <a:lnTo>
                    <a:pt x="116" y="230"/>
                  </a:lnTo>
                  <a:lnTo>
                    <a:pt x="116" y="230"/>
                  </a:lnTo>
                  <a:lnTo>
                    <a:pt x="116" y="230"/>
                  </a:lnTo>
                  <a:lnTo>
                    <a:pt x="116" y="230"/>
                  </a:lnTo>
                  <a:lnTo>
                    <a:pt x="112" y="230"/>
                  </a:lnTo>
                  <a:lnTo>
                    <a:pt x="112" y="230"/>
                  </a:lnTo>
                  <a:lnTo>
                    <a:pt x="112" y="230"/>
                  </a:lnTo>
                  <a:lnTo>
                    <a:pt x="112" y="230"/>
                  </a:lnTo>
                  <a:lnTo>
                    <a:pt x="112" y="234"/>
                  </a:lnTo>
                  <a:lnTo>
                    <a:pt x="112" y="234"/>
                  </a:lnTo>
                  <a:lnTo>
                    <a:pt x="112" y="234"/>
                  </a:lnTo>
                  <a:lnTo>
                    <a:pt x="112" y="234"/>
                  </a:lnTo>
                  <a:lnTo>
                    <a:pt x="112" y="234"/>
                  </a:lnTo>
                  <a:lnTo>
                    <a:pt x="112" y="234"/>
                  </a:lnTo>
                  <a:lnTo>
                    <a:pt x="108" y="238"/>
                  </a:lnTo>
                  <a:lnTo>
                    <a:pt x="108" y="238"/>
                  </a:lnTo>
                  <a:lnTo>
                    <a:pt x="104" y="242"/>
                  </a:lnTo>
                  <a:lnTo>
                    <a:pt x="104" y="242"/>
                  </a:lnTo>
                  <a:lnTo>
                    <a:pt x="104" y="242"/>
                  </a:lnTo>
                  <a:lnTo>
                    <a:pt x="104" y="242"/>
                  </a:lnTo>
                  <a:lnTo>
                    <a:pt x="104" y="242"/>
                  </a:lnTo>
                  <a:lnTo>
                    <a:pt x="104" y="242"/>
                  </a:lnTo>
                  <a:lnTo>
                    <a:pt x="100" y="246"/>
                  </a:lnTo>
                  <a:lnTo>
                    <a:pt x="100" y="246"/>
                  </a:lnTo>
                  <a:lnTo>
                    <a:pt x="100" y="246"/>
                  </a:lnTo>
                  <a:lnTo>
                    <a:pt x="100" y="246"/>
                  </a:lnTo>
                  <a:lnTo>
                    <a:pt x="100" y="250"/>
                  </a:lnTo>
                  <a:lnTo>
                    <a:pt x="98" y="250"/>
                  </a:lnTo>
                  <a:lnTo>
                    <a:pt x="98" y="250"/>
                  </a:lnTo>
                  <a:lnTo>
                    <a:pt x="98" y="250"/>
                  </a:lnTo>
                  <a:lnTo>
                    <a:pt x="98" y="250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0" y="250"/>
                  </a:lnTo>
                  <a:lnTo>
                    <a:pt x="86" y="250"/>
                  </a:lnTo>
                  <a:lnTo>
                    <a:pt x="86" y="250"/>
                  </a:lnTo>
                  <a:lnTo>
                    <a:pt x="82" y="250"/>
                  </a:lnTo>
                  <a:lnTo>
                    <a:pt x="82" y="250"/>
                  </a:lnTo>
                  <a:lnTo>
                    <a:pt x="78" y="250"/>
                  </a:lnTo>
                  <a:lnTo>
                    <a:pt x="78" y="250"/>
                  </a:lnTo>
                  <a:lnTo>
                    <a:pt x="78" y="250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78" y="254"/>
                  </a:lnTo>
                  <a:lnTo>
                    <a:pt x="82" y="256"/>
                  </a:lnTo>
                  <a:lnTo>
                    <a:pt x="82" y="256"/>
                  </a:lnTo>
                  <a:lnTo>
                    <a:pt x="78" y="256"/>
                  </a:lnTo>
                  <a:lnTo>
                    <a:pt x="78" y="256"/>
                  </a:lnTo>
                  <a:lnTo>
                    <a:pt x="78" y="260"/>
                  </a:lnTo>
                  <a:lnTo>
                    <a:pt x="78" y="260"/>
                  </a:lnTo>
                  <a:lnTo>
                    <a:pt x="78" y="260"/>
                  </a:lnTo>
                  <a:lnTo>
                    <a:pt x="78" y="260"/>
                  </a:lnTo>
                  <a:lnTo>
                    <a:pt x="74" y="260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8"/>
                  </a:lnTo>
                  <a:lnTo>
                    <a:pt x="74" y="268"/>
                  </a:lnTo>
                  <a:lnTo>
                    <a:pt x="70" y="268"/>
                  </a:lnTo>
                  <a:lnTo>
                    <a:pt x="70" y="268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4" y="268"/>
                  </a:lnTo>
                  <a:lnTo>
                    <a:pt x="60" y="268"/>
                  </a:lnTo>
                  <a:lnTo>
                    <a:pt x="60" y="268"/>
                  </a:lnTo>
                  <a:lnTo>
                    <a:pt x="60" y="268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56" y="268"/>
                  </a:lnTo>
                  <a:lnTo>
                    <a:pt x="56" y="268"/>
                  </a:lnTo>
                  <a:lnTo>
                    <a:pt x="52" y="272"/>
                  </a:lnTo>
                  <a:lnTo>
                    <a:pt x="52" y="272"/>
                  </a:lnTo>
                  <a:lnTo>
                    <a:pt x="52" y="272"/>
                  </a:lnTo>
                  <a:lnTo>
                    <a:pt x="52" y="272"/>
                  </a:lnTo>
                  <a:lnTo>
                    <a:pt x="52" y="272"/>
                  </a:lnTo>
                  <a:lnTo>
                    <a:pt x="48" y="272"/>
                  </a:lnTo>
                  <a:lnTo>
                    <a:pt x="48" y="272"/>
                  </a:lnTo>
                  <a:lnTo>
                    <a:pt x="48" y="276"/>
                  </a:lnTo>
                  <a:lnTo>
                    <a:pt x="48" y="276"/>
                  </a:lnTo>
                  <a:lnTo>
                    <a:pt x="48" y="276"/>
                  </a:lnTo>
                  <a:lnTo>
                    <a:pt x="48" y="276"/>
                  </a:lnTo>
                  <a:lnTo>
                    <a:pt x="48" y="276"/>
                  </a:lnTo>
                  <a:lnTo>
                    <a:pt x="48" y="276"/>
                  </a:lnTo>
                  <a:lnTo>
                    <a:pt x="44" y="272"/>
                  </a:lnTo>
                  <a:lnTo>
                    <a:pt x="44" y="272"/>
                  </a:lnTo>
                  <a:lnTo>
                    <a:pt x="44" y="268"/>
                  </a:lnTo>
                  <a:lnTo>
                    <a:pt x="44" y="268"/>
                  </a:lnTo>
                  <a:lnTo>
                    <a:pt x="44" y="268"/>
                  </a:lnTo>
                  <a:lnTo>
                    <a:pt x="40" y="272"/>
                  </a:lnTo>
                  <a:lnTo>
                    <a:pt x="40" y="272"/>
                  </a:lnTo>
                  <a:lnTo>
                    <a:pt x="40" y="272"/>
                  </a:lnTo>
                  <a:lnTo>
                    <a:pt x="40" y="272"/>
                  </a:lnTo>
                  <a:lnTo>
                    <a:pt x="40" y="276"/>
                  </a:lnTo>
                  <a:lnTo>
                    <a:pt x="38" y="276"/>
                  </a:lnTo>
                  <a:lnTo>
                    <a:pt x="38" y="276"/>
                  </a:lnTo>
                  <a:lnTo>
                    <a:pt x="38" y="276"/>
                  </a:lnTo>
                  <a:lnTo>
                    <a:pt x="38" y="276"/>
                  </a:lnTo>
                  <a:lnTo>
                    <a:pt x="38" y="276"/>
                  </a:lnTo>
                  <a:lnTo>
                    <a:pt x="38" y="276"/>
                  </a:lnTo>
                  <a:lnTo>
                    <a:pt x="34" y="276"/>
                  </a:lnTo>
                  <a:lnTo>
                    <a:pt x="34" y="276"/>
                  </a:lnTo>
                  <a:lnTo>
                    <a:pt x="34" y="276"/>
                  </a:lnTo>
                  <a:lnTo>
                    <a:pt x="34" y="276"/>
                  </a:lnTo>
                  <a:lnTo>
                    <a:pt x="34" y="276"/>
                  </a:lnTo>
                  <a:lnTo>
                    <a:pt x="30" y="276"/>
                  </a:lnTo>
                  <a:lnTo>
                    <a:pt x="30" y="276"/>
                  </a:lnTo>
                  <a:lnTo>
                    <a:pt x="30" y="276"/>
                  </a:lnTo>
                  <a:lnTo>
                    <a:pt x="30" y="276"/>
                  </a:lnTo>
                  <a:lnTo>
                    <a:pt x="30" y="276"/>
                  </a:lnTo>
                  <a:lnTo>
                    <a:pt x="30" y="276"/>
                  </a:lnTo>
                  <a:lnTo>
                    <a:pt x="30" y="276"/>
                  </a:lnTo>
                  <a:lnTo>
                    <a:pt x="30" y="276"/>
                  </a:lnTo>
                  <a:lnTo>
                    <a:pt x="30" y="272"/>
                  </a:lnTo>
                  <a:lnTo>
                    <a:pt x="30" y="272"/>
                  </a:lnTo>
                  <a:lnTo>
                    <a:pt x="30" y="272"/>
                  </a:lnTo>
                  <a:lnTo>
                    <a:pt x="30" y="272"/>
                  </a:lnTo>
                  <a:lnTo>
                    <a:pt x="30" y="272"/>
                  </a:lnTo>
                  <a:lnTo>
                    <a:pt x="30" y="272"/>
                  </a:lnTo>
                  <a:lnTo>
                    <a:pt x="30" y="272"/>
                  </a:lnTo>
                  <a:lnTo>
                    <a:pt x="30" y="268"/>
                  </a:lnTo>
                  <a:lnTo>
                    <a:pt x="30" y="268"/>
                  </a:lnTo>
                  <a:lnTo>
                    <a:pt x="26" y="268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6" y="260"/>
                  </a:lnTo>
                  <a:lnTo>
                    <a:pt x="26" y="260"/>
                  </a:lnTo>
                  <a:lnTo>
                    <a:pt x="26" y="260"/>
                  </a:lnTo>
                  <a:lnTo>
                    <a:pt x="22" y="256"/>
                  </a:lnTo>
                  <a:lnTo>
                    <a:pt x="22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4" y="250"/>
                  </a:lnTo>
                  <a:lnTo>
                    <a:pt x="14" y="250"/>
                  </a:lnTo>
                  <a:lnTo>
                    <a:pt x="12" y="246"/>
                  </a:lnTo>
                  <a:lnTo>
                    <a:pt x="12" y="246"/>
                  </a:lnTo>
                  <a:lnTo>
                    <a:pt x="12" y="246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8" y="238"/>
                  </a:lnTo>
                  <a:lnTo>
                    <a:pt x="12" y="234"/>
                  </a:lnTo>
                  <a:lnTo>
                    <a:pt x="12" y="234"/>
                  </a:lnTo>
                  <a:lnTo>
                    <a:pt x="12" y="234"/>
                  </a:lnTo>
                  <a:lnTo>
                    <a:pt x="12" y="234"/>
                  </a:lnTo>
                  <a:lnTo>
                    <a:pt x="12" y="234"/>
                  </a:lnTo>
                  <a:lnTo>
                    <a:pt x="12" y="234"/>
                  </a:lnTo>
                  <a:lnTo>
                    <a:pt x="12" y="234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97" name="Freeform 137">
              <a:extLst>
                <a:ext uri="{FF2B5EF4-FFF2-40B4-BE49-F238E27FC236}">
                  <a16:creationId xmlns:a16="http://schemas.microsoft.com/office/drawing/2014/main" id="{64845140-FA27-E939-244F-EECD187D42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85440" y="4540697"/>
              <a:ext cx="35068" cy="26397"/>
            </a:xfrm>
            <a:custGeom>
              <a:avLst/>
              <a:gdLst>
                <a:gd name="T0" fmla="*/ 2 w 18"/>
                <a:gd name="T1" fmla="*/ 8 h 14"/>
                <a:gd name="T2" fmla="*/ 0 w 18"/>
                <a:gd name="T3" fmla="*/ 8 h 14"/>
                <a:gd name="T4" fmla="*/ 0 w 18"/>
                <a:gd name="T5" fmla="*/ 8 h 14"/>
                <a:gd name="T6" fmla="*/ 0 w 18"/>
                <a:gd name="T7" fmla="*/ 4 h 14"/>
                <a:gd name="T8" fmla="*/ 0 w 18"/>
                <a:gd name="T9" fmla="*/ 4 h 14"/>
                <a:gd name="T10" fmla="*/ 0 w 18"/>
                <a:gd name="T11" fmla="*/ 4 h 14"/>
                <a:gd name="T12" fmla="*/ 0 w 18"/>
                <a:gd name="T13" fmla="*/ 0 h 14"/>
                <a:gd name="T14" fmla="*/ 0 w 18"/>
                <a:gd name="T15" fmla="*/ 0 h 14"/>
                <a:gd name="T16" fmla="*/ 0 w 18"/>
                <a:gd name="T17" fmla="*/ 0 h 14"/>
                <a:gd name="T18" fmla="*/ 0 w 18"/>
                <a:gd name="T19" fmla="*/ 0 h 14"/>
                <a:gd name="T20" fmla="*/ 2 w 18"/>
                <a:gd name="T21" fmla="*/ 0 h 14"/>
                <a:gd name="T22" fmla="*/ 2 w 18"/>
                <a:gd name="T23" fmla="*/ 0 h 14"/>
                <a:gd name="T24" fmla="*/ 2 w 18"/>
                <a:gd name="T25" fmla="*/ 0 h 14"/>
                <a:gd name="T26" fmla="*/ 2 w 18"/>
                <a:gd name="T27" fmla="*/ 4 h 14"/>
                <a:gd name="T28" fmla="*/ 2 w 18"/>
                <a:gd name="T29" fmla="*/ 4 h 14"/>
                <a:gd name="T30" fmla="*/ 2 w 18"/>
                <a:gd name="T31" fmla="*/ 8 h 14"/>
                <a:gd name="T32" fmla="*/ 2 w 18"/>
                <a:gd name="T33" fmla="*/ 8 h 14"/>
                <a:gd name="T34" fmla="*/ 2 w 18"/>
                <a:gd name="T35" fmla="*/ 8 h 14"/>
                <a:gd name="T36" fmla="*/ 18 w 18"/>
                <a:gd name="T37" fmla="*/ 14 h 14"/>
                <a:gd name="T38" fmla="*/ 18 w 18"/>
                <a:gd name="T39" fmla="*/ 14 h 14"/>
                <a:gd name="T40" fmla="*/ 14 w 18"/>
                <a:gd name="T41" fmla="*/ 14 h 14"/>
                <a:gd name="T42" fmla="*/ 14 w 18"/>
                <a:gd name="T43" fmla="*/ 14 h 14"/>
                <a:gd name="T44" fmla="*/ 14 w 18"/>
                <a:gd name="T45" fmla="*/ 14 h 14"/>
                <a:gd name="T46" fmla="*/ 14 w 18"/>
                <a:gd name="T47" fmla="*/ 10 h 14"/>
                <a:gd name="T48" fmla="*/ 14 w 18"/>
                <a:gd name="T49" fmla="*/ 10 h 14"/>
                <a:gd name="T50" fmla="*/ 14 w 18"/>
                <a:gd name="T51" fmla="*/ 14 h 14"/>
                <a:gd name="T52" fmla="*/ 14 w 18"/>
                <a:gd name="T53" fmla="*/ 10 h 14"/>
                <a:gd name="T54" fmla="*/ 18 w 18"/>
                <a:gd name="T55" fmla="*/ 10 h 14"/>
                <a:gd name="T56" fmla="*/ 18 w 18"/>
                <a:gd name="T57" fmla="*/ 10 h 14"/>
                <a:gd name="T58" fmla="*/ 18 w 18"/>
                <a:gd name="T59" fmla="*/ 10 h 14"/>
                <a:gd name="T60" fmla="*/ 18 w 18"/>
                <a:gd name="T61" fmla="*/ 10 h 14"/>
                <a:gd name="T62" fmla="*/ 18 w 18"/>
                <a:gd name="T63" fmla="*/ 10 h 14"/>
                <a:gd name="T64" fmla="*/ 18 w 18"/>
                <a:gd name="T65" fmla="*/ 14 h 14"/>
                <a:gd name="T66" fmla="*/ 18 w 18"/>
                <a:gd name="T67" fmla="*/ 14 h 14"/>
                <a:gd name="T68" fmla="*/ 18 w 18"/>
                <a:gd name="T69" fmla="*/ 14 h 14"/>
                <a:gd name="T70" fmla="*/ 6 w 18"/>
                <a:gd name="T71" fmla="*/ 14 h 14"/>
                <a:gd name="T72" fmla="*/ 6 w 18"/>
                <a:gd name="T73" fmla="*/ 14 h 14"/>
                <a:gd name="T74" fmla="*/ 6 w 18"/>
                <a:gd name="T75" fmla="*/ 14 h 14"/>
                <a:gd name="T76" fmla="*/ 6 w 18"/>
                <a:gd name="T77" fmla="*/ 14 h 14"/>
                <a:gd name="T78" fmla="*/ 6 w 18"/>
                <a:gd name="T79" fmla="*/ 14 h 14"/>
                <a:gd name="T80" fmla="*/ 6 w 18"/>
                <a:gd name="T81" fmla="*/ 14 h 14"/>
                <a:gd name="T82" fmla="*/ 6 w 18"/>
                <a:gd name="T83" fmla="*/ 14 h 14"/>
                <a:gd name="T84" fmla="*/ 6 w 18"/>
                <a:gd name="T85" fmla="*/ 14 h 14"/>
                <a:gd name="T86" fmla="*/ 6 w 18"/>
                <a:gd name="T87" fmla="*/ 14 h 14"/>
                <a:gd name="T88" fmla="*/ 6 w 18"/>
                <a:gd name="T89" fmla="*/ 14 h 14"/>
                <a:gd name="T90" fmla="*/ 6 w 18"/>
                <a:gd name="T9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" h="14">
                  <a:moveTo>
                    <a:pt x="2" y="8"/>
                  </a:moveTo>
                  <a:lnTo>
                    <a:pt x="2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close/>
                  <a:moveTo>
                    <a:pt x="18" y="14"/>
                  </a:move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close/>
                  <a:moveTo>
                    <a:pt x="6" y="14"/>
                  </a:move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98" name="Freeform 138">
              <a:extLst>
                <a:ext uri="{FF2B5EF4-FFF2-40B4-BE49-F238E27FC236}">
                  <a16:creationId xmlns:a16="http://schemas.microsoft.com/office/drawing/2014/main" id="{C244E5B1-9244-A054-9624-FE5524390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7052" y="4046694"/>
              <a:ext cx="210408" cy="282826"/>
            </a:xfrm>
            <a:custGeom>
              <a:avLst/>
              <a:gdLst>
                <a:gd name="T0" fmla="*/ 64 w 108"/>
                <a:gd name="T1" fmla="*/ 138 h 150"/>
                <a:gd name="T2" fmla="*/ 56 w 108"/>
                <a:gd name="T3" fmla="*/ 146 h 150"/>
                <a:gd name="T4" fmla="*/ 48 w 108"/>
                <a:gd name="T5" fmla="*/ 150 h 150"/>
                <a:gd name="T6" fmla="*/ 48 w 108"/>
                <a:gd name="T7" fmla="*/ 138 h 150"/>
                <a:gd name="T8" fmla="*/ 38 w 108"/>
                <a:gd name="T9" fmla="*/ 142 h 150"/>
                <a:gd name="T10" fmla="*/ 34 w 108"/>
                <a:gd name="T11" fmla="*/ 150 h 150"/>
                <a:gd name="T12" fmla="*/ 30 w 108"/>
                <a:gd name="T13" fmla="*/ 146 h 150"/>
                <a:gd name="T14" fmla="*/ 22 w 108"/>
                <a:gd name="T15" fmla="*/ 142 h 150"/>
                <a:gd name="T16" fmla="*/ 16 w 108"/>
                <a:gd name="T17" fmla="*/ 150 h 150"/>
                <a:gd name="T18" fmla="*/ 12 w 108"/>
                <a:gd name="T19" fmla="*/ 142 h 150"/>
                <a:gd name="T20" fmla="*/ 4 w 108"/>
                <a:gd name="T21" fmla="*/ 138 h 150"/>
                <a:gd name="T22" fmla="*/ 0 w 108"/>
                <a:gd name="T23" fmla="*/ 130 h 150"/>
                <a:gd name="T24" fmla="*/ 12 w 108"/>
                <a:gd name="T25" fmla="*/ 128 h 150"/>
                <a:gd name="T26" fmla="*/ 8 w 108"/>
                <a:gd name="T27" fmla="*/ 120 h 150"/>
                <a:gd name="T28" fmla="*/ 8 w 108"/>
                <a:gd name="T29" fmla="*/ 116 h 150"/>
                <a:gd name="T30" fmla="*/ 8 w 108"/>
                <a:gd name="T31" fmla="*/ 106 h 150"/>
                <a:gd name="T32" fmla="*/ 16 w 108"/>
                <a:gd name="T33" fmla="*/ 106 h 150"/>
                <a:gd name="T34" fmla="*/ 18 w 108"/>
                <a:gd name="T35" fmla="*/ 102 h 150"/>
                <a:gd name="T36" fmla="*/ 26 w 108"/>
                <a:gd name="T37" fmla="*/ 98 h 150"/>
                <a:gd name="T38" fmla="*/ 30 w 108"/>
                <a:gd name="T39" fmla="*/ 106 h 150"/>
                <a:gd name="T40" fmla="*/ 38 w 108"/>
                <a:gd name="T41" fmla="*/ 106 h 150"/>
                <a:gd name="T42" fmla="*/ 42 w 108"/>
                <a:gd name="T43" fmla="*/ 110 h 150"/>
                <a:gd name="T44" fmla="*/ 46 w 108"/>
                <a:gd name="T45" fmla="*/ 102 h 150"/>
                <a:gd name="T46" fmla="*/ 48 w 108"/>
                <a:gd name="T47" fmla="*/ 94 h 150"/>
                <a:gd name="T48" fmla="*/ 48 w 108"/>
                <a:gd name="T49" fmla="*/ 84 h 150"/>
                <a:gd name="T50" fmla="*/ 46 w 108"/>
                <a:gd name="T51" fmla="*/ 76 h 150"/>
                <a:gd name="T52" fmla="*/ 42 w 108"/>
                <a:gd name="T53" fmla="*/ 68 h 150"/>
                <a:gd name="T54" fmla="*/ 42 w 108"/>
                <a:gd name="T55" fmla="*/ 58 h 150"/>
                <a:gd name="T56" fmla="*/ 48 w 108"/>
                <a:gd name="T57" fmla="*/ 50 h 150"/>
                <a:gd name="T58" fmla="*/ 42 w 108"/>
                <a:gd name="T59" fmla="*/ 42 h 150"/>
                <a:gd name="T60" fmla="*/ 34 w 108"/>
                <a:gd name="T61" fmla="*/ 46 h 150"/>
                <a:gd name="T62" fmla="*/ 30 w 108"/>
                <a:gd name="T63" fmla="*/ 38 h 150"/>
                <a:gd name="T64" fmla="*/ 38 w 108"/>
                <a:gd name="T65" fmla="*/ 30 h 150"/>
                <a:gd name="T66" fmla="*/ 52 w 108"/>
                <a:gd name="T67" fmla="*/ 30 h 150"/>
                <a:gd name="T68" fmla="*/ 64 w 108"/>
                <a:gd name="T69" fmla="*/ 30 h 150"/>
                <a:gd name="T70" fmla="*/ 72 w 108"/>
                <a:gd name="T71" fmla="*/ 34 h 150"/>
                <a:gd name="T72" fmla="*/ 72 w 108"/>
                <a:gd name="T73" fmla="*/ 30 h 150"/>
                <a:gd name="T74" fmla="*/ 74 w 108"/>
                <a:gd name="T75" fmla="*/ 24 h 150"/>
                <a:gd name="T76" fmla="*/ 78 w 108"/>
                <a:gd name="T77" fmla="*/ 16 h 150"/>
                <a:gd name="T78" fmla="*/ 78 w 108"/>
                <a:gd name="T79" fmla="*/ 8 h 150"/>
                <a:gd name="T80" fmla="*/ 86 w 108"/>
                <a:gd name="T81" fmla="*/ 4 h 150"/>
                <a:gd name="T82" fmla="*/ 90 w 108"/>
                <a:gd name="T83" fmla="*/ 4 h 150"/>
                <a:gd name="T84" fmla="*/ 102 w 108"/>
                <a:gd name="T85" fmla="*/ 4 h 150"/>
                <a:gd name="T86" fmla="*/ 104 w 108"/>
                <a:gd name="T87" fmla="*/ 4 h 150"/>
                <a:gd name="T88" fmla="*/ 108 w 108"/>
                <a:gd name="T89" fmla="*/ 12 h 150"/>
                <a:gd name="T90" fmla="*/ 104 w 108"/>
                <a:gd name="T91" fmla="*/ 20 h 150"/>
                <a:gd name="T92" fmla="*/ 102 w 108"/>
                <a:gd name="T93" fmla="*/ 28 h 150"/>
                <a:gd name="T94" fmla="*/ 102 w 108"/>
                <a:gd name="T95" fmla="*/ 38 h 150"/>
                <a:gd name="T96" fmla="*/ 98 w 108"/>
                <a:gd name="T97" fmla="*/ 54 h 150"/>
                <a:gd name="T98" fmla="*/ 98 w 108"/>
                <a:gd name="T99" fmla="*/ 64 h 150"/>
                <a:gd name="T100" fmla="*/ 94 w 108"/>
                <a:gd name="T101" fmla="*/ 72 h 150"/>
                <a:gd name="T102" fmla="*/ 90 w 108"/>
                <a:gd name="T103" fmla="*/ 84 h 150"/>
                <a:gd name="T104" fmla="*/ 82 w 108"/>
                <a:gd name="T105" fmla="*/ 90 h 150"/>
                <a:gd name="T106" fmla="*/ 78 w 108"/>
                <a:gd name="T107" fmla="*/ 98 h 150"/>
                <a:gd name="T108" fmla="*/ 72 w 108"/>
                <a:gd name="T109" fmla="*/ 102 h 150"/>
                <a:gd name="T110" fmla="*/ 74 w 108"/>
                <a:gd name="T111" fmla="*/ 114 h 150"/>
                <a:gd name="T112" fmla="*/ 72 w 108"/>
                <a:gd name="T113" fmla="*/ 120 h 150"/>
                <a:gd name="T114" fmla="*/ 72 w 108"/>
                <a:gd name="T115" fmla="*/ 128 h 150"/>
                <a:gd name="T116" fmla="*/ 68 w 108"/>
                <a:gd name="T117" fmla="*/ 13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8" h="150">
                  <a:moveTo>
                    <a:pt x="68" y="134"/>
                  </a:moveTo>
                  <a:lnTo>
                    <a:pt x="64" y="134"/>
                  </a:lnTo>
                  <a:lnTo>
                    <a:pt x="64" y="138"/>
                  </a:lnTo>
                  <a:lnTo>
                    <a:pt x="60" y="138"/>
                  </a:lnTo>
                  <a:lnTo>
                    <a:pt x="56" y="142"/>
                  </a:lnTo>
                  <a:lnTo>
                    <a:pt x="56" y="146"/>
                  </a:lnTo>
                  <a:lnTo>
                    <a:pt x="52" y="146"/>
                  </a:lnTo>
                  <a:lnTo>
                    <a:pt x="52" y="150"/>
                  </a:lnTo>
                  <a:lnTo>
                    <a:pt x="48" y="150"/>
                  </a:lnTo>
                  <a:lnTo>
                    <a:pt x="48" y="146"/>
                  </a:lnTo>
                  <a:lnTo>
                    <a:pt x="48" y="142"/>
                  </a:lnTo>
                  <a:lnTo>
                    <a:pt x="48" y="138"/>
                  </a:lnTo>
                  <a:lnTo>
                    <a:pt x="46" y="138"/>
                  </a:lnTo>
                  <a:lnTo>
                    <a:pt x="42" y="142"/>
                  </a:lnTo>
                  <a:lnTo>
                    <a:pt x="38" y="142"/>
                  </a:lnTo>
                  <a:lnTo>
                    <a:pt x="38" y="146"/>
                  </a:lnTo>
                  <a:lnTo>
                    <a:pt x="34" y="146"/>
                  </a:lnTo>
                  <a:lnTo>
                    <a:pt x="34" y="150"/>
                  </a:lnTo>
                  <a:lnTo>
                    <a:pt x="30" y="146"/>
                  </a:lnTo>
                  <a:lnTo>
                    <a:pt x="30" y="142"/>
                  </a:lnTo>
                  <a:lnTo>
                    <a:pt x="30" y="146"/>
                  </a:lnTo>
                  <a:lnTo>
                    <a:pt x="26" y="146"/>
                  </a:lnTo>
                  <a:lnTo>
                    <a:pt x="26" y="142"/>
                  </a:lnTo>
                  <a:lnTo>
                    <a:pt x="22" y="142"/>
                  </a:lnTo>
                  <a:lnTo>
                    <a:pt x="18" y="146"/>
                  </a:lnTo>
                  <a:lnTo>
                    <a:pt x="16" y="146"/>
                  </a:lnTo>
                  <a:lnTo>
                    <a:pt x="16" y="150"/>
                  </a:lnTo>
                  <a:lnTo>
                    <a:pt x="12" y="150"/>
                  </a:lnTo>
                  <a:lnTo>
                    <a:pt x="12" y="146"/>
                  </a:lnTo>
                  <a:lnTo>
                    <a:pt x="12" y="142"/>
                  </a:lnTo>
                  <a:lnTo>
                    <a:pt x="8" y="142"/>
                  </a:lnTo>
                  <a:lnTo>
                    <a:pt x="8" y="138"/>
                  </a:lnTo>
                  <a:lnTo>
                    <a:pt x="4" y="138"/>
                  </a:lnTo>
                  <a:lnTo>
                    <a:pt x="4" y="134"/>
                  </a:lnTo>
                  <a:lnTo>
                    <a:pt x="0" y="134"/>
                  </a:lnTo>
                  <a:lnTo>
                    <a:pt x="0" y="130"/>
                  </a:lnTo>
                  <a:lnTo>
                    <a:pt x="4" y="128"/>
                  </a:lnTo>
                  <a:lnTo>
                    <a:pt x="8" y="128"/>
                  </a:lnTo>
                  <a:lnTo>
                    <a:pt x="12" y="128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8" y="120"/>
                  </a:lnTo>
                  <a:lnTo>
                    <a:pt x="12" y="116"/>
                  </a:lnTo>
                  <a:lnTo>
                    <a:pt x="8" y="114"/>
                  </a:lnTo>
                  <a:lnTo>
                    <a:pt x="8" y="116"/>
                  </a:lnTo>
                  <a:lnTo>
                    <a:pt x="8" y="114"/>
                  </a:lnTo>
                  <a:lnTo>
                    <a:pt x="8" y="110"/>
                  </a:lnTo>
                  <a:lnTo>
                    <a:pt x="8" y="106"/>
                  </a:lnTo>
                  <a:lnTo>
                    <a:pt x="12" y="110"/>
                  </a:lnTo>
                  <a:lnTo>
                    <a:pt x="12" y="106"/>
                  </a:lnTo>
                  <a:lnTo>
                    <a:pt x="16" y="106"/>
                  </a:lnTo>
                  <a:lnTo>
                    <a:pt x="16" y="110"/>
                  </a:lnTo>
                  <a:lnTo>
                    <a:pt x="18" y="106"/>
                  </a:lnTo>
                  <a:lnTo>
                    <a:pt x="18" y="102"/>
                  </a:lnTo>
                  <a:lnTo>
                    <a:pt x="18" y="98"/>
                  </a:lnTo>
                  <a:lnTo>
                    <a:pt x="22" y="98"/>
                  </a:lnTo>
                  <a:lnTo>
                    <a:pt x="26" y="98"/>
                  </a:lnTo>
                  <a:lnTo>
                    <a:pt x="26" y="102"/>
                  </a:lnTo>
                  <a:lnTo>
                    <a:pt x="26" y="106"/>
                  </a:lnTo>
                  <a:lnTo>
                    <a:pt x="30" y="106"/>
                  </a:lnTo>
                  <a:lnTo>
                    <a:pt x="34" y="110"/>
                  </a:lnTo>
                  <a:lnTo>
                    <a:pt x="34" y="106"/>
                  </a:lnTo>
                  <a:lnTo>
                    <a:pt x="38" y="106"/>
                  </a:lnTo>
                  <a:lnTo>
                    <a:pt x="38" y="102"/>
                  </a:lnTo>
                  <a:lnTo>
                    <a:pt x="42" y="106"/>
                  </a:lnTo>
                  <a:lnTo>
                    <a:pt x="42" y="110"/>
                  </a:lnTo>
                  <a:lnTo>
                    <a:pt x="46" y="110"/>
                  </a:lnTo>
                  <a:lnTo>
                    <a:pt x="46" y="106"/>
                  </a:lnTo>
                  <a:lnTo>
                    <a:pt x="46" y="102"/>
                  </a:lnTo>
                  <a:lnTo>
                    <a:pt x="46" y="98"/>
                  </a:lnTo>
                  <a:lnTo>
                    <a:pt x="48" y="98"/>
                  </a:lnTo>
                  <a:lnTo>
                    <a:pt x="48" y="94"/>
                  </a:lnTo>
                  <a:lnTo>
                    <a:pt x="48" y="90"/>
                  </a:lnTo>
                  <a:lnTo>
                    <a:pt x="48" y="86"/>
                  </a:lnTo>
                  <a:lnTo>
                    <a:pt x="48" y="84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6" y="76"/>
                  </a:lnTo>
                  <a:lnTo>
                    <a:pt x="46" y="72"/>
                  </a:lnTo>
                  <a:lnTo>
                    <a:pt x="42" y="72"/>
                  </a:lnTo>
                  <a:lnTo>
                    <a:pt x="42" y="68"/>
                  </a:lnTo>
                  <a:lnTo>
                    <a:pt x="42" y="64"/>
                  </a:lnTo>
                  <a:lnTo>
                    <a:pt x="42" y="60"/>
                  </a:lnTo>
                  <a:lnTo>
                    <a:pt x="42" y="58"/>
                  </a:lnTo>
                  <a:lnTo>
                    <a:pt x="46" y="58"/>
                  </a:lnTo>
                  <a:lnTo>
                    <a:pt x="48" y="54"/>
                  </a:lnTo>
                  <a:lnTo>
                    <a:pt x="48" y="50"/>
                  </a:lnTo>
                  <a:lnTo>
                    <a:pt x="46" y="46"/>
                  </a:lnTo>
                  <a:lnTo>
                    <a:pt x="46" y="42"/>
                  </a:lnTo>
                  <a:lnTo>
                    <a:pt x="42" y="42"/>
                  </a:lnTo>
                  <a:lnTo>
                    <a:pt x="38" y="42"/>
                  </a:lnTo>
                  <a:lnTo>
                    <a:pt x="38" y="46"/>
                  </a:lnTo>
                  <a:lnTo>
                    <a:pt x="34" y="46"/>
                  </a:lnTo>
                  <a:lnTo>
                    <a:pt x="30" y="46"/>
                  </a:lnTo>
                  <a:lnTo>
                    <a:pt x="30" y="42"/>
                  </a:lnTo>
                  <a:lnTo>
                    <a:pt x="30" y="38"/>
                  </a:lnTo>
                  <a:lnTo>
                    <a:pt x="30" y="34"/>
                  </a:lnTo>
                  <a:lnTo>
                    <a:pt x="30" y="30"/>
                  </a:lnTo>
                  <a:lnTo>
                    <a:pt x="38" y="30"/>
                  </a:lnTo>
                  <a:lnTo>
                    <a:pt x="46" y="30"/>
                  </a:lnTo>
                  <a:lnTo>
                    <a:pt x="48" y="30"/>
                  </a:lnTo>
                  <a:lnTo>
                    <a:pt x="52" y="30"/>
                  </a:lnTo>
                  <a:lnTo>
                    <a:pt x="56" y="30"/>
                  </a:lnTo>
                  <a:lnTo>
                    <a:pt x="60" y="30"/>
                  </a:lnTo>
                  <a:lnTo>
                    <a:pt x="64" y="30"/>
                  </a:lnTo>
                  <a:lnTo>
                    <a:pt x="64" y="34"/>
                  </a:lnTo>
                  <a:lnTo>
                    <a:pt x="68" y="34"/>
                  </a:lnTo>
                  <a:lnTo>
                    <a:pt x="72" y="34"/>
                  </a:lnTo>
                  <a:lnTo>
                    <a:pt x="72" y="38"/>
                  </a:lnTo>
                  <a:lnTo>
                    <a:pt x="72" y="34"/>
                  </a:lnTo>
                  <a:lnTo>
                    <a:pt x="72" y="30"/>
                  </a:lnTo>
                  <a:lnTo>
                    <a:pt x="72" y="28"/>
                  </a:lnTo>
                  <a:lnTo>
                    <a:pt x="74" y="28"/>
                  </a:lnTo>
                  <a:lnTo>
                    <a:pt x="74" y="24"/>
                  </a:lnTo>
                  <a:lnTo>
                    <a:pt x="74" y="20"/>
                  </a:lnTo>
                  <a:lnTo>
                    <a:pt x="78" y="20"/>
                  </a:lnTo>
                  <a:lnTo>
                    <a:pt x="78" y="16"/>
                  </a:lnTo>
                  <a:lnTo>
                    <a:pt x="74" y="16"/>
                  </a:lnTo>
                  <a:lnTo>
                    <a:pt x="78" y="12"/>
                  </a:lnTo>
                  <a:lnTo>
                    <a:pt x="78" y="8"/>
                  </a:lnTo>
                  <a:lnTo>
                    <a:pt x="78" y="4"/>
                  </a:lnTo>
                  <a:lnTo>
                    <a:pt x="82" y="4"/>
                  </a:lnTo>
                  <a:lnTo>
                    <a:pt x="86" y="4"/>
                  </a:lnTo>
                  <a:lnTo>
                    <a:pt x="90" y="4"/>
                  </a:lnTo>
                  <a:lnTo>
                    <a:pt x="90" y="0"/>
                  </a:lnTo>
                  <a:lnTo>
                    <a:pt x="90" y="4"/>
                  </a:lnTo>
                  <a:lnTo>
                    <a:pt x="94" y="4"/>
                  </a:lnTo>
                  <a:lnTo>
                    <a:pt x="98" y="4"/>
                  </a:lnTo>
                  <a:lnTo>
                    <a:pt x="102" y="4"/>
                  </a:lnTo>
                  <a:lnTo>
                    <a:pt x="102" y="8"/>
                  </a:lnTo>
                  <a:lnTo>
                    <a:pt x="102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12"/>
                  </a:lnTo>
                  <a:lnTo>
                    <a:pt x="104" y="12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2" y="24"/>
                  </a:lnTo>
                  <a:lnTo>
                    <a:pt x="102" y="28"/>
                  </a:lnTo>
                  <a:lnTo>
                    <a:pt x="102" y="30"/>
                  </a:lnTo>
                  <a:lnTo>
                    <a:pt x="102" y="34"/>
                  </a:lnTo>
                  <a:lnTo>
                    <a:pt x="102" y="38"/>
                  </a:lnTo>
                  <a:lnTo>
                    <a:pt x="98" y="46"/>
                  </a:lnTo>
                  <a:lnTo>
                    <a:pt x="98" y="50"/>
                  </a:lnTo>
                  <a:lnTo>
                    <a:pt x="98" y="54"/>
                  </a:lnTo>
                  <a:lnTo>
                    <a:pt x="98" y="58"/>
                  </a:lnTo>
                  <a:lnTo>
                    <a:pt x="98" y="60"/>
                  </a:lnTo>
                  <a:lnTo>
                    <a:pt x="98" y="64"/>
                  </a:lnTo>
                  <a:lnTo>
                    <a:pt x="94" y="64"/>
                  </a:lnTo>
                  <a:lnTo>
                    <a:pt x="94" y="68"/>
                  </a:lnTo>
                  <a:lnTo>
                    <a:pt x="94" y="72"/>
                  </a:lnTo>
                  <a:lnTo>
                    <a:pt x="94" y="76"/>
                  </a:lnTo>
                  <a:lnTo>
                    <a:pt x="94" y="80"/>
                  </a:lnTo>
                  <a:lnTo>
                    <a:pt x="90" y="84"/>
                  </a:lnTo>
                  <a:lnTo>
                    <a:pt x="86" y="84"/>
                  </a:lnTo>
                  <a:lnTo>
                    <a:pt x="82" y="86"/>
                  </a:lnTo>
                  <a:lnTo>
                    <a:pt x="82" y="90"/>
                  </a:lnTo>
                  <a:lnTo>
                    <a:pt x="78" y="90"/>
                  </a:lnTo>
                  <a:lnTo>
                    <a:pt x="78" y="94"/>
                  </a:lnTo>
                  <a:lnTo>
                    <a:pt x="78" y="98"/>
                  </a:lnTo>
                  <a:lnTo>
                    <a:pt x="74" y="98"/>
                  </a:lnTo>
                  <a:lnTo>
                    <a:pt x="74" y="102"/>
                  </a:lnTo>
                  <a:lnTo>
                    <a:pt x="72" y="102"/>
                  </a:lnTo>
                  <a:lnTo>
                    <a:pt x="72" y="106"/>
                  </a:lnTo>
                  <a:lnTo>
                    <a:pt x="74" y="110"/>
                  </a:lnTo>
                  <a:lnTo>
                    <a:pt x="74" y="114"/>
                  </a:lnTo>
                  <a:lnTo>
                    <a:pt x="72" y="114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74" y="124"/>
                  </a:lnTo>
                  <a:lnTo>
                    <a:pt x="72" y="124"/>
                  </a:lnTo>
                  <a:lnTo>
                    <a:pt x="72" y="128"/>
                  </a:lnTo>
                  <a:lnTo>
                    <a:pt x="72" y="130"/>
                  </a:lnTo>
                  <a:lnTo>
                    <a:pt x="68" y="130"/>
                  </a:lnTo>
                  <a:lnTo>
                    <a:pt x="68" y="134"/>
                  </a:lnTo>
                  <a:lnTo>
                    <a:pt x="68" y="134"/>
                  </a:lnTo>
                  <a:lnTo>
                    <a:pt x="68" y="134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399" name="Freeform 139">
              <a:extLst>
                <a:ext uri="{FF2B5EF4-FFF2-40B4-BE49-F238E27FC236}">
                  <a16:creationId xmlns:a16="http://schemas.microsoft.com/office/drawing/2014/main" id="{66C17D67-FB9D-0EF7-D3CC-F5FD535B2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327" y="3997671"/>
              <a:ext cx="533812" cy="607133"/>
            </a:xfrm>
            <a:custGeom>
              <a:avLst/>
              <a:gdLst>
                <a:gd name="T0" fmla="*/ 30 w 274"/>
                <a:gd name="T1" fmla="*/ 194 h 322"/>
                <a:gd name="T2" fmla="*/ 12 w 274"/>
                <a:gd name="T3" fmla="*/ 190 h 322"/>
                <a:gd name="T4" fmla="*/ 4 w 274"/>
                <a:gd name="T5" fmla="*/ 190 h 322"/>
                <a:gd name="T6" fmla="*/ 16 w 274"/>
                <a:gd name="T7" fmla="*/ 172 h 322"/>
                <a:gd name="T8" fmla="*/ 24 w 274"/>
                <a:gd name="T9" fmla="*/ 168 h 322"/>
                <a:gd name="T10" fmla="*/ 34 w 274"/>
                <a:gd name="T11" fmla="*/ 176 h 322"/>
                <a:gd name="T12" fmla="*/ 50 w 274"/>
                <a:gd name="T13" fmla="*/ 164 h 322"/>
                <a:gd name="T14" fmla="*/ 56 w 274"/>
                <a:gd name="T15" fmla="*/ 150 h 322"/>
                <a:gd name="T16" fmla="*/ 60 w 274"/>
                <a:gd name="T17" fmla="*/ 136 h 322"/>
                <a:gd name="T18" fmla="*/ 64 w 274"/>
                <a:gd name="T19" fmla="*/ 120 h 322"/>
                <a:gd name="T20" fmla="*/ 80 w 274"/>
                <a:gd name="T21" fmla="*/ 106 h 322"/>
                <a:gd name="T22" fmla="*/ 84 w 274"/>
                <a:gd name="T23" fmla="*/ 86 h 322"/>
                <a:gd name="T24" fmla="*/ 86 w 274"/>
                <a:gd name="T25" fmla="*/ 60 h 322"/>
                <a:gd name="T26" fmla="*/ 90 w 274"/>
                <a:gd name="T27" fmla="*/ 42 h 322"/>
                <a:gd name="T28" fmla="*/ 94 w 274"/>
                <a:gd name="T29" fmla="*/ 24 h 322"/>
                <a:gd name="T30" fmla="*/ 98 w 274"/>
                <a:gd name="T31" fmla="*/ 12 h 322"/>
                <a:gd name="T32" fmla="*/ 114 w 274"/>
                <a:gd name="T33" fmla="*/ 8 h 322"/>
                <a:gd name="T34" fmla="*/ 128 w 274"/>
                <a:gd name="T35" fmla="*/ 16 h 322"/>
                <a:gd name="T36" fmla="*/ 146 w 274"/>
                <a:gd name="T37" fmla="*/ 24 h 322"/>
                <a:gd name="T38" fmla="*/ 154 w 274"/>
                <a:gd name="T39" fmla="*/ 8 h 322"/>
                <a:gd name="T40" fmla="*/ 172 w 274"/>
                <a:gd name="T41" fmla="*/ 8 h 322"/>
                <a:gd name="T42" fmla="*/ 188 w 274"/>
                <a:gd name="T43" fmla="*/ 8 h 322"/>
                <a:gd name="T44" fmla="*/ 200 w 274"/>
                <a:gd name="T45" fmla="*/ 4 h 322"/>
                <a:gd name="T46" fmla="*/ 214 w 274"/>
                <a:gd name="T47" fmla="*/ 4 h 322"/>
                <a:gd name="T48" fmla="*/ 228 w 274"/>
                <a:gd name="T49" fmla="*/ 16 h 322"/>
                <a:gd name="T50" fmla="*/ 244 w 274"/>
                <a:gd name="T51" fmla="*/ 16 h 322"/>
                <a:gd name="T52" fmla="*/ 250 w 274"/>
                <a:gd name="T53" fmla="*/ 16 h 322"/>
                <a:gd name="T54" fmla="*/ 262 w 274"/>
                <a:gd name="T55" fmla="*/ 28 h 322"/>
                <a:gd name="T56" fmla="*/ 266 w 274"/>
                <a:gd name="T57" fmla="*/ 46 h 322"/>
                <a:gd name="T58" fmla="*/ 270 w 274"/>
                <a:gd name="T59" fmla="*/ 58 h 322"/>
                <a:gd name="T60" fmla="*/ 258 w 274"/>
                <a:gd name="T61" fmla="*/ 76 h 322"/>
                <a:gd name="T62" fmla="*/ 250 w 274"/>
                <a:gd name="T63" fmla="*/ 90 h 322"/>
                <a:gd name="T64" fmla="*/ 246 w 274"/>
                <a:gd name="T65" fmla="*/ 110 h 322"/>
                <a:gd name="T66" fmla="*/ 244 w 274"/>
                <a:gd name="T67" fmla="*/ 128 h 322"/>
                <a:gd name="T68" fmla="*/ 244 w 274"/>
                <a:gd name="T69" fmla="*/ 146 h 322"/>
                <a:gd name="T70" fmla="*/ 246 w 274"/>
                <a:gd name="T71" fmla="*/ 168 h 322"/>
                <a:gd name="T72" fmla="*/ 246 w 274"/>
                <a:gd name="T73" fmla="*/ 184 h 322"/>
                <a:gd name="T74" fmla="*/ 250 w 274"/>
                <a:gd name="T75" fmla="*/ 206 h 322"/>
                <a:gd name="T76" fmla="*/ 262 w 274"/>
                <a:gd name="T77" fmla="*/ 220 h 322"/>
                <a:gd name="T78" fmla="*/ 258 w 274"/>
                <a:gd name="T79" fmla="*/ 232 h 322"/>
                <a:gd name="T80" fmla="*/ 240 w 274"/>
                <a:gd name="T81" fmla="*/ 244 h 322"/>
                <a:gd name="T82" fmla="*/ 236 w 274"/>
                <a:gd name="T83" fmla="*/ 262 h 322"/>
                <a:gd name="T84" fmla="*/ 232 w 274"/>
                <a:gd name="T85" fmla="*/ 280 h 322"/>
                <a:gd name="T86" fmla="*/ 236 w 274"/>
                <a:gd name="T87" fmla="*/ 300 h 322"/>
                <a:gd name="T88" fmla="*/ 250 w 274"/>
                <a:gd name="T89" fmla="*/ 302 h 322"/>
                <a:gd name="T90" fmla="*/ 250 w 274"/>
                <a:gd name="T91" fmla="*/ 322 h 322"/>
                <a:gd name="T92" fmla="*/ 236 w 274"/>
                <a:gd name="T93" fmla="*/ 314 h 322"/>
                <a:gd name="T94" fmla="*/ 222 w 274"/>
                <a:gd name="T95" fmla="*/ 302 h 322"/>
                <a:gd name="T96" fmla="*/ 210 w 274"/>
                <a:gd name="T97" fmla="*/ 300 h 322"/>
                <a:gd name="T98" fmla="*/ 188 w 274"/>
                <a:gd name="T99" fmla="*/ 292 h 322"/>
                <a:gd name="T100" fmla="*/ 172 w 274"/>
                <a:gd name="T101" fmla="*/ 288 h 322"/>
                <a:gd name="T102" fmla="*/ 170 w 274"/>
                <a:gd name="T103" fmla="*/ 280 h 322"/>
                <a:gd name="T104" fmla="*/ 146 w 274"/>
                <a:gd name="T105" fmla="*/ 280 h 322"/>
                <a:gd name="T106" fmla="*/ 146 w 274"/>
                <a:gd name="T107" fmla="*/ 272 h 322"/>
                <a:gd name="T108" fmla="*/ 140 w 274"/>
                <a:gd name="T109" fmla="*/ 250 h 322"/>
                <a:gd name="T110" fmla="*/ 140 w 274"/>
                <a:gd name="T111" fmla="*/ 228 h 322"/>
                <a:gd name="T112" fmla="*/ 120 w 274"/>
                <a:gd name="T113" fmla="*/ 216 h 322"/>
                <a:gd name="T114" fmla="*/ 106 w 274"/>
                <a:gd name="T115" fmla="*/ 214 h 322"/>
                <a:gd name="T116" fmla="*/ 106 w 274"/>
                <a:gd name="T117" fmla="*/ 228 h 322"/>
                <a:gd name="T118" fmla="*/ 84 w 274"/>
                <a:gd name="T119" fmla="*/ 232 h 322"/>
                <a:gd name="T120" fmla="*/ 72 w 274"/>
                <a:gd name="T121" fmla="*/ 220 h 322"/>
                <a:gd name="T122" fmla="*/ 64 w 274"/>
                <a:gd name="T123" fmla="*/ 202 h 322"/>
                <a:gd name="T124" fmla="*/ 56 w 274"/>
                <a:gd name="T125" fmla="*/ 190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4" h="322">
                  <a:moveTo>
                    <a:pt x="56" y="190"/>
                  </a:moveTo>
                  <a:lnTo>
                    <a:pt x="54" y="190"/>
                  </a:lnTo>
                  <a:lnTo>
                    <a:pt x="42" y="190"/>
                  </a:lnTo>
                  <a:lnTo>
                    <a:pt x="38" y="190"/>
                  </a:lnTo>
                  <a:lnTo>
                    <a:pt x="34" y="194"/>
                  </a:lnTo>
                  <a:lnTo>
                    <a:pt x="30" y="194"/>
                  </a:lnTo>
                  <a:lnTo>
                    <a:pt x="30" y="190"/>
                  </a:lnTo>
                  <a:lnTo>
                    <a:pt x="26" y="190"/>
                  </a:lnTo>
                  <a:lnTo>
                    <a:pt x="24" y="190"/>
                  </a:lnTo>
                  <a:lnTo>
                    <a:pt x="20" y="190"/>
                  </a:lnTo>
                  <a:lnTo>
                    <a:pt x="16" y="190"/>
                  </a:lnTo>
                  <a:lnTo>
                    <a:pt x="12" y="190"/>
                  </a:lnTo>
                  <a:lnTo>
                    <a:pt x="8" y="190"/>
                  </a:lnTo>
                  <a:lnTo>
                    <a:pt x="8" y="194"/>
                  </a:lnTo>
                  <a:lnTo>
                    <a:pt x="4" y="194"/>
                  </a:lnTo>
                  <a:lnTo>
                    <a:pt x="4" y="190"/>
                  </a:lnTo>
                  <a:lnTo>
                    <a:pt x="0" y="190"/>
                  </a:lnTo>
                  <a:lnTo>
                    <a:pt x="4" y="190"/>
                  </a:lnTo>
                  <a:lnTo>
                    <a:pt x="8" y="190"/>
                  </a:lnTo>
                  <a:lnTo>
                    <a:pt x="8" y="184"/>
                  </a:lnTo>
                  <a:lnTo>
                    <a:pt x="8" y="180"/>
                  </a:lnTo>
                  <a:lnTo>
                    <a:pt x="8" y="176"/>
                  </a:lnTo>
                  <a:lnTo>
                    <a:pt x="12" y="172"/>
                  </a:lnTo>
                  <a:lnTo>
                    <a:pt x="16" y="172"/>
                  </a:lnTo>
                  <a:lnTo>
                    <a:pt x="16" y="168"/>
                  </a:lnTo>
                  <a:lnTo>
                    <a:pt x="16" y="172"/>
                  </a:lnTo>
                  <a:lnTo>
                    <a:pt x="20" y="176"/>
                  </a:lnTo>
                  <a:lnTo>
                    <a:pt x="20" y="172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6" y="168"/>
                  </a:lnTo>
                  <a:lnTo>
                    <a:pt x="30" y="164"/>
                  </a:lnTo>
                  <a:lnTo>
                    <a:pt x="34" y="164"/>
                  </a:lnTo>
                  <a:lnTo>
                    <a:pt x="34" y="168"/>
                  </a:lnTo>
                  <a:lnTo>
                    <a:pt x="34" y="172"/>
                  </a:lnTo>
                  <a:lnTo>
                    <a:pt x="34" y="176"/>
                  </a:lnTo>
                  <a:lnTo>
                    <a:pt x="38" y="176"/>
                  </a:lnTo>
                  <a:lnTo>
                    <a:pt x="38" y="172"/>
                  </a:lnTo>
                  <a:lnTo>
                    <a:pt x="42" y="172"/>
                  </a:lnTo>
                  <a:lnTo>
                    <a:pt x="42" y="168"/>
                  </a:lnTo>
                  <a:lnTo>
                    <a:pt x="46" y="164"/>
                  </a:lnTo>
                  <a:lnTo>
                    <a:pt x="50" y="164"/>
                  </a:lnTo>
                  <a:lnTo>
                    <a:pt x="50" y="160"/>
                  </a:lnTo>
                  <a:lnTo>
                    <a:pt x="54" y="160"/>
                  </a:lnTo>
                  <a:lnTo>
                    <a:pt x="54" y="158"/>
                  </a:lnTo>
                  <a:lnTo>
                    <a:pt x="56" y="158"/>
                  </a:lnTo>
                  <a:lnTo>
                    <a:pt x="56" y="154"/>
                  </a:lnTo>
                  <a:lnTo>
                    <a:pt x="56" y="150"/>
                  </a:lnTo>
                  <a:lnTo>
                    <a:pt x="60" y="150"/>
                  </a:lnTo>
                  <a:lnTo>
                    <a:pt x="56" y="146"/>
                  </a:lnTo>
                  <a:lnTo>
                    <a:pt x="56" y="144"/>
                  </a:lnTo>
                  <a:lnTo>
                    <a:pt x="56" y="140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56" y="132"/>
                  </a:lnTo>
                  <a:lnTo>
                    <a:pt x="56" y="128"/>
                  </a:lnTo>
                  <a:lnTo>
                    <a:pt x="60" y="128"/>
                  </a:lnTo>
                  <a:lnTo>
                    <a:pt x="60" y="124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4" y="116"/>
                  </a:lnTo>
                  <a:lnTo>
                    <a:pt x="68" y="116"/>
                  </a:lnTo>
                  <a:lnTo>
                    <a:pt x="68" y="114"/>
                  </a:lnTo>
                  <a:lnTo>
                    <a:pt x="72" y="110"/>
                  </a:lnTo>
                  <a:lnTo>
                    <a:pt x="76" y="110"/>
                  </a:lnTo>
                  <a:lnTo>
                    <a:pt x="80" y="106"/>
                  </a:lnTo>
                  <a:lnTo>
                    <a:pt x="80" y="102"/>
                  </a:lnTo>
                  <a:lnTo>
                    <a:pt x="80" y="98"/>
                  </a:lnTo>
                  <a:lnTo>
                    <a:pt x="80" y="94"/>
                  </a:lnTo>
                  <a:lnTo>
                    <a:pt x="80" y="90"/>
                  </a:lnTo>
                  <a:lnTo>
                    <a:pt x="84" y="90"/>
                  </a:lnTo>
                  <a:lnTo>
                    <a:pt x="84" y="86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4" y="76"/>
                  </a:lnTo>
                  <a:lnTo>
                    <a:pt x="84" y="72"/>
                  </a:lnTo>
                  <a:lnTo>
                    <a:pt x="86" y="64"/>
                  </a:lnTo>
                  <a:lnTo>
                    <a:pt x="86" y="60"/>
                  </a:lnTo>
                  <a:lnTo>
                    <a:pt x="86" y="58"/>
                  </a:lnTo>
                  <a:lnTo>
                    <a:pt x="86" y="54"/>
                  </a:lnTo>
                  <a:lnTo>
                    <a:pt x="86" y="50"/>
                  </a:lnTo>
                  <a:lnTo>
                    <a:pt x="90" y="50"/>
                  </a:lnTo>
                  <a:lnTo>
                    <a:pt x="90" y="46"/>
                  </a:lnTo>
                  <a:lnTo>
                    <a:pt x="90" y="42"/>
                  </a:lnTo>
                  <a:lnTo>
                    <a:pt x="90" y="38"/>
                  </a:lnTo>
                  <a:lnTo>
                    <a:pt x="94" y="38"/>
                  </a:lnTo>
                  <a:lnTo>
                    <a:pt x="94" y="34"/>
                  </a:lnTo>
                  <a:lnTo>
                    <a:pt x="94" y="30"/>
                  </a:lnTo>
                  <a:lnTo>
                    <a:pt x="94" y="28"/>
                  </a:lnTo>
                  <a:lnTo>
                    <a:pt x="94" y="24"/>
                  </a:lnTo>
                  <a:lnTo>
                    <a:pt x="94" y="20"/>
                  </a:lnTo>
                  <a:lnTo>
                    <a:pt x="90" y="20"/>
                  </a:lnTo>
                  <a:lnTo>
                    <a:pt x="94" y="16"/>
                  </a:lnTo>
                  <a:lnTo>
                    <a:pt x="94" y="20"/>
                  </a:lnTo>
                  <a:lnTo>
                    <a:pt x="94" y="16"/>
                  </a:lnTo>
                  <a:lnTo>
                    <a:pt x="98" y="12"/>
                  </a:lnTo>
                  <a:lnTo>
                    <a:pt x="98" y="8"/>
                  </a:lnTo>
                  <a:lnTo>
                    <a:pt x="102" y="8"/>
                  </a:lnTo>
                  <a:lnTo>
                    <a:pt x="106" y="4"/>
                  </a:lnTo>
                  <a:lnTo>
                    <a:pt x="110" y="4"/>
                  </a:lnTo>
                  <a:lnTo>
                    <a:pt x="110" y="8"/>
                  </a:lnTo>
                  <a:lnTo>
                    <a:pt x="114" y="8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28" y="20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2" y="20"/>
                  </a:lnTo>
                  <a:lnTo>
                    <a:pt x="142" y="24"/>
                  </a:lnTo>
                  <a:lnTo>
                    <a:pt x="146" y="24"/>
                  </a:lnTo>
                  <a:lnTo>
                    <a:pt x="146" y="20"/>
                  </a:lnTo>
                  <a:lnTo>
                    <a:pt x="150" y="20"/>
                  </a:lnTo>
                  <a:lnTo>
                    <a:pt x="150" y="16"/>
                  </a:lnTo>
                  <a:lnTo>
                    <a:pt x="150" y="12"/>
                  </a:lnTo>
                  <a:lnTo>
                    <a:pt x="154" y="12"/>
                  </a:lnTo>
                  <a:lnTo>
                    <a:pt x="154" y="8"/>
                  </a:lnTo>
                  <a:lnTo>
                    <a:pt x="154" y="12"/>
                  </a:lnTo>
                  <a:lnTo>
                    <a:pt x="158" y="12"/>
                  </a:lnTo>
                  <a:lnTo>
                    <a:pt x="162" y="12"/>
                  </a:lnTo>
                  <a:lnTo>
                    <a:pt x="166" y="8"/>
                  </a:lnTo>
                  <a:lnTo>
                    <a:pt x="170" y="8"/>
                  </a:lnTo>
                  <a:lnTo>
                    <a:pt x="172" y="8"/>
                  </a:lnTo>
                  <a:lnTo>
                    <a:pt x="176" y="4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88" y="0"/>
                  </a:lnTo>
                  <a:lnTo>
                    <a:pt x="192" y="0"/>
                  </a:lnTo>
                  <a:lnTo>
                    <a:pt x="196" y="0"/>
                  </a:lnTo>
                  <a:lnTo>
                    <a:pt x="196" y="4"/>
                  </a:lnTo>
                  <a:lnTo>
                    <a:pt x="200" y="4"/>
                  </a:lnTo>
                  <a:lnTo>
                    <a:pt x="200" y="0"/>
                  </a:lnTo>
                  <a:lnTo>
                    <a:pt x="200" y="4"/>
                  </a:lnTo>
                  <a:lnTo>
                    <a:pt x="202" y="4"/>
                  </a:lnTo>
                  <a:lnTo>
                    <a:pt x="206" y="4"/>
                  </a:lnTo>
                  <a:lnTo>
                    <a:pt x="210" y="4"/>
                  </a:lnTo>
                  <a:lnTo>
                    <a:pt x="214" y="4"/>
                  </a:lnTo>
                  <a:lnTo>
                    <a:pt x="218" y="4"/>
                  </a:lnTo>
                  <a:lnTo>
                    <a:pt x="218" y="8"/>
                  </a:lnTo>
                  <a:lnTo>
                    <a:pt x="222" y="8"/>
                  </a:lnTo>
                  <a:lnTo>
                    <a:pt x="222" y="12"/>
                  </a:lnTo>
                  <a:lnTo>
                    <a:pt x="226" y="16"/>
                  </a:lnTo>
                  <a:lnTo>
                    <a:pt x="228" y="16"/>
                  </a:lnTo>
                  <a:lnTo>
                    <a:pt x="228" y="20"/>
                  </a:lnTo>
                  <a:lnTo>
                    <a:pt x="232" y="20"/>
                  </a:lnTo>
                  <a:lnTo>
                    <a:pt x="232" y="16"/>
                  </a:lnTo>
                  <a:lnTo>
                    <a:pt x="236" y="16"/>
                  </a:lnTo>
                  <a:lnTo>
                    <a:pt x="240" y="16"/>
                  </a:lnTo>
                  <a:lnTo>
                    <a:pt x="244" y="16"/>
                  </a:lnTo>
                  <a:lnTo>
                    <a:pt x="244" y="20"/>
                  </a:lnTo>
                  <a:lnTo>
                    <a:pt x="244" y="16"/>
                  </a:lnTo>
                  <a:lnTo>
                    <a:pt x="246" y="16"/>
                  </a:lnTo>
                  <a:lnTo>
                    <a:pt x="246" y="12"/>
                  </a:lnTo>
                  <a:lnTo>
                    <a:pt x="250" y="12"/>
                  </a:lnTo>
                  <a:lnTo>
                    <a:pt x="250" y="16"/>
                  </a:lnTo>
                  <a:lnTo>
                    <a:pt x="250" y="20"/>
                  </a:lnTo>
                  <a:lnTo>
                    <a:pt x="254" y="20"/>
                  </a:lnTo>
                  <a:lnTo>
                    <a:pt x="254" y="24"/>
                  </a:lnTo>
                  <a:lnTo>
                    <a:pt x="258" y="24"/>
                  </a:lnTo>
                  <a:lnTo>
                    <a:pt x="258" y="28"/>
                  </a:lnTo>
                  <a:lnTo>
                    <a:pt x="262" y="28"/>
                  </a:lnTo>
                  <a:lnTo>
                    <a:pt x="262" y="30"/>
                  </a:lnTo>
                  <a:lnTo>
                    <a:pt x="266" y="30"/>
                  </a:lnTo>
                  <a:lnTo>
                    <a:pt x="266" y="34"/>
                  </a:lnTo>
                  <a:lnTo>
                    <a:pt x="266" y="38"/>
                  </a:lnTo>
                  <a:lnTo>
                    <a:pt x="266" y="42"/>
                  </a:lnTo>
                  <a:lnTo>
                    <a:pt x="266" y="46"/>
                  </a:lnTo>
                  <a:lnTo>
                    <a:pt x="266" y="50"/>
                  </a:lnTo>
                  <a:lnTo>
                    <a:pt x="266" y="54"/>
                  </a:lnTo>
                  <a:lnTo>
                    <a:pt x="270" y="50"/>
                  </a:lnTo>
                  <a:lnTo>
                    <a:pt x="270" y="54"/>
                  </a:lnTo>
                  <a:lnTo>
                    <a:pt x="274" y="58"/>
                  </a:lnTo>
                  <a:lnTo>
                    <a:pt x="270" y="58"/>
                  </a:lnTo>
                  <a:lnTo>
                    <a:pt x="270" y="60"/>
                  </a:lnTo>
                  <a:lnTo>
                    <a:pt x="266" y="64"/>
                  </a:lnTo>
                  <a:lnTo>
                    <a:pt x="262" y="68"/>
                  </a:lnTo>
                  <a:lnTo>
                    <a:pt x="262" y="72"/>
                  </a:lnTo>
                  <a:lnTo>
                    <a:pt x="258" y="72"/>
                  </a:lnTo>
                  <a:lnTo>
                    <a:pt x="258" y="76"/>
                  </a:lnTo>
                  <a:lnTo>
                    <a:pt x="254" y="76"/>
                  </a:lnTo>
                  <a:lnTo>
                    <a:pt x="254" y="80"/>
                  </a:lnTo>
                  <a:lnTo>
                    <a:pt x="254" y="84"/>
                  </a:lnTo>
                  <a:lnTo>
                    <a:pt x="254" y="86"/>
                  </a:lnTo>
                  <a:lnTo>
                    <a:pt x="250" y="86"/>
                  </a:lnTo>
                  <a:lnTo>
                    <a:pt x="250" y="90"/>
                  </a:lnTo>
                  <a:lnTo>
                    <a:pt x="250" y="94"/>
                  </a:lnTo>
                  <a:lnTo>
                    <a:pt x="250" y="98"/>
                  </a:lnTo>
                  <a:lnTo>
                    <a:pt x="250" y="102"/>
                  </a:lnTo>
                  <a:lnTo>
                    <a:pt x="246" y="102"/>
                  </a:lnTo>
                  <a:lnTo>
                    <a:pt x="246" y="106"/>
                  </a:lnTo>
                  <a:lnTo>
                    <a:pt x="246" y="110"/>
                  </a:lnTo>
                  <a:lnTo>
                    <a:pt x="246" y="114"/>
                  </a:lnTo>
                  <a:lnTo>
                    <a:pt x="246" y="116"/>
                  </a:lnTo>
                  <a:lnTo>
                    <a:pt x="244" y="116"/>
                  </a:lnTo>
                  <a:lnTo>
                    <a:pt x="244" y="120"/>
                  </a:lnTo>
                  <a:lnTo>
                    <a:pt x="244" y="124"/>
                  </a:lnTo>
                  <a:lnTo>
                    <a:pt x="244" y="128"/>
                  </a:lnTo>
                  <a:lnTo>
                    <a:pt x="244" y="132"/>
                  </a:lnTo>
                  <a:lnTo>
                    <a:pt x="240" y="132"/>
                  </a:lnTo>
                  <a:lnTo>
                    <a:pt x="240" y="136"/>
                  </a:lnTo>
                  <a:lnTo>
                    <a:pt x="240" y="140"/>
                  </a:lnTo>
                  <a:lnTo>
                    <a:pt x="244" y="144"/>
                  </a:lnTo>
                  <a:lnTo>
                    <a:pt x="244" y="146"/>
                  </a:lnTo>
                  <a:lnTo>
                    <a:pt x="244" y="150"/>
                  </a:lnTo>
                  <a:lnTo>
                    <a:pt x="244" y="154"/>
                  </a:lnTo>
                  <a:lnTo>
                    <a:pt x="244" y="158"/>
                  </a:lnTo>
                  <a:lnTo>
                    <a:pt x="244" y="160"/>
                  </a:lnTo>
                  <a:lnTo>
                    <a:pt x="246" y="164"/>
                  </a:lnTo>
                  <a:lnTo>
                    <a:pt x="246" y="168"/>
                  </a:lnTo>
                  <a:lnTo>
                    <a:pt x="246" y="172"/>
                  </a:lnTo>
                  <a:lnTo>
                    <a:pt x="244" y="172"/>
                  </a:lnTo>
                  <a:lnTo>
                    <a:pt x="244" y="176"/>
                  </a:lnTo>
                  <a:lnTo>
                    <a:pt x="244" y="180"/>
                  </a:lnTo>
                  <a:lnTo>
                    <a:pt x="246" y="180"/>
                  </a:lnTo>
                  <a:lnTo>
                    <a:pt x="246" y="184"/>
                  </a:lnTo>
                  <a:lnTo>
                    <a:pt x="246" y="186"/>
                  </a:lnTo>
                  <a:lnTo>
                    <a:pt x="246" y="190"/>
                  </a:lnTo>
                  <a:lnTo>
                    <a:pt x="246" y="194"/>
                  </a:lnTo>
                  <a:lnTo>
                    <a:pt x="246" y="198"/>
                  </a:lnTo>
                  <a:lnTo>
                    <a:pt x="246" y="202"/>
                  </a:lnTo>
                  <a:lnTo>
                    <a:pt x="250" y="206"/>
                  </a:lnTo>
                  <a:lnTo>
                    <a:pt x="254" y="210"/>
                  </a:lnTo>
                  <a:lnTo>
                    <a:pt x="258" y="210"/>
                  </a:lnTo>
                  <a:lnTo>
                    <a:pt x="258" y="214"/>
                  </a:lnTo>
                  <a:lnTo>
                    <a:pt x="258" y="216"/>
                  </a:lnTo>
                  <a:lnTo>
                    <a:pt x="258" y="220"/>
                  </a:lnTo>
                  <a:lnTo>
                    <a:pt x="262" y="220"/>
                  </a:lnTo>
                  <a:lnTo>
                    <a:pt x="262" y="224"/>
                  </a:lnTo>
                  <a:lnTo>
                    <a:pt x="262" y="228"/>
                  </a:lnTo>
                  <a:lnTo>
                    <a:pt x="266" y="228"/>
                  </a:lnTo>
                  <a:lnTo>
                    <a:pt x="266" y="232"/>
                  </a:lnTo>
                  <a:lnTo>
                    <a:pt x="262" y="232"/>
                  </a:lnTo>
                  <a:lnTo>
                    <a:pt x="258" y="232"/>
                  </a:lnTo>
                  <a:lnTo>
                    <a:pt x="254" y="236"/>
                  </a:lnTo>
                  <a:lnTo>
                    <a:pt x="246" y="236"/>
                  </a:lnTo>
                  <a:lnTo>
                    <a:pt x="244" y="236"/>
                  </a:lnTo>
                  <a:lnTo>
                    <a:pt x="240" y="236"/>
                  </a:lnTo>
                  <a:lnTo>
                    <a:pt x="240" y="240"/>
                  </a:lnTo>
                  <a:lnTo>
                    <a:pt x="240" y="244"/>
                  </a:lnTo>
                  <a:lnTo>
                    <a:pt x="236" y="244"/>
                  </a:lnTo>
                  <a:lnTo>
                    <a:pt x="236" y="246"/>
                  </a:lnTo>
                  <a:lnTo>
                    <a:pt x="232" y="250"/>
                  </a:lnTo>
                  <a:lnTo>
                    <a:pt x="232" y="254"/>
                  </a:lnTo>
                  <a:lnTo>
                    <a:pt x="236" y="258"/>
                  </a:lnTo>
                  <a:lnTo>
                    <a:pt x="236" y="262"/>
                  </a:lnTo>
                  <a:lnTo>
                    <a:pt x="236" y="266"/>
                  </a:lnTo>
                  <a:lnTo>
                    <a:pt x="236" y="270"/>
                  </a:lnTo>
                  <a:lnTo>
                    <a:pt x="236" y="272"/>
                  </a:lnTo>
                  <a:lnTo>
                    <a:pt x="236" y="276"/>
                  </a:lnTo>
                  <a:lnTo>
                    <a:pt x="232" y="276"/>
                  </a:lnTo>
                  <a:lnTo>
                    <a:pt x="232" y="280"/>
                  </a:lnTo>
                  <a:lnTo>
                    <a:pt x="232" y="284"/>
                  </a:lnTo>
                  <a:lnTo>
                    <a:pt x="232" y="288"/>
                  </a:lnTo>
                  <a:lnTo>
                    <a:pt x="232" y="292"/>
                  </a:lnTo>
                  <a:lnTo>
                    <a:pt x="232" y="296"/>
                  </a:lnTo>
                  <a:lnTo>
                    <a:pt x="236" y="296"/>
                  </a:lnTo>
                  <a:lnTo>
                    <a:pt x="236" y="300"/>
                  </a:lnTo>
                  <a:lnTo>
                    <a:pt x="240" y="302"/>
                  </a:lnTo>
                  <a:lnTo>
                    <a:pt x="244" y="302"/>
                  </a:lnTo>
                  <a:lnTo>
                    <a:pt x="246" y="306"/>
                  </a:lnTo>
                  <a:lnTo>
                    <a:pt x="246" y="302"/>
                  </a:lnTo>
                  <a:lnTo>
                    <a:pt x="250" y="300"/>
                  </a:lnTo>
                  <a:lnTo>
                    <a:pt x="250" y="302"/>
                  </a:lnTo>
                  <a:lnTo>
                    <a:pt x="250" y="306"/>
                  </a:lnTo>
                  <a:lnTo>
                    <a:pt x="250" y="310"/>
                  </a:lnTo>
                  <a:lnTo>
                    <a:pt x="250" y="318"/>
                  </a:lnTo>
                  <a:lnTo>
                    <a:pt x="250" y="322"/>
                  </a:lnTo>
                  <a:lnTo>
                    <a:pt x="246" y="322"/>
                  </a:lnTo>
                  <a:lnTo>
                    <a:pt x="250" y="322"/>
                  </a:lnTo>
                  <a:lnTo>
                    <a:pt x="246" y="318"/>
                  </a:lnTo>
                  <a:lnTo>
                    <a:pt x="246" y="322"/>
                  </a:lnTo>
                  <a:lnTo>
                    <a:pt x="244" y="322"/>
                  </a:lnTo>
                  <a:lnTo>
                    <a:pt x="240" y="322"/>
                  </a:lnTo>
                  <a:lnTo>
                    <a:pt x="240" y="318"/>
                  </a:lnTo>
                  <a:lnTo>
                    <a:pt x="236" y="314"/>
                  </a:lnTo>
                  <a:lnTo>
                    <a:pt x="232" y="314"/>
                  </a:lnTo>
                  <a:lnTo>
                    <a:pt x="232" y="310"/>
                  </a:lnTo>
                  <a:lnTo>
                    <a:pt x="232" y="306"/>
                  </a:lnTo>
                  <a:lnTo>
                    <a:pt x="228" y="306"/>
                  </a:lnTo>
                  <a:lnTo>
                    <a:pt x="226" y="302"/>
                  </a:lnTo>
                  <a:lnTo>
                    <a:pt x="222" y="302"/>
                  </a:lnTo>
                  <a:lnTo>
                    <a:pt x="218" y="300"/>
                  </a:lnTo>
                  <a:lnTo>
                    <a:pt x="218" y="296"/>
                  </a:lnTo>
                  <a:lnTo>
                    <a:pt x="214" y="296"/>
                  </a:lnTo>
                  <a:lnTo>
                    <a:pt x="214" y="292"/>
                  </a:lnTo>
                  <a:lnTo>
                    <a:pt x="210" y="296"/>
                  </a:lnTo>
                  <a:lnTo>
                    <a:pt x="210" y="300"/>
                  </a:lnTo>
                  <a:lnTo>
                    <a:pt x="206" y="300"/>
                  </a:lnTo>
                  <a:lnTo>
                    <a:pt x="202" y="296"/>
                  </a:lnTo>
                  <a:lnTo>
                    <a:pt x="200" y="296"/>
                  </a:lnTo>
                  <a:lnTo>
                    <a:pt x="196" y="296"/>
                  </a:lnTo>
                  <a:lnTo>
                    <a:pt x="192" y="292"/>
                  </a:lnTo>
                  <a:lnTo>
                    <a:pt x="188" y="292"/>
                  </a:lnTo>
                  <a:lnTo>
                    <a:pt x="188" y="288"/>
                  </a:lnTo>
                  <a:lnTo>
                    <a:pt x="188" y="284"/>
                  </a:lnTo>
                  <a:lnTo>
                    <a:pt x="184" y="284"/>
                  </a:lnTo>
                  <a:lnTo>
                    <a:pt x="180" y="288"/>
                  </a:lnTo>
                  <a:lnTo>
                    <a:pt x="176" y="288"/>
                  </a:lnTo>
                  <a:lnTo>
                    <a:pt x="172" y="288"/>
                  </a:lnTo>
                  <a:lnTo>
                    <a:pt x="176" y="284"/>
                  </a:lnTo>
                  <a:lnTo>
                    <a:pt x="176" y="280"/>
                  </a:lnTo>
                  <a:lnTo>
                    <a:pt x="172" y="280"/>
                  </a:lnTo>
                  <a:lnTo>
                    <a:pt x="170" y="280"/>
                  </a:lnTo>
                  <a:lnTo>
                    <a:pt x="170" y="276"/>
                  </a:lnTo>
                  <a:lnTo>
                    <a:pt x="170" y="280"/>
                  </a:lnTo>
                  <a:lnTo>
                    <a:pt x="166" y="280"/>
                  </a:lnTo>
                  <a:lnTo>
                    <a:pt x="162" y="280"/>
                  </a:lnTo>
                  <a:lnTo>
                    <a:pt x="158" y="280"/>
                  </a:lnTo>
                  <a:lnTo>
                    <a:pt x="154" y="280"/>
                  </a:lnTo>
                  <a:lnTo>
                    <a:pt x="150" y="280"/>
                  </a:lnTo>
                  <a:lnTo>
                    <a:pt x="146" y="280"/>
                  </a:lnTo>
                  <a:lnTo>
                    <a:pt x="146" y="284"/>
                  </a:lnTo>
                  <a:lnTo>
                    <a:pt x="142" y="284"/>
                  </a:lnTo>
                  <a:lnTo>
                    <a:pt x="142" y="280"/>
                  </a:lnTo>
                  <a:lnTo>
                    <a:pt x="142" y="276"/>
                  </a:lnTo>
                  <a:lnTo>
                    <a:pt x="146" y="276"/>
                  </a:lnTo>
                  <a:lnTo>
                    <a:pt x="146" y="272"/>
                  </a:lnTo>
                  <a:lnTo>
                    <a:pt x="146" y="270"/>
                  </a:lnTo>
                  <a:lnTo>
                    <a:pt x="142" y="266"/>
                  </a:lnTo>
                  <a:lnTo>
                    <a:pt x="142" y="262"/>
                  </a:lnTo>
                  <a:lnTo>
                    <a:pt x="140" y="258"/>
                  </a:lnTo>
                  <a:lnTo>
                    <a:pt x="140" y="254"/>
                  </a:lnTo>
                  <a:lnTo>
                    <a:pt x="140" y="250"/>
                  </a:lnTo>
                  <a:lnTo>
                    <a:pt x="140" y="246"/>
                  </a:lnTo>
                  <a:lnTo>
                    <a:pt x="140" y="244"/>
                  </a:lnTo>
                  <a:lnTo>
                    <a:pt x="140" y="240"/>
                  </a:lnTo>
                  <a:lnTo>
                    <a:pt x="140" y="236"/>
                  </a:lnTo>
                  <a:lnTo>
                    <a:pt x="140" y="232"/>
                  </a:lnTo>
                  <a:lnTo>
                    <a:pt x="140" y="228"/>
                  </a:lnTo>
                  <a:lnTo>
                    <a:pt x="140" y="224"/>
                  </a:lnTo>
                  <a:lnTo>
                    <a:pt x="140" y="220"/>
                  </a:lnTo>
                  <a:lnTo>
                    <a:pt x="140" y="216"/>
                  </a:lnTo>
                  <a:lnTo>
                    <a:pt x="136" y="216"/>
                  </a:lnTo>
                  <a:lnTo>
                    <a:pt x="128" y="216"/>
                  </a:lnTo>
                  <a:lnTo>
                    <a:pt x="120" y="216"/>
                  </a:lnTo>
                  <a:lnTo>
                    <a:pt x="120" y="214"/>
                  </a:lnTo>
                  <a:lnTo>
                    <a:pt x="120" y="210"/>
                  </a:lnTo>
                  <a:lnTo>
                    <a:pt x="116" y="210"/>
                  </a:lnTo>
                  <a:lnTo>
                    <a:pt x="116" y="214"/>
                  </a:lnTo>
                  <a:lnTo>
                    <a:pt x="114" y="214"/>
                  </a:lnTo>
                  <a:lnTo>
                    <a:pt x="106" y="214"/>
                  </a:lnTo>
                  <a:lnTo>
                    <a:pt x="106" y="216"/>
                  </a:lnTo>
                  <a:lnTo>
                    <a:pt x="106" y="220"/>
                  </a:lnTo>
                  <a:lnTo>
                    <a:pt x="106" y="224"/>
                  </a:lnTo>
                  <a:lnTo>
                    <a:pt x="102" y="224"/>
                  </a:lnTo>
                  <a:lnTo>
                    <a:pt x="102" y="228"/>
                  </a:lnTo>
                  <a:lnTo>
                    <a:pt x="106" y="228"/>
                  </a:lnTo>
                  <a:lnTo>
                    <a:pt x="98" y="228"/>
                  </a:lnTo>
                  <a:lnTo>
                    <a:pt x="94" y="228"/>
                  </a:lnTo>
                  <a:lnTo>
                    <a:pt x="90" y="228"/>
                  </a:lnTo>
                  <a:lnTo>
                    <a:pt x="86" y="228"/>
                  </a:lnTo>
                  <a:lnTo>
                    <a:pt x="86" y="232"/>
                  </a:lnTo>
                  <a:lnTo>
                    <a:pt x="84" y="232"/>
                  </a:lnTo>
                  <a:lnTo>
                    <a:pt x="84" y="228"/>
                  </a:lnTo>
                  <a:lnTo>
                    <a:pt x="80" y="232"/>
                  </a:lnTo>
                  <a:lnTo>
                    <a:pt x="80" y="228"/>
                  </a:lnTo>
                  <a:lnTo>
                    <a:pt x="76" y="228"/>
                  </a:lnTo>
                  <a:lnTo>
                    <a:pt x="76" y="224"/>
                  </a:lnTo>
                  <a:lnTo>
                    <a:pt x="72" y="220"/>
                  </a:lnTo>
                  <a:lnTo>
                    <a:pt x="72" y="216"/>
                  </a:lnTo>
                  <a:lnTo>
                    <a:pt x="68" y="216"/>
                  </a:lnTo>
                  <a:lnTo>
                    <a:pt x="68" y="214"/>
                  </a:lnTo>
                  <a:lnTo>
                    <a:pt x="68" y="210"/>
                  </a:lnTo>
                  <a:lnTo>
                    <a:pt x="68" y="206"/>
                  </a:lnTo>
                  <a:lnTo>
                    <a:pt x="64" y="202"/>
                  </a:lnTo>
                  <a:lnTo>
                    <a:pt x="64" y="198"/>
                  </a:lnTo>
                  <a:lnTo>
                    <a:pt x="64" y="194"/>
                  </a:lnTo>
                  <a:lnTo>
                    <a:pt x="64" y="190"/>
                  </a:lnTo>
                  <a:lnTo>
                    <a:pt x="60" y="190"/>
                  </a:lnTo>
                  <a:lnTo>
                    <a:pt x="56" y="190"/>
                  </a:lnTo>
                  <a:lnTo>
                    <a:pt x="56" y="190"/>
                  </a:lnTo>
                  <a:lnTo>
                    <a:pt x="56" y="19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00" name="Freeform 140">
              <a:extLst>
                <a:ext uri="{FF2B5EF4-FFF2-40B4-BE49-F238E27FC236}">
                  <a16:creationId xmlns:a16="http://schemas.microsoft.com/office/drawing/2014/main" id="{DB92E460-544F-1F4A-DBC5-05F7580019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51550" y="3824205"/>
              <a:ext cx="175340" cy="211177"/>
            </a:xfrm>
            <a:custGeom>
              <a:avLst/>
              <a:gdLst>
                <a:gd name="T0" fmla="*/ 46 w 90"/>
                <a:gd name="T1" fmla="*/ 96 h 112"/>
                <a:gd name="T2" fmla="*/ 52 w 90"/>
                <a:gd name="T3" fmla="*/ 96 h 112"/>
                <a:gd name="T4" fmla="*/ 46 w 90"/>
                <a:gd name="T5" fmla="*/ 96 h 112"/>
                <a:gd name="T6" fmla="*/ 34 w 90"/>
                <a:gd name="T7" fmla="*/ 100 h 112"/>
                <a:gd name="T8" fmla="*/ 30 w 90"/>
                <a:gd name="T9" fmla="*/ 104 h 112"/>
                <a:gd name="T10" fmla="*/ 24 w 90"/>
                <a:gd name="T11" fmla="*/ 108 h 112"/>
                <a:gd name="T12" fmla="*/ 20 w 90"/>
                <a:gd name="T13" fmla="*/ 112 h 112"/>
                <a:gd name="T14" fmla="*/ 16 w 90"/>
                <a:gd name="T15" fmla="*/ 104 h 112"/>
                <a:gd name="T16" fmla="*/ 20 w 90"/>
                <a:gd name="T17" fmla="*/ 92 h 112"/>
                <a:gd name="T18" fmla="*/ 20 w 90"/>
                <a:gd name="T19" fmla="*/ 86 h 112"/>
                <a:gd name="T20" fmla="*/ 16 w 90"/>
                <a:gd name="T21" fmla="*/ 82 h 112"/>
                <a:gd name="T22" fmla="*/ 12 w 90"/>
                <a:gd name="T23" fmla="*/ 78 h 112"/>
                <a:gd name="T24" fmla="*/ 0 w 90"/>
                <a:gd name="T25" fmla="*/ 74 h 112"/>
                <a:gd name="T26" fmla="*/ 4 w 90"/>
                <a:gd name="T27" fmla="*/ 70 h 112"/>
                <a:gd name="T28" fmla="*/ 4 w 90"/>
                <a:gd name="T29" fmla="*/ 66 h 112"/>
                <a:gd name="T30" fmla="*/ 4 w 90"/>
                <a:gd name="T31" fmla="*/ 56 h 112"/>
                <a:gd name="T32" fmla="*/ 8 w 90"/>
                <a:gd name="T33" fmla="*/ 56 h 112"/>
                <a:gd name="T34" fmla="*/ 8 w 90"/>
                <a:gd name="T35" fmla="*/ 48 h 112"/>
                <a:gd name="T36" fmla="*/ 8 w 90"/>
                <a:gd name="T37" fmla="*/ 44 h 112"/>
                <a:gd name="T38" fmla="*/ 12 w 90"/>
                <a:gd name="T39" fmla="*/ 36 h 112"/>
                <a:gd name="T40" fmla="*/ 16 w 90"/>
                <a:gd name="T41" fmla="*/ 40 h 112"/>
                <a:gd name="T42" fmla="*/ 12 w 90"/>
                <a:gd name="T43" fmla="*/ 34 h 112"/>
                <a:gd name="T44" fmla="*/ 16 w 90"/>
                <a:gd name="T45" fmla="*/ 30 h 112"/>
                <a:gd name="T46" fmla="*/ 8 w 90"/>
                <a:gd name="T47" fmla="*/ 22 h 112"/>
                <a:gd name="T48" fmla="*/ 8 w 90"/>
                <a:gd name="T49" fmla="*/ 14 h 112"/>
                <a:gd name="T50" fmla="*/ 8 w 90"/>
                <a:gd name="T51" fmla="*/ 10 h 112"/>
                <a:gd name="T52" fmla="*/ 12 w 90"/>
                <a:gd name="T53" fmla="*/ 8 h 112"/>
                <a:gd name="T54" fmla="*/ 20 w 90"/>
                <a:gd name="T55" fmla="*/ 8 h 112"/>
                <a:gd name="T56" fmla="*/ 24 w 90"/>
                <a:gd name="T57" fmla="*/ 10 h 112"/>
                <a:gd name="T58" fmla="*/ 30 w 90"/>
                <a:gd name="T59" fmla="*/ 8 h 112"/>
                <a:gd name="T60" fmla="*/ 30 w 90"/>
                <a:gd name="T61" fmla="*/ 4 h 112"/>
                <a:gd name="T62" fmla="*/ 34 w 90"/>
                <a:gd name="T63" fmla="*/ 4 h 112"/>
                <a:gd name="T64" fmla="*/ 38 w 90"/>
                <a:gd name="T65" fmla="*/ 8 h 112"/>
                <a:gd name="T66" fmla="*/ 38 w 90"/>
                <a:gd name="T67" fmla="*/ 10 h 112"/>
                <a:gd name="T68" fmla="*/ 42 w 90"/>
                <a:gd name="T69" fmla="*/ 8 h 112"/>
                <a:gd name="T70" fmla="*/ 50 w 90"/>
                <a:gd name="T71" fmla="*/ 8 h 112"/>
                <a:gd name="T72" fmla="*/ 56 w 90"/>
                <a:gd name="T73" fmla="*/ 14 h 112"/>
                <a:gd name="T74" fmla="*/ 60 w 90"/>
                <a:gd name="T75" fmla="*/ 18 h 112"/>
                <a:gd name="T76" fmla="*/ 68 w 90"/>
                <a:gd name="T77" fmla="*/ 14 h 112"/>
                <a:gd name="T78" fmla="*/ 76 w 90"/>
                <a:gd name="T79" fmla="*/ 14 h 112"/>
                <a:gd name="T80" fmla="*/ 82 w 90"/>
                <a:gd name="T81" fmla="*/ 22 h 112"/>
                <a:gd name="T82" fmla="*/ 86 w 90"/>
                <a:gd name="T83" fmla="*/ 26 h 112"/>
                <a:gd name="T84" fmla="*/ 86 w 90"/>
                <a:gd name="T85" fmla="*/ 34 h 112"/>
                <a:gd name="T86" fmla="*/ 86 w 90"/>
                <a:gd name="T87" fmla="*/ 44 h 112"/>
                <a:gd name="T88" fmla="*/ 82 w 90"/>
                <a:gd name="T89" fmla="*/ 60 h 112"/>
                <a:gd name="T90" fmla="*/ 78 w 90"/>
                <a:gd name="T91" fmla="*/ 70 h 112"/>
                <a:gd name="T92" fmla="*/ 78 w 90"/>
                <a:gd name="T93" fmla="*/ 78 h 112"/>
                <a:gd name="T94" fmla="*/ 82 w 90"/>
                <a:gd name="T95" fmla="*/ 88 h 112"/>
                <a:gd name="T96" fmla="*/ 86 w 90"/>
                <a:gd name="T97" fmla="*/ 96 h 112"/>
                <a:gd name="T98" fmla="*/ 82 w 90"/>
                <a:gd name="T99" fmla="*/ 96 h 112"/>
                <a:gd name="T100" fmla="*/ 78 w 90"/>
                <a:gd name="T101" fmla="*/ 92 h 112"/>
                <a:gd name="T102" fmla="*/ 76 w 90"/>
                <a:gd name="T103" fmla="*/ 96 h 112"/>
                <a:gd name="T104" fmla="*/ 72 w 90"/>
                <a:gd name="T105" fmla="*/ 96 h 112"/>
                <a:gd name="T106" fmla="*/ 72 w 90"/>
                <a:gd name="T107" fmla="*/ 92 h 112"/>
                <a:gd name="T108" fmla="*/ 72 w 90"/>
                <a:gd name="T109" fmla="*/ 92 h 112"/>
                <a:gd name="T110" fmla="*/ 60 w 90"/>
                <a:gd name="T111" fmla="*/ 92 h 112"/>
                <a:gd name="T112" fmla="*/ 60 w 90"/>
                <a:gd name="T113" fmla="*/ 96 h 112"/>
                <a:gd name="T114" fmla="*/ 64 w 90"/>
                <a:gd name="T115" fmla="*/ 92 h 112"/>
                <a:gd name="T116" fmla="*/ 56 w 90"/>
                <a:gd name="T117" fmla="*/ 96 h 112"/>
                <a:gd name="T118" fmla="*/ 52 w 90"/>
                <a:gd name="T119" fmla="*/ 96 h 112"/>
                <a:gd name="T120" fmla="*/ 50 w 90"/>
                <a:gd name="T121" fmla="*/ 96 h 112"/>
                <a:gd name="T122" fmla="*/ 50 w 90"/>
                <a:gd name="T123" fmla="*/ 96 h 112"/>
                <a:gd name="T124" fmla="*/ 78 w 90"/>
                <a:gd name="T125" fmla="*/ 9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" h="112">
                  <a:moveTo>
                    <a:pt x="50" y="96"/>
                  </a:move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46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46" y="96"/>
                  </a:lnTo>
                  <a:lnTo>
                    <a:pt x="46" y="96"/>
                  </a:lnTo>
                  <a:lnTo>
                    <a:pt x="42" y="96"/>
                  </a:lnTo>
                  <a:lnTo>
                    <a:pt x="42" y="96"/>
                  </a:lnTo>
                  <a:lnTo>
                    <a:pt x="42" y="96"/>
                  </a:lnTo>
                  <a:lnTo>
                    <a:pt x="38" y="100"/>
                  </a:lnTo>
                  <a:lnTo>
                    <a:pt x="38" y="100"/>
                  </a:lnTo>
                  <a:lnTo>
                    <a:pt x="38" y="100"/>
                  </a:lnTo>
                  <a:lnTo>
                    <a:pt x="34" y="100"/>
                  </a:lnTo>
                  <a:lnTo>
                    <a:pt x="34" y="100"/>
                  </a:lnTo>
                  <a:lnTo>
                    <a:pt x="34" y="100"/>
                  </a:lnTo>
                  <a:lnTo>
                    <a:pt x="34" y="100"/>
                  </a:lnTo>
                  <a:lnTo>
                    <a:pt x="34" y="100"/>
                  </a:lnTo>
                  <a:lnTo>
                    <a:pt x="30" y="104"/>
                  </a:lnTo>
                  <a:lnTo>
                    <a:pt x="30" y="104"/>
                  </a:lnTo>
                  <a:lnTo>
                    <a:pt x="30" y="104"/>
                  </a:lnTo>
                  <a:lnTo>
                    <a:pt x="30" y="104"/>
                  </a:lnTo>
                  <a:lnTo>
                    <a:pt x="30" y="104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6" y="86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2" y="30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18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8" y="4"/>
                  </a:lnTo>
                  <a:lnTo>
                    <a:pt x="34" y="4"/>
                  </a:lnTo>
                  <a:lnTo>
                    <a:pt x="38" y="4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4" y="8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6" y="4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2" y="8"/>
                  </a:lnTo>
                  <a:lnTo>
                    <a:pt x="52" y="10"/>
                  </a:lnTo>
                  <a:lnTo>
                    <a:pt x="52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6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48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6"/>
                  </a:lnTo>
                  <a:lnTo>
                    <a:pt x="82" y="56"/>
                  </a:lnTo>
                  <a:lnTo>
                    <a:pt x="82" y="60"/>
                  </a:lnTo>
                  <a:lnTo>
                    <a:pt x="82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6"/>
                  </a:lnTo>
                  <a:lnTo>
                    <a:pt x="78" y="70"/>
                  </a:lnTo>
                  <a:lnTo>
                    <a:pt x="78" y="70"/>
                  </a:lnTo>
                  <a:lnTo>
                    <a:pt x="78" y="70"/>
                  </a:lnTo>
                  <a:lnTo>
                    <a:pt x="78" y="70"/>
                  </a:lnTo>
                  <a:lnTo>
                    <a:pt x="78" y="70"/>
                  </a:lnTo>
                  <a:lnTo>
                    <a:pt x="78" y="74"/>
                  </a:lnTo>
                  <a:lnTo>
                    <a:pt x="78" y="78"/>
                  </a:lnTo>
                  <a:lnTo>
                    <a:pt x="78" y="78"/>
                  </a:lnTo>
                  <a:lnTo>
                    <a:pt x="78" y="78"/>
                  </a:lnTo>
                  <a:lnTo>
                    <a:pt x="78" y="78"/>
                  </a:lnTo>
                  <a:lnTo>
                    <a:pt x="78" y="78"/>
                  </a:lnTo>
                  <a:lnTo>
                    <a:pt x="78" y="78"/>
                  </a:lnTo>
                  <a:lnTo>
                    <a:pt x="78" y="82"/>
                  </a:lnTo>
                  <a:lnTo>
                    <a:pt x="82" y="86"/>
                  </a:lnTo>
                  <a:lnTo>
                    <a:pt x="82" y="86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86" y="88"/>
                  </a:lnTo>
                  <a:lnTo>
                    <a:pt x="86" y="92"/>
                  </a:lnTo>
                  <a:lnTo>
                    <a:pt x="82" y="92"/>
                  </a:lnTo>
                  <a:lnTo>
                    <a:pt x="82" y="92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2" y="96"/>
                  </a:lnTo>
                  <a:lnTo>
                    <a:pt x="82" y="96"/>
                  </a:lnTo>
                  <a:lnTo>
                    <a:pt x="82" y="96"/>
                  </a:lnTo>
                  <a:lnTo>
                    <a:pt x="82" y="96"/>
                  </a:lnTo>
                  <a:lnTo>
                    <a:pt x="82" y="96"/>
                  </a:lnTo>
                  <a:lnTo>
                    <a:pt x="82" y="96"/>
                  </a:lnTo>
                  <a:lnTo>
                    <a:pt x="82" y="96"/>
                  </a:lnTo>
                  <a:lnTo>
                    <a:pt x="82" y="96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8" y="92"/>
                  </a:lnTo>
                  <a:lnTo>
                    <a:pt x="78" y="92"/>
                  </a:lnTo>
                  <a:lnTo>
                    <a:pt x="78" y="92"/>
                  </a:lnTo>
                  <a:lnTo>
                    <a:pt x="78" y="92"/>
                  </a:lnTo>
                  <a:lnTo>
                    <a:pt x="78" y="92"/>
                  </a:lnTo>
                  <a:lnTo>
                    <a:pt x="78" y="92"/>
                  </a:lnTo>
                  <a:lnTo>
                    <a:pt x="78" y="92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6" y="96"/>
                  </a:lnTo>
                  <a:lnTo>
                    <a:pt x="76" y="96"/>
                  </a:lnTo>
                  <a:lnTo>
                    <a:pt x="76" y="96"/>
                  </a:lnTo>
                  <a:lnTo>
                    <a:pt x="76" y="96"/>
                  </a:lnTo>
                  <a:lnTo>
                    <a:pt x="76" y="96"/>
                  </a:lnTo>
                  <a:lnTo>
                    <a:pt x="76" y="96"/>
                  </a:lnTo>
                  <a:lnTo>
                    <a:pt x="76" y="96"/>
                  </a:lnTo>
                  <a:lnTo>
                    <a:pt x="72" y="96"/>
                  </a:lnTo>
                  <a:lnTo>
                    <a:pt x="72" y="96"/>
                  </a:lnTo>
                  <a:lnTo>
                    <a:pt x="72" y="96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72" y="92"/>
                  </a:lnTo>
                  <a:lnTo>
                    <a:pt x="72" y="92"/>
                  </a:lnTo>
                  <a:lnTo>
                    <a:pt x="72" y="92"/>
                  </a:lnTo>
                  <a:lnTo>
                    <a:pt x="72" y="92"/>
                  </a:lnTo>
                  <a:lnTo>
                    <a:pt x="72" y="92"/>
                  </a:lnTo>
                  <a:lnTo>
                    <a:pt x="72" y="92"/>
                  </a:lnTo>
                  <a:lnTo>
                    <a:pt x="72" y="92"/>
                  </a:lnTo>
                  <a:lnTo>
                    <a:pt x="72" y="92"/>
                  </a:lnTo>
                  <a:lnTo>
                    <a:pt x="72" y="92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0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close/>
                  <a:moveTo>
                    <a:pt x="78" y="96"/>
                  </a:moveTo>
                  <a:lnTo>
                    <a:pt x="78" y="96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8" y="96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01" name="Freeform 141">
              <a:extLst>
                <a:ext uri="{FF2B5EF4-FFF2-40B4-BE49-F238E27FC236}">
                  <a16:creationId xmlns:a16="http://schemas.microsoft.com/office/drawing/2014/main" id="{3611729C-559E-EDA4-5B4D-A731A4615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8683" y="3760097"/>
              <a:ext cx="54550" cy="56565"/>
            </a:xfrm>
            <a:custGeom>
              <a:avLst/>
              <a:gdLst>
                <a:gd name="T0" fmla="*/ 24 w 28"/>
                <a:gd name="T1" fmla="*/ 4 h 30"/>
                <a:gd name="T2" fmla="*/ 28 w 28"/>
                <a:gd name="T3" fmla="*/ 8 h 30"/>
                <a:gd name="T4" fmla="*/ 28 w 28"/>
                <a:gd name="T5" fmla="*/ 12 h 30"/>
                <a:gd name="T6" fmla="*/ 28 w 28"/>
                <a:gd name="T7" fmla="*/ 12 h 30"/>
                <a:gd name="T8" fmla="*/ 24 w 28"/>
                <a:gd name="T9" fmla="*/ 12 h 30"/>
                <a:gd name="T10" fmla="*/ 24 w 28"/>
                <a:gd name="T11" fmla="*/ 16 h 30"/>
                <a:gd name="T12" fmla="*/ 24 w 28"/>
                <a:gd name="T13" fmla="*/ 16 h 30"/>
                <a:gd name="T14" fmla="*/ 20 w 28"/>
                <a:gd name="T15" fmla="*/ 16 h 30"/>
                <a:gd name="T16" fmla="*/ 20 w 28"/>
                <a:gd name="T17" fmla="*/ 16 h 30"/>
                <a:gd name="T18" fmla="*/ 20 w 28"/>
                <a:gd name="T19" fmla="*/ 16 h 30"/>
                <a:gd name="T20" fmla="*/ 16 w 28"/>
                <a:gd name="T21" fmla="*/ 18 h 30"/>
                <a:gd name="T22" fmla="*/ 16 w 28"/>
                <a:gd name="T23" fmla="*/ 18 h 30"/>
                <a:gd name="T24" fmla="*/ 16 w 28"/>
                <a:gd name="T25" fmla="*/ 18 h 30"/>
                <a:gd name="T26" fmla="*/ 12 w 28"/>
                <a:gd name="T27" fmla="*/ 18 h 30"/>
                <a:gd name="T28" fmla="*/ 12 w 28"/>
                <a:gd name="T29" fmla="*/ 18 h 30"/>
                <a:gd name="T30" fmla="*/ 16 w 28"/>
                <a:gd name="T31" fmla="*/ 22 h 30"/>
                <a:gd name="T32" fmla="*/ 16 w 28"/>
                <a:gd name="T33" fmla="*/ 22 h 30"/>
                <a:gd name="T34" fmla="*/ 16 w 28"/>
                <a:gd name="T35" fmla="*/ 18 h 30"/>
                <a:gd name="T36" fmla="*/ 20 w 28"/>
                <a:gd name="T37" fmla="*/ 18 h 30"/>
                <a:gd name="T38" fmla="*/ 20 w 28"/>
                <a:gd name="T39" fmla="*/ 18 h 30"/>
                <a:gd name="T40" fmla="*/ 20 w 28"/>
                <a:gd name="T41" fmla="*/ 18 h 30"/>
                <a:gd name="T42" fmla="*/ 20 w 28"/>
                <a:gd name="T43" fmla="*/ 18 h 30"/>
                <a:gd name="T44" fmla="*/ 24 w 28"/>
                <a:gd name="T45" fmla="*/ 18 h 30"/>
                <a:gd name="T46" fmla="*/ 24 w 28"/>
                <a:gd name="T47" fmla="*/ 22 h 30"/>
                <a:gd name="T48" fmla="*/ 24 w 28"/>
                <a:gd name="T49" fmla="*/ 22 h 30"/>
                <a:gd name="T50" fmla="*/ 24 w 28"/>
                <a:gd name="T51" fmla="*/ 26 h 30"/>
                <a:gd name="T52" fmla="*/ 20 w 28"/>
                <a:gd name="T53" fmla="*/ 30 h 30"/>
                <a:gd name="T54" fmla="*/ 20 w 28"/>
                <a:gd name="T55" fmla="*/ 30 h 30"/>
                <a:gd name="T56" fmla="*/ 16 w 28"/>
                <a:gd name="T57" fmla="*/ 30 h 30"/>
                <a:gd name="T58" fmla="*/ 16 w 28"/>
                <a:gd name="T59" fmla="*/ 30 h 30"/>
                <a:gd name="T60" fmla="*/ 16 w 28"/>
                <a:gd name="T61" fmla="*/ 30 h 30"/>
                <a:gd name="T62" fmla="*/ 16 w 28"/>
                <a:gd name="T63" fmla="*/ 30 h 30"/>
                <a:gd name="T64" fmla="*/ 12 w 28"/>
                <a:gd name="T65" fmla="*/ 30 h 30"/>
                <a:gd name="T66" fmla="*/ 8 w 28"/>
                <a:gd name="T67" fmla="*/ 30 h 30"/>
                <a:gd name="T68" fmla="*/ 8 w 28"/>
                <a:gd name="T69" fmla="*/ 30 h 30"/>
                <a:gd name="T70" fmla="*/ 4 w 28"/>
                <a:gd name="T71" fmla="*/ 30 h 30"/>
                <a:gd name="T72" fmla="*/ 4 w 28"/>
                <a:gd name="T73" fmla="*/ 30 h 30"/>
                <a:gd name="T74" fmla="*/ 4 w 28"/>
                <a:gd name="T75" fmla="*/ 30 h 30"/>
                <a:gd name="T76" fmla="*/ 4 w 28"/>
                <a:gd name="T77" fmla="*/ 30 h 30"/>
                <a:gd name="T78" fmla="*/ 4 w 28"/>
                <a:gd name="T79" fmla="*/ 26 h 30"/>
                <a:gd name="T80" fmla="*/ 4 w 28"/>
                <a:gd name="T81" fmla="*/ 26 h 30"/>
                <a:gd name="T82" fmla="*/ 0 w 28"/>
                <a:gd name="T83" fmla="*/ 22 h 30"/>
                <a:gd name="T84" fmla="*/ 4 w 28"/>
                <a:gd name="T85" fmla="*/ 18 h 30"/>
                <a:gd name="T86" fmla="*/ 4 w 28"/>
                <a:gd name="T87" fmla="*/ 16 h 30"/>
                <a:gd name="T88" fmla="*/ 8 w 28"/>
                <a:gd name="T89" fmla="*/ 12 h 30"/>
                <a:gd name="T90" fmla="*/ 8 w 28"/>
                <a:gd name="T91" fmla="*/ 12 h 30"/>
                <a:gd name="T92" fmla="*/ 8 w 28"/>
                <a:gd name="T93" fmla="*/ 8 h 30"/>
                <a:gd name="T94" fmla="*/ 12 w 28"/>
                <a:gd name="T95" fmla="*/ 8 h 30"/>
                <a:gd name="T96" fmla="*/ 12 w 28"/>
                <a:gd name="T97" fmla="*/ 4 h 30"/>
                <a:gd name="T98" fmla="*/ 12 w 28"/>
                <a:gd name="T99" fmla="*/ 4 h 30"/>
                <a:gd name="T100" fmla="*/ 12 w 28"/>
                <a:gd name="T101" fmla="*/ 4 h 30"/>
                <a:gd name="T102" fmla="*/ 16 w 28"/>
                <a:gd name="T103" fmla="*/ 4 h 30"/>
                <a:gd name="T104" fmla="*/ 16 w 28"/>
                <a:gd name="T105" fmla="*/ 4 h 30"/>
                <a:gd name="T106" fmla="*/ 16 w 28"/>
                <a:gd name="T107" fmla="*/ 8 h 30"/>
                <a:gd name="T108" fmla="*/ 16 w 28"/>
                <a:gd name="T109" fmla="*/ 4 h 30"/>
                <a:gd name="T110" fmla="*/ 20 w 28"/>
                <a:gd name="T111" fmla="*/ 0 h 30"/>
                <a:gd name="T112" fmla="*/ 24 w 28"/>
                <a:gd name="T113" fmla="*/ 0 h 30"/>
                <a:gd name="T114" fmla="*/ 24 w 28"/>
                <a:gd name="T115" fmla="*/ 4 h 30"/>
                <a:gd name="T116" fmla="*/ 24 w 28"/>
                <a:gd name="T117" fmla="*/ 4 h 30"/>
                <a:gd name="T118" fmla="*/ 24 w 28"/>
                <a:gd name="T119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" h="30">
                  <a:moveTo>
                    <a:pt x="24" y="4"/>
                  </a:moveTo>
                  <a:lnTo>
                    <a:pt x="24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6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2"/>
                  </a:lnTo>
                  <a:lnTo>
                    <a:pt x="0" y="22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02" name="Freeform 142">
              <a:extLst>
                <a:ext uri="{FF2B5EF4-FFF2-40B4-BE49-F238E27FC236}">
                  <a16:creationId xmlns:a16="http://schemas.microsoft.com/office/drawing/2014/main" id="{568710CF-C167-18A1-879D-A0BDE778A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5007" y="3126567"/>
              <a:ext cx="331197" cy="324307"/>
            </a:xfrm>
            <a:custGeom>
              <a:avLst/>
              <a:gdLst>
                <a:gd name="T0" fmla="*/ 108 w 170"/>
                <a:gd name="T1" fmla="*/ 8 h 172"/>
                <a:gd name="T2" fmla="*/ 118 w 170"/>
                <a:gd name="T3" fmla="*/ 12 h 172"/>
                <a:gd name="T4" fmla="*/ 130 w 170"/>
                <a:gd name="T5" fmla="*/ 8 h 172"/>
                <a:gd name="T6" fmla="*/ 138 w 170"/>
                <a:gd name="T7" fmla="*/ 18 h 172"/>
                <a:gd name="T8" fmla="*/ 142 w 170"/>
                <a:gd name="T9" fmla="*/ 34 h 172"/>
                <a:gd name="T10" fmla="*/ 142 w 170"/>
                <a:gd name="T11" fmla="*/ 48 h 172"/>
                <a:gd name="T12" fmla="*/ 138 w 170"/>
                <a:gd name="T13" fmla="*/ 64 h 172"/>
                <a:gd name="T14" fmla="*/ 130 w 170"/>
                <a:gd name="T15" fmla="*/ 68 h 172"/>
                <a:gd name="T16" fmla="*/ 122 w 170"/>
                <a:gd name="T17" fmla="*/ 60 h 172"/>
                <a:gd name="T18" fmla="*/ 114 w 170"/>
                <a:gd name="T19" fmla="*/ 46 h 172"/>
                <a:gd name="T20" fmla="*/ 112 w 170"/>
                <a:gd name="T21" fmla="*/ 30 h 172"/>
                <a:gd name="T22" fmla="*/ 112 w 170"/>
                <a:gd name="T23" fmla="*/ 42 h 172"/>
                <a:gd name="T24" fmla="*/ 114 w 170"/>
                <a:gd name="T25" fmla="*/ 52 h 172"/>
                <a:gd name="T26" fmla="*/ 122 w 170"/>
                <a:gd name="T27" fmla="*/ 64 h 172"/>
                <a:gd name="T28" fmla="*/ 122 w 170"/>
                <a:gd name="T29" fmla="*/ 72 h 172"/>
                <a:gd name="T30" fmla="*/ 126 w 170"/>
                <a:gd name="T31" fmla="*/ 82 h 172"/>
                <a:gd name="T32" fmla="*/ 134 w 170"/>
                <a:gd name="T33" fmla="*/ 98 h 172"/>
                <a:gd name="T34" fmla="*/ 142 w 170"/>
                <a:gd name="T35" fmla="*/ 112 h 172"/>
                <a:gd name="T36" fmla="*/ 144 w 170"/>
                <a:gd name="T37" fmla="*/ 124 h 172"/>
                <a:gd name="T38" fmla="*/ 152 w 170"/>
                <a:gd name="T39" fmla="*/ 134 h 172"/>
                <a:gd name="T40" fmla="*/ 152 w 170"/>
                <a:gd name="T41" fmla="*/ 142 h 172"/>
                <a:gd name="T42" fmla="*/ 152 w 170"/>
                <a:gd name="T43" fmla="*/ 158 h 172"/>
                <a:gd name="T44" fmla="*/ 164 w 170"/>
                <a:gd name="T45" fmla="*/ 164 h 172"/>
                <a:gd name="T46" fmla="*/ 170 w 170"/>
                <a:gd name="T47" fmla="*/ 172 h 172"/>
                <a:gd name="T48" fmla="*/ 156 w 170"/>
                <a:gd name="T49" fmla="*/ 172 h 172"/>
                <a:gd name="T50" fmla="*/ 142 w 170"/>
                <a:gd name="T51" fmla="*/ 172 h 172"/>
                <a:gd name="T52" fmla="*/ 122 w 170"/>
                <a:gd name="T53" fmla="*/ 172 h 172"/>
                <a:gd name="T54" fmla="*/ 100 w 170"/>
                <a:gd name="T55" fmla="*/ 172 h 172"/>
                <a:gd name="T56" fmla="*/ 92 w 170"/>
                <a:gd name="T57" fmla="*/ 168 h 172"/>
                <a:gd name="T58" fmla="*/ 82 w 170"/>
                <a:gd name="T59" fmla="*/ 172 h 172"/>
                <a:gd name="T60" fmla="*/ 62 w 170"/>
                <a:gd name="T61" fmla="*/ 172 h 172"/>
                <a:gd name="T62" fmla="*/ 42 w 170"/>
                <a:gd name="T63" fmla="*/ 172 h 172"/>
                <a:gd name="T64" fmla="*/ 26 w 170"/>
                <a:gd name="T65" fmla="*/ 172 h 172"/>
                <a:gd name="T66" fmla="*/ 4 w 170"/>
                <a:gd name="T67" fmla="*/ 172 h 172"/>
                <a:gd name="T68" fmla="*/ 4 w 170"/>
                <a:gd name="T69" fmla="*/ 130 h 172"/>
                <a:gd name="T70" fmla="*/ 4 w 170"/>
                <a:gd name="T71" fmla="*/ 102 h 172"/>
                <a:gd name="T72" fmla="*/ 4 w 170"/>
                <a:gd name="T73" fmla="*/ 82 h 172"/>
                <a:gd name="T74" fmla="*/ 4 w 170"/>
                <a:gd name="T75" fmla="*/ 64 h 172"/>
                <a:gd name="T76" fmla="*/ 4 w 170"/>
                <a:gd name="T77" fmla="*/ 42 h 172"/>
                <a:gd name="T78" fmla="*/ 0 w 170"/>
                <a:gd name="T79" fmla="*/ 26 h 172"/>
                <a:gd name="T80" fmla="*/ 4 w 170"/>
                <a:gd name="T81" fmla="*/ 12 h 172"/>
                <a:gd name="T82" fmla="*/ 4 w 170"/>
                <a:gd name="T83" fmla="*/ 0 h 172"/>
                <a:gd name="T84" fmla="*/ 18 w 170"/>
                <a:gd name="T85" fmla="*/ 0 h 172"/>
                <a:gd name="T86" fmla="*/ 30 w 170"/>
                <a:gd name="T87" fmla="*/ 4 h 172"/>
                <a:gd name="T88" fmla="*/ 42 w 170"/>
                <a:gd name="T89" fmla="*/ 8 h 172"/>
                <a:gd name="T90" fmla="*/ 56 w 170"/>
                <a:gd name="T91" fmla="*/ 12 h 172"/>
                <a:gd name="T92" fmla="*/ 70 w 170"/>
                <a:gd name="T93" fmla="*/ 12 h 172"/>
                <a:gd name="T94" fmla="*/ 74 w 170"/>
                <a:gd name="T95" fmla="*/ 8 h 172"/>
                <a:gd name="T96" fmla="*/ 78 w 170"/>
                <a:gd name="T97" fmla="*/ 4 h 172"/>
                <a:gd name="T98" fmla="*/ 86 w 170"/>
                <a:gd name="T99" fmla="*/ 4 h 172"/>
                <a:gd name="T100" fmla="*/ 88 w 170"/>
                <a:gd name="T101" fmla="*/ 0 h 172"/>
                <a:gd name="T102" fmla="*/ 100 w 170"/>
                <a:gd name="T103" fmla="*/ 4 h 172"/>
                <a:gd name="T104" fmla="*/ 100 w 170"/>
                <a:gd name="T105" fmla="*/ 4 h 172"/>
                <a:gd name="T106" fmla="*/ 104 w 170"/>
                <a:gd name="T107" fmla="*/ 1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0" h="172">
                  <a:moveTo>
                    <a:pt x="104" y="8"/>
                  </a:moveTo>
                  <a:lnTo>
                    <a:pt x="108" y="8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12"/>
                  </a:lnTo>
                  <a:lnTo>
                    <a:pt x="114" y="8"/>
                  </a:lnTo>
                  <a:lnTo>
                    <a:pt x="118" y="8"/>
                  </a:lnTo>
                  <a:lnTo>
                    <a:pt x="118" y="12"/>
                  </a:lnTo>
                  <a:lnTo>
                    <a:pt x="118" y="8"/>
                  </a:lnTo>
                  <a:lnTo>
                    <a:pt x="122" y="8"/>
                  </a:lnTo>
                  <a:lnTo>
                    <a:pt x="126" y="8"/>
                  </a:lnTo>
                  <a:lnTo>
                    <a:pt x="130" y="8"/>
                  </a:lnTo>
                  <a:lnTo>
                    <a:pt x="134" y="4"/>
                  </a:lnTo>
                  <a:lnTo>
                    <a:pt x="134" y="8"/>
                  </a:lnTo>
                  <a:lnTo>
                    <a:pt x="138" y="16"/>
                  </a:lnTo>
                  <a:lnTo>
                    <a:pt x="138" y="18"/>
                  </a:lnTo>
                  <a:lnTo>
                    <a:pt x="138" y="22"/>
                  </a:lnTo>
                  <a:lnTo>
                    <a:pt x="142" y="26"/>
                  </a:lnTo>
                  <a:lnTo>
                    <a:pt x="142" y="30"/>
                  </a:lnTo>
                  <a:lnTo>
                    <a:pt x="142" y="34"/>
                  </a:lnTo>
                  <a:lnTo>
                    <a:pt x="142" y="38"/>
                  </a:lnTo>
                  <a:lnTo>
                    <a:pt x="142" y="42"/>
                  </a:lnTo>
                  <a:lnTo>
                    <a:pt x="142" y="46"/>
                  </a:lnTo>
                  <a:lnTo>
                    <a:pt x="142" y="48"/>
                  </a:lnTo>
                  <a:lnTo>
                    <a:pt x="138" y="52"/>
                  </a:lnTo>
                  <a:lnTo>
                    <a:pt x="138" y="56"/>
                  </a:lnTo>
                  <a:lnTo>
                    <a:pt x="138" y="60"/>
                  </a:lnTo>
                  <a:lnTo>
                    <a:pt x="138" y="64"/>
                  </a:lnTo>
                  <a:lnTo>
                    <a:pt x="138" y="68"/>
                  </a:lnTo>
                  <a:lnTo>
                    <a:pt x="134" y="68"/>
                  </a:lnTo>
                  <a:lnTo>
                    <a:pt x="134" y="72"/>
                  </a:lnTo>
                  <a:lnTo>
                    <a:pt x="130" y="68"/>
                  </a:lnTo>
                  <a:lnTo>
                    <a:pt x="126" y="68"/>
                  </a:lnTo>
                  <a:lnTo>
                    <a:pt x="126" y="64"/>
                  </a:lnTo>
                  <a:lnTo>
                    <a:pt x="126" y="60"/>
                  </a:lnTo>
                  <a:lnTo>
                    <a:pt x="122" y="60"/>
                  </a:lnTo>
                  <a:lnTo>
                    <a:pt x="118" y="56"/>
                  </a:lnTo>
                  <a:lnTo>
                    <a:pt x="118" y="52"/>
                  </a:lnTo>
                  <a:lnTo>
                    <a:pt x="118" y="48"/>
                  </a:lnTo>
                  <a:lnTo>
                    <a:pt x="114" y="46"/>
                  </a:lnTo>
                  <a:lnTo>
                    <a:pt x="112" y="42"/>
                  </a:lnTo>
                  <a:lnTo>
                    <a:pt x="112" y="38"/>
                  </a:lnTo>
                  <a:lnTo>
                    <a:pt x="112" y="34"/>
                  </a:lnTo>
                  <a:lnTo>
                    <a:pt x="112" y="30"/>
                  </a:lnTo>
                  <a:lnTo>
                    <a:pt x="108" y="30"/>
                  </a:lnTo>
                  <a:lnTo>
                    <a:pt x="108" y="34"/>
                  </a:lnTo>
                  <a:lnTo>
                    <a:pt x="108" y="38"/>
                  </a:lnTo>
                  <a:lnTo>
                    <a:pt x="112" y="42"/>
                  </a:lnTo>
                  <a:lnTo>
                    <a:pt x="112" y="46"/>
                  </a:lnTo>
                  <a:lnTo>
                    <a:pt x="112" y="48"/>
                  </a:lnTo>
                  <a:lnTo>
                    <a:pt x="112" y="52"/>
                  </a:lnTo>
                  <a:lnTo>
                    <a:pt x="114" y="52"/>
                  </a:lnTo>
                  <a:lnTo>
                    <a:pt x="114" y="56"/>
                  </a:lnTo>
                  <a:lnTo>
                    <a:pt x="118" y="60"/>
                  </a:lnTo>
                  <a:lnTo>
                    <a:pt x="118" y="64"/>
                  </a:lnTo>
                  <a:lnTo>
                    <a:pt x="122" y="64"/>
                  </a:lnTo>
                  <a:lnTo>
                    <a:pt x="122" y="68"/>
                  </a:lnTo>
                  <a:lnTo>
                    <a:pt x="122" y="72"/>
                  </a:lnTo>
                  <a:lnTo>
                    <a:pt x="122" y="68"/>
                  </a:lnTo>
                  <a:lnTo>
                    <a:pt x="122" y="72"/>
                  </a:lnTo>
                  <a:lnTo>
                    <a:pt x="122" y="74"/>
                  </a:lnTo>
                  <a:lnTo>
                    <a:pt x="126" y="74"/>
                  </a:lnTo>
                  <a:lnTo>
                    <a:pt x="126" y="78"/>
                  </a:lnTo>
                  <a:lnTo>
                    <a:pt x="126" y="82"/>
                  </a:lnTo>
                  <a:lnTo>
                    <a:pt x="130" y="86"/>
                  </a:lnTo>
                  <a:lnTo>
                    <a:pt x="130" y="90"/>
                  </a:lnTo>
                  <a:lnTo>
                    <a:pt x="130" y="94"/>
                  </a:lnTo>
                  <a:lnTo>
                    <a:pt x="134" y="98"/>
                  </a:lnTo>
                  <a:lnTo>
                    <a:pt x="134" y="102"/>
                  </a:lnTo>
                  <a:lnTo>
                    <a:pt x="138" y="104"/>
                  </a:lnTo>
                  <a:lnTo>
                    <a:pt x="138" y="108"/>
                  </a:lnTo>
                  <a:lnTo>
                    <a:pt x="142" y="112"/>
                  </a:lnTo>
                  <a:lnTo>
                    <a:pt x="142" y="116"/>
                  </a:lnTo>
                  <a:lnTo>
                    <a:pt x="142" y="120"/>
                  </a:lnTo>
                  <a:lnTo>
                    <a:pt x="144" y="120"/>
                  </a:lnTo>
                  <a:lnTo>
                    <a:pt x="144" y="124"/>
                  </a:lnTo>
                  <a:lnTo>
                    <a:pt x="144" y="128"/>
                  </a:lnTo>
                  <a:lnTo>
                    <a:pt x="148" y="130"/>
                  </a:lnTo>
                  <a:lnTo>
                    <a:pt x="148" y="134"/>
                  </a:lnTo>
                  <a:lnTo>
                    <a:pt x="152" y="134"/>
                  </a:lnTo>
                  <a:lnTo>
                    <a:pt x="152" y="138"/>
                  </a:lnTo>
                  <a:lnTo>
                    <a:pt x="156" y="138"/>
                  </a:lnTo>
                  <a:lnTo>
                    <a:pt x="152" y="138"/>
                  </a:lnTo>
                  <a:lnTo>
                    <a:pt x="152" y="142"/>
                  </a:lnTo>
                  <a:lnTo>
                    <a:pt x="152" y="146"/>
                  </a:lnTo>
                  <a:lnTo>
                    <a:pt x="152" y="150"/>
                  </a:lnTo>
                  <a:lnTo>
                    <a:pt x="152" y="154"/>
                  </a:lnTo>
                  <a:lnTo>
                    <a:pt x="152" y="158"/>
                  </a:lnTo>
                  <a:lnTo>
                    <a:pt x="156" y="158"/>
                  </a:lnTo>
                  <a:lnTo>
                    <a:pt x="156" y="160"/>
                  </a:lnTo>
                  <a:lnTo>
                    <a:pt x="160" y="160"/>
                  </a:lnTo>
                  <a:lnTo>
                    <a:pt x="164" y="164"/>
                  </a:lnTo>
                  <a:lnTo>
                    <a:pt x="164" y="168"/>
                  </a:lnTo>
                  <a:lnTo>
                    <a:pt x="168" y="168"/>
                  </a:lnTo>
                  <a:lnTo>
                    <a:pt x="168" y="172"/>
                  </a:lnTo>
                  <a:lnTo>
                    <a:pt x="170" y="172"/>
                  </a:lnTo>
                  <a:lnTo>
                    <a:pt x="168" y="172"/>
                  </a:lnTo>
                  <a:lnTo>
                    <a:pt x="164" y="172"/>
                  </a:lnTo>
                  <a:lnTo>
                    <a:pt x="160" y="172"/>
                  </a:lnTo>
                  <a:lnTo>
                    <a:pt x="156" y="172"/>
                  </a:lnTo>
                  <a:lnTo>
                    <a:pt x="152" y="172"/>
                  </a:lnTo>
                  <a:lnTo>
                    <a:pt x="148" y="172"/>
                  </a:lnTo>
                  <a:lnTo>
                    <a:pt x="144" y="172"/>
                  </a:lnTo>
                  <a:lnTo>
                    <a:pt x="142" y="172"/>
                  </a:lnTo>
                  <a:lnTo>
                    <a:pt x="134" y="172"/>
                  </a:lnTo>
                  <a:lnTo>
                    <a:pt x="130" y="172"/>
                  </a:lnTo>
                  <a:lnTo>
                    <a:pt x="126" y="172"/>
                  </a:lnTo>
                  <a:lnTo>
                    <a:pt x="122" y="172"/>
                  </a:lnTo>
                  <a:lnTo>
                    <a:pt x="118" y="172"/>
                  </a:lnTo>
                  <a:lnTo>
                    <a:pt x="112" y="172"/>
                  </a:lnTo>
                  <a:lnTo>
                    <a:pt x="108" y="172"/>
                  </a:lnTo>
                  <a:lnTo>
                    <a:pt x="100" y="172"/>
                  </a:lnTo>
                  <a:lnTo>
                    <a:pt x="96" y="172"/>
                  </a:lnTo>
                  <a:lnTo>
                    <a:pt x="92" y="172"/>
                  </a:lnTo>
                  <a:lnTo>
                    <a:pt x="96" y="172"/>
                  </a:lnTo>
                  <a:lnTo>
                    <a:pt x="92" y="168"/>
                  </a:lnTo>
                  <a:lnTo>
                    <a:pt x="92" y="172"/>
                  </a:lnTo>
                  <a:lnTo>
                    <a:pt x="88" y="172"/>
                  </a:lnTo>
                  <a:lnTo>
                    <a:pt x="86" y="172"/>
                  </a:lnTo>
                  <a:lnTo>
                    <a:pt x="82" y="172"/>
                  </a:lnTo>
                  <a:lnTo>
                    <a:pt x="78" y="172"/>
                  </a:lnTo>
                  <a:lnTo>
                    <a:pt x="74" y="172"/>
                  </a:lnTo>
                  <a:lnTo>
                    <a:pt x="66" y="172"/>
                  </a:lnTo>
                  <a:lnTo>
                    <a:pt x="62" y="172"/>
                  </a:lnTo>
                  <a:lnTo>
                    <a:pt x="58" y="172"/>
                  </a:lnTo>
                  <a:lnTo>
                    <a:pt x="56" y="172"/>
                  </a:lnTo>
                  <a:lnTo>
                    <a:pt x="48" y="172"/>
                  </a:lnTo>
                  <a:lnTo>
                    <a:pt x="42" y="172"/>
                  </a:lnTo>
                  <a:lnTo>
                    <a:pt x="38" y="172"/>
                  </a:lnTo>
                  <a:lnTo>
                    <a:pt x="34" y="172"/>
                  </a:lnTo>
                  <a:lnTo>
                    <a:pt x="30" y="172"/>
                  </a:lnTo>
                  <a:lnTo>
                    <a:pt x="26" y="172"/>
                  </a:lnTo>
                  <a:lnTo>
                    <a:pt x="22" y="172"/>
                  </a:lnTo>
                  <a:lnTo>
                    <a:pt x="16" y="172"/>
                  </a:lnTo>
                  <a:lnTo>
                    <a:pt x="8" y="172"/>
                  </a:lnTo>
                  <a:lnTo>
                    <a:pt x="4" y="172"/>
                  </a:lnTo>
                  <a:lnTo>
                    <a:pt x="4" y="168"/>
                  </a:lnTo>
                  <a:lnTo>
                    <a:pt x="4" y="146"/>
                  </a:lnTo>
                  <a:lnTo>
                    <a:pt x="4" y="138"/>
                  </a:lnTo>
                  <a:lnTo>
                    <a:pt x="4" y="130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4" y="112"/>
                  </a:lnTo>
                  <a:lnTo>
                    <a:pt x="4" y="102"/>
                  </a:lnTo>
                  <a:lnTo>
                    <a:pt x="4" y="94"/>
                  </a:lnTo>
                  <a:lnTo>
                    <a:pt x="4" y="90"/>
                  </a:lnTo>
                  <a:lnTo>
                    <a:pt x="4" y="86"/>
                  </a:lnTo>
                  <a:lnTo>
                    <a:pt x="4" y="82"/>
                  </a:lnTo>
                  <a:lnTo>
                    <a:pt x="4" y="74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48"/>
                  </a:lnTo>
                  <a:lnTo>
                    <a:pt x="4" y="46"/>
                  </a:lnTo>
                  <a:lnTo>
                    <a:pt x="4" y="42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8" y="4"/>
                  </a:lnTo>
                  <a:lnTo>
                    <a:pt x="38" y="8"/>
                  </a:lnTo>
                  <a:lnTo>
                    <a:pt x="42" y="8"/>
                  </a:lnTo>
                  <a:lnTo>
                    <a:pt x="44" y="8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8" y="16"/>
                  </a:lnTo>
                  <a:lnTo>
                    <a:pt x="62" y="16"/>
                  </a:lnTo>
                  <a:lnTo>
                    <a:pt x="66" y="12"/>
                  </a:lnTo>
                  <a:lnTo>
                    <a:pt x="70" y="12"/>
                  </a:lnTo>
                  <a:lnTo>
                    <a:pt x="70" y="8"/>
                  </a:lnTo>
                  <a:lnTo>
                    <a:pt x="74" y="8"/>
                  </a:lnTo>
                  <a:lnTo>
                    <a:pt x="74" y="4"/>
                  </a:lnTo>
                  <a:lnTo>
                    <a:pt x="74" y="8"/>
                  </a:lnTo>
                  <a:lnTo>
                    <a:pt x="78" y="8"/>
                  </a:lnTo>
                  <a:lnTo>
                    <a:pt x="78" y="4"/>
                  </a:lnTo>
                  <a:lnTo>
                    <a:pt x="78" y="0"/>
                  </a:lnTo>
                  <a:lnTo>
                    <a:pt x="78" y="4"/>
                  </a:lnTo>
                  <a:lnTo>
                    <a:pt x="82" y="4"/>
                  </a:lnTo>
                  <a:lnTo>
                    <a:pt x="82" y="0"/>
                  </a:lnTo>
                  <a:lnTo>
                    <a:pt x="86" y="0"/>
                  </a:lnTo>
                  <a:lnTo>
                    <a:pt x="86" y="4"/>
                  </a:lnTo>
                  <a:lnTo>
                    <a:pt x="82" y="4"/>
                  </a:lnTo>
                  <a:lnTo>
                    <a:pt x="86" y="4"/>
                  </a:lnTo>
                  <a:lnTo>
                    <a:pt x="88" y="4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close/>
                </a:path>
              </a:pathLst>
            </a:custGeom>
            <a:solidFill>
              <a:srgbClr val="FFFF00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03" name="Freeform 143">
              <a:extLst>
                <a:ext uri="{FF2B5EF4-FFF2-40B4-BE49-F238E27FC236}">
                  <a16:creationId xmlns:a16="http://schemas.microsoft.com/office/drawing/2014/main" id="{964E42E0-3085-F0BC-D068-5ADBD8F7FB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3020" y="4046694"/>
              <a:ext cx="81825" cy="94275"/>
            </a:xfrm>
            <a:custGeom>
              <a:avLst/>
              <a:gdLst>
                <a:gd name="T0" fmla="*/ 28 w 42"/>
                <a:gd name="T1" fmla="*/ 50 h 50"/>
                <a:gd name="T2" fmla="*/ 24 w 42"/>
                <a:gd name="T3" fmla="*/ 50 h 50"/>
                <a:gd name="T4" fmla="*/ 24 w 42"/>
                <a:gd name="T5" fmla="*/ 50 h 50"/>
                <a:gd name="T6" fmla="*/ 20 w 42"/>
                <a:gd name="T7" fmla="*/ 50 h 50"/>
                <a:gd name="T8" fmla="*/ 20 w 42"/>
                <a:gd name="T9" fmla="*/ 50 h 50"/>
                <a:gd name="T10" fmla="*/ 20 w 42"/>
                <a:gd name="T11" fmla="*/ 46 h 50"/>
                <a:gd name="T12" fmla="*/ 16 w 42"/>
                <a:gd name="T13" fmla="*/ 50 h 50"/>
                <a:gd name="T14" fmla="*/ 16 w 42"/>
                <a:gd name="T15" fmla="*/ 46 h 50"/>
                <a:gd name="T16" fmla="*/ 16 w 42"/>
                <a:gd name="T17" fmla="*/ 46 h 50"/>
                <a:gd name="T18" fmla="*/ 16 w 42"/>
                <a:gd name="T19" fmla="*/ 42 h 50"/>
                <a:gd name="T20" fmla="*/ 16 w 42"/>
                <a:gd name="T21" fmla="*/ 38 h 50"/>
                <a:gd name="T22" fmla="*/ 20 w 42"/>
                <a:gd name="T23" fmla="*/ 38 h 50"/>
                <a:gd name="T24" fmla="*/ 20 w 42"/>
                <a:gd name="T25" fmla="*/ 34 h 50"/>
                <a:gd name="T26" fmla="*/ 20 w 42"/>
                <a:gd name="T27" fmla="*/ 28 h 50"/>
                <a:gd name="T28" fmla="*/ 20 w 42"/>
                <a:gd name="T29" fmla="*/ 28 h 50"/>
                <a:gd name="T30" fmla="*/ 24 w 42"/>
                <a:gd name="T31" fmla="*/ 32 h 50"/>
                <a:gd name="T32" fmla="*/ 28 w 42"/>
                <a:gd name="T33" fmla="*/ 32 h 50"/>
                <a:gd name="T34" fmla="*/ 30 w 42"/>
                <a:gd name="T35" fmla="*/ 32 h 50"/>
                <a:gd name="T36" fmla="*/ 30 w 42"/>
                <a:gd name="T37" fmla="*/ 32 h 50"/>
                <a:gd name="T38" fmla="*/ 38 w 42"/>
                <a:gd name="T39" fmla="*/ 32 h 50"/>
                <a:gd name="T40" fmla="*/ 42 w 42"/>
                <a:gd name="T41" fmla="*/ 32 h 50"/>
                <a:gd name="T42" fmla="*/ 42 w 42"/>
                <a:gd name="T43" fmla="*/ 34 h 50"/>
                <a:gd name="T44" fmla="*/ 42 w 42"/>
                <a:gd name="T45" fmla="*/ 38 h 50"/>
                <a:gd name="T46" fmla="*/ 42 w 42"/>
                <a:gd name="T47" fmla="*/ 50 h 50"/>
                <a:gd name="T48" fmla="*/ 34 w 42"/>
                <a:gd name="T49" fmla="*/ 50 h 50"/>
                <a:gd name="T50" fmla="*/ 30 w 42"/>
                <a:gd name="T51" fmla="*/ 50 h 50"/>
                <a:gd name="T52" fmla="*/ 30 w 42"/>
                <a:gd name="T53" fmla="*/ 50 h 50"/>
                <a:gd name="T54" fmla="*/ 4 w 42"/>
                <a:gd name="T55" fmla="*/ 8 h 50"/>
                <a:gd name="T56" fmla="*/ 4 w 42"/>
                <a:gd name="T57" fmla="*/ 8 h 50"/>
                <a:gd name="T58" fmla="*/ 0 w 42"/>
                <a:gd name="T59" fmla="*/ 12 h 50"/>
                <a:gd name="T60" fmla="*/ 0 w 42"/>
                <a:gd name="T61" fmla="*/ 8 h 50"/>
                <a:gd name="T62" fmla="*/ 0 w 42"/>
                <a:gd name="T63" fmla="*/ 8 h 50"/>
                <a:gd name="T64" fmla="*/ 0 w 42"/>
                <a:gd name="T65" fmla="*/ 8 h 50"/>
                <a:gd name="T66" fmla="*/ 0 w 42"/>
                <a:gd name="T67" fmla="*/ 8 h 50"/>
                <a:gd name="T68" fmla="*/ 0 w 42"/>
                <a:gd name="T69" fmla="*/ 8 h 50"/>
                <a:gd name="T70" fmla="*/ 4 w 42"/>
                <a:gd name="T71" fmla="*/ 8 h 50"/>
                <a:gd name="T72" fmla="*/ 4 w 42"/>
                <a:gd name="T73" fmla="*/ 4 h 50"/>
                <a:gd name="T74" fmla="*/ 4 w 42"/>
                <a:gd name="T75" fmla="*/ 4 h 50"/>
                <a:gd name="T76" fmla="*/ 8 w 42"/>
                <a:gd name="T77" fmla="*/ 0 h 50"/>
                <a:gd name="T78" fmla="*/ 8 w 42"/>
                <a:gd name="T79" fmla="*/ 4 h 50"/>
                <a:gd name="T80" fmla="*/ 8 w 42"/>
                <a:gd name="T81" fmla="*/ 4 h 50"/>
                <a:gd name="T82" fmla="*/ 8 w 42"/>
                <a:gd name="T83" fmla="*/ 4 h 50"/>
                <a:gd name="T84" fmla="*/ 8 w 42"/>
                <a:gd name="T85" fmla="*/ 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" h="50">
                  <a:moveTo>
                    <a:pt x="30" y="50"/>
                  </a:moveTo>
                  <a:lnTo>
                    <a:pt x="28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50"/>
                  </a:lnTo>
                  <a:lnTo>
                    <a:pt x="16" y="50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20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8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42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38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50"/>
                  </a:lnTo>
                  <a:close/>
                  <a:moveTo>
                    <a:pt x="8" y="4"/>
                  </a:move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04" name="Freeform 144">
              <a:extLst>
                <a:ext uri="{FF2B5EF4-FFF2-40B4-BE49-F238E27FC236}">
                  <a16:creationId xmlns:a16="http://schemas.microsoft.com/office/drawing/2014/main" id="{B013AF8E-A810-7881-9FDE-A5CEA2FDF5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4515" y="3582860"/>
              <a:ext cx="190926" cy="188551"/>
            </a:xfrm>
            <a:custGeom>
              <a:avLst/>
              <a:gdLst>
                <a:gd name="T0" fmla="*/ 42 w 98"/>
                <a:gd name="T1" fmla="*/ 34 h 100"/>
                <a:gd name="T2" fmla="*/ 46 w 98"/>
                <a:gd name="T3" fmla="*/ 44 h 100"/>
                <a:gd name="T4" fmla="*/ 46 w 98"/>
                <a:gd name="T5" fmla="*/ 44 h 100"/>
                <a:gd name="T6" fmla="*/ 48 w 98"/>
                <a:gd name="T7" fmla="*/ 52 h 100"/>
                <a:gd name="T8" fmla="*/ 48 w 98"/>
                <a:gd name="T9" fmla="*/ 48 h 100"/>
                <a:gd name="T10" fmla="*/ 48 w 98"/>
                <a:gd name="T11" fmla="*/ 44 h 100"/>
                <a:gd name="T12" fmla="*/ 52 w 98"/>
                <a:gd name="T13" fmla="*/ 52 h 100"/>
                <a:gd name="T14" fmla="*/ 56 w 98"/>
                <a:gd name="T15" fmla="*/ 52 h 100"/>
                <a:gd name="T16" fmla="*/ 64 w 98"/>
                <a:gd name="T17" fmla="*/ 60 h 100"/>
                <a:gd name="T18" fmla="*/ 72 w 98"/>
                <a:gd name="T19" fmla="*/ 68 h 100"/>
                <a:gd name="T20" fmla="*/ 74 w 98"/>
                <a:gd name="T21" fmla="*/ 72 h 100"/>
                <a:gd name="T22" fmla="*/ 82 w 98"/>
                <a:gd name="T23" fmla="*/ 74 h 100"/>
                <a:gd name="T24" fmla="*/ 82 w 98"/>
                <a:gd name="T25" fmla="*/ 78 h 100"/>
                <a:gd name="T26" fmla="*/ 86 w 98"/>
                <a:gd name="T27" fmla="*/ 82 h 100"/>
                <a:gd name="T28" fmla="*/ 90 w 98"/>
                <a:gd name="T29" fmla="*/ 86 h 100"/>
                <a:gd name="T30" fmla="*/ 94 w 98"/>
                <a:gd name="T31" fmla="*/ 94 h 100"/>
                <a:gd name="T32" fmla="*/ 98 w 98"/>
                <a:gd name="T33" fmla="*/ 94 h 100"/>
                <a:gd name="T34" fmla="*/ 90 w 98"/>
                <a:gd name="T35" fmla="*/ 100 h 100"/>
                <a:gd name="T36" fmla="*/ 86 w 98"/>
                <a:gd name="T37" fmla="*/ 98 h 100"/>
                <a:gd name="T38" fmla="*/ 86 w 98"/>
                <a:gd name="T39" fmla="*/ 98 h 100"/>
                <a:gd name="T40" fmla="*/ 82 w 98"/>
                <a:gd name="T41" fmla="*/ 94 h 100"/>
                <a:gd name="T42" fmla="*/ 78 w 98"/>
                <a:gd name="T43" fmla="*/ 90 h 100"/>
                <a:gd name="T44" fmla="*/ 78 w 98"/>
                <a:gd name="T45" fmla="*/ 86 h 100"/>
                <a:gd name="T46" fmla="*/ 74 w 98"/>
                <a:gd name="T47" fmla="*/ 82 h 100"/>
                <a:gd name="T48" fmla="*/ 68 w 98"/>
                <a:gd name="T49" fmla="*/ 78 h 100"/>
                <a:gd name="T50" fmla="*/ 68 w 98"/>
                <a:gd name="T51" fmla="*/ 74 h 100"/>
                <a:gd name="T52" fmla="*/ 64 w 98"/>
                <a:gd name="T53" fmla="*/ 68 h 100"/>
                <a:gd name="T54" fmla="*/ 60 w 98"/>
                <a:gd name="T55" fmla="*/ 68 h 100"/>
                <a:gd name="T56" fmla="*/ 56 w 98"/>
                <a:gd name="T57" fmla="*/ 64 h 100"/>
                <a:gd name="T58" fmla="*/ 52 w 98"/>
                <a:gd name="T59" fmla="*/ 64 h 100"/>
                <a:gd name="T60" fmla="*/ 48 w 98"/>
                <a:gd name="T61" fmla="*/ 64 h 100"/>
                <a:gd name="T62" fmla="*/ 42 w 98"/>
                <a:gd name="T63" fmla="*/ 64 h 100"/>
                <a:gd name="T64" fmla="*/ 38 w 98"/>
                <a:gd name="T65" fmla="*/ 60 h 100"/>
                <a:gd name="T66" fmla="*/ 34 w 98"/>
                <a:gd name="T67" fmla="*/ 64 h 100"/>
                <a:gd name="T68" fmla="*/ 26 w 98"/>
                <a:gd name="T69" fmla="*/ 60 h 100"/>
                <a:gd name="T70" fmla="*/ 22 w 98"/>
                <a:gd name="T71" fmla="*/ 56 h 100"/>
                <a:gd name="T72" fmla="*/ 18 w 98"/>
                <a:gd name="T73" fmla="*/ 72 h 100"/>
                <a:gd name="T74" fmla="*/ 12 w 98"/>
                <a:gd name="T75" fmla="*/ 64 h 100"/>
                <a:gd name="T76" fmla="*/ 12 w 98"/>
                <a:gd name="T77" fmla="*/ 68 h 100"/>
                <a:gd name="T78" fmla="*/ 4 w 98"/>
                <a:gd name="T79" fmla="*/ 68 h 100"/>
                <a:gd name="T80" fmla="*/ 0 w 98"/>
                <a:gd name="T81" fmla="*/ 52 h 100"/>
                <a:gd name="T82" fmla="*/ 4 w 98"/>
                <a:gd name="T83" fmla="*/ 42 h 100"/>
                <a:gd name="T84" fmla="*/ 8 w 98"/>
                <a:gd name="T85" fmla="*/ 34 h 100"/>
                <a:gd name="T86" fmla="*/ 8 w 98"/>
                <a:gd name="T87" fmla="*/ 26 h 100"/>
                <a:gd name="T88" fmla="*/ 8 w 98"/>
                <a:gd name="T89" fmla="*/ 18 h 100"/>
                <a:gd name="T90" fmla="*/ 16 w 98"/>
                <a:gd name="T91" fmla="*/ 18 h 100"/>
                <a:gd name="T92" fmla="*/ 16 w 98"/>
                <a:gd name="T93" fmla="*/ 16 h 100"/>
                <a:gd name="T94" fmla="*/ 22 w 98"/>
                <a:gd name="T95" fmla="*/ 12 h 100"/>
                <a:gd name="T96" fmla="*/ 30 w 98"/>
                <a:gd name="T97" fmla="*/ 8 h 100"/>
                <a:gd name="T98" fmla="*/ 34 w 98"/>
                <a:gd name="T99" fmla="*/ 4 h 100"/>
                <a:gd name="T100" fmla="*/ 38 w 98"/>
                <a:gd name="T101" fmla="*/ 16 h 100"/>
                <a:gd name="T102" fmla="*/ 42 w 98"/>
                <a:gd name="T103" fmla="*/ 26 h 100"/>
                <a:gd name="T104" fmla="*/ 42 w 98"/>
                <a:gd name="T105" fmla="*/ 30 h 100"/>
                <a:gd name="T106" fmla="*/ 52 w 98"/>
                <a:gd name="T107" fmla="*/ 42 h 100"/>
                <a:gd name="T108" fmla="*/ 52 w 98"/>
                <a:gd name="T109" fmla="*/ 42 h 100"/>
                <a:gd name="T110" fmla="*/ 56 w 98"/>
                <a:gd name="T111" fmla="*/ 42 h 100"/>
                <a:gd name="T112" fmla="*/ 56 w 98"/>
                <a:gd name="T113" fmla="*/ 42 h 100"/>
                <a:gd name="T114" fmla="*/ 56 w 98"/>
                <a:gd name="T115" fmla="*/ 44 h 100"/>
                <a:gd name="T116" fmla="*/ 52 w 98"/>
                <a:gd name="T117" fmla="*/ 42 h 100"/>
                <a:gd name="T118" fmla="*/ 52 w 98"/>
                <a:gd name="T119" fmla="*/ 42 h 100"/>
                <a:gd name="T120" fmla="*/ 52 w 98"/>
                <a:gd name="T121" fmla="*/ 42 h 100"/>
                <a:gd name="T122" fmla="*/ 52 w 98"/>
                <a:gd name="T123" fmla="*/ 38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8" h="100">
                  <a:moveTo>
                    <a:pt x="42" y="30"/>
                  </a:moveTo>
                  <a:lnTo>
                    <a:pt x="42" y="30"/>
                  </a:lnTo>
                  <a:lnTo>
                    <a:pt x="42" y="30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8"/>
                  </a:lnTo>
                  <a:lnTo>
                    <a:pt x="74" y="68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8" y="74"/>
                  </a:lnTo>
                  <a:lnTo>
                    <a:pt x="78" y="74"/>
                  </a:lnTo>
                  <a:lnTo>
                    <a:pt x="78" y="74"/>
                  </a:lnTo>
                  <a:lnTo>
                    <a:pt x="78" y="74"/>
                  </a:lnTo>
                  <a:lnTo>
                    <a:pt x="82" y="74"/>
                  </a:lnTo>
                  <a:lnTo>
                    <a:pt x="82" y="74"/>
                  </a:lnTo>
                  <a:lnTo>
                    <a:pt x="82" y="78"/>
                  </a:lnTo>
                  <a:lnTo>
                    <a:pt x="82" y="78"/>
                  </a:lnTo>
                  <a:lnTo>
                    <a:pt x="82" y="78"/>
                  </a:lnTo>
                  <a:lnTo>
                    <a:pt x="82" y="78"/>
                  </a:lnTo>
                  <a:lnTo>
                    <a:pt x="82" y="78"/>
                  </a:lnTo>
                  <a:lnTo>
                    <a:pt x="82" y="78"/>
                  </a:lnTo>
                  <a:lnTo>
                    <a:pt x="82" y="78"/>
                  </a:lnTo>
                  <a:lnTo>
                    <a:pt x="82" y="78"/>
                  </a:lnTo>
                  <a:lnTo>
                    <a:pt x="82" y="78"/>
                  </a:lnTo>
                  <a:lnTo>
                    <a:pt x="86" y="78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6" y="86"/>
                  </a:lnTo>
                  <a:lnTo>
                    <a:pt x="86" y="86"/>
                  </a:lnTo>
                  <a:lnTo>
                    <a:pt x="86" y="86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4" y="94"/>
                  </a:lnTo>
                  <a:lnTo>
                    <a:pt x="94" y="94"/>
                  </a:lnTo>
                  <a:lnTo>
                    <a:pt x="94" y="94"/>
                  </a:lnTo>
                  <a:lnTo>
                    <a:pt x="94" y="90"/>
                  </a:lnTo>
                  <a:lnTo>
                    <a:pt x="94" y="90"/>
                  </a:lnTo>
                  <a:lnTo>
                    <a:pt x="94" y="90"/>
                  </a:lnTo>
                  <a:lnTo>
                    <a:pt x="98" y="94"/>
                  </a:lnTo>
                  <a:lnTo>
                    <a:pt x="98" y="94"/>
                  </a:lnTo>
                  <a:lnTo>
                    <a:pt x="98" y="94"/>
                  </a:lnTo>
                  <a:lnTo>
                    <a:pt x="94" y="94"/>
                  </a:lnTo>
                  <a:lnTo>
                    <a:pt x="90" y="98"/>
                  </a:lnTo>
                  <a:lnTo>
                    <a:pt x="90" y="98"/>
                  </a:lnTo>
                  <a:lnTo>
                    <a:pt x="90" y="98"/>
                  </a:lnTo>
                  <a:lnTo>
                    <a:pt x="90" y="100"/>
                  </a:lnTo>
                  <a:lnTo>
                    <a:pt x="90" y="100"/>
                  </a:lnTo>
                  <a:lnTo>
                    <a:pt x="90" y="98"/>
                  </a:lnTo>
                  <a:lnTo>
                    <a:pt x="90" y="98"/>
                  </a:lnTo>
                  <a:lnTo>
                    <a:pt x="90" y="98"/>
                  </a:lnTo>
                  <a:lnTo>
                    <a:pt x="86" y="98"/>
                  </a:lnTo>
                  <a:lnTo>
                    <a:pt x="86" y="98"/>
                  </a:lnTo>
                  <a:lnTo>
                    <a:pt x="86" y="98"/>
                  </a:lnTo>
                  <a:lnTo>
                    <a:pt x="86" y="98"/>
                  </a:lnTo>
                  <a:lnTo>
                    <a:pt x="86" y="98"/>
                  </a:lnTo>
                  <a:lnTo>
                    <a:pt x="86" y="98"/>
                  </a:lnTo>
                  <a:lnTo>
                    <a:pt x="86" y="98"/>
                  </a:lnTo>
                  <a:lnTo>
                    <a:pt x="86" y="98"/>
                  </a:lnTo>
                  <a:lnTo>
                    <a:pt x="86" y="98"/>
                  </a:lnTo>
                  <a:lnTo>
                    <a:pt x="82" y="98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82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4" y="86"/>
                  </a:lnTo>
                  <a:lnTo>
                    <a:pt x="74" y="82"/>
                  </a:lnTo>
                  <a:lnTo>
                    <a:pt x="74" y="82"/>
                  </a:lnTo>
                  <a:lnTo>
                    <a:pt x="74" y="82"/>
                  </a:lnTo>
                  <a:lnTo>
                    <a:pt x="74" y="82"/>
                  </a:lnTo>
                  <a:lnTo>
                    <a:pt x="74" y="82"/>
                  </a:lnTo>
                  <a:lnTo>
                    <a:pt x="72" y="82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68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6" y="64"/>
                  </a:lnTo>
                  <a:lnTo>
                    <a:pt x="46" y="60"/>
                  </a:lnTo>
                  <a:lnTo>
                    <a:pt x="46" y="64"/>
                  </a:lnTo>
                  <a:lnTo>
                    <a:pt x="42" y="64"/>
                  </a:lnTo>
                  <a:lnTo>
                    <a:pt x="42" y="64"/>
                  </a:lnTo>
                  <a:lnTo>
                    <a:pt x="42" y="64"/>
                  </a:lnTo>
                  <a:lnTo>
                    <a:pt x="42" y="64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4" y="6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26" y="64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2" y="60"/>
                  </a:lnTo>
                  <a:lnTo>
                    <a:pt x="18" y="64"/>
                  </a:lnTo>
                  <a:lnTo>
                    <a:pt x="18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8" y="42"/>
                  </a:lnTo>
                  <a:lnTo>
                    <a:pt x="8" y="38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8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30" y="8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0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6"/>
                  </a:lnTo>
                  <a:lnTo>
                    <a:pt x="38" y="18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42" y="22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close/>
                  <a:moveTo>
                    <a:pt x="52" y="38"/>
                  </a:moveTo>
                  <a:lnTo>
                    <a:pt x="52" y="38"/>
                  </a:lnTo>
                  <a:lnTo>
                    <a:pt x="52" y="38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05" name="Freeform 145">
              <a:extLst>
                <a:ext uri="{FF2B5EF4-FFF2-40B4-BE49-F238E27FC236}">
                  <a16:creationId xmlns:a16="http://schemas.microsoft.com/office/drawing/2014/main" id="{52F54525-B19D-E556-C768-917766F39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1000" y="3688448"/>
              <a:ext cx="413023" cy="373330"/>
            </a:xfrm>
            <a:custGeom>
              <a:avLst/>
              <a:gdLst>
                <a:gd name="T0" fmla="*/ 172 w 212"/>
                <a:gd name="T1" fmla="*/ 172 h 198"/>
                <a:gd name="T2" fmla="*/ 152 w 212"/>
                <a:gd name="T3" fmla="*/ 172 h 198"/>
                <a:gd name="T4" fmla="*/ 142 w 212"/>
                <a:gd name="T5" fmla="*/ 176 h 198"/>
                <a:gd name="T6" fmla="*/ 134 w 212"/>
                <a:gd name="T7" fmla="*/ 184 h 198"/>
                <a:gd name="T8" fmla="*/ 122 w 212"/>
                <a:gd name="T9" fmla="*/ 188 h 198"/>
                <a:gd name="T10" fmla="*/ 108 w 212"/>
                <a:gd name="T11" fmla="*/ 184 h 198"/>
                <a:gd name="T12" fmla="*/ 96 w 212"/>
                <a:gd name="T13" fmla="*/ 194 h 198"/>
                <a:gd name="T14" fmla="*/ 90 w 212"/>
                <a:gd name="T15" fmla="*/ 194 h 198"/>
                <a:gd name="T16" fmla="*/ 78 w 212"/>
                <a:gd name="T17" fmla="*/ 194 h 198"/>
                <a:gd name="T18" fmla="*/ 60 w 212"/>
                <a:gd name="T19" fmla="*/ 184 h 198"/>
                <a:gd name="T20" fmla="*/ 48 w 212"/>
                <a:gd name="T21" fmla="*/ 180 h 198"/>
                <a:gd name="T22" fmla="*/ 40 w 212"/>
                <a:gd name="T23" fmla="*/ 168 h 198"/>
                <a:gd name="T24" fmla="*/ 32 w 212"/>
                <a:gd name="T25" fmla="*/ 162 h 198"/>
                <a:gd name="T26" fmla="*/ 30 w 212"/>
                <a:gd name="T27" fmla="*/ 150 h 198"/>
                <a:gd name="T28" fmla="*/ 22 w 212"/>
                <a:gd name="T29" fmla="*/ 142 h 198"/>
                <a:gd name="T30" fmla="*/ 14 w 212"/>
                <a:gd name="T31" fmla="*/ 132 h 198"/>
                <a:gd name="T32" fmla="*/ 4 w 212"/>
                <a:gd name="T33" fmla="*/ 124 h 198"/>
                <a:gd name="T34" fmla="*/ 4 w 212"/>
                <a:gd name="T35" fmla="*/ 112 h 198"/>
                <a:gd name="T36" fmla="*/ 14 w 212"/>
                <a:gd name="T37" fmla="*/ 110 h 198"/>
                <a:gd name="T38" fmla="*/ 18 w 212"/>
                <a:gd name="T39" fmla="*/ 90 h 198"/>
                <a:gd name="T40" fmla="*/ 18 w 212"/>
                <a:gd name="T41" fmla="*/ 76 h 198"/>
                <a:gd name="T42" fmla="*/ 30 w 212"/>
                <a:gd name="T43" fmla="*/ 72 h 198"/>
                <a:gd name="T44" fmla="*/ 30 w 212"/>
                <a:gd name="T45" fmla="*/ 56 h 198"/>
                <a:gd name="T46" fmla="*/ 36 w 212"/>
                <a:gd name="T47" fmla="*/ 42 h 198"/>
                <a:gd name="T48" fmla="*/ 44 w 212"/>
                <a:gd name="T49" fmla="*/ 34 h 198"/>
                <a:gd name="T50" fmla="*/ 48 w 212"/>
                <a:gd name="T51" fmla="*/ 16 h 198"/>
                <a:gd name="T52" fmla="*/ 60 w 212"/>
                <a:gd name="T53" fmla="*/ 8 h 198"/>
                <a:gd name="T54" fmla="*/ 66 w 212"/>
                <a:gd name="T55" fmla="*/ 16 h 198"/>
                <a:gd name="T56" fmla="*/ 70 w 212"/>
                <a:gd name="T57" fmla="*/ 4 h 198"/>
                <a:gd name="T58" fmla="*/ 82 w 212"/>
                <a:gd name="T59" fmla="*/ 8 h 198"/>
                <a:gd name="T60" fmla="*/ 90 w 212"/>
                <a:gd name="T61" fmla="*/ 8 h 198"/>
                <a:gd name="T62" fmla="*/ 96 w 212"/>
                <a:gd name="T63" fmla="*/ 8 h 198"/>
                <a:gd name="T64" fmla="*/ 108 w 212"/>
                <a:gd name="T65" fmla="*/ 12 h 198"/>
                <a:gd name="T66" fmla="*/ 116 w 212"/>
                <a:gd name="T67" fmla="*/ 20 h 198"/>
                <a:gd name="T68" fmla="*/ 122 w 212"/>
                <a:gd name="T69" fmla="*/ 30 h 198"/>
                <a:gd name="T70" fmla="*/ 130 w 212"/>
                <a:gd name="T71" fmla="*/ 38 h 198"/>
                <a:gd name="T72" fmla="*/ 130 w 212"/>
                <a:gd name="T73" fmla="*/ 46 h 198"/>
                <a:gd name="T74" fmla="*/ 122 w 212"/>
                <a:gd name="T75" fmla="*/ 60 h 198"/>
                <a:gd name="T76" fmla="*/ 130 w 212"/>
                <a:gd name="T77" fmla="*/ 68 h 198"/>
                <a:gd name="T78" fmla="*/ 142 w 212"/>
                <a:gd name="T79" fmla="*/ 72 h 198"/>
                <a:gd name="T80" fmla="*/ 142 w 212"/>
                <a:gd name="T81" fmla="*/ 82 h 198"/>
                <a:gd name="T82" fmla="*/ 148 w 212"/>
                <a:gd name="T83" fmla="*/ 94 h 198"/>
                <a:gd name="T84" fmla="*/ 164 w 212"/>
                <a:gd name="T85" fmla="*/ 106 h 198"/>
                <a:gd name="T86" fmla="*/ 186 w 212"/>
                <a:gd name="T87" fmla="*/ 112 h 198"/>
                <a:gd name="T88" fmla="*/ 198 w 212"/>
                <a:gd name="T89" fmla="*/ 120 h 198"/>
                <a:gd name="T90" fmla="*/ 208 w 212"/>
                <a:gd name="T91" fmla="*/ 124 h 198"/>
                <a:gd name="T92" fmla="*/ 186 w 212"/>
                <a:gd name="T93" fmla="*/ 150 h 198"/>
                <a:gd name="T94" fmla="*/ 178 w 212"/>
                <a:gd name="T95" fmla="*/ 162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12" h="198">
                  <a:moveTo>
                    <a:pt x="178" y="162"/>
                  </a:moveTo>
                  <a:lnTo>
                    <a:pt x="176" y="164"/>
                  </a:lnTo>
                  <a:lnTo>
                    <a:pt x="172" y="168"/>
                  </a:lnTo>
                  <a:lnTo>
                    <a:pt x="172" y="172"/>
                  </a:lnTo>
                  <a:lnTo>
                    <a:pt x="164" y="172"/>
                  </a:lnTo>
                  <a:lnTo>
                    <a:pt x="160" y="172"/>
                  </a:lnTo>
                  <a:lnTo>
                    <a:pt x="156" y="172"/>
                  </a:lnTo>
                  <a:lnTo>
                    <a:pt x="152" y="172"/>
                  </a:lnTo>
                  <a:lnTo>
                    <a:pt x="148" y="172"/>
                  </a:lnTo>
                  <a:lnTo>
                    <a:pt x="148" y="176"/>
                  </a:lnTo>
                  <a:lnTo>
                    <a:pt x="146" y="176"/>
                  </a:lnTo>
                  <a:lnTo>
                    <a:pt x="142" y="176"/>
                  </a:lnTo>
                  <a:lnTo>
                    <a:pt x="142" y="180"/>
                  </a:lnTo>
                  <a:lnTo>
                    <a:pt x="142" y="184"/>
                  </a:lnTo>
                  <a:lnTo>
                    <a:pt x="138" y="184"/>
                  </a:lnTo>
                  <a:lnTo>
                    <a:pt x="134" y="184"/>
                  </a:lnTo>
                  <a:lnTo>
                    <a:pt x="130" y="184"/>
                  </a:lnTo>
                  <a:lnTo>
                    <a:pt x="130" y="188"/>
                  </a:lnTo>
                  <a:lnTo>
                    <a:pt x="126" y="188"/>
                  </a:lnTo>
                  <a:lnTo>
                    <a:pt x="122" y="188"/>
                  </a:lnTo>
                  <a:lnTo>
                    <a:pt x="118" y="188"/>
                  </a:lnTo>
                  <a:lnTo>
                    <a:pt x="116" y="188"/>
                  </a:lnTo>
                  <a:lnTo>
                    <a:pt x="112" y="184"/>
                  </a:lnTo>
                  <a:lnTo>
                    <a:pt x="108" y="184"/>
                  </a:lnTo>
                  <a:lnTo>
                    <a:pt x="104" y="188"/>
                  </a:lnTo>
                  <a:lnTo>
                    <a:pt x="100" y="188"/>
                  </a:lnTo>
                  <a:lnTo>
                    <a:pt x="96" y="192"/>
                  </a:lnTo>
                  <a:lnTo>
                    <a:pt x="96" y="194"/>
                  </a:lnTo>
                  <a:lnTo>
                    <a:pt x="92" y="194"/>
                  </a:lnTo>
                  <a:lnTo>
                    <a:pt x="92" y="198"/>
                  </a:lnTo>
                  <a:lnTo>
                    <a:pt x="90" y="198"/>
                  </a:lnTo>
                  <a:lnTo>
                    <a:pt x="90" y="194"/>
                  </a:lnTo>
                  <a:lnTo>
                    <a:pt x="90" y="198"/>
                  </a:lnTo>
                  <a:lnTo>
                    <a:pt x="86" y="194"/>
                  </a:lnTo>
                  <a:lnTo>
                    <a:pt x="82" y="194"/>
                  </a:lnTo>
                  <a:lnTo>
                    <a:pt x="78" y="194"/>
                  </a:lnTo>
                  <a:lnTo>
                    <a:pt x="74" y="194"/>
                  </a:lnTo>
                  <a:lnTo>
                    <a:pt x="70" y="194"/>
                  </a:lnTo>
                  <a:lnTo>
                    <a:pt x="70" y="192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0"/>
                  </a:lnTo>
                  <a:lnTo>
                    <a:pt x="48" y="180"/>
                  </a:lnTo>
                  <a:lnTo>
                    <a:pt x="44" y="180"/>
                  </a:lnTo>
                  <a:lnTo>
                    <a:pt x="40" y="180"/>
                  </a:lnTo>
                  <a:lnTo>
                    <a:pt x="40" y="176"/>
                  </a:lnTo>
                  <a:lnTo>
                    <a:pt x="40" y="168"/>
                  </a:lnTo>
                  <a:lnTo>
                    <a:pt x="40" y="164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32" y="162"/>
                  </a:lnTo>
                  <a:lnTo>
                    <a:pt x="30" y="162"/>
                  </a:lnTo>
                  <a:lnTo>
                    <a:pt x="30" y="158"/>
                  </a:lnTo>
                  <a:lnTo>
                    <a:pt x="30" y="154"/>
                  </a:lnTo>
                  <a:lnTo>
                    <a:pt x="30" y="150"/>
                  </a:lnTo>
                  <a:lnTo>
                    <a:pt x="26" y="150"/>
                  </a:lnTo>
                  <a:lnTo>
                    <a:pt x="26" y="146"/>
                  </a:lnTo>
                  <a:lnTo>
                    <a:pt x="26" y="142"/>
                  </a:lnTo>
                  <a:lnTo>
                    <a:pt x="22" y="142"/>
                  </a:lnTo>
                  <a:lnTo>
                    <a:pt x="22" y="138"/>
                  </a:lnTo>
                  <a:lnTo>
                    <a:pt x="18" y="138"/>
                  </a:lnTo>
                  <a:lnTo>
                    <a:pt x="18" y="136"/>
                  </a:lnTo>
                  <a:lnTo>
                    <a:pt x="14" y="132"/>
                  </a:lnTo>
                  <a:lnTo>
                    <a:pt x="14" y="128"/>
                  </a:lnTo>
                  <a:lnTo>
                    <a:pt x="10" y="124"/>
                  </a:lnTo>
                  <a:lnTo>
                    <a:pt x="6" y="124"/>
                  </a:lnTo>
                  <a:lnTo>
                    <a:pt x="4" y="124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6" y="112"/>
                  </a:lnTo>
                  <a:lnTo>
                    <a:pt x="10" y="112"/>
                  </a:lnTo>
                  <a:lnTo>
                    <a:pt x="14" y="112"/>
                  </a:lnTo>
                  <a:lnTo>
                    <a:pt x="14" y="110"/>
                  </a:lnTo>
                  <a:lnTo>
                    <a:pt x="18" y="106"/>
                  </a:lnTo>
                  <a:lnTo>
                    <a:pt x="18" y="102"/>
                  </a:lnTo>
                  <a:lnTo>
                    <a:pt x="14" y="94"/>
                  </a:lnTo>
                  <a:lnTo>
                    <a:pt x="18" y="90"/>
                  </a:lnTo>
                  <a:lnTo>
                    <a:pt x="18" y="86"/>
                  </a:lnTo>
                  <a:lnTo>
                    <a:pt x="18" y="82"/>
                  </a:lnTo>
                  <a:lnTo>
                    <a:pt x="18" y="80"/>
                  </a:lnTo>
                  <a:lnTo>
                    <a:pt x="18" y="76"/>
                  </a:lnTo>
                  <a:lnTo>
                    <a:pt x="22" y="72"/>
                  </a:lnTo>
                  <a:lnTo>
                    <a:pt x="22" y="68"/>
                  </a:lnTo>
                  <a:lnTo>
                    <a:pt x="26" y="72"/>
                  </a:lnTo>
                  <a:lnTo>
                    <a:pt x="30" y="72"/>
                  </a:lnTo>
                  <a:lnTo>
                    <a:pt x="30" y="68"/>
                  </a:lnTo>
                  <a:lnTo>
                    <a:pt x="30" y="64"/>
                  </a:lnTo>
                  <a:lnTo>
                    <a:pt x="30" y="60"/>
                  </a:lnTo>
                  <a:lnTo>
                    <a:pt x="30" y="56"/>
                  </a:lnTo>
                  <a:lnTo>
                    <a:pt x="30" y="54"/>
                  </a:lnTo>
                  <a:lnTo>
                    <a:pt x="32" y="54"/>
                  </a:lnTo>
                  <a:lnTo>
                    <a:pt x="32" y="50"/>
                  </a:lnTo>
                  <a:lnTo>
                    <a:pt x="36" y="42"/>
                  </a:lnTo>
                  <a:lnTo>
                    <a:pt x="36" y="38"/>
                  </a:lnTo>
                  <a:lnTo>
                    <a:pt x="40" y="38"/>
                  </a:lnTo>
                  <a:lnTo>
                    <a:pt x="44" y="38"/>
                  </a:lnTo>
                  <a:lnTo>
                    <a:pt x="44" y="34"/>
                  </a:lnTo>
                  <a:lnTo>
                    <a:pt x="48" y="26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2" y="8"/>
                  </a:lnTo>
                  <a:lnTo>
                    <a:pt x="62" y="12"/>
                  </a:lnTo>
                  <a:lnTo>
                    <a:pt x="62" y="16"/>
                  </a:lnTo>
                  <a:lnTo>
                    <a:pt x="66" y="16"/>
                  </a:lnTo>
                  <a:lnTo>
                    <a:pt x="66" y="8"/>
                  </a:lnTo>
                  <a:lnTo>
                    <a:pt x="70" y="4"/>
                  </a:lnTo>
                  <a:lnTo>
                    <a:pt x="70" y="0"/>
                  </a:lnTo>
                  <a:lnTo>
                    <a:pt x="70" y="4"/>
                  </a:lnTo>
                  <a:lnTo>
                    <a:pt x="74" y="4"/>
                  </a:lnTo>
                  <a:lnTo>
                    <a:pt x="74" y="8"/>
                  </a:lnTo>
                  <a:lnTo>
                    <a:pt x="78" y="8"/>
                  </a:lnTo>
                  <a:lnTo>
                    <a:pt x="82" y="8"/>
                  </a:lnTo>
                  <a:lnTo>
                    <a:pt x="86" y="8"/>
                  </a:lnTo>
                  <a:lnTo>
                    <a:pt x="86" y="4"/>
                  </a:lnTo>
                  <a:lnTo>
                    <a:pt x="90" y="4"/>
                  </a:lnTo>
                  <a:lnTo>
                    <a:pt x="90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8" y="26"/>
                  </a:lnTo>
                  <a:lnTo>
                    <a:pt x="122" y="26"/>
                  </a:lnTo>
                  <a:lnTo>
                    <a:pt x="122" y="30"/>
                  </a:lnTo>
                  <a:lnTo>
                    <a:pt x="126" y="30"/>
                  </a:lnTo>
                  <a:lnTo>
                    <a:pt x="126" y="34"/>
                  </a:lnTo>
                  <a:lnTo>
                    <a:pt x="130" y="34"/>
                  </a:lnTo>
                  <a:lnTo>
                    <a:pt x="130" y="38"/>
                  </a:lnTo>
                  <a:lnTo>
                    <a:pt x="130" y="42"/>
                  </a:lnTo>
                  <a:lnTo>
                    <a:pt x="134" y="42"/>
                  </a:lnTo>
                  <a:lnTo>
                    <a:pt x="134" y="46"/>
                  </a:lnTo>
                  <a:lnTo>
                    <a:pt x="130" y="46"/>
                  </a:lnTo>
                  <a:lnTo>
                    <a:pt x="130" y="50"/>
                  </a:lnTo>
                  <a:lnTo>
                    <a:pt x="126" y="54"/>
                  </a:lnTo>
                  <a:lnTo>
                    <a:pt x="126" y="56"/>
                  </a:lnTo>
                  <a:lnTo>
                    <a:pt x="122" y="60"/>
                  </a:lnTo>
                  <a:lnTo>
                    <a:pt x="126" y="60"/>
                  </a:lnTo>
                  <a:lnTo>
                    <a:pt x="126" y="64"/>
                  </a:lnTo>
                  <a:lnTo>
                    <a:pt x="126" y="68"/>
                  </a:lnTo>
                  <a:lnTo>
                    <a:pt x="130" y="68"/>
                  </a:lnTo>
                  <a:lnTo>
                    <a:pt x="134" y="68"/>
                  </a:lnTo>
                  <a:lnTo>
                    <a:pt x="138" y="68"/>
                  </a:lnTo>
                  <a:lnTo>
                    <a:pt x="142" y="68"/>
                  </a:lnTo>
                  <a:lnTo>
                    <a:pt x="142" y="72"/>
                  </a:lnTo>
                  <a:lnTo>
                    <a:pt x="138" y="72"/>
                  </a:lnTo>
                  <a:lnTo>
                    <a:pt x="138" y="76"/>
                  </a:lnTo>
                  <a:lnTo>
                    <a:pt x="138" y="80"/>
                  </a:lnTo>
                  <a:lnTo>
                    <a:pt x="142" y="82"/>
                  </a:lnTo>
                  <a:lnTo>
                    <a:pt x="142" y="86"/>
                  </a:lnTo>
                  <a:lnTo>
                    <a:pt x="146" y="86"/>
                  </a:lnTo>
                  <a:lnTo>
                    <a:pt x="146" y="90"/>
                  </a:lnTo>
                  <a:lnTo>
                    <a:pt x="148" y="94"/>
                  </a:lnTo>
                  <a:lnTo>
                    <a:pt x="148" y="98"/>
                  </a:lnTo>
                  <a:lnTo>
                    <a:pt x="152" y="98"/>
                  </a:lnTo>
                  <a:lnTo>
                    <a:pt x="156" y="102"/>
                  </a:lnTo>
                  <a:lnTo>
                    <a:pt x="164" y="106"/>
                  </a:lnTo>
                  <a:lnTo>
                    <a:pt x="172" y="110"/>
                  </a:lnTo>
                  <a:lnTo>
                    <a:pt x="176" y="110"/>
                  </a:lnTo>
                  <a:lnTo>
                    <a:pt x="178" y="112"/>
                  </a:lnTo>
                  <a:lnTo>
                    <a:pt x="186" y="112"/>
                  </a:lnTo>
                  <a:lnTo>
                    <a:pt x="190" y="116"/>
                  </a:lnTo>
                  <a:lnTo>
                    <a:pt x="194" y="116"/>
                  </a:lnTo>
                  <a:lnTo>
                    <a:pt x="198" y="116"/>
                  </a:lnTo>
                  <a:lnTo>
                    <a:pt x="198" y="120"/>
                  </a:lnTo>
                  <a:lnTo>
                    <a:pt x="202" y="120"/>
                  </a:lnTo>
                  <a:lnTo>
                    <a:pt x="208" y="120"/>
                  </a:lnTo>
                  <a:lnTo>
                    <a:pt x="212" y="120"/>
                  </a:lnTo>
                  <a:lnTo>
                    <a:pt x="208" y="124"/>
                  </a:lnTo>
                  <a:lnTo>
                    <a:pt x="204" y="128"/>
                  </a:lnTo>
                  <a:lnTo>
                    <a:pt x="198" y="136"/>
                  </a:lnTo>
                  <a:lnTo>
                    <a:pt x="194" y="142"/>
                  </a:lnTo>
                  <a:lnTo>
                    <a:pt x="186" y="150"/>
                  </a:lnTo>
                  <a:lnTo>
                    <a:pt x="186" y="154"/>
                  </a:lnTo>
                  <a:lnTo>
                    <a:pt x="182" y="154"/>
                  </a:lnTo>
                  <a:lnTo>
                    <a:pt x="178" y="158"/>
                  </a:lnTo>
                  <a:lnTo>
                    <a:pt x="178" y="162"/>
                  </a:lnTo>
                  <a:lnTo>
                    <a:pt x="178" y="162"/>
                  </a:lnTo>
                  <a:lnTo>
                    <a:pt x="178" y="162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06" name="Freeform 146">
              <a:extLst>
                <a:ext uri="{FF2B5EF4-FFF2-40B4-BE49-F238E27FC236}">
                  <a16:creationId xmlns:a16="http://schemas.microsoft.com/office/drawing/2014/main" id="{FCB1F141-F46A-3B19-2B25-61D48AE55B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0812" y="4099489"/>
              <a:ext cx="163650" cy="196093"/>
            </a:xfrm>
            <a:custGeom>
              <a:avLst/>
              <a:gdLst>
                <a:gd name="T0" fmla="*/ 46 w 84"/>
                <a:gd name="T1" fmla="*/ 90 h 104"/>
                <a:gd name="T2" fmla="*/ 46 w 84"/>
                <a:gd name="T3" fmla="*/ 96 h 104"/>
                <a:gd name="T4" fmla="*/ 46 w 84"/>
                <a:gd name="T5" fmla="*/ 100 h 104"/>
                <a:gd name="T6" fmla="*/ 42 w 84"/>
                <a:gd name="T7" fmla="*/ 100 h 104"/>
                <a:gd name="T8" fmla="*/ 34 w 84"/>
                <a:gd name="T9" fmla="*/ 104 h 104"/>
                <a:gd name="T10" fmla="*/ 30 w 84"/>
                <a:gd name="T11" fmla="*/ 100 h 104"/>
                <a:gd name="T12" fmla="*/ 26 w 84"/>
                <a:gd name="T13" fmla="*/ 92 h 104"/>
                <a:gd name="T14" fmla="*/ 20 w 84"/>
                <a:gd name="T15" fmla="*/ 86 h 104"/>
                <a:gd name="T16" fmla="*/ 16 w 84"/>
                <a:gd name="T17" fmla="*/ 82 h 104"/>
                <a:gd name="T18" fmla="*/ 20 w 84"/>
                <a:gd name="T19" fmla="*/ 82 h 104"/>
                <a:gd name="T20" fmla="*/ 16 w 84"/>
                <a:gd name="T21" fmla="*/ 82 h 104"/>
                <a:gd name="T22" fmla="*/ 12 w 84"/>
                <a:gd name="T23" fmla="*/ 74 h 104"/>
                <a:gd name="T24" fmla="*/ 12 w 84"/>
                <a:gd name="T25" fmla="*/ 74 h 104"/>
                <a:gd name="T26" fmla="*/ 8 w 84"/>
                <a:gd name="T27" fmla="*/ 70 h 104"/>
                <a:gd name="T28" fmla="*/ 8 w 84"/>
                <a:gd name="T29" fmla="*/ 68 h 104"/>
                <a:gd name="T30" fmla="*/ 4 w 84"/>
                <a:gd name="T31" fmla="*/ 60 h 104"/>
                <a:gd name="T32" fmla="*/ 12 w 84"/>
                <a:gd name="T33" fmla="*/ 68 h 104"/>
                <a:gd name="T34" fmla="*/ 12 w 84"/>
                <a:gd name="T35" fmla="*/ 68 h 104"/>
                <a:gd name="T36" fmla="*/ 8 w 84"/>
                <a:gd name="T37" fmla="*/ 64 h 104"/>
                <a:gd name="T38" fmla="*/ 4 w 84"/>
                <a:gd name="T39" fmla="*/ 64 h 104"/>
                <a:gd name="T40" fmla="*/ 0 w 84"/>
                <a:gd name="T41" fmla="*/ 48 h 104"/>
                <a:gd name="T42" fmla="*/ 4 w 84"/>
                <a:gd name="T43" fmla="*/ 52 h 104"/>
                <a:gd name="T44" fmla="*/ 8 w 84"/>
                <a:gd name="T45" fmla="*/ 44 h 104"/>
                <a:gd name="T46" fmla="*/ 8 w 84"/>
                <a:gd name="T47" fmla="*/ 40 h 104"/>
                <a:gd name="T48" fmla="*/ 8 w 84"/>
                <a:gd name="T49" fmla="*/ 38 h 104"/>
                <a:gd name="T50" fmla="*/ 12 w 84"/>
                <a:gd name="T51" fmla="*/ 38 h 104"/>
                <a:gd name="T52" fmla="*/ 16 w 84"/>
                <a:gd name="T53" fmla="*/ 38 h 104"/>
                <a:gd name="T54" fmla="*/ 12 w 84"/>
                <a:gd name="T55" fmla="*/ 30 h 104"/>
                <a:gd name="T56" fmla="*/ 12 w 84"/>
                <a:gd name="T57" fmla="*/ 30 h 104"/>
                <a:gd name="T58" fmla="*/ 16 w 84"/>
                <a:gd name="T59" fmla="*/ 26 h 104"/>
                <a:gd name="T60" fmla="*/ 16 w 84"/>
                <a:gd name="T61" fmla="*/ 22 h 104"/>
                <a:gd name="T62" fmla="*/ 20 w 84"/>
                <a:gd name="T63" fmla="*/ 22 h 104"/>
                <a:gd name="T64" fmla="*/ 26 w 84"/>
                <a:gd name="T65" fmla="*/ 22 h 104"/>
                <a:gd name="T66" fmla="*/ 38 w 84"/>
                <a:gd name="T67" fmla="*/ 10 h 104"/>
                <a:gd name="T68" fmla="*/ 38 w 84"/>
                <a:gd name="T69" fmla="*/ 0 h 104"/>
                <a:gd name="T70" fmla="*/ 54 w 84"/>
                <a:gd name="T71" fmla="*/ 0 h 104"/>
                <a:gd name="T72" fmla="*/ 64 w 84"/>
                <a:gd name="T73" fmla="*/ 0 h 104"/>
                <a:gd name="T74" fmla="*/ 64 w 84"/>
                <a:gd name="T75" fmla="*/ 4 h 104"/>
                <a:gd name="T76" fmla="*/ 64 w 84"/>
                <a:gd name="T77" fmla="*/ 10 h 104"/>
                <a:gd name="T78" fmla="*/ 64 w 84"/>
                <a:gd name="T79" fmla="*/ 18 h 104"/>
                <a:gd name="T80" fmla="*/ 72 w 84"/>
                <a:gd name="T81" fmla="*/ 14 h 104"/>
                <a:gd name="T82" fmla="*/ 80 w 84"/>
                <a:gd name="T83" fmla="*/ 14 h 104"/>
                <a:gd name="T84" fmla="*/ 84 w 84"/>
                <a:gd name="T85" fmla="*/ 22 h 104"/>
                <a:gd name="T86" fmla="*/ 76 w 84"/>
                <a:gd name="T87" fmla="*/ 30 h 104"/>
                <a:gd name="T88" fmla="*/ 76 w 84"/>
                <a:gd name="T89" fmla="*/ 40 h 104"/>
                <a:gd name="T90" fmla="*/ 80 w 84"/>
                <a:gd name="T91" fmla="*/ 44 h 104"/>
                <a:gd name="T92" fmla="*/ 84 w 84"/>
                <a:gd name="T93" fmla="*/ 48 h 104"/>
                <a:gd name="T94" fmla="*/ 84 w 84"/>
                <a:gd name="T95" fmla="*/ 60 h 104"/>
                <a:gd name="T96" fmla="*/ 84 w 84"/>
                <a:gd name="T97" fmla="*/ 70 h 104"/>
                <a:gd name="T98" fmla="*/ 80 w 84"/>
                <a:gd name="T99" fmla="*/ 74 h 104"/>
                <a:gd name="T100" fmla="*/ 76 w 84"/>
                <a:gd name="T101" fmla="*/ 82 h 104"/>
                <a:gd name="T102" fmla="*/ 72 w 84"/>
                <a:gd name="T103" fmla="*/ 78 h 104"/>
                <a:gd name="T104" fmla="*/ 64 w 84"/>
                <a:gd name="T105" fmla="*/ 78 h 104"/>
                <a:gd name="T106" fmla="*/ 60 w 84"/>
                <a:gd name="T107" fmla="*/ 78 h 104"/>
                <a:gd name="T108" fmla="*/ 56 w 84"/>
                <a:gd name="T109" fmla="*/ 70 h 104"/>
                <a:gd name="T110" fmla="*/ 54 w 84"/>
                <a:gd name="T111" fmla="*/ 74 h 104"/>
                <a:gd name="T112" fmla="*/ 50 w 84"/>
                <a:gd name="T113" fmla="*/ 78 h 104"/>
                <a:gd name="T114" fmla="*/ 42 w 84"/>
                <a:gd name="T115" fmla="*/ 78 h 104"/>
                <a:gd name="T116" fmla="*/ 42 w 84"/>
                <a:gd name="T117" fmla="*/ 86 h 104"/>
                <a:gd name="T118" fmla="*/ 4 w 84"/>
                <a:gd name="T119" fmla="*/ 52 h 104"/>
                <a:gd name="T120" fmla="*/ 4 w 84"/>
                <a:gd name="T121" fmla="*/ 5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4" h="104">
                  <a:moveTo>
                    <a:pt x="42" y="86"/>
                  </a:moveTo>
                  <a:lnTo>
                    <a:pt x="42" y="86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2" y="86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6" y="92"/>
                  </a:lnTo>
                  <a:lnTo>
                    <a:pt x="46" y="92"/>
                  </a:lnTo>
                  <a:lnTo>
                    <a:pt x="46" y="92"/>
                  </a:lnTo>
                  <a:lnTo>
                    <a:pt x="46" y="96"/>
                  </a:lnTo>
                  <a:lnTo>
                    <a:pt x="46" y="96"/>
                  </a:lnTo>
                  <a:lnTo>
                    <a:pt x="46" y="96"/>
                  </a:lnTo>
                  <a:lnTo>
                    <a:pt x="46" y="96"/>
                  </a:lnTo>
                  <a:lnTo>
                    <a:pt x="46" y="96"/>
                  </a:lnTo>
                  <a:lnTo>
                    <a:pt x="46" y="96"/>
                  </a:lnTo>
                  <a:lnTo>
                    <a:pt x="46" y="100"/>
                  </a:lnTo>
                  <a:lnTo>
                    <a:pt x="46" y="100"/>
                  </a:lnTo>
                  <a:lnTo>
                    <a:pt x="46" y="100"/>
                  </a:lnTo>
                  <a:lnTo>
                    <a:pt x="46" y="100"/>
                  </a:lnTo>
                  <a:lnTo>
                    <a:pt x="46" y="100"/>
                  </a:lnTo>
                  <a:lnTo>
                    <a:pt x="46" y="100"/>
                  </a:lnTo>
                  <a:lnTo>
                    <a:pt x="46" y="100"/>
                  </a:lnTo>
                  <a:lnTo>
                    <a:pt x="46" y="100"/>
                  </a:lnTo>
                  <a:lnTo>
                    <a:pt x="46" y="100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38" y="100"/>
                  </a:lnTo>
                  <a:lnTo>
                    <a:pt x="38" y="100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4" y="100"/>
                  </a:lnTo>
                  <a:lnTo>
                    <a:pt x="34" y="100"/>
                  </a:lnTo>
                  <a:lnTo>
                    <a:pt x="30" y="100"/>
                  </a:lnTo>
                  <a:lnTo>
                    <a:pt x="30" y="100"/>
                  </a:lnTo>
                  <a:lnTo>
                    <a:pt x="30" y="100"/>
                  </a:lnTo>
                  <a:lnTo>
                    <a:pt x="30" y="100"/>
                  </a:lnTo>
                  <a:lnTo>
                    <a:pt x="30" y="96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6" y="92"/>
                  </a:lnTo>
                  <a:lnTo>
                    <a:pt x="26" y="92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6"/>
                  </a:lnTo>
                  <a:lnTo>
                    <a:pt x="24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12" y="70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12" y="34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20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4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14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6" y="0"/>
                  </a:lnTo>
                  <a:lnTo>
                    <a:pt x="50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72" y="18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4" y="26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76" y="30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4" y="64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80" y="70"/>
                  </a:lnTo>
                  <a:lnTo>
                    <a:pt x="80" y="70"/>
                  </a:lnTo>
                  <a:lnTo>
                    <a:pt x="80" y="74"/>
                  </a:lnTo>
                  <a:lnTo>
                    <a:pt x="80" y="74"/>
                  </a:lnTo>
                  <a:lnTo>
                    <a:pt x="80" y="74"/>
                  </a:lnTo>
                  <a:lnTo>
                    <a:pt x="80" y="74"/>
                  </a:lnTo>
                  <a:lnTo>
                    <a:pt x="80" y="78"/>
                  </a:lnTo>
                  <a:lnTo>
                    <a:pt x="80" y="78"/>
                  </a:lnTo>
                  <a:lnTo>
                    <a:pt x="80" y="78"/>
                  </a:lnTo>
                  <a:lnTo>
                    <a:pt x="80" y="78"/>
                  </a:lnTo>
                  <a:lnTo>
                    <a:pt x="80" y="82"/>
                  </a:lnTo>
                  <a:lnTo>
                    <a:pt x="80" y="82"/>
                  </a:lnTo>
                  <a:lnTo>
                    <a:pt x="76" y="82"/>
                  </a:lnTo>
                  <a:lnTo>
                    <a:pt x="76" y="82"/>
                  </a:lnTo>
                  <a:lnTo>
                    <a:pt x="76" y="82"/>
                  </a:lnTo>
                  <a:lnTo>
                    <a:pt x="76" y="82"/>
                  </a:lnTo>
                  <a:lnTo>
                    <a:pt x="76" y="78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4" y="70"/>
                  </a:lnTo>
                  <a:lnTo>
                    <a:pt x="54" y="70"/>
                  </a:lnTo>
                  <a:lnTo>
                    <a:pt x="54" y="70"/>
                  </a:lnTo>
                  <a:lnTo>
                    <a:pt x="54" y="70"/>
                  </a:lnTo>
                  <a:lnTo>
                    <a:pt x="54" y="70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50" y="82"/>
                  </a:lnTo>
                  <a:lnTo>
                    <a:pt x="50" y="82"/>
                  </a:lnTo>
                  <a:lnTo>
                    <a:pt x="50" y="78"/>
                  </a:lnTo>
                  <a:lnTo>
                    <a:pt x="50" y="78"/>
                  </a:lnTo>
                  <a:lnTo>
                    <a:pt x="46" y="78"/>
                  </a:lnTo>
                  <a:lnTo>
                    <a:pt x="46" y="78"/>
                  </a:lnTo>
                  <a:lnTo>
                    <a:pt x="46" y="78"/>
                  </a:lnTo>
                  <a:lnTo>
                    <a:pt x="46" y="82"/>
                  </a:lnTo>
                  <a:lnTo>
                    <a:pt x="46" y="82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2" y="82"/>
                  </a:lnTo>
                  <a:lnTo>
                    <a:pt x="42" y="82"/>
                  </a:lnTo>
                  <a:lnTo>
                    <a:pt x="42" y="82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6"/>
                  </a:lnTo>
                  <a:close/>
                  <a:moveTo>
                    <a:pt x="4" y="52"/>
                  </a:move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07" name="Freeform 147">
              <a:extLst>
                <a:ext uri="{FF2B5EF4-FFF2-40B4-BE49-F238E27FC236}">
                  <a16:creationId xmlns:a16="http://schemas.microsoft.com/office/drawing/2014/main" id="{86DD35E6-BC6A-30DE-A41F-CFFD2C0BDC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7408" y="3809121"/>
              <a:ext cx="120790" cy="211177"/>
            </a:xfrm>
            <a:custGeom>
              <a:avLst/>
              <a:gdLst>
                <a:gd name="T0" fmla="*/ 0 w 62"/>
                <a:gd name="T1" fmla="*/ 78 h 112"/>
                <a:gd name="T2" fmla="*/ 0 w 62"/>
                <a:gd name="T3" fmla="*/ 72 h 112"/>
                <a:gd name="T4" fmla="*/ 4 w 62"/>
                <a:gd name="T5" fmla="*/ 60 h 112"/>
                <a:gd name="T6" fmla="*/ 10 w 62"/>
                <a:gd name="T7" fmla="*/ 52 h 112"/>
                <a:gd name="T8" fmla="*/ 6 w 62"/>
                <a:gd name="T9" fmla="*/ 42 h 112"/>
                <a:gd name="T10" fmla="*/ 6 w 62"/>
                <a:gd name="T11" fmla="*/ 38 h 112"/>
                <a:gd name="T12" fmla="*/ 6 w 62"/>
                <a:gd name="T13" fmla="*/ 30 h 112"/>
                <a:gd name="T14" fmla="*/ 6 w 62"/>
                <a:gd name="T15" fmla="*/ 26 h 112"/>
                <a:gd name="T16" fmla="*/ 4 w 62"/>
                <a:gd name="T17" fmla="*/ 22 h 112"/>
                <a:gd name="T18" fmla="*/ 4 w 62"/>
                <a:gd name="T19" fmla="*/ 12 h 112"/>
                <a:gd name="T20" fmla="*/ 4 w 62"/>
                <a:gd name="T21" fmla="*/ 4 h 112"/>
                <a:gd name="T22" fmla="*/ 22 w 62"/>
                <a:gd name="T23" fmla="*/ 4 h 112"/>
                <a:gd name="T24" fmla="*/ 34 w 62"/>
                <a:gd name="T25" fmla="*/ 4 h 112"/>
                <a:gd name="T26" fmla="*/ 40 w 62"/>
                <a:gd name="T27" fmla="*/ 4 h 112"/>
                <a:gd name="T28" fmla="*/ 44 w 62"/>
                <a:gd name="T29" fmla="*/ 4 h 112"/>
                <a:gd name="T30" fmla="*/ 44 w 62"/>
                <a:gd name="T31" fmla="*/ 8 h 112"/>
                <a:gd name="T32" fmla="*/ 44 w 62"/>
                <a:gd name="T33" fmla="*/ 12 h 112"/>
                <a:gd name="T34" fmla="*/ 48 w 62"/>
                <a:gd name="T35" fmla="*/ 16 h 112"/>
                <a:gd name="T36" fmla="*/ 52 w 62"/>
                <a:gd name="T37" fmla="*/ 18 h 112"/>
                <a:gd name="T38" fmla="*/ 48 w 62"/>
                <a:gd name="T39" fmla="*/ 30 h 112"/>
                <a:gd name="T40" fmla="*/ 52 w 62"/>
                <a:gd name="T41" fmla="*/ 30 h 112"/>
                <a:gd name="T42" fmla="*/ 52 w 62"/>
                <a:gd name="T43" fmla="*/ 34 h 112"/>
                <a:gd name="T44" fmla="*/ 52 w 62"/>
                <a:gd name="T45" fmla="*/ 42 h 112"/>
                <a:gd name="T46" fmla="*/ 52 w 62"/>
                <a:gd name="T47" fmla="*/ 46 h 112"/>
                <a:gd name="T48" fmla="*/ 56 w 62"/>
                <a:gd name="T49" fmla="*/ 52 h 112"/>
                <a:gd name="T50" fmla="*/ 52 w 62"/>
                <a:gd name="T51" fmla="*/ 60 h 112"/>
                <a:gd name="T52" fmla="*/ 52 w 62"/>
                <a:gd name="T53" fmla="*/ 68 h 112"/>
                <a:gd name="T54" fmla="*/ 52 w 62"/>
                <a:gd name="T55" fmla="*/ 72 h 112"/>
                <a:gd name="T56" fmla="*/ 52 w 62"/>
                <a:gd name="T57" fmla="*/ 78 h 112"/>
                <a:gd name="T58" fmla="*/ 56 w 62"/>
                <a:gd name="T59" fmla="*/ 82 h 112"/>
                <a:gd name="T60" fmla="*/ 60 w 62"/>
                <a:gd name="T61" fmla="*/ 82 h 112"/>
                <a:gd name="T62" fmla="*/ 62 w 62"/>
                <a:gd name="T63" fmla="*/ 90 h 112"/>
                <a:gd name="T64" fmla="*/ 60 w 62"/>
                <a:gd name="T65" fmla="*/ 90 h 112"/>
                <a:gd name="T66" fmla="*/ 56 w 62"/>
                <a:gd name="T67" fmla="*/ 94 h 112"/>
                <a:gd name="T68" fmla="*/ 52 w 62"/>
                <a:gd name="T69" fmla="*/ 94 h 112"/>
                <a:gd name="T70" fmla="*/ 52 w 62"/>
                <a:gd name="T71" fmla="*/ 90 h 112"/>
                <a:gd name="T72" fmla="*/ 48 w 62"/>
                <a:gd name="T73" fmla="*/ 90 h 112"/>
                <a:gd name="T74" fmla="*/ 48 w 62"/>
                <a:gd name="T75" fmla="*/ 90 h 112"/>
                <a:gd name="T76" fmla="*/ 52 w 62"/>
                <a:gd name="T77" fmla="*/ 90 h 112"/>
                <a:gd name="T78" fmla="*/ 52 w 62"/>
                <a:gd name="T79" fmla="*/ 94 h 112"/>
                <a:gd name="T80" fmla="*/ 48 w 62"/>
                <a:gd name="T81" fmla="*/ 94 h 112"/>
                <a:gd name="T82" fmla="*/ 40 w 62"/>
                <a:gd name="T83" fmla="*/ 98 h 112"/>
                <a:gd name="T84" fmla="*/ 36 w 62"/>
                <a:gd name="T85" fmla="*/ 102 h 112"/>
                <a:gd name="T86" fmla="*/ 34 w 62"/>
                <a:gd name="T87" fmla="*/ 104 h 112"/>
                <a:gd name="T88" fmla="*/ 30 w 62"/>
                <a:gd name="T89" fmla="*/ 104 h 112"/>
                <a:gd name="T90" fmla="*/ 22 w 62"/>
                <a:gd name="T91" fmla="*/ 104 h 112"/>
                <a:gd name="T92" fmla="*/ 18 w 62"/>
                <a:gd name="T93" fmla="*/ 112 h 112"/>
                <a:gd name="T94" fmla="*/ 10 w 62"/>
                <a:gd name="T95" fmla="*/ 108 h 112"/>
                <a:gd name="T96" fmla="*/ 6 w 62"/>
                <a:gd name="T97" fmla="*/ 108 h 112"/>
                <a:gd name="T98" fmla="*/ 0 w 62"/>
                <a:gd name="T99" fmla="*/ 104 h 112"/>
                <a:gd name="T100" fmla="*/ 6 w 62"/>
                <a:gd name="T101" fmla="*/ 104 h 112"/>
                <a:gd name="T102" fmla="*/ 4 w 62"/>
                <a:gd name="T103" fmla="*/ 102 h 112"/>
                <a:gd name="T104" fmla="*/ 4 w 62"/>
                <a:gd name="T105" fmla="*/ 98 h 112"/>
                <a:gd name="T106" fmla="*/ 0 w 62"/>
                <a:gd name="T107" fmla="*/ 8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2" h="112">
                  <a:moveTo>
                    <a:pt x="0" y="86"/>
                  </a:moveTo>
                  <a:lnTo>
                    <a:pt x="0" y="86"/>
                  </a:lnTo>
                  <a:lnTo>
                    <a:pt x="0" y="86"/>
                  </a:lnTo>
                  <a:lnTo>
                    <a:pt x="0" y="82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6" y="56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6" y="22"/>
                  </a:lnTo>
                  <a:lnTo>
                    <a:pt x="4" y="22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10" y="4"/>
                  </a:lnTo>
                  <a:lnTo>
                    <a:pt x="14" y="4"/>
                  </a:lnTo>
                  <a:lnTo>
                    <a:pt x="18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48" y="18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6" y="82"/>
                  </a:lnTo>
                  <a:lnTo>
                    <a:pt x="56" y="82"/>
                  </a:lnTo>
                  <a:lnTo>
                    <a:pt x="56" y="82"/>
                  </a:lnTo>
                  <a:lnTo>
                    <a:pt x="56" y="82"/>
                  </a:lnTo>
                  <a:lnTo>
                    <a:pt x="56" y="82"/>
                  </a:lnTo>
                  <a:lnTo>
                    <a:pt x="56" y="82"/>
                  </a:lnTo>
                  <a:lnTo>
                    <a:pt x="60" y="82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2" y="90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6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48" y="94"/>
                  </a:lnTo>
                  <a:lnTo>
                    <a:pt x="48" y="94"/>
                  </a:lnTo>
                  <a:lnTo>
                    <a:pt x="48" y="94"/>
                  </a:lnTo>
                  <a:lnTo>
                    <a:pt x="48" y="94"/>
                  </a:lnTo>
                  <a:lnTo>
                    <a:pt x="48" y="94"/>
                  </a:lnTo>
                  <a:lnTo>
                    <a:pt x="44" y="98"/>
                  </a:lnTo>
                  <a:lnTo>
                    <a:pt x="44" y="98"/>
                  </a:lnTo>
                  <a:lnTo>
                    <a:pt x="44" y="98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36" y="102"/>
                  </a:lnTo>
                  <a:lnTo>
                    <a:pt x="36" y="102"/>
                  </a:lnTo>
                  <a:lnTo>
                    <a:pt x="36" y="102"/>
                  </a:lnTo>
                  <a:lnTo>
                    <a:pt x="36" y="102"/>
                  </a:lnTo>
                  <a:lnTo>
                    <a:pt x="36" y="102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0" y="104"/>
                  </a:lnTo>
                  <a:lnTo>
                    <a:pt x="30" y="104"/>
                  </a:lnTo>
                  <a:lnTo>
                    <a:pt x="30" y="104"/>
                  </a:lnTo>
                  <a:lnTo>
                    <a:pt x="30" y="104"/>
                  </a:lnTo>
                  <a:lnTo>
                    <a:pt x="30" y="104"/>
                  </a:lnTo>
                  <a:lnTo>
                    <a:pt x="30" y="104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18" y="108"/>
                  </a:lnTo>
                  <a:lnTo>
                    <a:pt x="18" y="112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6" y="104"/>
                  </a:lnTo>
                  <a:lnTo>
                    <a:pt x="6" y="104"/>
                  </a:lnTo>
                  <a:lnTo>
                    <a:pt x="6" y="104"/>
                  </a:lnTo>
                  <a:lnTo>
                    <a:pt x="6" y="104"/>
                  </a:lnTo>
                  <a:lnTo>
                    <a:pt x="6" y="104"/>
                  </a:lnTo>
                  <a:lnTo>
                    <a:pt x="4" y="102"/>
                  </a:lnTo>
                  <a:lnTo>
                    <a:pt x="4" y="102"/>
                  </a:lnTo>
                  <a:lnTo>
                    <a:pt x="6" y="102"/>
                  </a:lnTo>
                  <a:lnTo>
                    <a:pt x="6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0" y="90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08" name="Freeform 148">
              <a:extLst>
                <a:ext uri="{FF2B5EF4-FFF2-40B4-BE49-F238E27FC236}">
                  <a16:creationId xmlns:a16="http://schemas.microsoft.com/office/drawing/2014/main" id="{99AA0040-39FF-9AE6-C6A0-8E6CCC5706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0107" y="3760097"/>
              <a:ext cx="202615" cy="184780"/>
            </a:xfrm>
            <a:custGeom>
              <a:avLst/>
              <a:gdLst>
                <a:gd name="T0" fmla="*/ 96 w 104"/>
                <a:gd name="T1" fmla="*/ 86 h 98"/>
                <a:gd name="T2" fmla="*/ 92 w 104"/>
                <a:gd name="T3" fmla="*/ 90 h 98"/>
                <a:gd name="T4" fmla="*/ 90 w 104"/>
                <a:gd name="T5" fmla="*/ 86 h 98"/>
                <a:gd name="T6" fmla="*/ 86 w 104"/>
                <a:gd name="T7" fmla="*/ 94 h 98"/>
                <a:gd name="T8" fmla="*/ 82 w 104"/>
                <a:gd name="T9" fmla="*/ 94 h 98"/>
                <a:gd name="T10" fmla="*/ 78 w 104"/>
                <a:gd name="T11" fmla="*/ 90 h 98"/>
                <a:gd name="T12" fmla="*/ 78 w 104"/>
                <a:gd name="T13" fmla="*/ 86 h 98"/>
                <a:gd name="T14" fmla="*/ 74 w 104"/>
                <a:gd name="T15" fmla="*/ 74 h 98"/>
                <a:gd name="T16" fmla="*/ 66 w 104"/>
                <a:gd name="T17" fmla="*/ 74 h 98"/>
                <a:gd name="T18" fmla="*/ 60 w 104"/>
                <a:gd name="T19" fmla="*/ 74 h 98"/>
                <a:gd name="T20" fmla="*/ 64 w 104"/>
                <a:gd name="T21" fmla="*/ 64 h 98"/>
                <a:gd name="T22" fmla="*/ 60 w 104"/>
                <a:gd name="T23" fmla="*/ 60 h 98"/>
                <a:gd name="T24" fmla="*/ 56 w 104"/>
                <a:gd name="T25" fmla="*/ 52 h 98"/>
                <a:gd name="T26" fmla="*/ 48 w 104"/>
                <a:gd name="T27" fmla="*/ 48 h 98"/>
                <a:gd name="T28" fmla="*/ 40 w 104"/>
                <a:gd name="T29" fmla="*/ 48 h 98"/>
                <a:gd name="T30" fmla="*/ 34 w 104"/>
                <a:gd name="T31" fmla="*/ 52 h 98"/>
                <a:gd name="T32" fmla="*/ 30 w 104"/>
                <a:gd name="T33" fmla="*/ 60 h 98"/>
                <a:gd name="T34" fmla="*/ 26 w 104"/>
                <a:gd name="T35" fmla="*/ 64 h 98"/>
                <a:gd name="T36" fmla="*/ 22 w 104"/>
                <a:gd name="T37" fmla="*/ 60 h 98"/>
                <a:gd name="T38" fmla="*/ 18 w 104"/>
                <a:gd name="T39" fmla="*/ 56 h 98"/>
                <a:gd name="T40" fmla="*/ 18 w 104"/>
                <a:gd name="T41" fmla="*/ 52 h 98"/>
                <a:gd name="T42" fmla="*/ 18 w 104"/>
                <a:gd name="T43" fmla="*/ 48 h 98"/>
                <a:gd name="T44" fmla="*/ 14 w 104"/>
                <a:gd name="T45" fmla="*/ 44 h 98"/>
                <a:gd name="T46" fmla="*/ 8 w 104"/>
                <a:gd name="T47" fmla="*/ 38 h 98"/>
                <a:gd name="T48" fmla="*/ 8 w 104"/>
                <a:gd name="T49" fmla="*/ 34 h 98"/>
                <a:gd name="T50" fmla="*/ 4 w 104"/>
                <a:gd name="T51" fmla="*/ 30 h 98"/>
                <a:gd name="T52" fmla="*/ 0 w 104"/>
                <a:gd name="T53" fmla="*/ 30 h 98"/>
                <a:gd name="T54" fmla="*/ 0 w 104"/>
                <a:gd name="T55" fmla="*/ 30 h 98"/>
                <a:gd name="T56" fmla="*/ 4 w 104"/>
                <a:gd name="T57" fmla="*/ 22 h 98"/>
                <a:gd name="T58" fmla="*/ 8 w 104"/>
                <a:gd name="T59" fmla="*/ 22 h 98"/>
                <a:gd name="T60" fmla="*/ 14 w 104"/>
                <a:gd name="T61" fmla="*/ 18 h 98"/>
                <a:gd name="T62" fmla="*/ 14 w 104"/>
                <a:gd name="T63" fmla="*/ 12 h 98"/>
                <a:gd name="T64" fmla="*/ 18 w 104"/>
                <a:gd name="T65" fmla="*/ 8 h 98"/>
                <a:gd name="T66" fmla="*/ 18 w 104"/>
                <a:gd name="T67" fmla="*/ 4 h 98"/>
                <a:gd name="T68" fmla="*/ 26 w 104"/>
                <a:gd name="T69" fmla="*/ 0 h 98"/>
                <a:gd name="T70" fmla="*/ 30 w 104"/>
                <a:gd name="T71" fmla="*/ 4 h 98"/>
                <a:gd name="T72" fmla="*/ 36 w 104"/>
                <a:gd name="T73" fmla="*/ 4 h 98"/>
                <a:gd name="T74" fmla="*/ 40 w 104"/>
                <a:gd name="T75" fmla="*/ 8 h 98"/>
                <a:gd name="T76" fmla="*/ 48 w 104"/>
                <a:gd name="T77" fmla="*/ 4 h 98"/>
                <a:gd name="T78" fmla="*/ 48 w 104"/>
                <a:gd name="T79" fmla="*/ 8 h 98"/>
                <a:gd name="T80" fmla="*/ 52 w 104"/>
                <a:gd name="T81" fmla="*/ 12 h 98"/>
                <a:gd name="T82" fmla="*/ 60 w 104"/>
                <a:gd name="T83" fmla="*/ 8 h 98"/>
                <a:gd name="T84" fmla="*/ 64 w 104"/>
                <a:gd name="T85" fmla="*/ 12 h 98"/>
                <a:gd name="T86" fmla="*/ 74 w 104"/>
                <a:gd name="T87" fmla="*/ 12 h 98"/>
                <a:gd name="T88" fmla="*/ 78 w 104"/>
                <a:gd name="T89" fmla="*/ 8 h 98"/>
                <a:gd name="T90" fmla="*/ 82 w 104"/>
                <a:gd name="T91" fmla="*/ 4 h 98"/>
                <a:gd name="T92" fmla="*/ 86 w 104"/>
                <a:gd name="T93" fmla="*/ 8 h 98"/>
                <a:gd name="T94" fmla="*/ 86 w 104"/>
                <a:gd name="T95" fmla="*/ 18 h 98"/>
                <a:gd name="T96" fmla="*/ 90 w 104"/>
                <a:gd name="T97" fmla="*/ 22 h 98"/>
                <a:gd name="T98" fmla="*/ 92 w 104"/>
                <a:gd name="T99" fmla="*/ 22 h 98"/>
                <a:gd name="T100" fmla="*/ 90 w 104"/>
                <a:gd name="T101" fmla="*/ 26 h 98"/>
                <a:gd name="T102" fmla="*/ 96 w 104"/>
                <a:gd name="T103" fmla="*/ 34 h 98"/>
                <a:gd name="T104" fmla="*/ 100 w 104"/>
                <a:gd name="T105" fmla="*/ 42 h 98"/>
                <a:gd name="T106" fmla="*/ 96 w 104"/>
                <a:gd name="T107" fmla="*/ 48 h 98"/>
                <a:gd name="T108" fmla="*/ 96 w 104"/>
                <a:gd name="T109" fmla="*/ 56 h 98"/>
                <a:gd name="T110" fmla="*/ 100 w 104"/>
                <a:gd name="T111" fmla="*/ 60 h 98"/>
                <a:gd name="T112" fmla="*/ 100 w 104"/>
                <a:gd name="T113" fmla="*/ 64 h 98"/>
                <a:gd name="T114" fmla="*/ 100 w 104"/>
                <a:gd name="T115" fmla="*/ 68 h 98"/>
                <a:gd name="T116" fmla="*/ 104 w 104"/>
                <a:gd name="T117" fmla="*/ 74 h 98"/>
                <a:gd name="T118" fmla="*/ 96 w 104"/>
                <a:gd name="T119" fmla="*/ 78 h 98"/>
                <a:gd name="T120" fmla="*/ 100 w 104"/>
                <a:gd name="T121" fmla="*/ 82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4" h="98">
                  <a:moveTo>
                    <a:pt x="100" y="82"/>
                  </a:moveTo>
                  <a:lnTo>
                    <a:pt x="100" y="82"/>
                  </a:lnTo>
                  <a:lnTo>
                    <a:pt x="96" y="82"/>
                  </a:lnTo>
                  <a:lnTo>
                    <a:pt x="96" y="82"/>
                  </a:lnTo>
                  <a:lnTo>
                    <a:pt x="96" y="82"/>
                  </a:lnTo>
                  <a:lnTo>
                    <a:pt x="96" y="82"/>
                  </a:lnTo>
                  <a:lnTo>
                    <a:pt x="96" y="82"/>
                  </a:lnTo>
                  <a:lnTo>
                    <a:pt x="96" y="86"/>
                  </a:lnTo>
                  <a:lnTo>
                    <a:pt x="96" y="86"/>
                  </a:lnTo>
                  <a:lnTo>
                    <a:pt x="96" y="86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86"/>
                  </a:lnTo>
                  <a:lnTo>
                    <a:pt x="92" y="86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0" y="94"/>
                  </a:lnTo>
                  <a:lnTo>
                    <a:pt x="86" y="94"/>
                  </a:lnTo>
                  <a:lnTo>
                    <a:pt x="86" y="94"/>
                  </a:lnTo>
                  <a:lnTo>
                    <a:pt x="86" y="94"/>
                  </a:lnTo>
                  <a:lnTo>
                    <a:pt x="86" y="94"/>
                  </a:lnTo>
                  <a:lnTo>
                    <a:pt x="86" y="94"/>
                  </a:lnTo>
                  <a:lnTo>
                    <a:pt x="82" y="94"/>
                  </a:lnTo>
                  <a:lnTo>
                    <a:pt x="82" y="98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82" y="90"/>
                  </a:lnTo>
                  <a:lnTo>
                    <a:pt x="78" y="90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82" y="86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8" y="82"/>
                  </a:lnTo>
                  <a:lnTo>
                    <a:pt x="78" y="82"/>
                  </a:lnTo>
                  <a:lnTo>
                    <a:pt x="78" y="82"/>
                  </a:lnTo>
                  <a:lnTo>
                    <a:pt x="78" y="82"/>
                  </a:lnTo>
                  <a:lnTo>
                    <a:pt x="78" y="78"/>
                  </a:lnTo>
                  <a:lnTo>
                    <a:pt x="78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2"/>
                  </a:lnTo>
                  <a:lnTo>
                    <a:pt x="74" y="74"/>
                  </a:lnTo>
                  <a:lnTo>
                    <a:pt x="74" y="72"/>
                  </a:lnTo>
                  <a:lnTo>
                    <a:pt x="70" y="72"/>
                  </a:lnTo>
                  <a:lnTo>
                    <a:pt x="70" y="74"/>
                  </a:lnTo>
                  <a:lnTo>
                    <a:pt x="66" y="72"/>
                  </a:lnTo>
                  <a:lnTo>
                    <a:pt x="66" y="74"/>
                  </a:lnTo>
                  <a:lnTo>
                    <a:pt x="66" y="74"/>
                  </a:lnTo>
                  <a:lnTo>
                    <a:pt x="66" y="72"/>
                  </a:lnTo>
                  <a:lnTo>
                    <a:pt x="66" y="74"/>
                  </a:lnTo>
                  <a:lnTo>
                    <a:pt x="64" y="74"/>
                  </a:lnTo>
                  <a:lnTo>
                    <a:pt x="64" y="74"/>
                  </a:lnTo>
                  <a:lnTo>
                    <a:pt x="64" y="74"/>
                  </a:lnTo>
                  <a:lnTo>
                    <a:pt x="64" y="74"/>
                  </a:lnTo>
                  <a:lnTo>
                    <a:pt x="64" y="74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2" y="64"/>
                  </a:lnTo>
                  <a:lnTo>
                    <a:pt x="22" y="64"/>
                  </a:lnTo>
                  <a:lnTo>
                    <a:pt x="26" y="64"/>
                  </a:lnTo>
                  <a:lnTo>
                    <a:pt x="26" y="60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4" y="34"/>
                  </a:lnTo>
                  <a:lnTo>
                    <a:pt x="4" y="38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6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0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4" y="16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6" y="12"/>
                  </a:lnTo>
                  <a:lnTo>
                    <a:pt x="66" y="8"/>
                  </a:lnTo>
                  <a:lnTo>
                    <a:pt x="66" y="8"/>
                  </a:lnTo>
                  <a:lnTo>
                    <a:pt x="70" y="8"/>
                  </a:lnTo>
                  <a:lnTo>
                    <a:pt x="70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2" y="4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90" y="12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86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0" y="26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6" y="30"/>
                  </a:lnTo>
                  <a:lnTo>
                    <a:pt x="96" y="34"/>
                  </a:lnTo>
                  <a:lnTo>
                    <a:pt x="92" y="34"/>
                  </a:lnTo>
                  <a:lnTo>
                    <a:pt x="96" y="38"/>
                  </a:lnTo>
                  <a:lnTo>
                    <a:pt x="96" y="38"/>
                  </a:lnTo>
                  <a:lnTo>
                    <a:pt x="96" y="42"/>
                  </a:lnTo>
                  <a:lnTo>
                    <a:pt x="96" y="42"/>
                  </a:lnTo>
                  <a:lnTo>
                    <a:pt x="96" y="42"/>
                  </a:lnTo>
                  <a:lnTo>
                    <a:pt x="100" y="42"/>
                  </a:lnTo>
                  <a:lnTo>
                    <a:pt x="100" y="42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96" y="44"/>
                  </a:lnTo>
                  <a:lnTo>
                    <a:pt x="96" y="44"/>
                  </a:lnTo>
                  <a:lnTo>
                    <a:pt x="96" y="44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60"/>
                  </a:lnTo>
                  <a:lnTo>
                    <a:pt x="100" y="60"/>
                  </a:lnTo>
                  <a:lnTo>
                    <a:pt x="100" y="60"/>
                  </a:lnTo>
                  <a:lnTo>
                    <a:pt x="100" y="60"/>
                  </a:lnTo>
                  <a:lnTo>
                    <a:pt x="100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4"/>
                  </a:lnTo>
                  <a:lnTo>
                    <a:pt x="104" y="74"/>
                  </a:lnTo>
                  <a:lnTo>
                    <a:pt x="104" y="74"/>
                  </a:lnTo>
                  <a:lnTo>
                    <a:pt x="104" y="74"/>
                  </a:lnTo>
                  <a:lnTo>
                    <a:pt x="104" y="74"/>
                  </a:lnTo>
                  <a:lnTo>
                    <a:pt x="104" y="74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0" y="72"/>
                  </a:lnTo>
                  <a:lnTo>
                    <a:pt x="96" y="72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96" y="78"/>
                  </a:lnTo>
                  <a:lnTo>
                    <a:pt x="100" y="78"/>
                  </a:lnTo>
                  <a:lnTo>
                    <a:pt x="100" y="78"/>
                  </a:lnTo>
                  <a:lnTo>
                    <a:pt x="100" y="82"/>
                  </a:lnTo>
                  <a:lnTo>
                    <a:pt x="100" y="82"/>
                  </a:lnTo>
                  <a:lnTo>
                    <a:pt x="100" y="82"/>
                  </a:lnTo>
                  <a:lnTo>
                    <a:pt x="100" y="82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09" name="Freeform 149">
              <a:extLst>
                <a:ext uri="{FF2B5EF4-FFF2-40B4-BE49-F238E27FC236}">
                  <a16:creationId xmlns:a16="http://schemas.microsoft.com/office/drawing/2014/main" id="{2FC443EF-10C5-9D55-49D6-701EBE5B94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33350" y="3760097"/>
              <a:ext cx="81825" cy="56565"/>
            </a:xfrm>
            <a:custGeom>
              <a:avLst/>
              <a:gdLst>
                <a:gd name="T0" fmla="*/ 12 w 42"/>
                <a:gd name="T1" fmla="*/ 16 h 30"/>
                <a:gd name="T2" fmla="*/ 12 w 42"/>
                <a:gd name="T3" fmla="*/ 12 h 30"/>
                <a:gd name="T4" fmla="*/ 12 w 42"/>
                <a:gd name="T5" fmla="*/ 12 h 30"/>
                <a:gd name="T6" fmla="*/ 8 w 42"/>
                <a:gd name="T7" fmla="*/ 16 h 30"/>
                <a:gd name="T8" fmla="*/ 4 w 42"/>
                <a:gd name="T9" fmla="*/ 12 h 30"/>
                <a:gd name="T10" fmla="*/ 4 w 42"/>
                <a:gd name="T11" fmla="*/ 8 h 30"/>
                <a:gd name="T12" fmla="*/ 0 w 42"/>
                <a:gd name="T13" fmla="*/ 8 h 30"/>
                <a:gd name="T14" fmla="*/ 0 w 42"/>
                <a:gd name="T15" fmla="*/ 8 h 30"/>
                <a:gd name="T16" fmla="*/ 8 w 42"/>
                <a:gd name="T17" fmla="*/ 4 h 30"/>
                <a:gd name="T18" fmla="*/ 12 w 42"/>
                <a:gd name="T19" fmla="*/ 4 h 30"/>
                <a:gd name="T20" fmla="*/ 20 w 42"/>
                <a:gd name="T21" fmla="*/ 0 h 30"/>
                <a:gd name="T22" fmla="*/ 34 w 42"/>
                <a:gd name="T23" fmla="*/ 0 h 30"/>
                <a:gd name="T24" fmla="*/ 42 w 42"/>
                <a:gd name="T25" fmla="*/ 0 h 30"/>
                <a:gd name="T26" fmla="*/ 42 w 42"/>
                <a:gd name="T27" fmla="*/ 4 h 30"/>
                <a:gd name="T28" fmla="*/ 42 w 42"/>
                <a:gd name="T29" fmla="*/ 8 h 30"/>
                <a:gd name="T30" fmla="*/ 42 w 42"/>
                <a:gd name="T31" fmla="*/ 12 h 30"/>
                <a:gd name="T32" fmla="*/ 38 w 42"/>
                <a:gd name="T33" fmla="*/ 18 h 30"/>
                <a:gd name="T34" fmla="*/ 34 w 42"/>
                <a:gd name="T35" fmla="*/ 18 h 30"/>
                <a:gd name="T36" fmla="*/ 30 w 42"/>
                <a:gd name="T37" fmla="*/ 22 h 30"/>
                <a:gd name="T38" fmla="*/ 26 w 42"/>
                <a:gd name="T39" fmla="*/ 26 h 30"/>
                <a:gd name="T40" fmla="*/ 24 w 42"/>
                <a:gd name="T41" fmla="*/ 30 h 30"/>
                <a:gd name="T42" fmla="*/ 24 w 42"/>
                <a:gd name="T43" fmla="*/ 26 h 30"/>
                <a:gd name="T44" fmla="*/ 20 w 42"/>
                <a:gd name="T45" fmla="*/ 30 h 30"/>
                <a:gd name="T46" fmla="*/ 20 w 42"/>
                <a:gd name="T47" fmla="*/ 26 h 30"/>
                <a:gd name="T48" fmla="*/ 20 w 42"/>
                <a:gd name="T49" fmla="*/ 26 h 30"/>
                <a:gd name="T50" fmla="*/ 20 w 42"/>
                <a:gd name="T51" fmla="*/ 22 h 30"/>
                <a:gd name="T52" fmla="*/ 20 w 42"/>
                <a:gd name="T53" fmla="*/ 22 h 30"/>
                <a:gd name="T54" fmla="*/ 16 w 42"/>
                <a:gd name="T55" fmla="*/ 22 h 30"/>
                <a:gd name="T56" fmla="*/ 24 w 42"/>
                <a:gd name="T57" fmla="*/ 18 h 30"/>
                <a:gd name="T58" fmla="*/ 20 w 42"/>
                <a:gd name="T59" fmla="*/ 18 h 30"/>
                <a:gd name="T60" fmla="*/ 16 w 42"/>
                <a:gd name="T61" fmla="*/ 18 h 30"/>
                <a:gd name="T62" fmla="*/ 16 w 42"/>
                <a:gd name="T63" fmla="*/ 18 h 30"/>
                <a:gd name="T64" fmla="*/ 16 w 42"/>
                <a:gd name="T65" fmla="*/ 16 h 30"/>
                <a:gd name="T66" fmla="*/ 20 w 42"/>
                <a:gd name="T67" fmla="*/ 16 h 30"/>
                <a:gd name="T68" fmla="*/ 24 w 42"/>
                <a:gd name="T69" fmla="*/ 16 h 30"/>
                <a:gd name="T70" fmla="*/ 24 w 42"/>
                <a:gd name="T71" fmla="*/ 16 h 30"/>
                <a:gd name="T72" fmla="*/ 20 w 42"/>
                <a:gd name="T73" fmla="*/ 16 h 30"/>
                <a:gd name="T74" fmla="*/ 20 w 42"/>
                <a:gd name="T75" fmla="*/ 12 h 30"/>
                <a:gd name="T76" fmla="*/ 12 w 42"/>
                <a:gd name="T77" fmla="*/ 16 h 30"/>
                <a:gd name="T78" fmla="*/ 12 w 42"/>
                <a:gd name="T79" fmla="*/ 26 h 30"/>
                <a:gd name="T80" fmla="*/ 16 w 42"/>
                <a:gd name="T81" fmla="*/ 26 h 30"/>
                <a:gd name="T82" fmla="*/ 8 w 42"/>
                <a:gd name="T83" fmla="*/ 16 h 30"/>
                <a:gd name="T84" fmla="*/ 8 w 42"/>
                <a:gd name="T85" fmla="*/ 16 h 30"/>
                <a:gd name="T86" fmla="*/ 16 w 42"/>
                <a:gd name="T87" fmla="*/ 18 h 30"/>
                <a:gd name="T88" fmla="*/ 16 w 42"/>
                <a:gd name="T89" fmla="*/ 18 h 30"/>
                <a:gd name="T90" fmla="*/ 8 w 42"/>
                <a:gd name="T91" fmla="*/ 18 h 30"/>
                <a:gd name="T92" fmla="*/ 12 w 42"/>
                <a:gd name="T93" fmla="*/ 22 h 30"/>
                <a:gd name="T94" fmla="*/ 4 w 42"/>
                <a:gd name="T95" fmla="*/ 22 h 30"/>
                <a:gd name="T96" fmla="*/ 4 w 42"/>
                <a:gd name="T97" fmla="*/ 18 h 30"/>
                <a:gd name="T98" fmla="*/ 4 w 42"/>
                <a:gd name="T99" fmla="*/ 18 h 30"/>
                <a:gd name="T100" fmla="*/ 8 w 42"/>
                <a:gd name="T101" fmla="*/ 30 h 30"/>
                <a:gd name="T102" fmla="*/ 4 w 42"/>
                <a:gd name="T103" fmla="*/ 26 h 30"/>
                <a:gd name="T104" fmla="*/ 8 w 42"/>
                <a:gd name="T105" fmla="*/ 26 h 30"/>
                <a:gd name="T106" fmla="*/ 8 w 42"/>
                <a:gd name="T10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2" h="30">
                  <a:moveTo>
                    <a:pt x="12" y="16"/>
                  </a:moveTo>
                  <a:lnTo>
                    <a:pt x="12" y="16"/>
                  </a:lnTo>
                  <a:lnTo>
                    <a:pt x="12" y="16"/>
                  </a:lnTo>
                  <a:lnTo>
                    <a:pt x="8" y="18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6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16" y="26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8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close/>
                  <a:moveTo>
                    <a:pt x="12" y="26"/>
                  </a:move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  <a:moveTo>
                    <a:pt x="16" y="18"/>
                  </a:moveTo>
                  <a:lnTo>
                    <a:pt x="16" y="18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close/>
                  <a:moveTo>
                    <a:pt x="8" y="22"/>
                  </a:moveTo>
                  <a:lnTo>
                    <a:pt x="8" y="22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close/>
                  <a:moveTo>
                    <a:pt x="4" y="22"/>
                  </a:move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close/>
                  <a:moveTo>
                    <a:pt x="8" y="30"/>
                  </a:moveTo>
                  <a:lnTo>
                    <a:pt x="8" y="30"/>
                  </a:lnTo>
                  <a:lnTo>
                    <a:pt x="8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10" name="Freeform 150">
              <a:extLst>
                <a:ext uri="{FF2B5EF4-FFF2-40B4-BE49-F238E27FC236}">
                  <a16:creationId xmlns:a16="http://schemas.microsoft.com/office/drawing/2014/main" id="{11512F6F-CFF4-AC02-3FE5-DCDF2B66AD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8275" y="4020297"/>
              <a:ext cx="218201" cy="301681"/>
            </a:xfrm>
            <a:custGeom>
              <a:avLst/>
              <a:gdLst>
                <a:gd name="T0" fmla="*/ 0 w 112"/>
                <a:gd name="T1" fmla="*/ 82 h 160"/>
                <a:gd name="T2" fmla="*/ 0 w 112"/>
                <a:gd name="T3" fmla="*/ 78 h 160"/>
                <a:gd name="T4" fmla="*/ 4 w 112"/>
                <a:gd name="T5" fmla="*/ 72 h 160"/>
                <a:gd name="T6" fmla="*/ 8 w 112"/>
                <a:gd name="T7" fmla="*/ 64 h 160"/>
                <a:gd name="T8" fmla="*/ 12 w 112"/>
                <a:gd name="T9" fmla="*/ 60 h 160"/>
                <a:gd name="T10" fmla="*/ 12 w 112"/>
                <a:gd name="T11" fmla="*/ 56 h 160"/>
                <a:gd name="T12" fmla="*/ 12 w 112"/>
                <a:gd name="T13" fmla="*/ 56 h 160"/>
                <a:gd name="T14" fmla="*/ 16 w 112"/>
                <a:gd name="T15" fmla="*/ 52 h 160"/>
                <a:gd name="T16" fmla="*/ 12 w 112"/>
                <a:gd name="T17" fmla="*/ 42 h 160"/>
                <a:gd name="T18" fmla="*/ 12 w 112"/>
                <a:gd name="T19" fmla="*/ 34 h 160"/>
                <a:gd name="T20" fmla="*/ 8 w 112"/>
                <a:gd name="T21" fmla="*/ 30 h 160"/>
                <a:gd name="T22" fmla="*/ 8 w 112"/>
                <a:gd name="T23" fmla="*/ 22 h 160"/>
                <a:gd name="T24" fmla="*/ 4 w 112"/>
                <a:gd name="T25" fmla="*/ 16 h 160"/>
                <a:gd name="T26" fmla="*/ 0 w 112"/>
                <a:gd name="T27" fmla="*/ 8 h 160"/>
                <a:gd name="T28" fmla="*/ 8 w 112"/>
                <a:gd name="T29" fmla="*/ 0 h 160"/>
                <a:gd name="T30" fmla="*/ 16 w 112"/>
                <a:gd name="T31" fmla="*/ 0 h 160"/>
                <a:gd name="T32" fmla="*/ 22 w 112"/>
                <a:gd name="T33" fmla="*/ 0 h 160"/>
                <a:gd name="T34" fmla="*/ 26 w 112"/>
                <a:gd name="T35" fmla="*/ 0 h 160"/>
                <a:gd name="T36" fmla="*/ 38 w 112"/>
                <a:gd name="T37" fmla="*/ 4 h 160"/>
                <a:gd name="T38" fmla="*/ 46 w 112"/>
                <a:gd name="T39" fmla="*/ 8 h 160"/>
                <a:gd name="T40" fmla="*/ 60 w 112"/>
                <a:gd name="T41" fmla="*/ 20 h 160"/>
                <a:gd name="T42" fmla="*/ 72 w 112"/>
                <a:gd name="T43" fmla="*/ 20 h 160"/>
                <a:gd name="T44" fmla="*/ 74 w 112"/>
                <a:gd name="T45" fmla="*/ 22 h 160"/>
                <a:gd name="T46" fmla="*/ 78 w 112"/>
                <a:gd name="T47" fmla="*/ 22 h 160"/>
                <a:gd name="T48" fmla="*/ 82 w 112"/>
                <a:gd name="T49" fmla="*/ 20 h 160"/>
                <a:gd name="T50" fmla="*/ 94 w 112"/>
                <a:gd name="T51" fmla="*/ 8 h 160"/>
                <a:gd name="T52" fmla="*/ 100 w 112"/>
                <a:gd name="T53" fmla="*/ 12 h 160"/>
                <a:gd name="T54" fmla="*/ 104 w 112"/>
                <a:gd name="T55" fmla="*/ 12 h 160"/>
                <a:gd name="T56" fmla="*/ 112 w 112"/>
                <a:gd name="T57" fmla="*/ 12 h 160"/>
                <a:gd name="T58" fmla="*/ 112 w 112"/>
                <a:gd name="T59" fmla="*/ 16 h 160"/>
                <a:gd name="T60" fmla="*/ 100 w 112"/>
                <a:gd name="T61" fmla="*/ 56 h 160"/>
                <a:gd name="T62" fmla="*/ 108 w 112"/>
                <a:gd name="T63" fmla="*/ 108 h 160"/>
                <a:gd name="T64" fmla="*/ 104 w 112"/>
                <a:gd name="T65" fmla="*/ 112 h 160"/>
                <a:gd name="T66" fmla="*/ 98 w 112"/>
                <a:gd name="T67" fmla="*/ 116 h 160"/>
                <a:gd name="T68" fmla="*/ 98 w 112"/>
                <a:gd name="T69" fmla="*/ 120 h 160"/>
                <a:gd name="T70" fmla="*/ 98 w 112"/>
                <a:gd name="T71" fmla="*/ 120 h 160"/>
                <a:gd name="T72" fmla="*/ 94 w 112"/>
                <a:gd name="T73" fmla="*/ 124 h 160"/>
                <a:gd name="T74" fmla="*/ 90 w 112"/>
                <a:gd name="T75" fmla="*/ 124 h 160"/>
                <a:gd name="T76" fmla="*/ 86 w 112"/>
                <a:gd name="T77" fmla="*/ 130 h 160"/>
                <a:gd name="T78" fmla="*/ 86 w 112"/>
                <a:gd name="T79" fmla="*/ 138 h 160"/>
                <a:gd name="T80" fmla="*/ 82 w 112"/>
                <a:gd name="T81" fmla="*/ 142 h 160"/>
                <a:gd name="T82" fmla="*/ 82 w 112"/>
                <a:gd name="T83" fmla="*/ 144 h 160"/>
                <a:gd name="T84" fmla="*/ 74 w 112"/>
                <a:gd name="T85" fmla="*/ 160 h 160"/>
                <a:gd name="T86" fmla="*/ 68 w 112"/>
                <a:gd name="T87" fmla="*/ 152 h 160"/>
                <a:gd name="T88" fmla="*/ 52 w 112"/>
                <a:gd name="T89" fmla="*/ 142 h 160"/>
                <a:gd name="T90" fmla="*/ 52 w 112"/>
                <a:gd name="T91" fmla="*/ 138 h 160"/>
                <a:gd name="T92" fmla="*/ 52 w 112"/>
                <a:gd name="T93" fmla="*/ 134 h 160"/>
                <a:gd name="T94" fmla="*/ 46 w 112"/>
                <a:gd name="T95" fmla="*/ 128 h 160"/>
                <a:gd name="T96" fmla="*/ 30 w 112"/>
                <a:gd name="T97" fmla="*/ 116 h 160"/>
                <a:gd name="T98" fmla="*/ 8 w 112"/>
                <a:gd name="T99" fmla="*/ 102 h 160"/>
                <a:gd name="T100" fmla="*/ 0 w 112"/>
                <a:gd name="T101" fmla="*/ 98 h 160"/>
                <a:gd name="T102" fmla="*/ 100 w 112"/>
                <a:gd name="T103" fmla="*/ 116 h 160"/>
                <a:gd name="T104" fmla="*/ 100 w 112"/>
                <a:gd name="T105" fmla="*/ 116 h 160"/>
                <a:gd name="T106" fmla="*/ 100 w 112"/>
                <a:gd name="T107" fmla="*/ 12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2" h="160">
                  <a:moveTo>
                    <a:pt x="0" y="98"/>
                  </a:moveTo>
                  <a:lnTo>
                    <a:pt x="0" y="98"/>
                  </a:lnTo>
                  <a:lnTo>
                    <a:pt x="0" y="90"/>
                  </a:lnTo>
                  <a:lnTo>
                    <a:pt x="0" y="86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6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42" y="4"/>
                  </a:lnTo>
                  <a:lnTo>
                    <a:pt x="46" y="4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4" y="20"/>
                  </a:lnTo>
                  <a:lnTo>
                    <a:pt x="74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0"/>
                  </a:lnTo>
                  <a:lnTo>
                    <a:pt x="82" y="20"/>
                  </a:lnTo>
                  <a:lnTo>
                    <a:pt x="82" y="16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94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04" y="26"/>
                  </a:lnTo>
                  <a:lnTo>
                    <a:pt x="104" y="26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42"/>
                  </a:lnTo>
                  <a:lnTo>
                    <a:pt x="100" y="56"/>
                  </a:lnTo>
                  <a:lnTo>
                    <a:pt x="100" y="78"/>
                  </a:lnTo>
                  <a:lnTo>
                    <a:pt x="100" y="94"/>
                  </a:lnTo>
                  <a:lnTo>
                    <a:pt x="100" y="98"/>
                  </a:lnTo>
                  <a:lnTo>
                    <a:pt x="104" y="104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98" y="116"/>
                  </a:lnTo>
                  <a:lnTo>
                    <a:pt x="98" y="116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100" y="120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4" y="124"/>
                  </a:lnTo>
                  <a:lnTo>
                    <a:pt x="94" y="124"/>
                  </a:lnTo>
                  <a:lnTo>
                    <a:pt x="94" y="124"/>
                  </a:lnTo>
                  <a:lnTo>
                    <a:pt x="94" y="124"/>
                  </a:lnTo>
                  <a:lnTo>
                    <a:pt x="94" y="124"/>
                  </a:lnTo>
                  <a:lnTo>
                    <a:pt x="90" y="124"/>
                  </a:lnTo>
                  <a:lnTo>
                    <a:pt x="90" y="124"/>
                  </a:lnTo>
                  <a:lnTo>
                    <a:pt x="90" y="124"/>
                  </a:lnTo>
                  <a:lnTo>
                    <a:pt x="90" y="124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86" y="128"/>
                  </a:lnTo>
                  <a:lnTo>
                    <a:pt x="86" y="130"/>
                  </a:lnTo>
                  <a:lnTo>
                    <a:pt x="86" y="130"/>
                  </a:lnTo>
                  <a:lnTo>
                    <a:pt x="86" y="130"/>
                  </a:lnTo>
                  <a:lnTo>
                    <a:pt x="86" y="134"/>
                  </a:lnTo>
                  <a:lnTo>
                    <a:pt x="86" y="134"/>
                  </a:lnTo>
                  <a:lnTo>
                    <a:pt x="86" y="134"/>
                  </a:lnTo>
                  <a:lnTo>
                    <a:pt x="86" y="134"/>
                  </a:lnTo>
                  <a:lnTo>
                    <a:pt x="86" y="138"/>
                  </a:lnTo>
                  <a:lnTo>
                    <a:pt x="86" y="138"/>
                  </a:lnTo>
                  <a:lnTo>
                    <a:pt x="86" y="138"/>
                  </a:lnTo>
                  <a:lnTo>
                    <a:pt x="86" y="138"/>
                  </a:lnTo>
                  <a:lnTo>
                    <a:pt x="86" y="138"/>
                  </a:lnTo>
                  <a:lnTo>
                    <a:pt x="82" y="142"/>
                  </a:lnTo>
                  <a:lnTo>
                    <a:pt x="82" y="142"/>
                  </a:lnTo>
                  <a:lnTo>
                    <a:pt x="82" y="142"/>
                  </a:lnTo>
                  <a:lnTo>
                    <a:pt x="82" y="142"/>
                  </a:lnTo>
                  <a:lnTo>
                    <a:pt x="82" y="144"/>
                  </a:lnTo>
                  <a:lnTo>
                    <a:pt x="82" y="144"/>
                  </a:lnTo>
                  <a:lnTo>
                    <a:pt x="82" y="144"/>
                  </a:lnTo>
                  <a:lnTo>
                    <a:pt x="82" y="144"/>
                  </a:lnTo>
                  <a:lnTo>
                    <a:pt x="82" y="148"/>
                  </a:lnTo>
                  <a:lnTo>
                    <a:pt x="82" y="148"/>
                  </a:lnTo>
                  <a:lnTo>
                    <a:pt x="82" y="148"/>
                  </a:lnTo>
                  <a:lnTo>
                    <a:pt x="78" y="156"/>
                  </a:lnTo>
                  <a:lnTo>
                    <a:pt x="78" y="160"/>
                  </a:lnTo>
                  <a:lnTo>
                    <a:pt x="74" y="160"/>
                  </a:lnTo>
                  <a:lnTo>
                    <a:pt x="74" y="160"/>
                  </a:lnTo>
                  <a:lnTo>
                    <a:pt x="74" y="160"/>
                  </a:lnTo>
                  <a:lnTo>
                    <a:pt x="74" y="160"/>
                  </a:lnTo>
                  <a:lnTo>
                    <a:pt x="74" y="160"/>
                  </a:lnTo>
                  <a:lnTo>
                    <a:pt x="72" y="156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4" y="152"/>
                  </a:lnTo>
                  <a:lnTo>
                    <a:pt x="64" y="148"/>
                  </a:lnTo>
                  <a:lnTo>
                    <a:pt x="56" y="142"/>
                  </a:lnTo>
                  <a:lnTo>
                    <a:pt x="52" y="142"/>
                  </a:lnTo>
                  <a:lnTo>
                    <a:pt x="52" y="142"/>
                  </a:lnTo>
                  <a:lnTo>
                    <a:pt x="52" y="142"/>
                  </a:lnTo>
                  <a:lnTo>
                    <a:pt x="52" y="142"/>
                  </a:lnTo>
                  <a:lnTo>
                    <a:pt x="52" y="142"/>
                  </a:lnTo>
                  <a:lnTo>
                    <a:pt x="52" y="142"/>
                  </a:lnTo>
                  <a:lnTo>
                    <a:pt x="52" y="142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4"/>
                  </a:lnTo>
                  <a:lnTo>
                    <a:pt x="52" y="134"/>
                  </a:lnTo>
                  <a:lnTo>
                    <a:pt x="52" y="130"/>
                  </a:lnTo>
                  <a:lnTo>
                    <a:pt x="52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46" y="128"/>
                  </a:lnTo>
                  <a:lnTo>
                    <a:pt x="46" y="128"/>
                  </a:lnTo>
                  <a:lnTo>
                    <a:pt x="46" y="128"/>
                  </a:lnTo>
                  <a:lnTo>
                    <a:pt x="38" y="124"/>
                  </a:lnTo>
                  <a:lnTo>
                    <a:pt x="34" y="120"/>
                  </a:lnTo>
                  <a:lnTo>
                    <a:pt x="30" y="120"/>
                  </a:lnTo>
                  <a:lnTo>
                    <a:pt x="30" y="116"/>
                  </a:lnTo>
                  <a:lnTo>
                    <a:pt x="26" y="116"/>
                  </a:lnTo>
                  <a:lnTo>
                    <a:pt x="22" y="112"/>
                  </a:lnTo>
                  <a:lnTo>
                    <a:pt x="20" y="108"/>
                  </a:lnTo>
                  <a:lnTo>
                    <a:pt x="12" y="104"/>
                  </a:lnTo>
                  <a:lnTo>
                    <a:pt x="8" y="102"/>
                  </a:lnTo>
                  <a:lnTo>
                    <a:pt x="8" y="102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0" y="98"/>
                  </a:lnTo>
                  <a:close/>
                  <a:moveTo>
                    <a:pt x="100" y="120"/>
                  </a:moveTo>
                  <a:lnTo>
                    <a:pt x="100" y="120"/>
                  </a:lnTo>
                  <a:lnTo>
                    <a:pt x="98" y="116"/>
                  </a:lnTo>
                  <a:lnTo>
                    <a:pt x="98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100" y="12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11" name="Freeform 151">
              <a:extLst>
                <a:ext uri="{FF2B5EF4-FFF2-40B4-BE49-F238E27FC236}">
                  <a16:creationId xmlns:a16="http://schemas.microsoft.com/office/drawing/2014/main" id="{E316127B-D22E-33C9-4BB9-2344BED02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1246" y="5110120"/>
              <a:ext cx="62343" cy="67878"/>
            </a:xfrm>
            <a:custGeom>
              <a:avLst/>
              <a:gdLst>
                <a:gd name="T0" fmla="*/ 24 w 32"/>
                <a:gd name="T1" fmla="*/ 26 h 36"/>
                <a:gd name="T2" fmla="*/ 22 w 32"/>
                <a:gd name="T3" fmla="*/ 30 h 36"/>
                <a:gd name="T4" fmla="*/ 22 w 32"/>
                <a:gd name="T5" fmla="*/ 30 h 36"/>
                <a:gd name="T6" fmla="*/ 18 w 32"/>
                <a:gd name="T7" fmla="*/ 30 h 36"/>
                <a:gd name="T8" fmla="*/ 18 w 32"/>
                <a:gd name="T9" fmla="*/ 30 h 36"/>
                <a:gd name="T10" fmla="*/ 14 w 32"/>
                <a:gd name="T11" fmla="*/ 34 h 36"/>
                <a:gd name="T12" fmla="*/ 14 w 32"/>
                <a:gd name="T13" fmla="*/ 36 h 36"/>
                <a:gd name="T14" fmla="*/ 10 w 32"/>
                <a:gd name="T15" fmla="*/ 36 h 36"/>
                <a:gd name="T16" fmla="*/ 10 w 32"/>
                <a:gd name="T17" fmla="*/ 36 h 36"/>
                <a:gd name="T18" fmla="*/ 8 w 32"/>
                <a:gd name="T19" fmla="*/ 36 h 36"/>
                <a:gd name="T20" fmla="*/ 8 w 32"/>
                <a:gd name="T21" fmla="*/ 34 h 36"/>
                <a:gd name="T22" fmla="*/ 4 w 32"/>
                <a:gd name="T23" fmla="*/ 34 h 36"/>
                <a:gd name="T24" fmla="*/ 4 w 32"/>
                <a:gd name="T25" fmla="*/ 30 h 36"/>
                <a:gd name="T26" fmla="*/ 0 w 32"/>
                <a:gd name="T27" fmla="*/ 26 h 36"/>
                <a:gd name="T28" fmla="*/ 0 w 32"/>
                <a:gd name="T29" fmla="*/ 26 h 36"/>
                <a:gd name="T30" fmla="*/ 0 w 32"/>
                <a:gd name="T31" fmla="*/ 22 h 36"/>
                <a:gd name="T32" fmla="*/ 0 w 32"/>
                <a:gd name="T33" fmla="*/ 22 h 36"/>
                <a:gd name="T34" fmla="*/ 0 w 32"/>
                <a:gd name="T35" fmla="*/ 18 h 36"/>
                <a:gd name="T36" fmla="*/ 0 w 32"/>
                <a:gd name="T37" fmla="*/ 18 h 36"/>
                <a:gd name="T38" fmla="*/ 4 w 32"/>
                <a:gd name="T39" fmla="*/ 18 h 36"/>
                <a:gd name="T40" fmla="*/ 4 w 32"/>
                <a:gd name="T41" fmla="*/ 14 h 36"/>
                <a:gd name="T42" fmla="*/ 4 w 32"/>
                <a:gd name="T43" fmla="*/ 14 h 36"/>
                <a:gd name="T44" fmla="*/ 8 w 32"/>
                <a:gd name="T45" fmla="*/ 10 h 36"/>
                <a:gd name="T46" fmla="*/ 8 w 32"/>
                <a:gd name="T47" fmla="*/ 10 h 36"/>
                <a:gd name="T48" fmla="*/ 8 w 32"/>
                <a:gd name="T49" fmla="*/ 6 h 36"/>
                <a:gd name="T50" fmla="*/ 10 w 32"/>
                <a:gd name="T51" fmla="*/ 6 h 36"/>
                <a:gd name="T52" fmla="*/ 14 w 32"/>
                <a:gd name="T53" fmla="*/ 4 h 36"/>
                <a:gd name="T54" fmla="*/ 14 w 32"/>
                <a:gd name="T55" fmla="*/ 4 h 36"/>
                <a:gd name="T56" fmla="*/ 18 w 32"/>
                <a:gd name="T57" fmla="*/ 4 h 36"/>
                <a:gd name="T58" fmla="*/ 18 w 32"/>
                <a:gd name="T59" fmla="*/ 0 h 36"/>
                <a:gd name="T60" fmla="*/ 18 w 32"/>
                <a:gd name="T61" fmla="*/ 0 h 36"/>
                <a:gd name="T62" fmla="*/ 18 w 32"/>
                <a:gd name="T63" fmla="*/ 0 h 36"/>
                <a:gd name="T64" fmla="*/ 22 w 32"/>
                <a:gd name="T65" fmla="*/ 0 h 36"/>
                <a:gd name="T66" fmla="*/ 22 w 32"/>
                <a:gd name="T67" fmla="*/ 4 h 36"/>
                <a:gd name="T68" fmla="*/ 24 w 32"/>
                <a:gd name="T69" fmla="*/ 4 h 36"/>
                <a:gd name="T70" fmla="*/ 24 w 32"/>
                <a:gd name="T71" fmla="*/ 4 h 36"/>
                <a:gd name="T72" fmla="*/ 24 w 32"/>
                <a:gd name="T73" fmla="*/ 6 h 36"/>
                <a:gd name="T74" fmla="*/ 28 w 32"/>
                <a:gd name="T75" fmla="*/ 6 h 36"/>
                <a:gd name="T76" fmla="*/ 28 w 32"/>
                <a:gd name="T77" fmla="*/ 10 h 36"/>
                <a:gd name="T78" fmla="*/ 32 w 32"/>
                <a:gd name="T79" fmla="*/ 14 h 36"/>
                <a:gd name="T80" fmla="*/ 32 w 32"/>
                <a:gd name="T81" fmla="*/ 14 h 36"/>
                <a:gd name="T82" fmla="*/ 28 w 32"/>
                <a:gd name="T83" fmla="*/ 14 h 36"/>
                <a:gd name="T84" fmla="*/ 28 w 32"/>
                <a:gd name="T85" fmla="*/ 18 h 36"/>
                <a:gd name="T86" fmla="*/ 28 w 32"/>
                <a:gd name="T87" fmla="*/ 18 h 36"/>
                <a:gd name="T88" fmla="*/ 28 w 32"/>
                <a:gd name="T89" fmla="*/ 18 h 36"/>
                <a:gd name="T90" fmla="*/ 28 w 32"/>
                <a:gd name="T91" fmla="*/ 22 h 36"/>
                <a:gd name="T92" fmla="*/ 28 w 32"/>
                <a:gd name="T93" fmla="*/ 22 h 36"/>
                <a:gd name="T94" fmla="*/ 28 w 32"/>
                <a:gd name="T95" fmla="*/ 22 h 36"/>
                <a:gd name="T96" fmla="*/ 28 w 32"/>
                <a:gd name="T97" fmla="*/ 22 h 36"/>
                <a:gd name="T98" fmla="*/ 24 w 32"/>
                <a:gd name="T99" fmla="*/ 26 h 36"/>
                <a:gd name="T100" fmla="*/ 24 w 32"/>
                <a:gd name="T101" fmla="*/ 26 h 36"/>
                <a:gd name="T102" fmla="*/ 24 w 32"/>
                <a:gd name="T103" fmla="*/ 2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2" h="36">
                  <a:moveTo>
                    <a:pt x="24" y="26"/>
                  </a:moveTo>
                  <a:lnTo>
                    <a:pt x="24" y="26"/>
                  </a:lnTo>
                  <a:lnTo>
                    <a:pt x="24" y="26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4" y="30"/>
                  </a:lnTo>
                  <a:lnTo>
                    <a:pt x="14" y="34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6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8" y="6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12" name="Freeform 152">
              <a:extLst>
                <a:ext uri="{FF2B5EF4-FFF2-40B4-BE49-F238E27FC236}">
                  <a16:creationId xmlns:a16="http://schemas.microsoft.com/office/drawing/2014/main" id="{4224C4C4-59B5-9C82-12B9-1FF4633A4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3622" y="3895854"/>
              <a:ext cx="116893" cy="139528"/>
            </a:xfrm>
            <a:custGeom>
              <a:avLst/>
              <a:gdLst>
                <a:gd name="T0" fmla="*/ 4 w 60"/>
                <a:gd name="T1" fmla="*/ 26 h 74"/>
                <a:gd name="T2" fmla="*/ 4 w 60"/>
                <a:gd name="T3" fmla="*/ 22 h 74"/>
                <a:gd name="T4" fmla="*/ 6 w 60"/>
                <a:gd name="T5" fmla="*/ 22 h 74"/>
                <a:gd name="T6" fmla="*/ 10 w 60"/>
                <a:gd name="T7" fmla="*/ 18 h 74"/>
                <a:gd name="T8" fmla="*/ 10 w 60"/>
                <a:gd name="T9" fmla="*/ 18 h 74"/>
                <a:gd name="T10" fmla="*/ 10 w 60"/>
                <a:gd name="T11" fmla="*/ 14 h 74"/>
                <a:gd name="T12" fmla="*/ 14 w 60"/>
                <a:gd name="T13" fmla="*/ 10 h 74"/>
                <a:gd name="T14" fmla="*/ 14 w 60"/>
                <a:gd name="T15" fmla="*/ 6 h 74"/>
                <a:gd name="T16" fmla="*/ 18 w 60"/>
                <a:gd name="T17" fmla="*/ 2 h 74"/>
                <a:gd name="T18" fmla="*/ 22 w 60"/>
                <a:gd name="T19" fmla="*/ 2 h 74"/>
                <a:gd name="T20" fmla="*/ 26 w 60"/>
                <a:gd name="T21" fmla="*/ 0 h 74"/>
                <a:gd name="T22" fmla="*/ 30 w 60"/>
                <a:gd name="T23" fmla="*/ 6 h 74"/>
                <a:gd name="T24" fmla="*/ 30 w 60"/>
                <a:gd name="T25" fmla="*/ 10 h 74"/>
                <a:gd name="T26" fmla="*/ 30 w 60"/>
                <a:gd name="T27" fmla="*/ 14 h 74"/>
                <a:gd name="T28" fmla="*/ 30 w 60"/>
                <a:gd name="T29" fmla="*/ 18 h 74"/>
                <a:gd name="T30" fmla="*/ 30 w 60"/>
                <a:gd name="T31" fmla="*/ 22 h 74"/>
                <a:gd name="T32" fmla="*/ 34 w 60"/>
                <a:gd name="T33" fmla="*/ 22 h 74"/>
                <a:gd name="T34" fmla="*/ 34 w 60"/>
                <a:gd name="T35" fmla="*/ 22 h 74"/>
                <a:gd name="T36" fmla="*/ 36 w 60"/>
                <a:gd name="T37" fmla="*/ 22 h 74"/>
                <a:gd name="T38" fmla="*/ 40 w 60"/>
                <a:gd name="T39" fmla="*/ 18 h 74"/>
                <a:gd name="T40" fmla="*/ 40 w 60"/>
                <a:gd name="T41" fmla="*/ 14 h 74"/>
                <a:gd name="T42" fmla="*/ 44 w 60"/>
                <a:gd name="T43" fmla="*/ 14 h 74"/>
                <a:gd name="T44" fmla="*/ 44 w 60"/>
                <a:gd name="T45" fmla="*/ 18 h 74"/>
                <a:gd name="T46" fmla="*/ 44 w 60"/>
                <a:gd name="T47" fmla="*/ 22 h 74"/>
                <a:gd name="T48" fmla="*/ 48 w 60"/>
                <a:gd name="T49" fmla="*/ 26 h 74"/>
                <a:gd name="T50" fmla="*/ 44 w 60"/>
                <a:gd name="T51" fmla="*/ 28 h 74"/>
                <a:gd name="T52" fmla="*/ 44 w 60"/>
                <a:gd name="T53" fmla="*/ 32 h 74"/>
                <a:gd name="T54" fmla="*/ 44 w 60"/>
                <a:gd name="T55" fmla="*/ 32 h 74"/>
                <a:gd name="T56" fmla="*/ 40 w 60"/>
                <a:gd name="T57" fmla="*/ 36 h 74"/>
                <a:gd name="T58" fmla="*/ 44 w 60"/>
                <a:gd name="T59" fmla="*/ 36 h 74"/>
                <a:gd name="T60" fmla="*/ 48 w 60"/>
                <a:gd name="T61" fmla="*/ 40 h 74"/>
                <a:gd name="T62" fmla="*/ 52 w 60"/>
                <a:gd name="T63" fmla="*/ 40 h 74"/>
                <a:gd name="T64" fmla="*/ 52 w 60"/>
                <a:gd name="T65" fmla="*/ 44 h 74"/>
                <a:gd name="T66" fmla="*/ 56 w 60"/>
                <a:gd name="T67" fmla="*/ 48 h 74"/>
                <a:gd name="T68" fmla="*/ 60 w 60"/>
                <a:gd name="T69" fmla="*/ 48 h 74"/>
                <a:gd name="T70" fmla="*/ 60 w 60"/>
                <a:gd name="T71" fmla="*/ 52 h 74"/>
                <a:gd name="T72" fmla="*/ 60 w 60"/>
                <a:gd name="T73" fmla="*/ 52 h 74"/>
                <a:gd name="T74" fmla="*/ 60 w 60"/>
                <a:gd name="T75" fmla="*/ 54 h 74"/>
                <a:gd name="T76" fmla="*/ 56 w 60"/>
                <a:gd name="T77" fmla="*/ 62 h 74"/>
                <a:gd name="T78" fmla="*/ 56 w 60"/>
                <a:gd name="T79" fmla="*/ 66 h 74"/>
                <a:gd name="T80" fmla="*/ 56 w 60"/>
                <a:gd name="T81" fmla="*/ 74 h 74"/>
                <a:gd name="T82" fmla="*/ 52 w 60"/>
                <a:gd name="T83" fmla="*/ 70 h 74"/>
                <a:gd name="T84" fmla="*/ 52 w 60"/>
                <a:gd name="T85" fmla="*/ 70 h 74"/>
                <a:gd name="T86" fmla="*/ 44 w 60"/>
                <a:gd name="T87" fmla="*/ 66 h 74"/>
                <a:gd name="T88" fmla="*/ 40 w 60"/>
                <a:gd name="T89" fmla="*/ 62 h 74"/>
                <a:gd name="T90" fmla="*/ 36 w 60"/>
                <a:gd name="T91" fmla="*/ 62 h 74"/>
                <a:gd name="T92" fmla="*/ 34 w 60"/>
                <a:gd name="T93" fmla="*/ 58 h 74"/>
                <a:gd name="T94" fmla="*/ 30 w 60"/>
                <a:gd name="T95" fmla="*/ 54 h 74"/>
                <a:gd name="T96" fmla="*/ 26 w 60"/>
                <a:gd name="T97" fmla="*/ 52 h 74"/>
                <a:gd name="T98" fmla="*/ 18 w 60"/>
                <a:gd name="T99" fmla="*/ 44 h 74"/>
                <a:gd name="T100" fmla="*/ 18 w 60"/>
                <a:gd name="T101" fmla="*/ 40 h 74"/>
                <a:gd name="T102" fmla="*/ 14 w 60"/>
                <a:gd name="T103" fmla="*/ 40 h 74"/>
                <a:gd name="T104" fmla="*/ 10 w 60"/>
                <a:gd name="T105" fmla="*/ 40 h 74"/>
                <a:gd name="T106" fmla="*/ 10 w 60"/>
                <a:gd name="T107" fmla="*/ 36 h 74"/>
                <a:gd name="T108" fmla="*/ 10 w 60"/>
                <a:gd name="T109" fmla="*/ 36 h 74"/>
                <a:gd name="T110" fmla="*/ 4 w 60"/>
                <a:gd name="T111" fmla="*/ 32 h 74"/>
                <a:gd name="T112" fmla="*/ 4 w 60"/>
                <a:gd name="T113" fmla="*/ 28 h 74"/>
                <a:gd name="T114" fmla="*/ 0 w 60"/>
                <a:gd name="T115" fmla="*/ 2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0" h="74">
                  <a:moveTo>
                    <a:pt x="0" y="28"/>
                  </a:moveTo>
                  <a:lnTo>
                    <a:pt x="0" y="28"/>
                  </a:lnTo>
                  <a:lnTo>
                    <a:pt x="4" y="28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30" y="2"/>
                  </a:lnTo>
                  <a:lnTo>
                    <a:pt x="30" y="6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4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18"/>
                  </a:lnTo>
                  <a:lnTo>
                    <a:pt x="34" y="18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6"/>
                  </a:lnTo>
                  <a:lnTo>
                    <a:pt x="34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40" y="22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8"/>
                  </a:lnTo>
                  <a:lnTo>
                    <a:pt x="56" y="58"/>
                  </a:lnTo>
                  <a:lnTo>
                    <a:pt x="56" y="62"/>
                  </a:lnTo>
                  <a:lnTo>
                    <a:pt x="56" y="62"/>
                  </a:lnTo>
                  <a:lnTo>
                    <a:pt x="56" y="62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74"/>
                  </a:lnTo>
                  <a:lnTo>
                    <a:pt x="56" y="74"/>
                  </a:lnTo>
                  <a:lnTo>
                    <a:pt x="56" y="74"/>
                  </a:lnTo>
                  <a:lnTo>
                    <a:pt x="56" y="74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0" y="66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2" y="48"/>
                  </a:lnTo>
                  <a:lnTo>
                    <a:pt x="22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6" y="36"/>
                  </a:lnTo>
                  <a:lnTo>
                    <a:pt x="6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13" name="Freeform 153">
              <a:extLst>
                <a:ext uri="{FF2B5EF4-FFF2-40B4-BE49-F238E27FC236}">
                  <a16:creationId xmlns:a16="http://schemas.microsoft.com/office/drawing/2014/main" id="{B8BC434F-8F97-ADC3-3502-2211194B6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6398" y="3070002"/>
              <a:ext cx="436401" cy="463835"/>
            </a:xfrm>
            <a:custGeom>
              <a:avLst/>
              <a:gdLst>
                <a:gd name="T0" fmla="*/ 74 w 224"/>
                <a:gd name="T1" fmla="*/ 12 h 246"/>
                <a:gd name="T2" fmla="*/ 86 w 224"/>
                <a:gd name="T3" fmla="*/ 20 h 246"/>
                <a:gd name="T4" fmla="*/ 90 w 224"/>
                <a:gd name="T5" fmla="*/ 34 h 246"/>
                <a:gd name="T6" fmla="*/ 100 w 224"/>
                <a:gd name="T7" fmla="*/ 38 h 246"/>
                <a:gd name="T8" fmla="*/ 116 w 224"/>
                <a:gd name="T9" fmla="*/ 38 h 246"/>
                <a:gd name="T10" fmla="*/ 124 w 224"/>
                <a:gd name="T11" fmla="*/ 46 h 246"/>
                <a:gd name="T12" fmla="*/ 134 w 224"/>
                <a:gd name="T13" fmla="*/ 52 h 246"/>
                <a:gd name="T14" fmla="*/ 142 w 224"/>
                <a:gd name="T15" fmla="*/ 52 h 246"/>
                <a:gd name="T16" fmla="*/ 154 w 224"/>
                <a:gd name="T17" fmla="*/ 42 h 246"/>
                <a:gd name="T18" fmla="*/ 154 w 224"/>
                <a:gd name="T19" fmla="*/ 26 h 246"/>
                <a:gd name="T20" fmla="*/ 160 w 224"/>
                <a:gd name="T21" fmla="*/ 12 h 246"/>
                <a:gd name="T22" fmla="*/ 172 w 224"/>
                <a:gd name="T23" fmla="*/ 8 h 246"/>
                <a:gd name="T24" fmla="*/ 182 w 224"/>
                <a:gd name="T25" fmla="*/ 4 h 246"/>
                <a:gd name="T26" fmla="*/ 194 w 224"/>
                <a:gd name="T27" fmla="*/ 8 h 246"/>
                <a:gd name="T28" fmla="*/ 198 w 224"/>
                <a:gd name="T29" fmla="*/ 20 h 246"/>
                <a:gd name="T30" fmla="*/ 210 w 224"/>
                <a:gd name="T31" fmla="*/ 22 h 246"/>
                <a:gd name="T32" fmla="*/ 224 w 224"/>
                <a:gd name="T33" fmla="*/ 22 h 246"/>
                <a:gd name="T34" fmla="*/ 220 w 224"/>
                <a:gd name="T35" fmla="*/ 34 h 246"/>
                <a:gd name="T36" fmla="*/ 224 w 224"/>
                <a:gd name="T37" fmla="*/ 50 h 246"/>
                <a:gd name="T38" fmla="*/ 220 w 224"/>
                <a:gd name="T39" fmla="*/ 64 h 246"/>
                <a:gd name="T40" fmla="*/ 224 w 224"/>
                <a:gd name="T41" fmla="*/ 78 h 246"/>
                <a:gd name="T42" fmla="*/ 224 w 224"/>
                <a:gd name="T43" fmla="*/ 102 h 246"/>
                <a:gd name="T44" fmla="*/ 224 w 224"/>
                <a:gd name="T45" fmla="*/ 120 h 246"/>
                <a:gd name="T46" fmla="*/ 224 w 224"/>
                <a:gd name="T47" fmla="*/ 150 h 246"/>
                <a:gd name="T48" fmla="*/ 224 w 224"/>
                <a:gd name="T49" fmla="*/ 176 h 246"/>
                <a:gd name="T50" fmla="*/ 224 w 224"/>
                <a:gd name="T51" fmla="*/ 238 h 246"/>
                <a:gd name="T52" fmla="*/ 210 w 224"/>
                <a:gd name="T53" fmla="*/ 238 h 246"/>
                <a:gd name="T54" fmla="*/ 186 w 224"/>
                <a:gd name="T55" fmla="*/ 232 h 246"/>
                <a:gd name="T56" fmla="*/ 156 w 224"/>
                <a:gd name="T57" fmla="*/ 218 h 246"/>
                <a:gd name="T58" fmla="*/ 134 w 224"/>
                <a:gd name="T59" fmla="*/ 202 h 246"/>
                <a:gd name="T60" fmla="*/ 108 w 224"/>
                <a:gd name="T61" fmla="*/ 188 h 246"/>
                <a:gd name="T62" fmla="*/ 82 w 224"/>
                <a:gd name="T63" fmla="*/ 184 h 246"/>
                <a:gd name="T64" fmla="*/ 72 w 224"/>
                <a:gd name="T65" fmla="*/ 192 h 246"/>
                <a:gd name="T66" fmla="*/ 60 w 224"/>
                <a:gd name="T67" fmla="*/ 184 h 246"/>
                <a:gd name="T68" fmla="*/ 44 w 224"/>
                <a:gd name="T69" fmla="*/ 180 h 246"/>
                <a:gd name="T70" fmla="*/ 34 w 224"/>
                <a:gd name="T71" fmla="*/ 162 h 246"/>
                <a:gd name="T72" fmla="*/ 18 w 224"/>
                <a:gd name="T73" fmla="*/ 158 h 246"/>
                <a:gd name="T74" fmla="*/ 12 w 224"/>
                <a:gd name="T75" fmla="*/ 154 h 246"/>
                <a:gd name="T76" fmla="*/ 8 w 224"/>
                <a:gd name="T77" fmla="*/ 138 h 246"/>
                <a:gd name="T78" fmla="*/ 12 w 224"/>
                <a:gd name="T79" fmla="*/ 120 h 246"/>
                <a:gd name="T80" fmla="*/ 8 w 224"/>
                <a:gd name="T81" fmla="*/ 108 h 246"/>
                <a:gd name="T82" fmla="*/ 8 w 224"/>
                <a:gd name="T83" fmla="*/ 94 h 246"/>
                <a:gd name="T84" fmla="*/ 8 w 224"/>
                <a:gd name="T85" fmla="*/ 78 h 246"/>
                <a:gd name="T86" fmla="*/ 8 w 224"/>
                <a:gd name="T87" fmla="*/ 64 h 246"/>
                <a:gd name="T88" fmla="*/ 4 w 224"/>
                <a:gd name="T89" fmla="*/ 56 h 246"/>
                <a:gd name="T90" fmla="*/ 16 w 224"/>
                <a:gd name="T91" fmla="*/ 46 h 246"/>
                <a:gd name="T92" fmla="*/ 12 w 224"/>
                <a:gd name="T93" fmla="*/ 34 h 246"/>
                <a:gd name="T94" fmla="*/ 22 w 224"/>
                <a:gd name="T95" fmla="*/ 22 h 246"/>
                <a:gd name="T96" fmla="*/ 34 w 224"/>
                <a:gd name="T97" fmla="*/ 16 h 246"/>
                <a:gd name="T98" fmla="*/ 34 w 224"/>
                <a:gd name="T99" fmla="*/ 0 h 246"/>
                <a:gd name="T100" fmla="*/ 42 w 224"/>
                <a:gd name="T101" fmla="*/ 8 h 246"/>
                <a:gd name="T102" fmla="*/ 56 w 224"/>
                <a:gd name="T103" fmla="*/ 8 h 246"/>
                <a:gd name="T104" fmla="*/ 64 w 224"/>
                <a:gd name="T105" fmla="*/ 8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4" h="246">
                  <a:moveTo>
                    <a:pt x="68" y="8"/>
                  </a:moveTo>
                  <a:lnTo>
                    <a:pt x="72" y="8"/>
                  </a:lnTo>
                  <a:lnTo>
                    <a:pt x="72" y="12"/>
                  </a:lnTo>
                  <a:lnTo>
                    <a:pt x="74" y="12"/>
                  </a:lnTo>
                  <a:lnTo>
                    <a:pt x="78" y="16"/>
                  </a:lnTo>
                  <a:lnTo>
                    <a:pt x="82" y="16"/>
                  </a:lnTo>
                  <a:lnTo>
                    <a:pt x="86" y="16"/>
                  </a:lnTo>
                  <a:lnTo>
                    <a:pt x="86" y="20"/>
                  </a:lnTo>
                  <a:lnTo>
                    <a:pt x="86" y="22"/>
                  </a:lnTo>
                  <a:lnTo>
                    <a:pt x="86" y="26"/>
                  </a:lnTo>
                  <a:lnTo>
                    <a:pt x="90" y="30"/>
                  </a:lnTo>
                  <a:lnTo>
                    <a:pt x="90" y="34"/>
                  </a:lnTo>
                  <a:lnTo>
                    <a:pt x="94" y="34"/>
                  </a:lnTo>
                  <a:lnTo>
                    <a:pt x="98" y="34"/>
                  </a:lnTo>
                  <a:lnTo>
                    <a:pt x="98" y="38"/>
                  </a:lnTo>
                  <a:lnTo>
                    <a:pt x="100" y="38"/>
                  </a:lnTo>
                  <a:lnTo>
                    <a:pt x="104" y="38"/>
                  </a:lnTo>
                  <a:lnTo>
                    <a:pt x="108" y="38"/>
                  </a:lnTo>
                  <a:lnTo>
                    <a:pt x="112" y="38"/>
                  </a:lnTo>
                  <a:lnTo>
                    <a:pt x="116" y="38"/>
                  </a:lnTo>
                  <a:lnTo>
                    <a:pt x="116" y="42"/>
                  </a:lnTo>
                  <a:lnTo>
                    <a:pt x="120" y="42"/>
                  </a:lnTo>
                  <a:lnTo>
                    <a:pt x="124" y="42"/>
                  </a:lnTo>
                  <a:lnTo>
                    <a:pt x="124" y="46"/>
                  </a:lnTo>
                  <a:lnTo>
                    <a:pt x="128" y="46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4" y="52"/>
                  </a:lnTo>
                  <a:lnTo>
                    <a:pt x="138" y="52"/>
                  </a:lnTo>
                  <a:lnTo>
                    <a:pt x="138" y="56"/>
                  </a:lnTo>
                  <a:lnTo>
                    <a:pt x="142" y="56"/>
                  </a:lnTo>
                  <a:lnTo>
                    <a:pt x="142" y="52"/>
                  </a:lnTo>
                  <a:lnTo>
                    <a:pt x="146" y="52"/>
                  </a:lnTo>
                  <a:lnTo>
                    <a:pt x="150" y="50"/>
                  </a:lnTo>
                  <a:lnTo>
                    <a:pt x="154" y="46"/>
                  </a:lnTo>
                  <a:lnTo>
                    <a:pt x="154" y="42"/>
                  </a:lnTo>
                  <a:lnTo>
                    <a:pt x="154" y="38"/>
                  </a:lnTo>
                  <a:lnTo>
                    <a:pt x="154" y="34"/>
                  </a:lnTo>
                  <a:lnTo>
                    <a:pt x="154" y="30"/>
                  </a:lnTo>
                  <a:lnTo>
                    <a:pt x="154" y="26"/>
                  </a:lnTo>
                  <a:lnTo>
                    <a:pt x="154" y="22"/>
                  </a:lnTo>
                  <a:lnTo>
                    <a:pt x="154" y="20"/>
                  </a:lnTo>
                  <a:lnTo>
                    <a:pt x="156" y="16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4" y="8"/>
                  </a:lnTo>
                  <a:lnTo>
                    <a:pt x="168" y="8"/>
                  </a:lnTo>
                  <a:lnTo>
                    <a:pt x="172" y="8"/>
                  </a:lnTo>
                  <a:lnTo>
                    <a:pt x="176" y="8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2" y="4"/>
                  </a:lnTo>
                  <a:lnTo>
                    <a:pt x="182" y="8"/>
                  </a:lnTo>
                  <a:lnTo>
                    <a:pt x="186" y="8"/>
                  </a:lnTo>
                  <a:lnTo>
                    <a:pt x="190" y="8"/>
                  </a:lnTo>
                  <a:lnTo>
                    <a:pt x="194" y="8"/>
                  </a:lnTo>
                  <a:lnTo>
                    <a:pt x="194" y="12"/>
                  </a:lnTo>
                  <a:lnTo>
                    <a:pt x="198" y="12"/>
                  </a:lnTo>
                  <a:lnTo>
                    <a:pt x="198" y="16"/>
                  </a:lnTo>
                  <a:lnTo>
                    <a:pt x="198" y="20"/>
                  </a:lnTo>
                  <a:lnTo>
                    <a:pt x="202" y="20"/>
                  </a:lnTo>
                  <a:lnTo>
                    <a:pt x="206" y="20"/>
                  </a:lnTo>
                  <a:lnTo>
                    <a:pt x="210" y="20"/>
                  </a:lnTo>
                  <a:lnTo>
                    <a:pt x="210" y="22"/>
                  </a:lnTo>
                  <a:lnTo>
                    <a:pt x="212" y="22"/>
                  </a:lnTo>
                  <a:lnTo>
                    <a:pt x="216" y="22"/>
                  </a:lnTo>
                  <a:lnTo>
                    <a:pt x="220" y="22"/>
                  </a:lnTo>
                  <a:lnTo>
                    <a:pt x="224" y="22"/>
                  </a:lnTo>
                  <a:lnTo>
                    <a:pt x="224" y="26"/>
                  </a:lnTo>
                  <a:lnTo>
                    <a:pt x="224" y="30"/>
                  </a:lnTo>
                  <a:lnTo>
                    <a:pt x="224" y="34"/>
                  </a:lnTo>
                  <a:lnTo>
                    <a:pt x="220" y="34"/>
                  </a:lnTo>
                  <a:lnTo>
                    <a:pt x="220" y="38"/>
                  </a:lnTo>
                  <a:lnTo>
                    <a:pt x="224" y="42"/>
                  </a:lnTo>
                  <a:lnTo>
                    <a:pt x="224" y="46"/>
                  </a:lnTo>
                  <a:lnTo>
                    <a:pt x="224" y="50"/>
                  </a:lnTo>
                  <a:lnTo>
                    <a:pt x="220" y="52"/>
                  </a:lnTo>
                  <a:lnTo>
                    <a:pt x="220" y="56"/>
                  </a:lnTo>
                  <a:lnTo>
                    <a:pt x="220" y="60"/>
                  </a:lnTo>
                  <a:lnTo>
                    <a:pt x="220" y="64"/>
                  </a:lnTo>
                  <a:lnTo>
                    <a:pt x="220" y="68"/>
                  </a:lnTo>
                  <a:lnTo>
                    <a:pt x="224" y="72"/>
                  </a:lnTo>
                  <a:lnTo>
                    <a:pt x="224" y="76"/>
                  </a:lnTo>
                  <a:lnTo>
                    <a:pt x="224" y="78"/>
                  </a:lnTo>
                  <a:lnTo>
                    <a:pt x="224" y="90"/>
                  </a:lnTo>
                  <a:lnTo>
                    <a:pt x="224" y="94"/>
                  </a:lnTo>
                  <a:lnTo>
                    <a:pt x="224" y="98"/>
                  </a:lnTo>
                  <a:lnTo>
                    <a:pt x="224" y="102"/>
                  </a:lnTo>
                  <a:lnTo>
                    <a:pt x="224" y="106"/>
                  </a:lnTo>
                  <a:lnTo>
                    <a:pt x="224" y="112"/>
                  </a:lnTo>
                  <a:lnTo>
                    <a:pt x="224" y="116"/>
                  </a:lnTo>
                  <a:lnTo>
                    <a:pt x="224" y="120"/>
                  </a:lnTo>
                  <a:lnTo>
                    <a:pt x="224" y="124"/>
                  </a:lnTo>
                  <a:lnTo>
                    <a:pt x="224" y="132"/>
                  </a:lnTo>
                  <a:lnTo>
                    <a:pt x="224" y="142"/>
                  </a:lnTo>
                  <a:lnTo>
                    <a:pt x="224" y="150"/>
                  </a:lnTo>
                  <a:lnTo>
                    <a:pt x="224" y="154"/>
                  </a:lnTo>
                  <a:lnTo>
                    <a:pt x="224" y="162"/>
                  </a:lnTo>
                  <a:lnTo>
                    <a:pt x="224" y="168"/>
                  </a:lnTo>
                  <a:lnTo>
                    <a:pt x="224" y="176"/>
                  </a:lnTo>
                  <a:lnTo>
                    <a:pt x="224" y="198"/>
                  </a:lnTo>
                  <a:lnTo>
                    <a:pt x="224" y="202"/>
                  </a:lnTo>
                  <a:lnTo>
                    <a:pt x="224" y="222"/>
                  </a:lnTo>
                  <a:lnTo>
                    <a:pt x="224" y="238"/>
                  </a:lnTo>
                  <a:lnTo>
                    <a:pt x="220" y="238"/>
                  </a:lnTo>
                  <a:lnTo>
                    <a:pt x="216" y="238"/>
                  </a:lnTo>
                  <a:lnTo>
                    <a:pt x="212" y="238"/>
                  </a:lnTo>
                  <a:lnTo>
                    <a:pt x="210" y="238"/>
                  </a:lnTo>
                  <a:lnTo>
                    <a:pt x="210" y="246"/>
                  </a:lnTo>
                  <a:lnTo>
                    <a:pt x="202" y="242"/>
                  </a:lnTo>
                  <a:lnTo>
                    <a:pt x="194" y="238"/>
                  </a:lnTo>
                  <a:lnTo>
                    <a:pt x="186" y="232"/>
                  </a:lnTo>
                  <a:lnTo>
                    <a:pt x="180" y="228"/>
                  </a:lnTo>
                  <a:lnTo>
                    <a:pt x="172" y="224"/>
                  </a:lnTo>
                  <a:lnTo>
                    <a:pt x="168" y="222"/>
                  </a:lnTo>
                  <a:lnTo>
                    <a:pt x="156" y="218"/>
                  </a:lnTo>
                  <a:lnTo>
                    <a:pt x="150" y="210"/>
                  </a:lnTo>
                  <a:lnTo>
                    <a:pt x="142" y="206"/>
                  </a:lnTo>
                  <a:lnTo>
                    <a:pt x="138" y="202"/>
                  </a:lnTo>
                  <a:lnTo>
                    <a:pt x="134" y="202"/>
                  </a:lnTo>
                  <a:lnTo>
                    <a:pt x="130" y="198"/>
                  </a:lnTo>
                  <a:lnTo>
                    <a:pt x="124" y="194"/>
                  </a:lnTo>
                  <a:lnTo>
                    <a:pt x="120" y="192"/>
                  </a:lnTo>
                  <a:lnTo>
                    <a:pt x="108" y="188"/>
                  </a:lnTo>
                  <a:lnTo>
                    <a:pt x="100" y="180"/>
                  </a:lnTo>
                  <a:lnTo>
                    <a:pt x="98" y="180"/>
                  </a:lnTo>
                  <a:lnTo>
                    <a:pt x="86" y="184"/>
                  </a:lnTo>
                  <a:lnTo>
                    <a:pt x="82" y="184"/>
                  </a:lnTo>
                  <a:lnTo>
                    <a:pt x="82" y="188"/>
                  </a:lnTo>
                  <a:lnTo>
                    <a:pt x="78" y="188"/>
                  </a:lnTo>
                  <a:lnTo>
                    <a:pt x="74" y="192"/>
                  </a:lnTo>
                  <a:lnTo>
                    <a:pt x="72" y="192"/>
                  </a:lnTo>
                  <a:lnTo>
                    <a:pt x="72" y="194"/>
                  </a:lnTo>
                  <a:lnTo>
                    <a:pt x="68" y="188"/>
                  </a:lnTo>
                  <a:lnTo>
                    <a:pt x="64" y="184"/>
                  </a:lnTo>
                  <a:lnTo>
                    <a:pt x="60" y="184"/>
                  </a:lnTo>
                  <a:lnTo>
                    <a:pt x="56" y="180"/>
                  </a:lnTo>
                  <a:lnTo>
                    <a:pt x="52" y="180"/>
                  </a:lnTo>
                  <a:lnTo>
                    <a:pt x="48" y="180"/>
                  </a:lnTo>
                  <a:lnTo>
                    <a:pt x="44" y="180"/>
                  </a:lnTo>
                  <a:lnTo>
                    <a:pt x="42" y="176"/>
                  </a:lnTo>
                  <a:lnTo>
                    <a:pt x="38" y="176"/>
                  </a:lnTo>
                  <a:lnTo>
                    <a:pt x="38" y="168"/>
                  </a:lnTo>
                  <a:lnTo>
                    <a:pt x="34" y="162"/>
                  </a:lnTo>
                  <a:lnTo>
                    <a:pt x="30" y="162"/>
                  </a:lnTo>
                  <a:lnTo>
                    <a:pt x="26" y="162"/>
                  </a:lnTo>
                  <a:lnTo>
                    <a:pt x="22" y="158"/>
                  </a:lnTo>
                  <a:lnTo>
                    <a:pt x="18" y="158"/>
                  </a:lnTo>
                  <a:lnTo>
                    <a:pt x="18" y="162"/>
                  </a:lnTo>
                  <a:lnTo>
                    <a:pt x="16" y="158"/>
                  </a:lnTo>
                  <a:lnTo>
                    <a:pt x="16" y="154"/>
                  </a:lnTo>
                  <a:lnTo>
                    <a:pt x="12" y="154"/>
                  </a:lnTo>
                  <a:lnTo>
                    <a:pt x="12" y="150"/>
                  </a:lnTo>
                  <a:lnTo>
                    <a:pt x="12" y="146"/>
                  </a:lnTo>
                  <a:lnTo>
                    <a:pt x="12" y="142"/>
                  </a:lnTo>
                  <a:lnTo>
                    <a:pt x="8" y="138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8" y="124"/>
                  </a:lnTo>
                  <a:lnTo>
                    <a:pt x="12" y="120"/>
                  </a:lnTo>
                  <a:lnTo>
                    <a:pt x="12" y="116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8" y="108"/>
                  </a:lnTo>
                  <a:lnTo>
                    <a:pt x="8" y="106"/>
                  </a:lnTo>
                  <a:lnTo>
                    <a:pt x="12" y="102"/>
                  </a:lnTo>
                  <a:lnTo>
                    <a:pt x="12" y="98"/>
                  </a:lnTo>
                  <a:lnTo>
                    <a:pt x="8" y="94"/>
                  </a:lnTo>
                  <a:lnTo>
                    <a:pt x="8" y="90"/>
                  </a:lnTo>
                  <a:lnTo>
                    <a:pt x="8" y="86"/>
                  </a:lnTo>
                  <a:lnTo>
                    <a:pt x="8" y="82"/>
                  </a:lnTo>
                  <a:lnTo>
                    <a:pt x="8" y="78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0"/>
                  </a:lnTo>
                  <a:lnTo>
                    <a:pt x="16" y="46"/>
                  </a:lnTo>
                  <a:lnTo>
                    <a:pt x="16" y="42"/>
                  </a:lnTo>
                  <a:lnTo>
                    <a:pt x="16" y="38"/>
                  </a:lnTo>
                  <a:lnTo>
                    <a:pt x="16" y="34"/>
                  </a:lnTo>
                  <a:lnTo>
                    <a:pt x="12" y="34"/>
                  </a:lnTo>
                  <a:lnTo>
                    <a:pt x="12" y="30"/>
                  </a:lnTo>
                  <a:lnTo>
                    <a:pt x="16" y="26"/>
                  </a:lnTo>
                  <a:lnTo>
                    <a:pt x="18" y="26"/>
                  </a:lnTo>
                  <a:lnTo>
                    <a:pt x="22" y="22"/>
                  </a:lnTo>
                  <a:lnTo>
                    <a:pt x="22" y="20"/>
                  </a:lnTo>
                  <a:lnTo>
                    <a:pt x="26" y="20"/>
                  </a:lnTo>
                  <a:lnTo>
                    <a:pt x="30" y="16"/>
                  </a:lnTo>
                  <a:lnTo>
                    <a:pt x="34" y="16"/>
                  </a:lnTo>
                  <a:lnTo>
                    <a:pt x="34" y="12"/>
                  </a:lnTo>
                  <a:lnTo>
                    <a:pt x="34" y="8"/>
                  </a:lnTo>
                  <a:lnTo>
                    <a:pt x="34" y="4"/>
                  </a:lnTo>
                  <a:lnTo>
                    <a:pt x="34" y="0"/>
                  </a:lnTo>
                  <a:lnTo>
                    <a:pt x="34" y="4"/>
                  </a:lnTo>
                  <a:lnTo>
                    <a:pt x="38" y="4"/>
                  </a:lnTo>
                  <a:lnTo>
                    <a:pt x="42" y="4"/>
                  </a:lnTo>
                  <a:lnTo>
                    <a:pt x="42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14" name="Freeform 154">
              <a:extLst>
                <a:ext uri="{FF2B5EF4-FFF2-40B4-BE49-F238E27FC236}">
                  <a16:creationId xmlns:a16="http://schemas.microsoft.com/office/drawing/2014/main" id="{FF1617EF-6721-14D0-01A6-3534F7DFE3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85440" y="4555781"/>
              <a:ext cx="202615" cy="456293"/>
            </a:xfrm>
            <a:custGeom>
              <a:avLst/>
              <a:gdLst>
                <a:gd name="T0" fmla="*/ 70 w 104"/>
                <a:gd name="T1" fmla="*/ 26 h 242"/>
                <a:gd name="T2" fmla="*/ 74 w 104"/>
                <a:gd name="T3" fmla="*/ 152 h 242"/>
                <a:gd name="T4" fmla="*/ 70 w 104"/>
                <a:gd name="T5" fmla="*/ 168 h 242"/>
                <a:gd name="T6" fmla="*/ 66 w 104"/>
                <a:gd name="T7" fmla="*/ 182 h 242"/>
                <a:gd name="T8" fmla="*/ 62 w 104"/>
                <a:gd name="T9" fmla="*/ 194 h 242"/>
                <a:gd name="T10" fmla="*/ 62 w 104"/>
                <a:gd name="T11" fmla="*/ 208 h 242"/>
                <a:gd name="T12" fmla="*/ 60 w 104"/>
                <a:gd name="T13" fmla="*/ 220 h 242"/>
                <a:gd name="T14" fmla="*/ 52 w 104"/>
                <a:gd name="T15" fmla="*/ 232 h 242"/>
                <a:gd name="T16" fmla="*/ 36 w 104"/>
                <a:gd name="T17" fmla="*/ 236 h 242"/>
                <a:gd name="T18" fmla="*/ 30 w 104"/>
                <a:gd name="T19" fmla="*/ 242 h 242"/>
                <a:gd name="T20" fmla="*/ 22 w 104"/>
                <a:gd name="T21" fmla="*/ 236 h 242"/>
                <a:gd name="T22" fmla="*/ 14 w 104"/>
                <a:gd name="T23" fmla="*/ 236 h 242"/>
                <a:gd name="T24" fmla="*/ 10 w 104"/>
                <a:gd name="T25" fmla="*/ 224 h 242"/>
                <a:gd name="T26" fmla="*/ 6 w 104"/>
                <a:gd name="T27" fmla="*/ 208 h 242"/>
                <a:gd name="T28" fmla="*/ 2 w 104"/>
                <a:gd name="T29" fmla="*/ 198 h 242"/>
                <a:gd name="T30" fmla="*/ 0 w 104"/>
                <a:gd name="T31" fmla="*/ 186 h 242"/>
                <a:gd name="T32" fmla="*/ 0 w 104"/>
                <a:gd name="T33" fmla="*/ 172 h 242"/>
                <a:gd name="T34" fmla="*/ 6 w 104"/>
                <a:gd name="T35" fmla="*/ 164 h 242"/>
                <a:gd name="T36" fmla="*/ 10 w 104"/>
                <a:gd name="T37" fmla="*/ 152 h 242"/>
                <a:gd name="T38" fmla="*/ 18 w 104"/>
                <a:gd name="T39" fmla="*/ 138 h 242"/>
                <a:gd name="T40" fmla="*/ 14 w 104"/>
                <a:gd name="T41" fmla="*/ 130 h 242"/>
                <a:gd name="T42" fmla="*/ 14 w 104"/>
                <a:gd name="T43" fmla="*/ 116 h 242"/>
                <a:gd name="T44" fmla="*/ 10 w 104"/>
                <a:gd name="T45" fmla="*/ 104 h 242"/>
                <a:gd name="T46" fmla="*/ 14 w 104"/>
                <a:gd name="T47" fmla="*/ 94 h 242"/>
                <a:gd name="T48" fmla="*/ 18 w 104"/>
                <a:gd name="T49" fmla="*/ 82 h 242"/>
                <a:gd name="T50" fmla="*/ 22 w 104"/>
                <a:gd name="T51" fmla="*/ 74 h 242"/>
                <a:gd name="T52" fmla="*/ 30 w 104"/>
                <a:gd name="T53" fmla="*/ 74 h 242"/>
                <a:gd name="T54" fmla="*/ 32 w 104"/>
                <a:gd name="T55" fmla="*/ 70 h 242"/>
                <a:gd name="T56" fmla="*/ 40 w 104"/>
                <a:gd name="T57" fmla="*/ 70 h 242"/>
                <a:gd name="T58" fmla="*/ 44 w 104"/>
                <a:gd name="T59" fmla="*/ 70 h 242"/>
                <a:gd name="T60" fmla="*/ 48 w 104"/>
                <a:gd name="T61" fmla="*/ 60 h 242"/>
                <a:gd name="T62" fmla="*/ 52 w 104"/>
                <a:gd name="T63" fmla="*/ 64 h 242"/>
                <a:gd name="T64" fmla="*/ 60 w 104"/>
                <a:gd name="T65" fmla="*/ 52 h 242"/>
                <a:gd name="T66" fmla="*/ 60 w 104"/>
                <a:gd name="T67" fmla="*/ 52 h 242"/>
                <a:gd name="T68" fmla="*/ 66 w 104"/>
                <a:gd name="T69" fmla="*/ 48 h 242"/>
                <a:gd name="T70" fmla="*/ 62 w 104"/>
                <a:gd name="T71" fmla="*/ 44 h 242"/>
                <a:gd name="T72" fmla="*/ 66 w 104"/>
                <a:gd name="T73" fmla="*/ 40 h 242"/>
                <a:gd name="T74" fmla="*/ 70 w 104"/>
                <a:gd name="T75" fmla="*/ 30 h 242"/>
                <a:gd name="T76" fmla="*/ 74 w 104"/>
                <a:gd name="T77" fmla="*/ 30 h 242"/>
                <a:gd name="T78" fmla="*/ 78 w 104"/>
                <a:gd name="T79" fmla="*/ 18 h 242"/>
                <a:gd name="T80" fmla="*/ 82 w 104"/>
                <a:gd name="T81" fmla="*/ 10 h 242"/>
                <a:gd name="T82" fmla="*/ 82 w 104"/>
                <a:gd name="T83" fmla="*/ 4 h 242"/>
                <a:gd name="T84" fmla="*/ 86 w 104"/>
                <a:gd name="T85" fmla="*/ 8 h 242"/>
                <a:gd name="T86" fmla="*/ 88 w 104"/>
                <a:gd name="T87" fmla="*/ 10 h 242"/>
                <a:gd name="T88" fmla="*/ 96 w 104"/>
                <a:gd name="T89" fmla="*/ 18 h 242"/>
                <a:gd name="T90" fmla="*/ 96 w 104"/>
                <a:gd name="T91" fmla="*/ 26 h 242"/>
                <a:gd name="T92" fmla="*/ 96 w 104"/>
                <a:gd name="T93" fmla="*/ 40 h 242"/>
                <a:gd name="T94" fmla="*/ 100 w 104"/>
                <a:gd name="T95" fmla="*/ 48 h 242"/>
                <a:gd name="T96" fmla="*/ 100 w 104"/>
                <a:gd name="T97" fmla="*/ 64 h 242"/>
                <a:gd name="T98" fmla="*/ 96 w 104"/>
                <a:gd name="T99" fmla="*/ 66 h 242"/>
                <a:gd name="T100" fmla="*/ 92 w 104"/>
                <a:gd name="T101" fmla="*/ 66 h 242"/>
                <a:gd name="T102" fmla="*/ 92 w 104"/>
                <a:gd name="T103" fmla="*/ 82 h 242"/>
                <a:gd name="T104" fmla="*/ 88 w 104"/>
                <a:gd name="T105" fmla="*/ 94 h 242"/>
                <a:gd name="T106" fmla="*/ 88 w 104"/>
                <a:gd name="T107" fmla="*/ 108 h 242"/>
                <a:gd name="T108" fmla="*/ 86 w 104"/>
                <a:gd name="T109" fmla="*/ 122 h 242"/>
                <a:gd name="T110" fmla="*/ 82 w 104"/>
                <a:gd name="T111" fmla="*/ 134 h 242"/>
                <a:gd name="T112" fmla="*/ 78 w 104"/>
                <a:gd name="T113" fmla="*/ 146 h 242"/>
                <a:gd name="T114" fmla="*/ 74 w 104"/>
                <a:gd name="T115" fmla="*/ 150 h 242"/>
                <a:gd name="T116" fmla="*/ 96 w 104"/>
                <a:gd name="T117" fmla="*/ 9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4" h="242">
                  <a:moveTo>
                    <a:pt x="70" y="26"/>
                  </a:moveTo>
                  <a:lnTo>
                    <a:pt x="70" y="22"/>
                  </a:lnTo>
                  <a:lnTo>
                    <a:pt x="74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0" y="26"/>
                  </a:lnTo>
                  <a:close/>
                  <a:moveTo>
                    <a:pt x="74" y="150"/>
                  </a:moveTo>
                  <a:lnTo>
                    <a:pt x="74" y="152"/>
                  </a:lnTo>
                  <a:lnTo>
                    <a:pt x="74" y="156"/>
                  </a:lnTo>
                  <a:lnTo>
                    <a:pt x="74" y="160"/>
                  </a:lnTo>
                  <a:lnTo>
                    <a:pt x="74" y="164"/>
                  </a:lnTo>
                  <a:lnTo>
                    <a:pt x="70" y="168"/>
                  </a:lnTo>
                  <a:lnTo>
                    <a:pt x="70" y="172"/>
                  </a:lnTo>
                  <a:lnTo>
                    <a:pt x="70" y="176"/>
                  </a:lnTo>
                  <a:lnTo>
                    <a:pt x="66" y="180"/>
                  </a:lnTo>
                  <a:lnTo>
                    <a:pt x="66" y="182"/>
                  </a:lnTo>
                  <a:lnTo>
                    <a:pt x="66" y="186"/>
                  </a:lnTo>
                  <a:lnTo>
                    <a:pt x="66" y="190"/>
                  </a:lnTo>
                  <a:lnTo>
                    <a:pt x="66" y="194"/>
                  </a:lnTo>
                  <a:lnTo>
                    <a:pt x="62" y="194"/>
                  </a:lnTo>
                  <a:lnTo>
                    <a:pt x="62" y="198"/>
                  </a:lnTo>
                  <a:lnTo>
                    <a:pt x="62" y="202"/>
                  </a:lnTo>
                  <a:lnTo>
                    <a:pt x="62" y="206"/>
                  </a:lnTo>
                  <a:lnTo>
                    <a:pt x="62" y="208"/>
                  </a:lnTo>
                  <a:lnTo>
                    <a:pt x="60" y="208"/>
                  </a:lnTo>
                  <a:lnTo>
                    <a:pt x="60" y="212"/>
                  </a:lnTo>
                  <a:lnTo>
                    <a:pt x="60" y="216"/>
                  </a:lnTo>
                  <a:lnTo>
                    <a:pt x="60" y="220"/>
                  </a:lnTo>
                  <a:lnTo>
                    <a:pt x="56" y="224"/>
                  </a:lnTo>
                  <a:lnTo>
                    <a:pt x="56" y="228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48" y="236"/>
                  </a:lnTo>
                  <a:lnTo>
                    <a:pt x="44" y="236"/>
                  </a:lnTo>
                  <a:lnTo>
                    <a:pt x="40" y="236"/>
                  </a:lnTo>
                  <a:lnTo>
                    <a:pt x="36" y="236"/>
                  </a:lnTo>
                  <a:lnTo>
                    <a:pt x="36" y="238"/>
                  </a:lnTo>
                  <a:lnTo>
                    <a:pt x="32" y="238"/>
                  </a:lnTo>
                  <a:lnTo>
                    <a:pt x="32" y="242"/>
                  </a:lnTo>
                  <a:lnTo>
                    <a:pt x="30" y="242"/>
                  </a:lnTo>
                  <a:lnTo>
                    <a:pt x="26" y="242"/>
                  </a:lnTo>
                  <a:lnTo>
                    <a:pt x="26" y="238"/>
                  </a:lnTo>
                  <a:lnTo>
                    <a:pt x="22" y="238"/>
                  </a:lnTo>
                  <a:lnTo>
                    <a:pt x="22" y="236"/>
                  </a:lnTo>
                  <a:lnTo>
                    <a:pt x="18" y="236"/>
                  </a:lnTo>
                  <a:lnTo>
                    <a:pt x="14" y="236"/>
                  </a:lnTo>
                  <a:lnTo>
                    <a:pt x="18" y="236"/>
                  </a:lnTo>
                  <a:lnTo>
                    <a:pt x="14" y="236"/>
                  </a:lnTo>
                  <a:lnTo>
                    <a:pt x="14" y="232"/>
                  </a:lnTo>
                  <a:lnTo>
                    <a:pt x="10" y="232"/>
                  </a:lnTo>
                  <a:lnTo>
                    <a:pt x="10" y="228"/>
                  </a:lnTo>
                  <a:lnTo>
                    <a:pt x="10" y="224"/>
                  </a:lnTo>
                  <a:lnTo>
                    <a:pt x="6" y="220"/>
                  </a:lnTo>
                  <a:lnTo>
                    <a:pt x="6" y="216"/>
                  </a:lnTo>
                  <a:lnTo>
                    <a:pt x="6" y="212"/>
                  </a:lnTo>
                  <a:lnTo>
                    <a:pt x="6" y="208"/>
                  </a:lnTo>
                  <a:lnTo>
                    <a:pt x="6" y="206"/>
                  </a:lnTo>
                  <a:lnTo>
                    <a:pt x="6" y="202"/>
                  </a:lnTo>
                  <a:lnTo>
                    <a:pt x="2" y="202"/>
                  </a:lnTo>
                  <a:lnTo>
                    <a:pt x="2" y="198"/>
                  </a:lnTo>
                  <a:lnTo>
                    <a:pt x="2" y="194"/>
                  </a:lnTo>
                  <a:lnTo>
                    <a:pt x="2" y="190"/>
                  </a:lnTo>
                  <a:lnTo>
                    <a:pt x="0" y="190"/>
                  </a:lnTo>
                  <a:lnTo>
                    <a:pt x="0" y="186"/>
                  </a:lnTo>
                  <a:lnTo>
                    <a:pt x="0" y="182"/>
                  </a:lnTo>
                  <a:lnTo>
                    <a:pt x="0" y="180"/>
                  </a:lnTo>
                  <a:lnTo>
                    <a:pt x="0" y="176"/>
                  </a:lnTo>
                  <a:lnTo>
                    <a:pt x="0" y="172"/>
                  </a:lnTo>
                  <a:lnTo>
                    <a:pt x="2" y="172"/>
                  </a:lnTo>
                  <a:lnTo>
                    <a:pt x="2" y="168"/>
                  </a:lnTo>
                  <a:lnTo>
                    <a:pt x="2" y="164"/>
                  </a:lnTo>
                  <a:lnTo>
                    <a:pt x="6" y="164"/>
                  </a:lnTo>
                  <a:lnTo>
                    <a:pt x="6" y="160"/>
                  </a:lnTo>
                  <a:lnTo>
                    <a:pt x="10" y="160"/>
                  </a:lnTo>
                  <a:lnTo>
                    <a:pt x="10" y="156"/>
                  </a:lnTo>
                  <a:lnTo>
                    <a:pt x="10" y="152"/>
                  </a:lnTo>
                  <a:lnTo>
                    <a:pt x="14" y="150"/>
                  </a:lnTo>
                  <a:lnTo>
                    <a:pt x="14" y="146"/>
                  </a:lnTo>
                  <a:lnTo>
                    <a:pt x="18" y="142"/>
                  </a:lnTo>
                  <a:lnTo>
                    <a:pt x="18" y="138"/>
                  </a:lnTo>
                  <a:lnTo>
                    <a:pt x="14" y="138"/>
                  </a:lnTo>
                  <a:lnTo>
                    <a:pt x="18" y="134"/>
                  </a:lnTo>
                  <a:lnTo>
                    <a:pt x="18" y="130"/>
                  </a:lnTo>
                  <a:lnTo>
                    <a:pt x="14" y="130"/>
                  </a:lnTo>
                  <a:lnTo>
                    <a:pt x="14" y="126"/>
                  </a:lnTo>
                  <a:lnTo>
                    <a:pt x="14" y="122"/>
                  </a:lnTo>
                  <a:lnTo>
                    <a:pt x="14" y="120"/>
                  </a:lnTo>
                  <a:lnTo>
                    <a:pt x="14" y="116"/>
                  </a:lnTo>
                  <a:lnTo>
                    <a:pt x="10" y="116"/>
                  </a:lnTo>
                  <a:lnTo>
                    <a:pt x="10" y="112"/>
                  </a:lnTo>
                  <a:lnTo>
                    <a:pt x="10" y="108"/>
                  </a:lnTo>
                  <a:lnTo>
                    <a:pt x="10" y="104"/>
                  </a:lnTo>
                  <a:lnTo>
                    <a:pt x="10" y="100"/>
                  </a:lnTo>
                  <a:lnTo>
                    <a:pt x="10" y="96"/>
                  </a:lnTo>
                  <a:lnTo>
                    <a:pt x="10" y="94"/>
                  </a:lnTo>
                  <a:lnTo>
                    <a:pt x="14" y="94"/>
                  </a:lnTo>
                  <a:lnTo>
                    <a:pt x="14" y="90"/>
                  </a:lnTo>
                  <a:lnTo>
                    <a:pt x="14" y="86"/>
                  </a:lnTo>
                  <a:lnTo>
                    <a:pt x="18" y="86"/>
                  </a:lnTo>
                  <a:lnTo>
                    <a:pt x="18" y="82"/>
                  </a:lnTo>
                  <a:lnTo>
                    <a:pt x="18" y="78"/>
                  </a:lnTo>
                  <a:lnTo>
                    <a:pt x="14" y="78"/>
                  </a:lnTo>
                  <a:lnTo>
                    <a:pt x="18" y="74"/>
                  </a:lnTo>
                  <a:lnTo>
                    <a:pt x="22" y="74"/>
                  </a:lnTo>
                  <a:lnTo>
                    <a:pt x="26" y="74"/>
                  </a:lnTo>
                  <a:lnTo>
                    <a:pt x="26" y="70"/>
                  </a:lnTo>
                  <a:lnTo>
                    <a:pt x="30" y="70"/>
                  </a:lnTo>
                  <a:lnTo>
                    <a:pt x="30" y="74"/>
                  </a:lnTo>
                  <a:lnTo>
                    <a:pt x="30" y="70"/>
                  </a:lnTo>
                  <a:lnTo>
                    <a:pt x="32" y="70"/>
                  </a:lnTo>
                  <a:lnTo>
                    <a:pt x="32" y="74"/>
                  </a:lnTo>
                  <a:lnTo>
                    <a:pt x="32" y="70"/>
                  </a:lnTo>
                  <a:lnTo>
                    <a:pt x="32" y="66"/>
                  </a:lnTo>
                  <a:lnTo>
                    <a:pt x="36" y="66"/>
                  </a:lnTo>
                  <a:lnTo>
                    <a:pt x="36" y="70"/>
                  </a:lnTo>
                  <a:lnTo>
                    <a:pt x="40" y="70"/>
                  </a:lnTo>
                  <a:lnTo>
                    <a:pt x="40" y="66"/>
                  </a:lnTo>
                  <a:lnTo>
                    <a:pt x="44" y="66"/>
                  </a:lnTo>
                  <a:lnTo>
                    <a:pt x="40" y="66"/>
                  </a:lnTo>
                  <a:lnTo>
                    <a:pt x="44" y="70"/>
                  </a:lnTo>
                  <a:lnTo>
                    <a:pt x="44" y="66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56" y="60"/>
                  </a:lnTo>
                  <a:lnTo>
                    <a:pt x="56" y="56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2" y="52"/>
                  </a:lnTo>
                  <a:lnTo>
                    <a:pt x="62" y="48"/>
                  </a:lnTo>
                  <a:lnTo>
                    <a:pt x="66" y="48"/>
                  </a:lnTo>
                  <a:lnTo>
                    <a:pt x="66" y="52"/>
                  </a:lnTo>
                  <a:lnTo>
                    <a:pt x="66" y="48"/>
                  </a:lnTo>
                  <a:lnTo>
                    <a:pt x="62" y="48"/>
                  </a:lnTo>
                  <a:lnTo>
                    <a:pt x="62" y="44"/>
                  </a:lnTo>
                  <a:lnTo>
                    <a:pt x="62" y="40"/>
                  </a:lnTo>
                  <a:lnTo>
                    <a:pt x="66" y="40"/>
                  </a:lnTo>
                  <a:lnTo>
                    <a:pt x="66" y="38"/>
                  </a:lnTo>
                  <a:lnTo>
                    <a:pt x="66" y="40"/>
                  </a:lnTo>
                  <a:lnTo>
                    <a:pt x="66" y="38"/>
                  </a:lnTo>
                  <a:lnTo>
                    <a:pt x="66" y="34"/>
                  </a:lnTo>
                  <a:lnTo>
                    <a:pt x="66" y="30"/>
                  </a:lnTo>
                  <a:lnTo>
                    <a:pt x="70" y="30"/>
                  </a:lnTo>
                  <a:lnTo>
                    <a:pt x="70" y="34"/>
                  </a:lnTo>
                  <a:lnTo>
                    <a:pt x="74" y="30"/>
                  </a:lnTo>
                  <a:lnTo>
                    <a:pt x="70" y="30"/>
                  </a:lnTo>
                  <a:lnTo>
                    <a:pt x="74" y="30"/>
                  </a:lnTo>
                  <a:lnTo>
                    <a:pt x="74" y="26"/>
                  </a:lnTo>
                  <a:lnTo>
                    <a:pt x="78" y="26"/>
                  </a:lnTo>
                  <a:lnTo>
                    <a:pt x="78" y="22"/>
                  </a:lnTo>
                  <a:lnTo>
                    <a:pt x="78" y="18"/>
                  </a:lnTo>
                  <a:lnTo>
                    <a:pt x="82" y="18"/>
                  </a:lnTo>
                  <a:lnTo>
                    <a:pt x="82" y="14"/>
                  </a:lnTo>
                  <a:lnTo>
                    <a:pt x="78" y="10"/>
                  </a:lnTo>
                  <a:lnTo>
                    <a:pt x="82" y="10"/>
                  </a:lnTo>
                  <a:lnTo>
                    <a:pt x="82" y="8"/>
                  </a:lnTo>
                  <a:lnTo>
                    <a:pt x="86" y="8"/>
                  </a:lnTo>
                  <a:lnTo>
                    <a:pt x="86" y="4"/>
                  </a:lnTo>
                  <a:lnTo>
                    <a:pt x="82" y="4"/>
                  </a:lnTo>
                  <a:lnTo>
                    <a:pt x="86" y="4"/>
                  </a:lnTo>
                  <a:lnTo>
                    <a:pt x="86" y="0"/>
                  </a:lnTo>
                  <a:lnTo>
                    <a:pt x="86" y="4"/>
                  </a:lnTo>
                  <a:lnTo>
                    <a:pt x="86" y="8"/>
                  </a:lnTo>
                  <a:lnTo>
                    <a:pt x="86" y="4"/>
                  </a:lnTo>
                  <a:lnTo>
                    <a:pt x="86" y="8"/>
                  </a:lnTo>
                  <a:lnTo>
                    <a:pt x="88" y="8"/>
                  </a:lnTo>
                  <a:lnTo>
                    <a:pt x="88" y="10"/>
                  </a:lnTo>
                  <a:lnTo>
                    <a:pt x="88" y="14"/>
                  </a:lnTo>
                  <a:lnTo>
                    <a:pt x="92" y="14"/>
                  </a:lnTo>
                  <a:lnTo>
                    <a:pt x="92" y="18"/>
                  </a:lnTo>
                  <a:lnTo>
                    <a:pt x="96" y="18"/>
                  </a:lnTo>
                  <a:lnTo>
                    <a:pt x="96" y="22"/>
                  </a:lnTo>
                  <a:lnTo>
                    <a:pt x="92" y="22"/>
                  </a:lnTo>
                  <a:lnTo>
                    <a:pt x="96" y="22"/>
                  </a:lnTo>
                  <a:lnTo>
                    <a:pt x="96" y="26"/>
                  </a:lnTo>
                  <a:lnTo>
                    <a:pt x="96" y="30"/>
                  </a:lnTo>
                  <a:lnTo>
                    <a:pt x="96" y="34"/>
                  </a:lnTo>
                  <a:lnTo>
                    <a:pt x="96" y="38"/>
                  </a:lnTo>
                  <a:lnTo>
                    <a:pt x="96" y="40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96" y="44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100" y="56"/>
                  </a:lnTo>
                  <a:lnTo>
                    <a:pt x="104" y="60"/>
                  </a:lnTo>
                  <a:lnTo>
                    <a:pt x="100" y="64"/>
                  </a:lnTo>
                  <a:lnTo>
                    <a:pt x="100" y="66"/>
                  </a:lnTo>
                  <a:lnTo>
                    <a:pt x="100" y="70"/>
                  </a:lnTo>
                  <a:lnTo>
                    <a:pt x="96" y="70"/>
                  </a:lnTo>
                  <a:lnTo>
                    <a:pt x="96" y="66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6"/>
                  </a:lnTo>
                  <a:lnTo>
                    <a:pt x="92" y="66"/>
                  </a:lnTo>
                  <a:lnTo>
                    <a:pt x="92" y="70"/>
                  </a:lnTo>
                  <a:lnTo>
                    <a:pt x="92" y="74"/>
                  </a:lnTo>
                  <a:lnTo>
                    <a:pt x="92" y="78"/>
                  </a:lnTo>
                  <a:lnTo>
                    <a:pt x="92" y="82"/>
                  </a:lnTo>
                  <a:lnTo>
                    <a:pt x="92" y="86"/>
                  </a:lnTo>
                  <a:lnTo>
                    <a:pt x="88" y="86"/>
                  </a:lnTo>
                  <a:lnTo>
                    <a:pt x="88" y="90"/>
                  </a:lnTo>
                  <a:lnTo>
                    <a:pt x="88" y="94"/>
                  </a:lnTo>
                  <a:lnTo>
                    <a:pt x="88" y="96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8" y="108"/>
                  </a:lnTo>
                  <a:lnTo>
                    <a:pt x="86" y="112"/>
                  </a:lnTo>
                  <a:lnTo>
                    <a:pt x="86" y="116"/>
                  </a:lnTo>
                  <a:lnTo>
                    <a:pt x="86" y="120"/>
                  </a:lnTo>
                  <a:lnTo>
                    <a:pt x="86" y="122"/>
                  </a:lnTo>
                  <a:lnTo>
                    <a:pt x="82" y="122"/>
                  </a:lnTo>
                  <a:lnTo>
                    <a:pt x="82" y="126"/>
                  </a:lnTo>
                  <a:lnTo>
                    <a:pt x="82" y="130"/>
                  </a:lnTo>
                  <a:lnTo>
                    <a:pt x="82" y="134"/>
                  </a:lnTo>
                  <a:lnTo>
                    <a:pt x="78" y="134"/>
                  </a:lnTo>
                  <a:lnTo>
                    <a:pt x="78" y="138"/>
                  </a:lnTo>
                  <a:lnTo>
                    <a:pt x="78" y="142"/>
                  </a:lnTo>
                  <a:lnTo>
                    <a:pt x="78" y="146"/>
                  </a:lnTo>
                  <a:lnTo>
                    <a:pt x="78" y="150"/>
                  </a:lnTo>
                  <a:lnTo>
                    <a:pt x="74" y="150"/>
                  </a:lnTo>
                  <a:lnTo>
                    <a:pt x="74" y="150"/>
                  </a:lnTo>
                  <a:lnTo>
                    <a:pt x="74" y="150"/>
                  </a:lnTo>
                  <a:close/>
                  <a:moveTo>
                    <a:pt x="92" y="90"/>
                  </a:moveTo>
                  <a:lnTo>
                    <a:pt x="92" y="86"/>
                  </a:lnTo>
                  <a:lnTo>
                    <a:pt x="96" y="86"/>
                  </a:lnTo>
                  <a:lnTo>
                    <a:pt x="96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15" name="Freeform 155">
              <a:extLst>
                <a:ext uri="{FF2B5EF4-FFF2-40B4-BE49-F238E27FC236}">
                  <a16:creationId xmlns:a16="http://schemas.microsoft.com/office/drawing/2014/main" id="{D376403B-EE05-F9E9-4E72-D7C8ECBF18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93207" y="4476590"/>
              <a:ext cx="85722" cy="252658"/>
            </a:xfrm>
            <a:custGeom>
              <a:avLst/>
              <a:gdLst>
                <a:gd name="T0" fmla="*/ 4 w 44"/>
                <a:gd name="T1" fmla="*/ 78 h 134"/>
                <a:gd name="T2" fmla="*/ 0 w 44"/>
                <a:gd name="T3" fmla="*/ 72 h 134"/>
                <a:gd name="T4" fmla="*/ 4 w 44"/>
                <a:gd name="T5" fmla="*/ 68 h 134"/>
                <a:gd name="T6" fmla="*/ 4 w 44"/>
                <a:gd name="T7" fmla="*/ 60 h 134"/>
                <a:gd name="T8" fmla="*/ 4 w 44"/>
                <a:gd name="T9" fmla="*/ 56 h 134"/>
                <a:gd name="T10" fmla="*/ 10 w 44"/>
                <a:gd name="T11" fmla="*/ 52 h 134"/>
                <a:gd name="T12" fmla="*/ 10 w 44"/>
                <a:gd name="T13" fmla="*/ 48 h 134"/>
                <a:gd name="T14" fmla="*/ 10 w 44"/>
                <a:gd name="T15" fmla="*/ 48 h 134"/>
                <a:gd name="T16" fmla="*/ 6 w 44"/>
                <a:gd name="T17" fmla="*/ 38 h 134"/>
                <a:gd name="T18" fmla="*/ 10 w 44"/>
                <a:gd name="T19" fmla="*/ 30 h 134"/>
                <a:gd name="T20" fmla="*/ 6 w 44"/>
                <a:gd name="T21" fmla="*/ 26 h 134"/>
                <a:gd name="T22" fmla="*/ 10 w 44"/>
                <a:gd name="T23" fmla="*/ 22 h 134"/>
                <a:gd name="T24" fmla="*/ 14 w 44"/>
                <a:gd name="T25" fmla="*/ 20 h 134"/>
                <a:gd name="T26" fmla="*/ 10 w 44"/>
                <a:gd name="T27" fmla="*/ 16 h 134"/>
                <a:gd name="T28" fmla="*/ 6 w 44"/>
                <a:gd name="T29" fmla="*/ 12 h 134"/>
                <a:gd name="T30" fmla="*/ 6 w 44"/>
                <a:gd name="T31" fmla="*/ 4 h 134"/>
                <a:gd name="T32" fmla="*/ 6 w 44"/>
                <a:gd name="T33" fmla="*/ 4 h 134"/>
                <a:gd name="T34" fmla="*/ 4 w 44"/>
                <a:gd name="T35" fmla="*/ 0 h 134"/>
                <a:gd name="T36" fmla="*/ 4 w 44"/>
                <a:gd name="T37" fmla="*/ 0 h 134"/>
                <a:gd name="T38" fmla="*/ 10 w 44"/>
                <a:gd name="T39" fmla="*/ 0 h 134"/>
                <a:gd name="T40" fmla="*/ 14 w 44"/>
                <a:gd name="T41" fmla="*/ 4 h 134"/>
                <a:gd name="T42" fmla="*/ 18 w 44"/>
                <a:gd name="T43" fmla="*/ 4 h 134"/>
                <a:gd name="T44" fmla="*/ 18 w 44"/>
                <a:gd name="T45" fmla="*/ 0 h 134"/>
                <a:gd name="T46" fmla="*/ 26 w 44"/>
                <a:gd name="T47" fmla="*/ 8 h 134"/>
                <a:gd name="T48" fmla="*/ 26 w 44"/>
                <a:gd name="T49" fmla="*/ 16 h 134"/>
                <a:gd name="T50" fmla="*/ 26 w 44"/>
                <a:gd name="T51" fmla="*/ 20 h 134"/>
                <a:gd name="T52" fmla="*/ 26 w 44"/>
                <a:gd name="T53" fmla="*/ 26 h 134"/>
                <a:gd name="T54" fmla="*/ 30 w 44"/>
                <a:gd name="T55" fmla="*/ 30 h 134"/>
                <a:gd name="T56" fmla="*/ 34 w 44"/>
                <a:gd name="T57" fmla="*/ 38 h 134"/>
                <a:gd name="T58" fmla="*/ 26 w 44"/>
                <a:gd name="T59" fmla="*/ 38 h 134"/>
                <a:gd name="T60" fmla="*/ 26 w 44"/>
                <a:gd name="T61" fmla="*/ 42 h 134"/>
                <a:gd name="T62" fmla="*/ 22 w 44"/>
                <a:gd name="T63" fmla="*/ 48 h 134"/>
                <a:gd name="T64" fmla="*/ 26 w 44"/>
                <a:gd name="T65" fmla="*/ 52 h 134"/>
                <a:gd name="T66" fmla="*/ 26 w 44"/>
                <a:gd name="T67" fmla="*/ 56 h 134"/>
                <a:gd name="T68" fmla="*/ 26 w 44"/>
                <a:gd name="T69" fmla="*/ 68 h 134"/>
                <a:gd name="T70" fmla="*/ 30 w 44"/>
                <a:gd name="T71" fmla="*/ 72 h 134"/>
                <a:gd name="T72" fmla="*/ 40 w 44"/>
                <a:gd name="T73" fmla="*/ 82 h 134"/>
                <a:gd name="T74" fmla="*/ 44 w 44"/>
                <a:gd name="T75" fmla="*/ 94 h 134"/>
                <a:gd name="T76" fmla="*/ 44 w 44"/>
                <a:gd name="T77" fmla="*/ 102 h 134"/>
                <a:gd name="T78" fmla="*/ 44 w 44"/>
                <a:gd name="T79" fmla="*/ 112 h 134"/>
                <a:gd name="T80" fmla="*/ 40 w 44"/>
                <a:gd name="T81" fmla="*/ 116 h 134"/>
                <a:gd name="T82" fmla="*/ 38 w 44"/>
                <a:gd name="T83" fmla="*/ 124 h 134"/>
                <a:gd name="T84" fmla="*/ 38 w 44"/>
                <a:gd name="T85" fmla="*/ 124 h 134"/>
                <a:gd name="T86" fmla="*/ 38 w 44"/>
                <a:gd name="T87" fmla="*/ 132 h 134"/>
                <a:gd name="T88" fmla="*/ 34 w 44"/>
                <a:gd name="T89" fmla="*/ 132 h 134"/>
                <a:gd name="T90" fmla="*/ 34 w 44"/>
                <a:gd name="T91" fmla="*/ 128 h 134"/>
                <a:gd name="T92" fmla="*/ 30 w 44"/>
                <a:gd name="T93" fmla="*/ 124 h 134"/>
                <a:gd name="T94" fmla="*/ 26 w 44"/>
                <a:gd name="T95" fmla="*/ 120 h 134"/>
                <a:gd name="T96" fmla="*/ 26 w 44"/>
                <a:gd name="T97" fmla="*/ 116 h 134"/>
                <a:gd name="T98" fmla="*/ 22 w 44"/>
                <a:gd name="T99" fmla="*/ 112 h 134"/>
                <a:gd name="T100" fmla="*/ 22 w 44"/>
                <a:gd name="T101" fmla="*/ 108 h 134"/>
                <a:gd name="T102" fmla="*/ 26 w 44"/>
                <a:gd name="T103" fmla="*/ 104 h 134"/>
                <a:gd name="T104" fmla="*/ 26 w 44"/>
                <a:gd name="T105" fmla="*/ 102 h 134"/>
                <a:gd name="T106" fmla="*/ 26 w 44"/>
                <a:gd name="T107" fmla="*/ 98 h 134"/>
                <a:gd name="T108" fmla="*/ 26 w 44"/>
                <a:gd name="T109" fmla="*/ 90 h 134"/>
                <a:gd name="T110" fmla="*/ 22 w 44"/>
                <a:gd name="T111" fmla="*/ 86 h 134"/>
                <a:gd name="T112" fmla="*/ 14 w 44"/>
                <a:gd name="T113" fmla="*/ 86 h 134"/>
                <a:gd name="T114" fmla="*/ 6 w 44"/>
                <a:gd name="T115" fmla="*/ 78 h 134"/>
                <a:gd name="T116" fmla="*/ 26 w 44"/>
                <a:gd name="T117" fmla="*/ 46 h 134"/>
                <a:gd name="T118" fmla="*/ 30 w 44"/>
                <a:gd name="T119" fmla="*/ 4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" h="134">
                  <a:moveTo>
                    <a:pt x="6" y="78"/>
                  </a:moveTo>
                  <a:lnTo>
                    <a:pt x="6" y="78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4" y="78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2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26"/>
                  </a:lnTo>
                  <a:lnTo>
                    <a:pt x="6" y="26"/>
                  </a:lnTo>
                  <a:lnTo>
                    <a:pt x="6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6" y="12"/>
                  </a:lnTo>
                  <a:lnTo>
                    <a:pt x="6" y="8"/>
                  </a:lnTo>
                  <a:lnTo>
                    <a:pt x="10" y="8"/>
                  </a:lnTo>
                  <a:lnTo>
                    <a:pt x="6" y="8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4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12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30" y="30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6" y="48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4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4" y="72"/>
                  </a:lnTo>
                  <a:lnTo>
                    <a:pt x="34" y="76"/>
                  </a:lnTo>
                  <a:lnTo>
                    <a:pt x="38" y="76"/>
                  </a:lnTo>
                  <a:lnTo>
                    <a:pt x="40" y="82"/>
                  </a:lnTo>
                  <a:lnTo>
                    <a:pt x="40" y="82"/>
                  </a:lnTo>
                  <a:lnTo>
                    <a:pt x="40" y="82"/>
                  </a:lnTo>
                  <a:lnTo>
                    <a:pt x="40" y="82"/>
                  </a:lnTo>
                  <a:lnTo>
                    <a:pt x="44" y="90"/>
                  </a:lnTo>
                  <a:lnTo>
                    <a:pt x="44" y="90"/>
                  </a:lnTo>
                  <a:lnTo>
                    <a:pt x="44" y="90"/>
                  </a:lnTo>
                  <a:lnTo>
                    <a:pt x="44" y="94"/>
                  </a:lnTo>
                  <a:lnTo>
                    <a:pt x="44" y="94"/>
                  </a:lnTo>
                  <a:lnTo>
                    <a:pt x="44" y="94"/>
                  </a:lnTo>
                  <a:lnTo>
                    <a:pt x="44" y="98"/>
                  </a:lnTo>
                  <a:lnTo>
                    <a:pt x="44" y="98"/>
                  </a:lnTo>
                  <a:lnTo>
                    <a:pt x="44" y="102"/>
                  </a:lnTo>
                  <a:lnTo>
                    <a:pt x="44" y="102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0" y="116"/>
                  </a:lnTo>
                  <a:lnTo>
                    <a:pt x="40" y="116"/>
                  </a:lnTo>
                  <a:lnTo>
                    <a:pt x="40" y="116"/>
                  </a:lnTo>
                  <a:lnTo>
                    <a:pt x="38" y="116"/>
                  </a:lnTo>
                  <a:lnTo>
                    <a:pt x="38" y="116"/>
                  </a:lnTo>
                  <a:lnTo>
                    <a:pt x="38" y="120"/>
                  </a:lnTo>
                  <a:lnTo>
                    <a:pt x="38" y="120"/>
                  </a:lnTo>
                  <a:lnTo>
                    <a:pt x="38" y="120"/>
                  </a:lnTo>
                  <a:lnTo>
                    <a:pt x="38" y="124"/>
                  </a:lnTo>
                  <a:lnTo>
                    <a:pt x="34" y="124"/>
                  </a:lnTo>
                  <a:lnTo>
                    <a:pt x="34" y="124"/>
                  </a:lnTo>
                  <a:lnTo>
                    <a:pt x="34" y="124"/>
                  </a:lnTo>
                  <a:lnTo>
                    <a:pt x="38" y="124"/>
                  </a:lnTo>
                  <a:lnTo>
                    <a:pt x="38" y="124"/>
                  </a:lnTo>
                  <a:lnTo>
                    <a:pt x="38" y="124"/>
                  </a:lnTo>
                  <a:lnTo>
                    <a:pt x="38" y="128"/>
                  </a:lnTo>
                  <a:lnTo>
                    <a:pt x="38" y="128"/>
                  </a:lnTo>
                  <a:lnTo>
                    <a:pt x="38" y="128"/>
                  </a:lnTo>
                  <a:lnTo>
                    <a:pt x="38" y="132"/>
                  </a:lnTo>
                  <a:lnTo>
                    <a:pt x="38" y="132"/>
                  </a:lnTo>
                  <a:lnTo>
                    <a:pt x="38" y="132"/>
                  </a:lnTo>
                  <a:lnTo>
                    <a:pt x="38" y="132"/>
                  </a:lnTo>
                  <a:lnTo>
                    <a:pt x="38" y="134"/>
                  </a:lnTo>
                  <a:lnTo>
                    <a:pt x="38" y="134"/>
                  </a:lnTo>
                  <a:lnTo>
                    <a:pt x="34" y="134"/>
                  </a:lnTo>
                  <a:lnTo>
                    <a:pt x="34" y="134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4" y="128"/>
                  </a:lnTo>
                  <a:lnTo>
                    <a:pt x="34" y="128"/>
                  </a:lnTo>
                  <a:lnTo>
                    <a:pt x="34" y="128"/>
                  </a:lnTo>
                  <a:lnTo>
                    <a:pt x="34" y="128"/>
                  </a:lnTo>
                  <a:lnTo>
                    <a:pt x="34" y="128"/>
                  </a:lnTo>
                  <a:lnTo>
                    <a:pt x="34" y="128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30" y="120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26" y="116"/>
                  </a:lnTo>
                  <a:lnTo>
                    <a:pt x="26" y="116"/>
                  </a:lnTo>
                  <a:lnTo>
                    <a:pt x="26" y="116"/>
                  </a:lnTo>
                  <a:lnTo>
                    <a:pt x="26" y="116"/>
                  </a:lnTo>
                  <a:lnTo>
                    <a:pt x="26" y="116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6" y="108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6" y="94"/>
                  </a:lnTo>
                  <a:lnTo>
                    <a:pt x="26" y="94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18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0" y="86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6" y="82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6" y="78"/>
                  </a:lnTo>
                  <a:close/>
                  <a:moveTo>
                    <a:pt x="26" y="46"/>
                  </a:moveTo>
                  <a:lnTo>
                    <a:pt x="26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46"/>
                  </a:lnTo>
                  <a:close/>
                  <a:moveTo>
                    <a:pt x="30" y="46"/>
                  </a:moveTo>
                  <a:lnTo>
                    <a:pt x="30" y="46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30" y="46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16" name="Freeform 156">
              <a:extLst>
                <a:ext uri="{FF2B5EF4-FFF2-40B4-BE49-F238E27FC236}">
                  <a16:creationId xmlns:a16="http://schemas.microsoft.com/office/drawing/2014/main" id="{51B1D5FB-5A86-4C59-1AE7-F40EFB018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8036" y="3352828"/>
              <a:ext cx="451987" cy="490232"/>
            </a:xfrm>
            <a:custGeom>
              <a:avLst/>
              <a:gdLst>
                <a:gd name="T0" fmla="*/ 26 w 232"/>
                <a:gd name="T1" fmla="*/ 226 h 260"/>
                <a:gd name="T2" fmla="*/ 18 w 232"/>
                <a:gd name="T3" fmla="*/ 224 h 260"/>
                <a:gd name="T4" fmla="*/ 8 w 232"/>
                <a:gd name="T5" fmla="*/ 224 h 260"/>
                <a:gd name="T6" fmla="*/ 12 w 232"/>
                <a:gd name="T7" fmla="*/ 208 h 260"/>
                <a:gd name="T8" fmla="*/ 0 w 232"/>
                <a:gd name="T9" fmla="*/ 200 h 260"/>
                <a:gd name="T10" fmla="*/ 4 w 232"/>
                <a:gd name="T11" fmla="*/ 190 h 260"/>
                <a:gd name="T12" fmla="*/ 0 w 232"/>
                <a:gd name="T13" fmla="*/ 182 h 260"/>
                <a:gd name="T14" fmla="*/ 8 w 232"/>
                <a:gd name="T15" fmla="*/ 168 h 260"/>
                <a:gd name="T16" fmla="*/ 18 w 232"/>
                <a:gd name="T17" fmla="*/ 174 h 260"/>
                <a:gd name="T18" fmla="*/ 30 w 232"/>
                <a:gd name="T19" fmla="*/ 170 h 260"/>
                <a:gd name="T20" fmla="*/ 42 w 232"/>
                <a:gd name="T21" fmla="*/ 168 h 260"/>
                <a:gd name="T22" fmla="*/ 60 w 232"/>
                <a:gd name="T23" fmla="*/ 168 h 260"/>
                <a:gd name="T24" fmla="*/ 82 w 232"/>
                <a:gd name="T25" fmla="*/ 168 h 260"/>
                <a:gd name="T26" fmla="*/ 98 w 232"/>
                <a:gd name="T27" fmla="*/ 152 h 260"/>
                <a:gd name="T28" fmla="*/ 90 w 232"/>
                <a:gd name="T29" fmla="*/ 122 h 260"/>
                <a:gd name="T30" fmla="*/ 86 w 232"/>
                <a:gd name="T31" fmla="*/ 92 h 260"/>
                <a:gd name="T32" fmla="*/ 86 w 232"/>
                <a:gd name="T33" fmla="*/ 68 h 260"/>
                <a:gd name="T34" fmla="*/ 82 w 232"/>
                <a:gd name="T35" fmla="*/ 42 h 260"/>
                <a:gd name="T36" fmla="*/ 78 w 232"/>
                <a:gd name="T37" fmla="*/ 12 h 260"/>
                <a:gd name="T38" fmla="*/ 90 w 232"/>
                <a:gd name="T39" fmla="*/ 0 h 260"/>
                <a:gd name="T40" fmla="*/ 120 w 232"/>
                <a:gd name="T41" fmla="*/ 12 h 260"/>
                <a:gd name="T42" fmla="*/ 142 w 232"/>
                <a:gd name="T43" fmla="*/ 34 h 260"/>
                <a:gd name="T44" fmla="*/ 164 w 232"/>
                <a:gd name="T45" fmla="*/ 52 h 260"/>
                <a:gd name="T46" fmla="*/ 188 w 232"/>
                <a:gd name="T47" fmla="*/ 72 h 260"/>
                <a:gd name="T48" fmla="*/ 194 w 232"/>
                <a:gd name="T49" fmla="*/ 78 h 260"/>
                <a:gd name="T50" fmla="*/ 206 w 232"/>
                <a:gd name="T51" fmla="*/ 86 h 260"/>
                <a:gd name="T52" fmla="*/ 218 w 232"/>
                <a:gd name="T53" fmla="*/ 96 h 260"/>
                <a:gd name="T54" fmla="*/ 228 w 232"/>
                <a:gd name="T55" fmla="*/ 104 h 260"/>
                <a:gd name="T56" fmla="*/ 232 w 232"/>
                <a:gd name="T57" fmla="*/ 130 h 260"/>
                <a:gd name="T58" fmla="*/ 232 w 232"/>
                <a:gd name="T59" fmla="*/ 152 h 260"/>
                <a:gd name="T60" fmla="*/ 224 w 232"/>
                <a:gd name="T61" fmla="*/ 164 h 260"/>
                <a:gd name="T62" fmla="*/ 214 w 232"/>
                <a:gd name="T63" fmla="*/ 168 h 260"/>
                <a:gd name="T64" fmla="*/ 188 w 232"/>
                <a:gd name="T65" fmla="*/ 174 h 260"/>
                <a:gd name="T66" fmla="*/ 176 w 232"/>
                <a:gd name="T67" fmla="*/ 178 h 260"/>
                <a:gd name="T68" fmla="*/ 164 w 232"/>
                <a:gd name="T69" fmla="*/ 174 h 260"/>
                <a:gd name="T70" fmla="*/ 146 w 232"/>
                <a:gd name="T71" fmla="*/ 186 h 260"/>
                <a:gd name="T72" fmla="*/ 132 w 232"/>
                <a:gd name="T73" fmla="*/ 194 h 260"/>
                <a:gd name="T74" fmla="*/ 128 w 232"/>
                <a:gd name="T75" fmla="*/ 200 h 260"/>
                <a:gd name="T76" fmla="*/ 120 w 232"/>
                <a:gd name="T77" fmla="*/ 204 h 260"/>
                <a:gd name="T78" fmla="*/ 112 w 232"/>
                <a:gd name="T79" fmla="*/ 212 h 260"/>
                <a:gd name="T80" fmla="*/ 104 w 232"/>
                <a:gd name="T81" fmla="*/ 226 h 260"/>
                <a:gd name="T82" fmla="*/ 98 w 232"/>
                <a:gd name="T83" fmla="*/ 242 h 260"/>
                <a:gd name="T84" fmla="*/ 94 w 232"/>
                <a:gd name="T85" fmla="*/ 256 h 260"/>
                <a:gd name="T86" fmla="*/ 82 w 232"/>
                <a:gd name="T87" fmla="*/ 256 h 260"/>
                <a:gd name="T88" fmla="*/ 82 w 232"/>
                <a:gd name="T89" fmla="*/ 250 h 260"/>
                <a:gd name="T90" fmla="*/ 74 w 232"/>
                <a:gd name="T91" fmla="*/ 260 h 260"/>
                <a:gd name="T92" fmla="*/ 60 w 232"/>
                <a:gd name="T93" fmla="*/ 256 h 260"/>
                <a:gd name="T94" fmla="*/ 52 w 232"/>
                <a:gd name="T95" fmla="*/ 250 h 260"/>
                <a:gd name="T96" fmla="*/ 48 w 232"/>
                <a:gd name="T97" fmla="*/ 242 h 260"/>
                <a:gd name="T98" fmla="*/ 44 w 232"/>
                <a:gd name="T99" fmla="*/ 234 h 260"/>
                <a:gd name="T100" fmla="*/ 42 w 232"/>
                <a:gd name="T101" fmla="*/ 220 h 260"/>
                <a:gd name="T102" fmla="*/ 34 w 232"/>
                <a:gd name="T103" fmla="*/ 226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2" h="260">
                  <a:moveTo>
                    <a:pt x="34" y="226"/>
                  </a:moveTo>
                  <a:lnTo>
                    <a:pt x="30" y="226"/>
                  </a:lnTo>
                  <a:lnTo>
                    <a:pt x="30" y="224"/>
                  </a:lnTo>
                  <a:lnTo>
                    <a:pt x="26" y="224"/>
                  </a:lnTo>
                  <a:lnTo>
                    <a:pt x="26" y="226"/>
                  </a:lnTo>
                  <a:lnTo>
                    <a:pt x="22" y="226"/>
                  </a:lnTo>
                  <a:lnTo>
                    <a:pt x="22" y="230"/>
                  </a:lnTo>
                  <a:lnTo>
                    <a:pt x="18" y="230"/>
                  </a:lnTo>
                  <a:lnTo>
                    <a:pt x="18" y="226"/>
                  </a:lnTo>
                  <a:lnTo>
                    <a:pt x="18" y="224"/>
                  </a:lnTo>
                  <a:lnTo>
                    <a:pt x="14" y="224"/>
                  </a:lnTo>
                  <a:lnTo>
                    <a:pt x="14" y="226"/>
                  </a:lnTo>
                  <a:lnTo>
                    <a:pt x="12" y="226"/>
                  </a:lnTo>
                  <a:lnTo>
                    <a:pt x="8" y="226"/>
                  </a:lnTo>
                  <a:lnTo>
                    <a:pt x="8" y="224"/>
                  </a:lnTo>
                  <a:lnTo>
                    <a:pt x="12" y="224"/>
                  </a:lnTo>
                  <a:lnTo>
                    <a:pt x="12" y="220"/>
                  </a:lnTo>
                  <a:lnTo>
                    <a:pt x="12" y="216"/>
                  </a:lnTo>
                  <a:lnTo>
                    <a:pt x="12" y="212"/>
                  </a:lnTo>
                  <a:lnTo>
                    <a:pt x="12" y="208"/>
                  </a:lnTo>
                  <a:lnTo>
                    <a:pt x="8" y="208"/>
                  </a:lnTo>
                  <a:lnTo>
                    <a:pt x="8" y="204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4" y="196"/>
                  </a:lnTo>
                  <a:lnTo>
                    <a:pt x="4" y="194"/>
                  </a:lnTo>
                  <a:lnTo>
                    <a:pt x="0" y="194"/>
                  </a:lnTo>
                  <a:lnTo>
                    <a:pt x="4" y="190"/>
                  </a:lnTo>
                  <a:lnTo>
                    <a:pt x="0" y="190"/>
                  </a:lnTo>
                  <a:lnTo>
                    <a:pt x="0" y="186"/>
                  </a:lnTo>
                  <a:lnTo>
                    <a:pt x="0" y="182"/>
                  </a:lnTo>
                  <a:lnTo>
                    <a:pt x="0" y="178"/>
                  </a:lnTo>
                  <a:lnTo>
                    <a:pt x="0" y="182"/>
                  </a:lnTo>
                  <a:lnTo>
                    <a:pt x="4" y="178"/>
                  </a:lnTo>
                  <a:lnTo>
                    <a:pt x="4" y="174"/>
                  </a:lnTo>
                  <a:lnTo>
                    <a:pt x="4" y="170"/>
                  </a:lnTo>
                  <a:lnTo>
                    <a:pt x="4" y="168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12" y="164"/>
                  </a:lnTo>
                  <a:lnTo>
                    <a:pt x="12" y="168"/>
                  </a:lnTo>
                  <a:lnTo>
                    <a:pt x="14" y="170"/>
                  </a:lnTo>
                  <a:lnTo>
                    <a:pt x="18" y="174"/>
                  </a:lnTo>
                  <a:lnTo>
                    <a:pt x="18" y="170"/>
                  </a:lnTo>
                  <a:lnTo>
                    <a:pt x="18" y="168"/>
                  </a:lnTo>
                  <a:lnTo>
                    <a:pt x="22" y="168"/>
                  </a:lnTo>
                  <a:lnTo>
                    <a:pt x="26" y="168"/>
                  </a:lnTo>
                  <a:lnTo>
                    <a:pt x="30" y="170"/>
                  </a:lnTo>
                  <a:lnTo>
                    <a:pt x="34" y="170"/>
                  </a:lnTo>
                  <a:lnTo>
                    <a:pt x="34" y="168"/>
                  </a:lnTo>
                  <a:lnTo>
                    <a:pt x="38" y="168"/>
                  </a:lnTo>
                  <a:lnTo>
                    <a:pt x="42" y="164"/>
                  </a:lnTo>
                  <a:lnTo>
                    <a:pt x="42" y="168"/>
                  </a:lnTo>
                  <a:lnTo>
                    <a:pt x="44" y="168"/>
                  </a:lnTo>
                  <a:lnTo>
                    <a:pt x="48" y="168"/>
                  </a:lnTo>
                  <a:lnTo>
                    <a:pt x="52" y="168"/>
                  </a:lnTo>
                  <a:lnTo>
                    <a:pt x="56" y="168"/>
                  </a:lnTo>
                  <a:lnTo>
                    <a:pt x="60" y="168"/>
                  </a:lnTo>
                  <a:lnTo>
                    <a:pt x="64" y="168"/>
                  </a:lnTo>
                  <a:lnTo>
                    <a:pt x="68" y="168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82" y="168"/>
                  </a:lnTo>
                  <a:lnTo>
                    <a:pt x="86" y="168"/>
                  </a:lnTo>
                  <a:lnTo>
                    <a:pt x="94" y="168"/>
                  </a:lnTo>
                  <a:lnTo>
                    <a:pt x="94" y="160"/>
                  </a:lnTo>
                  <a:lnTo>
                    <a:pt x="98" y="156"/>
                  </a:lnTo>
                  <a:lnTo>
                    <a:pt x="98" y="152"/>
                  </a:lnTo>
                  <a:lnTo>
                    <a:pt x="94" y="148"/>
                  </a:lnTo>
                  <a:lnTo>
                    <a:pt x="94" y="144"/>
                  </a:lnTo>
                  <a:lnTo>
                    <a:pt x="90" y="134"/>
                  </a:lnTo>
                  <a:lnTo>
                    <a:pt x="90" y="126"/>
                  </a:lnTo>
                  <a:lnTo>
                    <a:pt x="90" y="122"/>
                  </a:lnTo>
                  <a:lnTo>
                    <a:pt x="90" y="118"/>
                  </a:lnTo>
                  <a:lnTo>
                    <a:pt x="90" y="112"/>
                  </a:lnTo>
                  <a:lnTo>
                    <a:pt x="90" y="104"/>
                  </a:lnTo>
                  <a:lnTo>
                    <a:pt x="90" y="100"/>
                  </a:lnTo>
                  <a:lnTo>
                    <a:pt x="86" y="92"/>
                  </a:lnTo>
                  <a:lnTo>
                    <a:pt x="86" y="86"/>
                  </a:lnTo>
                  <a:lnTo>
                    <a:pt x="86" y="78"/>
                  </a:lnTo>
                  <a:lnTo>
                    <a:pt x="86" y="74"/>
                  </a:lnTo>
                  <a:lnTo>
                    <a:pt x="86" y="72"/>
                  </a:lnTo>
                  <a:lnTo>
                    <a:pt x="86" y="68"/>
                  </a:lnTo>
                  <a:lnTo>
                    <a:pt x="86" y="64"/>
                  </a:lnTo>
                  <a:lnTo>
                    <a:pt x="86" y="60"/>
                  </a:lnTo>
                  <a:lnTo>
                    <a:pt x="82" y="56"/>
                  </a:lnTo>
                  <a:lnTo>
                    <a:pt x="82" y="52"/>
                  </a:lnTo>
                  <a:lnTo>
                    <a:pt x="82" y="42"/>
                  </a:lnTo>
                  <a:lnTo>
                    <a:pt x="82" y="38"/>
                  </a:lnTo>
                  <a:lnTo>
                    <a:pt x="82" y="30"/>
                  </a:lnTo>
                  <a:lnTo>
                    <a:pt x="82" y="22"/>
                  </a:lnTo>
                  <a:lnTo>
                    <a:pt x="78" y="16"/>
                  </a:lnTo>
                  <a:lnTo>
                    <a:pt x="78" y="12"/>
                  </a:lnTo>
                  <a:lnTo>
                    <a:pt x="78" y="8"/>
                  </a:lnTo>
                  <a:lnTo>
                    <a:pt x="78" y="0"/>
                  </a:lnTo>
                  <a:lnTo>
                    <a:pt x="82" y="0"/>
                  </a:lnTo>
                  <a:lnTo>
                    <a:pt x="86" y="0"/>
                  </a:lnTo>
                  <a:lnTo>
                    <a:pt x="90" y="0"/>
                  </a:lnTo>
                  <a:lnTo>
                    <a:pt x="102" y="0"/>
                  </a:lnTo>
                  <a:lnTo>
                    <a:pt x="104" y="0"/>
                  </a:lnTo>
                  <a:lnTo>
                    <a:pt x="108" y="4"/>
                  </a:lnTo>
                  <a:lnTo>
                    <a:pt x="112" y="8"/>
                  </a:lnTo>
                  <a:lnTo>
                    <a:pt x="120" y="12"/>
                  </a:lnTo>
                  <a:lnTo>
                    <a:pt x="124" y="16"/>
                  </a:lnTo>
                  <a:lnTo>
                    <a:pt x="128" y="18"/>
                  </a:lnTo>
                  <a:lnTo>
                    <a:pt x="132" y="22"/>
                  </a:lnTo>
                  <a:lnTo>
                    <a:pt x="138" y="26"/>
                  </a:lnTo>
                  <a:lnTo>
                    <a:pt x="142" y="34"/>
                  </a:lnTo>
                  <a:lnTo>
                    <a:pt x="146" y="38"/>
                  </a:lnTo>
                  <a:lnTo>
                    <a:pt x="154" y="42"/>
                  </a:lnTo>
                  <a:lnTo>
                    <a:pt x="158" y="44"/>
                  </a:lnTo>
                  <a:lnTo>
                    <a:pt x="160" y="48"/>
                  </a:lnTo>
                  <a:lnTo>
                    <a:pt x="164" y="52"/>
                  </a:lnTo>
                  <a:lnTo>
                    <a:pt x="172" y="56"/>
                  </a:lnTo>
                  <a:lnTo>
                    <a:pt x="176" y="60"/>
                  </a:lnTo>
                  <a:lnTo>
                    <a:pt x="180" y="60"/>
                  </a:lnTo>
                  <a:lnTo>
                    <a:pt x="184" y="68"/>
                  </a:lnTo>
                  <a:lnTo>
                    <a:pt x="188" y="72"/>
                  </a:lnTo>
                  <a:lnTo>
                    <a:pt x="190" y="72"/>
                  </a:lnTo>
                  <a:lnTo>
                    <a:pt x="190" y="74"/>
                  </a:lnTo>
                  <a:lnTo>
                    <a:pt x="188" y="74"/>
                  </a:lnTo>
                  <a:lnTo>
                    <a:pt x="190" y="78"/>
                  </a:lnTo>
                  <a:lnTo>
                    <a:pt x="194" y="78"/>
                  </a:lnTo>
                  <a:lnTo>
                    <a:pt x="194" y="82"/>
                  </a:lnTo>
                  <a:lnTo>
                    <a:pt x="198" y="82"/>
                  </a:lnTo>
                  <a:lnTo>
                    <a:pt x="198" y="86"/>
                  </a:lnTo>
                  <a:lnTo>
                    <a:pt x="202" y="86"/>
                  </a:lnTo>
                  <a:lnTo>
                    <a:pt x="206" y="86"/>
                  </a:lnTo>
                  <a:lnTo>
                    <a:pt x="206" y="88"/>
                  </a:lnTo>
                  <a:lnTo>
                    <a:pt x="210" y="88"/>
                  </a:lnTo>
                  <a:lnTo>
                    <a:pt x="214" y="88"/>
                  </a:lnTo>
                  <a:lnTo>
                    <a:pt x="218" y="92"/>
                  </a:lnTo>
                  <a:lnTo>
                    <a:pt x="218" y="96"/>
                  </a:lnTo>
                  <a:lnTo>
                    <a:pt x="218" y="100"/>
                  </a:lnTo>
                  <a:lnTo>
                    <a:pt x="218" y="104"/>
                  </a:lnTo>
                  <a:lnTo>
                    <a:pt x="220" y="108"/>
                  </a:lnTo>
                  <a:lnTo>
                    <a:pt x="224" y="104"/>
                  </a:lnTo>
                  <a:lnTo>
                    <a:pt x="228" y="104"/>
                  </a:lnTo>
                  <a:lnTo>
                    <a:pt x="232" y="104"/>
                  </a:lnTo>
                  <a:lnTo>
                    <a:pt x="232" y="108"/>
                  </a:lnTo>
                  <a:lnTo>
                    <a:pt x="232" y="112"/>
                  </a:lnTo>
                  <a:lnTo>
                    <a:pt x="232" y="122"/>
                  </a:lnTo>
                  <a:lnTo>
                    <a:pt x="232" y="130"/>
                  </a:lnTo>
                  <a:lnTo>
                    <a:pt x="232" y="134"/>
                  </a:lnTo>
                  <a:lnTo>
                    <a:pt x="232" y="138"/>
                  </a:lnTo>
                  <a:lnTo>
                    <a:pt x="232" y="142"/>
                  </a:lnTo>
                  <a:lnTo>
                    <a:pt x="232" y="144"/>
                  </a:lnTo>
                  <a:lnTo>
                    <a:pt x="232" y="152"/>
                  </a:lnTo>
                  <a:lnTo>
                    <a:pt x="228" y="152"/>
                  </a:lnTo>
                  <a:lnTo>
                    <a:pt x="228" y="156"/>
                  </a:lnTo>
                  <a:lnTo>
                    <a:pt x="228" y="160"/>
                  </a:lnTo>
                  <a:lnTo>
                    <a:pt x="228" y="164"/>
                  </a:lnTo>
                  <a:lnTo>
                    <a:pt x="224" y="164"/>
                  </a:lnTo>
                  <a:lnTo>
                    <a:pt x="224" y="168"/>
                  </a:lnTo>
                  <a:lnTo>
                    <a:pt x="220" y="168"/>
                  </a:lnTo>
                  <a:lnTo>
                    <a:pt x="220" y="170"/>
                  </a:lnTo>
                  <a:lnTo>
                    <a:pt x="218" y="168"/>
                  </a:lnTo>
                  <a:lnTo>
                    <a:pt x="214" y="168"/>
                  </a:lnTo>
                  <a:lnTo>
                    <a:pt x="214" y="170"/>
                  </a:lnTo>
                  <a:lnTo>
                    <a:pt x="210" y="170"/>
                  </a:lnTo>
                  <a:lnTo>
                    <a:pt x="198" y="170"/>
                  </a:lnTo>
                  <a:lnTo>
                    <a:pt x="190" y="170"/>
                  </a:lnTo>
                  <a:lnTo>
                    <a:pt x="188" y="174"/>
                  </a:lnTo>
                  <a:lnTo>
                    <a:pt x="184" y="178"/>
                  </a:lnTo>
                  <a:lnTo>
                    <a:pt x="180" y="178"/>
                  </a:lnTo>
                  <a:lnTo>
                    <a:pt x="180" y="174"/>
                  </a:lnTo>
                  <a:lnTo>
                    <a:pt x="180" y="178"/>
                  </a:lnTo>
                  <a:lnTo>
                    <a:pt x="176" y="178"/>
                  </a:lnTo>
                  <a:lnTo>
                    <a:pt x="176" y="174"/>
                  </a:lnTo>
                  <a:lnTo>
                    <a:pt x="176" y="178"/>
                  </a:lnTo>
                  <a:lnTo>
                    <a:pt x="172" y="174"/>
                  </a:lnTo>
                  <a:lnTo>
                    <a:pt x="168" y="174"/>
                  </a:lnTo>
                  <a:lnTo>
                    <a:pt x="164" y="174"/>
                  </a:lnTo>
                  <a:lnTo>
                    <a:pt x="160" y="174"/>
                  </a:lnTo>
                  <a:lnTo>
                    <a:pt x="158" y="178"/>
                  </a:lnTo>
                  <a:lnTo>
                    <a:pt x="154" y="182"/>
                  </a:lnTo>
                  <a:lnTo>
                    <a:pt x="150" y="186"/>
                  </a:lnTo>
                  <a:lnTo>
                    <a:pt x="146" y="186"/>
                  </a:lnTo>
                  <a:lnTo>
                    <a:pt x="142" y="186"/>
                  </a:lnTo>
                  <a:lnTo>
                    <a:pt x="142" y="190"/>
                  </a:lnTo>
                  <a:lnTo>
                    <a:pt x="138" y="190"/>
                  </a:lnTo>
                  <a:lnTo>
                    <a:pt x="134" y="190"/>
                  </a:lnTo>
                  <a:lnTo>
                    <a:pt x="132" y="194"/>
                  </a:lnTo>
                  <a:lnTo>
                    <a:pt x="132" y="196"/>
                  </a:lnTo>
                  <a:lnTo>
                    <a:pt x="132" y="200"/>
                  </a:lnTo>
                  <a:lnTo>
                    <a:pt x="128" y="200"/>
                  </a:lnTo>
                  <a:lnTo>
                    <a:pt x="128" y="196"/>
                  </a:lnTo>
                  <a:lnTo>
                    <a:pt x="128" y="200"/>
                  </a:lnTo>
                  <a:lnTo>
                    <a:pt x="128" y="204"/>
                  </a:lnTo>
                  <a:lnTo>
                    <a:pt x="124" y="204"/>
                  </a:lnTo>
                  <a:lnTo>
                    <a:pt x="124" y="208"/>
                  </a:lnTo>
                  <a:lnTo>
                    <a:pt x="120" y="208"/>
                  </a:lnTo>
                  <a:lnTo>
                    <a:pt x="120" y="204"/>
                  </a:lnTo>
                  <a:lnTo>
                    <a:pt x="116" y="204"/>
                  </a:lnTo>
                  <a:lnTo>
                    <a:pt x="116" y="200"/>
                  </a:lnTo>
                  <a:lnTo>
                    <a:pt x="112" y="204"/>
                  </a:lnTo>
                  <a:lnTo>
                    <a:pt x="112" y="208"/>
                  </a:lnTo>
                  <a:lnTo>
                    <a:pt x="112" y="212"/>
                  </a:lnTo>
                  <a:lnTo>
                    <a:pt x="112" y="216"/>
                  </a:lnTo>
                  <a:lnTo>
                    <a:pt x="108" y="216"/>
                  </a:lnTo>
                  <a:lnTo>
                    <a:pt x="108" y="220"/>
                  </a:lnTo>
                  <a:lnTo>
                    <a:pt x="108" y="224"/>
                  </a:lnTo>
                  <a:lnTo>
                    <a:pt x="104" y="226"/>
                  </a:lnTo>
                  <a:lnTo>
                    <a:pt x="102" y="226"/>
                  </a:lnTo>
                  <a:lnTo>
                    <a:pt x="98" y="230"/>
                  </a:lnTo>
                  <a:lnTo>
                    <a:pt x="98" y="234"/>
                  </a:lnTo>
                  <a:lnTo>
                    <a:pt x="98" y="238"/>
                  </a:lnTo>
                  <a:lnTo>
                    <a:pt x="98" y="242"/>
                  </a:lnTo>
                  <a:lnTo>
                    <a:pt x="98" y="246"/>
                  </a:lnTo>
                  <a:lnTo>
                    <a:pt x="94" y="246"/>
                  </a:lnTo>
                  <a:lnTo>
                    <a:pt x="94" y="250"/>
                  </a:lnTo>
                  <a:lnTo>
                    <a:pt x="94" y="252"/>
                  </a:lnTo>
                  <a:lnTo>
                    <a:pt x="94" y="256"/>
                  </a:lnTo>
                  <a:lnTo>
                    <a:pt x="94" y="252"/>
                  </a:lnTo>
                  <a:lnTo>
                    <a:pt x="90" y="256"/>
                  </a:lnTo>
                  <a:lnTo>
                    <a:pt x="86" y="256"/>
                  </a:lnTo>
                  <a:lnTo>
                    <a:pt x="86" y="260"/>
                  </a:lnTo>
                  <a:lnTo>
                    <a:pt x="82" y="256"/>
                  </a:lnTo>
                  <a:lnTo>
                    <a:pt x="86" y="256"/>
                  </a:lnTo>
                  <a:lnTo>
                    <a:pt x="86" y="252"/>
                  </a:lnTo>
                  <a:lnTo>
                    <a:pt x="82" y="252"/>
                  </a:lnTo>
                  <a:lnTo>
                    <a:pt x="86" y="252"/>
                  </a:lnTo>
                  <a:lnTo>
                    <a:pt x="82" y="250"/>
                  </a:lnTo>
                  <a:lnTo>
                    <a:pt x="82" y="252"/>
                  </a:lnTo>
                  <a:lnTo>
                    <a:pt x="78" y="252"/>
                  </a:lnTo>
                  <a:lnTo>
                    <a:pt x="78" y="256"/>
                  </a:lnTo>
                  <a:lnTo>
                    <a:pt x="74" y="256"/>
                  </a:lnTo>
                  <a:lnTo>
                    <a:pt x="74" y="260"/>
                  </a:lnTo>
                  <a:lnTo>
                    <a:pt x="72" y="260"/>
                  </a:lnTo>
                  <a:lnTo>
                    <a:pt x="72" y="256"/>
                  </a:lnTo>
                  <a:lnTo>
                    <a:pt x="68" y="256"/>
                  </a:lnTo>
                  <a:lnTo>
                    <a:pt x="64" y="256"/>
                  </a:lnTo>
                  <a:lnTo>
                    <a:pt x="60" y="256"/>
                  </a:lnTo>
                  <a:lnTo>
                    <a:pt x="60" y="260"/>
                  </a:lnTo>
                  <a:lnTo>
                    <a:pt x="60" y="256"/>
                  </a:lnTo>
                  <a:lnTo>
                    <a:pt x="56" y="256"/>
                  </a:lnTo>
                  <a:lnTo>
                    <a:pt x="56" y="252"/>
                  </a:lnTo>
                  <a:lnTo>
                    <a:pt x="52" y="250"/>
                  </a:lnTo>
                  <a:lnTo>
                    <a:pt x="56" y="250"/>
                  </a:lnTo>
                  <a:lnTo>
                    <a:pt x="56" y="246"/>
                  </a:lnTo>
                  <a:lnTo>
                    <a:pt x="52" y="246"/>
                  </a:lnTo>
                  <a:lnTo>
                    <a:pt x="48" y="246"/>
                  </a:lnTo>
                  <a:lnTo>
                    <a:pt x="48" y="242"/>
                  </a:lnTo>
                  <a:lnTo>
                    <a:pt x="52" y="242"/>
                  </a:lnTo>
                  <a:lnTo>
                    <a:pt x="52" y="238"/>
                  </a:lnTo>
                  <a:lnTo>
                    <a:pt x="48" y="238"/>
                  </a:lnTo>
                  <a:lnTo>
                    <a:pt x="48" y="234"/>
                  </a:lnTo>
                  <a:lnTo>
                    <a:pt x="44" y="234"/>
                  </a:lnTo>
                  <a:lnTo>
                    <a:pt x="48" y="230"/>
                  </a:lnTo>
                  <a:lnTo>
                    <a:pt x="48" y="226"/>
                  </a:lnTo>
                  <a:lnTo>
                    <a:pt x="44" y="224"/>
                  </a:lnTo>
                  <a:lnTo>
                    <a:pt x="44" y="220"/>
                  </a:lnTo>
                  <a:lnTo>
                    <a:pt x="42" y="220"/>
                  </a:lnTo>
                  <a:lnTo>
                    <a:pt x="38" y="220"/>
                  </a:lnTo>
                  <a:lnTo>
                    <a:pt x="42" y="220"/>
                  </a:lnTo>
                  <a:lnTo>
                    <a:pt x="42" y="224"/>
                  </a:lnTo>
                  <a:lnTo>
                    <a:pt x="38" y="224"/>
                  </a:lnTo>
                  <a:lnTo>
                    <a:pt x="34" y="226"/>
                  </a:lnTo>
                  <a:lnTo>
                    <a:pt x="34" y="226"/>
                  </a:lnTo>
                  <a:lnTo>
                    <a:pt x="34" y="226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17" name="Freeform 157">
              <a:extLst>
                <a:ext uri="{FF2B5EF4-FFF2-40B4-BE49-F238E27FC236}">
                  <a16:creationId xmlns:a16="http://schemas.microsoft.com/office/drawing/2014/main" id="{A8A9F13B-3CFA-AD81-5F16-3E0FB4C3E2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17764" y="3273637"/>
              <a:ext cx="342887" cy="422354"/>
            </a:xfrm>
            <a:custGeom>
              <a:avLst/>
              <a:gdLst>
                <a:gd name="T0" fmla="*/ 90 w 176"/>
                <a:gd name="T1" fmla="*/ 218 h 224"/>
                <a:gd name="T2" fmla="*/ 84 w 176"/>
                <a:gd name="T3" fmla="*/ 210 h 224"/>
                <a:gd name="T4" fmla="*/ 80 w 176"/>
                <a:gd name="T5" fmla="*/ 206 h 224"/>
                <a:gd name="T6" fmla="*/ 76 w 176"/>
                <a:gd name="T7" fmla="*/ 210 h 224"/>
                <a:gd name="T8" fmla="*/ 76 w 176"/>
                <a:gd name="T9" fmla="*/ 218 h 224"/>
                <a:gd name="T10" fmla="*/ 72 w 176"/>
                <a:gd name="T11" fmla="*/ 220 h 224"/>
                <a:gd name="T12" fmla="*/ 64 w 176"/>
                <a:gd name="T13" fmla="*/ 218 h 224"/>
                <a:gd name="T14" fmla="*/ 60 w 176"/>
                <a:gd name="T15" fmla="*/ 214 h 224"/>
                <a:gd name="T16" fmla="*/ 60 w 176"/>
                <a:gd name="T17" fmla="*/ 210 h 224"/>
                <a:gd name="T18" fmla="*/ 54 w 176"/>
                <a:gd name="T19" fmla="*/ 198 h 224"/>
                <a:gd name="T20" fmla="*/ 50 w 176"/>
                <a:gd name="T21" fmla="*/ 198 h 224"/>
                <a:gd name="T22" fmla="*/ 38 w 176"/>
                <a:gd name="T23" fmla="*/ 190 h 224"/>
                <a:gd name="T24" fmla="*/ 30 w 176"/>
                <a:gd name="T25" fmla="*/ 190 h 224"/>
                <a:gd name="T26" fmla="*/ 26 w 176"/>
                <a:gd name="T27" fmla="*/ 190 h 224"/>
                <a:gd name="T28" fmla="*/ 20 w 176"/>
                <a:gd name="T29" fmla="*/ 190 h 224"/>
                <a:gd name="T30" fmla="*/ 16 w 176"/>
                <a:gd name="T31" fmla="*/ 190 h 224"/>
                <a:gd name="T32" fmla="*/ 12 w 176"/>
                <a:gd name="T33" fmla="*/ 194 h 224"/>
                <a:gd name="T34" fmla="*/ 8 w 176"/>
                <a:gd name="T35" fmla="*/ 194 h 224"/>
                <a:gd name="T36" fmla="*/ 12 w 176"/>
                <a:gd name="T37" fmla="*/ 190 h 224"/>
                <a:gd name="T38" fmla="*/ 16 w 176"/>
                <a:gd name="T39" fmla="*/ 180 h 224"/>
                <a:gd name="T40" fmla="*/ 16 w 176"/>
                <a:gd name="T41" fmla="*/ 172 h 224"/>
                <a:gd name="T42" fmla="*/ 16 w 176"/>
                <a:gd name="T43" fmla="*/ 158 h 224"/>
                <a:gd name="T44" fmla="*/ 16 w 176"/>
                <a:gd name="T45" fmla="*/ 154 h 224"/>
                <a:gd name="T46" fmla="*/ 12 w 176"/>
                <a:gd name="T47" fmla="*/ 146 h 224"/>
                <a:gd name="T48" fmla="*/ 12 w 176"/>
                <a:gd name="T49" fmla="*/ 142 h 224"/>
                <a:gd name="T50" fmla="*/ 12 w 176"/>
                <a:gd name="T51" fmla="*/ 138 h 224"/>
                <a:gd name="T52" fmla="*/ 12 w 176"/>
                <a:gd name="T53" fmla="*/ 138 h 224"/>
                <a:gd name="T54" fmla="*/ 12 w 176"/>
                <a:gd name="T55" fmla="*/ 124 h 224"/>
                <a:gd name="T56" fmla="*/ 8 w 176"/>
                <a:gd name="T57" fmla="*/ 120 h 224"/>
                <a:gd name="T58" fmla="*/ 4 w 176"/>
                <a:gd name="T59" fmla="*/ 114 h 224"/>
                <a:gd name="T60" fmla="*/ 0 w 176"/>
                <a:gd name="T61" fmla="*/ 118 h 224"/>
                <a:gd name="T62" fmla="*/ 4 w 176"/>
                <a:gd name="T63" fmla="*/ 110 h 224"/>
                <a:gd name="T64" fmla="*/ 30 w 176"/>
                <a:gd name="T65" fmla="*/ 110 h 224"/>
                <a:gd name="T66" fmla="*/ 60 w 176"/>
                <a:gd name="T67" fmla="*/ 110 h 224"/>
                <a:gd name="T68" fmla="*/ 56 w 176"/>
                <a:gd name="T69" fmla="*/ 88 h 224"/>
                <a:gd name="T70" fmla="*/ 60 w 176"/>
                <a:gd name="T71" fmla="*/ 80 h 224"/>
                <a:gd name="T72" fmla="*/ 72 w 176"/>
                <a:gd name="T73" fmla="*/ 72 h 224"/>
                <a:gd name="T74" fmla="*/ 72 w 176"/>
                <a:gd name="T75" fmla="*/ 46 h 224"/>
                <a:gd name="T76" fmla="*/ 72 w 176"/>
                <a:gd name="T77" fmla="*/ 30 h 224"/>
                <a:gd name="T78" fmla="*/ 102 w 176"/>
                <a:gd name="T79" fmla="*/ 24 h 224"/>
                <a:gd name="T80" fmla="*/ 120 w 176"/>
                <a:gd name="T81" fmla="*/ 24 h 224"/>
                <a:gd name="T82" fmla="*/ 120 w 176"/>
                <a:gd name="T83" fmla="*/ 0 h 224"/>
                <a:gd name="T84" fmla="*/ 142 w 176"/>
                <a:gd name="T85" fmla="*/ 20 h 224"/>
                <a:gd name="T86" fmla="*/ 166 w 176"/>
                <a:gd name="T87" fmla="*/ 34 h 224"/>
                <a:gd name="T88" fmla="*/ 172 w 176"/>
                <a:gd name="T89" fmla="*/ 42 h 224"/>
                <a:gd name="T90" fmla="*/ 150 w 176"/>
                <a:gd name="T91" fmla="*/ 50 h 224"/>
                <a:gd name="T92" fmla="*/ 154 w 176"/>
                <a:gd name="T93" fmla="*/ 80 h 224"/>
                <a:gd name="T94" fmla="*/ 158 w 176"/>
                <a:gd name="T95" fmla="*/ 110 h 224"/>
                <a:gd name="T96" fmla="*/ 162 w 176"/>
                <a:gd name="T97" fmla="*/ 142 h 224"/>
                <a:gd name="T98" fmla="*/ 162 w 176"/>
                <a:gd name="T99" fmla="*/ 168 h 224"/>
                <a:gd name="T100" fmla="*/ 166 w 176"/>
                <a:gd name="T101" fmla="*/ 202 h 224"/>
                <a:gd name="T102" fmla="*/ 154 w 176"/>
                <a:gd name="T103" fmla="*/ 210 h 224"/>
                <a:gd name="T104" fmla="*/ 132 w 176"/>
                <a:gd name="T105" fmla="*/ 210 h 224"/>
                <a:gd name="T106" fmla="*/ 116 w 176"/>
                <a:gd name="T107" fmla="*/ 210 h 224"/>
                <a:gd name="T108" fmla="*/ 110 w 176"/>
                <a:gd name="T109" fmla="*/ 210 h 224"/>
                <a:gd name="T110" fmla="*/ 106 w 176"/>
                <a:gd name="T111" fmla="*/ 214 h 224"/>
                <a:gd name="T112" fmla="*/ 98 w 176"/>
                <a:gd name="T113" fmla="*/ 210 h 224"/>
                <a:gd name="T114" fmla="*/ 90 w 176"/>
                <a:gd name="T115" fmla="*/ 210 h 224"/>
                <a:gd name="T116" fmla="*/ 12 w 176"/>
                <a:gd name="T117" fmla="*/ 134 h 224"/>
                <a:gd name="T118" fmla="*/ 12 w 176"/>
                <a:gd name="T119" fmla="*/ 138 h 224"/>
                <a:gd name="T120" fmla="*/ 12 w 176"/>
                <a:gd name="T121" fmla="*/ 138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6" h="224">
                  <a:moveTo>
                    <a:pt x="90" y="210"/>
                  </a:moveTo>
                  <a:lnTo>
                    <a:pt x="90" y="214"/>
                  </a:lnTo>
                  <a:lnTo>
                    <a:pt x="90" y="214"/>
                  </a:lnTo>
                  <a:lnTo>
                    <a:pt x="90" y="214"/>
                  </a:lnTo>
                  <a:lnTo>
                    <a:pt x="90" y="214"/>
                  </a:lnTo>
                  <a:lnTo>
                    <a:pt x="90" y="218"/>
                  </a:lnTo>
                  <a:lnTo>
                    <a:pt x="90" y="218"/>
                  </a:lnTo>
                  <a:lnTo>
                    <a:pt x="86" y="214"/>
                  </a:lnTo>
                  <a:lnTo>
                    <a:pt x="86" y="214"/>
                  </a:lnTo>
                  <a:lnTo>
                    <a:pt x="86" y="214"/>
                  </a:lnTo>
                  <a:lnTo>
                    <a:pt x="86" y="214"/>
                  </a:lnTo>
                  <a:lnTo>
                    <a:pt x="86" y="214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84" y="210"/>
                  </a:lnTo>
                  <a:lnTo>
                    <a:pt x="84" y="206"/>
                  </a:lnTo>
                  <a:lnTo>
                    <a:pt x="84" y="206"/>
                  </a:lnTo>
                  <a:lnTo>
                    <a:pt x="80" y="206"/>
                  </a:lnTo>
                  <a:lnTo>
                    <a:pt x="80" y="210"/>
                  </a:lnTo>
                  <a:lnTo>
                    <a:pt x="80" y="210"/>
                  </a:lnTo>
                  <a:lnTo>
                    <a:pt x="80" y="210"/>
                  </a:lnTo>
                  <a:lnTo>
                    <a:pt x="80" y="210"/>
                  </a:lnTo>
                  <a:lnTo>
                    <a:pt x="80" y="210"/>
                  </a:lnTo>
                  <a:lnTo>
                    <a:pt x="80" y="210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76" y="214"/>
                  </a:lnTo>
                  <a:lnTo>
                    <a:pt x="76" y="214"/>
                  </a:lnTo>
                  <a:lnTo>
                    <a:pt x="76" y="218"/>
                  </a:lnTo>
                  <a:lnTo>
                    <a:pt x="76" y="218"/>
                  </a:lnTo>
                  <a:lnTo>
                    <a:pt x="76" y="218"/>
                  </a:lnTo>
                  <a:lnTo>
                    <a:pt x="76" y="218"/>
                  </a:lnTo>
                  <a:lnTo>
                    <a:pt x="76" y="220"/>
                  </a:lnTo>
                  <a:lnTo>
                    <a:pt x="76" y="220"/>
                  </a:lnTo>
                  <a:lnTo>
                    <a:pt x="76" y="220"/>
                  </a:lnTo>
                  <a:lnTo>
                    <a:pt x="76" y="220"/>
                  </a:lnTo>
                  <a:lnTo>
                    <a:pt x="72" y="224"/>
                  </a:lnTo>
                  <a:lnTo>
                    <a:pt x="72" y="224"/>
                  </a:lnTo>
                  <a:lnTo>
                    <a:pt x="72" y="220"/>
                  </a:lnTo>
                  <a:lnTo>
                    <a:pt x="72" y="220"/>
                  </a:lnTo>
                  <a:lnTo>
                    <a:pt x="68" y="220"/>
                  </a:lnTo>
                  <a:lnTo>
                    <a:pt x="68" y="220"/>
                  </a:lnTo>
                  <a:lnTo>
                    <a:pt x="68" y="220"/>
                  </a:lnTo>
                  <a:lnTo>
                    <a:pt x="68" y="220"/>
                  </a:lnTo>
                  <a:lnTo>
                    <a:pt x="68" y="218"/>
                  </a:lnTo>
                  <a:lnTo>
                    <a:pt x="64" y="218"/>
                  </a:lnTo>
                  <a:lnTo>
                    <a:pt x="64" y="218"/>
                  </a:lnTo>
                  <a:lnTo>
                    <a:pt x="64" y="218"/>
                  </a:lnTo>
                  <a:lnTo>
                    <a:pt x="64" y="218"/>
                  </a:lnTo>
                  <a:lnTo>
                    <a:pt x="60" y="218"/>
                  </a:lnTo>
                  <a:lnTo>
                    <a:pt x="60" y="214"/>
                  </a:lnTo>
                  <a:lnTo>
                    <a:pt x="60" y="214"/>
                  </a:lnTo>
                  <a:lnTo>
                    <a:pt x="60" y="214"/>
                  </a:lnTo>
                  <a:lnTo>
                    <a:pt x="60" y="214"/>
                  </a:lnTo>
                  <a:lnTo>
                    <a:pt x="60" y="214"/>
                  </a:lnTo>
                  <a:lnTo>
                    <a:pt x="60" y="214"/>
                  </a:lnTo>
                  <a:lnTo>
                    <a:pt x="60" y="214"/>
                  </a:lnTo>
                  <a:lnTo>
                    <a:pt x="60" y="214"/>
                  </a:lnTo>
                  <a:lnTo>
                    <a:pt x="60" y="214"/>
                  </a:lnTo>
                  <a:lnTo>
                    <a:pt x="60" y="210"/>
                  </a:lnTo>
                  <a:lnTo>
                    <a:pt x="56" y="210"/>
                  </a:lnTo>
                  <a:lnTo>
                    <a:pt x="56" y="210"/>
                  </a:lnTo>
                  <a:lnTo>
                    <a:pt x="56" y="210"/>
                  </a:lnTo>
                  <a:lnTo>
                    <a:pt x="56" y="206"/>
                  </a:lnTo>
                  <a:lnTo>
                    <a:pt x="56" y="206"/>
                  </a:lnTo>
                  <a:lnTo>
                    <a:pt x="54" y="202"/>
                  </a:lnTo>
                  <a:lnTo>
                    <a:pt x="54" y="198"/>
                  </a:lnTo>
                  <a:lnTo>
                    <a:pt x="54" y="198"/>
                  </a:lnTo>
                  <a:lnTo>
                    <a:pt x="50" y="198"/>
                  </a:lnTo>
                  <a:lnTo>
                    <a:pt x="50" y="198"/>
                  </a:lnTo>
                  <a:lnTo>
                    <a:pt x="50" y="198"/>
                  </a:lnTo>
                  <a:lnTo>
                    <a:pt x="50" y="198"/>
                  </a:lnTo>
                  <a:lnTo>
                    <a:pt x="50" y="198"/>
                  </a:lnTo>
                  <a:lnTo>
                    <a:pt x="50" y="198"/>
                  </a:lnTo>
                  <a:lnTo>
                    <a:pt x="50" y="198"/>
                  </a:lnTo>
                  <a:lnTo>
                    <a:pt x="46" y="198"/>
                  </a:lnTo>
                  <a:lnTo>
                    <a:pt x="46" y="194"/>
                  </a:lnTo>
                  <a:lnTo>
                    <a:pt x="46" y="194"/>
                  </a:lnTo>
                  <a:lnTo>
                    <a:pt x="42" y="190"/>
                  </a:lnTo>
                  <a:lnTo>
                    <a:pt x="42" y="190"/>
                  </a:lnTo>
                  <a:lnTo>
                    <a:pt x="38" y="190"/>
                  </a:lnTo>
                  <a:lnTo>
                    <a:pt x="38" y="190"/>
                  </a:lnTo>
                  <a:lnTo>
                    <a:pt x="38" y="190"/>
                  </a:lnTo>
                  <a:lnTo>
                    <a:pt x="34" y="190"/>
                  </a:lnTo>
                  <a:lnTo>
                    <a:pt x="34" y="190"/>
                  </a:lnTo>
                  <a:lnTo>
                    <a:pt x="34" y="190"/>
                  </a:lnTo>
                  <a:lnTo>
                    <a:pt x="30" y="190"/>
                  </a:lnTo>
                  <a:lnTo>
                    <a:pt x="30" y="190"/>
                  </a:lnTo>
                  <a:lnTo>
                    <a:pt x="30" y="190"/>
                  </a:lnTo>
                  <a:lnTo>
                    <a:pt x="30" y="190"/>
                  </a:lnTo>
                  <a:lnTo>
                    <a:pt x="30" y="188"/>
                  </a:lnTo>
                  <a:lnTo>
                    <a:pt x="30" y="190"/>
                  </a:lnTo>
                  <a:lnTo>
                    <a:pt x="30" y="190"/>
                  </a:lnTo>
                  <a:lnTo>
                    <a:pt x="30" y="190"/>
                  </a:lnTo>
                  <a:lnTo>
                    <a:pt x="26" y="190"/>
                  </a:lnTo>
                  <a:lnTo>
                    <a:pt x="26" y="190"/>
                  </a:lnTo>
                  <a:lnTo>
                    <a:pt x="24" y="190"/>
                  </a:lnTo>
                  <a:lnTo>
                    <a:pt x="24" y="190"/>
                  </a:lnTo>
                  <a:lnTo>
                    <a:pt x="24" y="190"/>
                  </a:lnTo>
                  <a:lnTo>
                    <a:pt x="24" y="190"/>
                  </a:lnTo>
                  <a:lnTo>
                    <a:pt x="20" y="190"/>
                  </a:lnTo>
                  <a:lnTo>
                    <a:pt x="20" y="190"/>
                  </a:lnTo>
                  <a:lnTo>
                    <a:pt x="20" y="190"/>
                  </a:lnTo>
                  <a:lnTo>
                    <a:pt x="20" y="190"/>
                  </a:lnTo>
                  <a:lnTo>
                    <a:pt x="20" y="190"/>
                  </a:lnTo>
                  <a:lnTo>
                    <a:pt x="16" y="190"/>
                  </a:lnTo>
                  <a:lnTo>
                    <a:pt x="16" y="190"/>
                  </a:lnTo>
                  <a:lnTo>
                    <a:pt x="16" y="190"/>
                  </a:lnTo>
                  <a:lnTo>
                    <a:pt x="16" y="190"/>
                  </a:lnTo>
                  <a:lnTo>
                    <a:pt x="16" y="190"/>
                  </a:lnTo>
                  <a:lnTo>
                    <a:pt x="12" y="190"/>
                  </a:lnTo>
                  <a:lnTo>
                    <a:pt x="12" y="190"/>
                  </a:lnTo>
                  <a:lnTo>
                    <a:pt x="12" y="194"/>
                  </a:lnTo>
                  <a:lnTo>
                    <a:pt x="12" y="194"/>
                  </a:lnTo>
                  <a:lnTo>
                    <a:pt x="12" y="194"/>
                  </a:lnTo>
                  <a:lnTo>
                    <a:pt x="12" y="194"/>
                  </a:lnTo>
                  <a:lnTo>
                    <a:pt x="12" y="198"/>
                  </a:lnTo>
                  <a:lnTo>
                    <a:pt x="8" y="198"/>
                  </a:lnTo>
                  <a:lnTo>
                    <a:pt x="8" y="198"/>
                  </a:lnTo>
                  <a:lnTo>
                    <a:pt x="8" y="198"/>
                  </a:lnTo>
                  <a:lnTo>
                    <a:pt x="8" y="194"/>
                  </a:lnTo>
                  <a:lnTo>
                    <a:pt x="8" y="194"/>
                  </a:lnTo>
                  <a:lnTo>
                    <a:pt x="8" y="194"/>
                  </a:lnTo>
                  <a:lnTo>
                    <a:pt x="8" y="194"/>
                  </a:lnTo>
                  <a:lnTo>
                    <a:pt x="8" y="194"/>
                  </a:lnTo>
                  <a:lnTo>
                    <a:pt x="12" y="190"/>
                  </a:lnTo>
                  <a:lnTo>
                    <a:pt x="12" y="190"/>
                  </a:lnTo>
                  <a:lnTo>
                    <a:pt x="12" y="190"/>
                  </a:lnTo>
                  <a:lnTo>
                    <a:pt x="12" y="190"/>
                  </a:lnTo>
                  <a:lnTo>
                    <a:pt x="12" y="190"/>
                  </a:lnTo>
                  <a:lnTo>
                    <a:pt x="12" y="188"/>
                  </a:lnTo>
                  <a:lnTo>
                    <a:pt x="12" y="188"/>
                  </a:lnTo>
                  <a:lnTo>
                    <a:pt x="12" y="184"/>
                  </a:lnTo>
                  <a:lnTo>
                    <a:pt x="12" y="184"/>
                  </a:lnTo>
                  <a:lnTo>
                    <a:pt x="12" y="184"/>
                  </a:lnTo>
                  <a:lnTo>
                    <a:pt x="12" y="184"/>
                  </a:lnTo>
                  <a:lnTo>
                    <a:pt x="16" y="180"/>
                  </a:lnTo>
                  <a:lnTo>
                    <a:pt x="16" y="180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2"/>
                  </a:lnTo>
                  <a:lnTo>
                    <a:pt x="16" y="172"/>
                  </a:lnTo>
                  <a:lnTo>
                    <a:pt x="16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6" y="164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54"/>
                  </a:lnTo>
                  <a:lnTo>
                    <a:pt x="16" y="154"/>
                  </a:lnTo>
                  <a:lnTo>
                    <a:pt x="16" y="150"/>
                  </a:lnTo>
                  <a:lnTo>
                    <a:pt x="16" y="150"/>
                  </a:lnTo>
                  <a:lnTo>
                    <a:pt x="16" y="150"/>
                  </a:lnTo>
                  <a:lnTo>
                    <a:pt x="12" y="150"/>
                  </a:lnTo>
                  <a:lnTo>
                    <a:pt x="12" y="146"/>
                  </a:lnTo>
                  <a:lnTo>
                    <a:pt x="12" y="146"/>
                  </a:lnTo>
                  <a:lnTo>
                    <a:pt x="12" y="146"/>
                  </a:lnTo>
                  <a:lnTo>
                    <a:pt x="12" y="146"/>
                  </a:lnTo>
                  <a:lnTo>
                    <a:pt x="12" y="146"/>
                  </a:lnTo>
                  <a:lnTo>
                    <a:pt x="12" y="146"/>
                  </a:lnTo>
                  <a:lnTo>
                    <a:pt x="12" y="142"/>
                  </a:lnTo>
                  <a:lnTo>
                    <a:pt x="8" y="142"/>
                  </a:lnTo>
                  <a:lnTo>
                    <a:pt x="8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2" y="134"/>
                  </a:lnTo>
                  <a:lnTo>
                    <a:pt x="12" y="132"/>
                  </a:lnTo>
                  <a:lnTo>
                    <a:pt x="12" y="132"/>
                  </a:lnTo>
                  <a:lnTo>
                    <a:pt x="16" y="128"/>
                  </a:lnTo>
                  <a:lnTo>
                    <a:pt x="12" y="128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8" y="120"/>
                  </a:lnTo>
                  <a:lnTo>
                    <a:pt x="8" y="118"/>
                  </a:lnTo>
                  <a:lnTo>
                    <a:pt x="8" y="120"/>
                  </a:lnTo>
                  <a:lnTo>
                    <a:pt x="8" y="120"/>
                  </a:lnTo>
                  <a:lnTo>
                    <a:pt x="8" y="120"/>
                  </a:lnTo>
                  <a:lnTo>
                    <a:pt x="8" y="120"/>
                  </a:lnTo>
                  <a:lnTo>
                    <a:pt x="8" y="120"/>
                  </a:lnTo>
                  <a:lnTo>
                    <a:pt x="8" y="120"/>
                  </a:lnTo>
                  <a:lnTo>
                    <a:pt x="4" y="114"/>
                  </a:lnTo>
                  <a:lnTo>
                    <a:pt x="4" y="114"/>
                  </a:lnTo>
                  <a:lnTo>
                    <a:pt x="4" y="110"/>
                  </a:lnTo>
                  <a:lnTo>
                    <a:pt x="4" y="114"/>
                  </a:lnTo>
                  <a:lnTo>
                    <a:pt x="0" y="114"/>
                  </a:lnTo>
                  <a:lnTo>
                    <a:pt x="4" y="114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4" y="114"/>
                  </a:lnTo>
                  <a:lnTo>
                    <a:pt x="4" y="110"/>
                  </a:lnTo>
                  <a:lnTo>
                    <a:pt x="4" y="110"/>
                  </a:lnTo>
                  <a:lnTo>
                    <a:pt x="8" y="110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26" y="110"/>
                  </a:lnTo>
                  <a:lnTo>
                    <a:pt x="30" y="110"/>
                  </a:lnTo>
                  <a:lnTo>
                    <a:pt x="34" y="110"/>
                  </a:lnTo>
                  <a:lnTo>
                    <a:pt x="38" y="110"/>
                  </a:lnTo>
                  <a:lnTo>
                    <a:pt x="42" y="110"/>
                  </a:lnTo>
                  <a:lnTo>
                    <a:pt x="42" y="110"/>
                  </a:lnTo>
                  <a:lnTo>
                    <a:pt x="46" y="110"/>
                  </a:lnTo>
                  <a:lnTo>
                    <a:pt x="54" y="110"/>
                  </a:lnTo>
                  <a:lnTo>
                    <a:pt x="60" y="110"/>
                  </a:lnTo>
                  <a:lnTo>
                    <a:pt x="60" y="106"/>
                  </a:lnTo>
                  <a:lnTo>
                    <a:pt x="60" y="98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8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64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90" y="24"/>
                  </a:lnTo>
                  <a:lnTo>
                    <a:pt x="94" y="24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106" y="24"/>
                  </a:lnTo>
                  <a:lnTo>
                    <a:pt x="106" y="24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0" y="16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8" y="4"/>
                  </a:lnTo>
                  <a:lnTo>
                    <a:pt x="128" y="8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40" y="16"/>
                  </a:lnTo>
                  <a:lnTo>
                    <a:pt x="142" y="16"/>
                  </a:lnTo>
                  <a:lnTo>
                    <a:pt x="142" y="20"/>
                  </a:lnTo>
                  <a:lnTo>
                    <a:pt x="146" y="20"/>
                  </a:lnTo>
                  <a:lnTo>
                    <a:pt x="150" y="24"/>
                  </a:lnTo>
                  <a:lnTo>
                    <a:pt x="154" y="28"/>
                  </a:lnTo>
                  <a:lnTo>
                    <a:pt x="154" y="28"/>
                  </a:lnTo>
                  <a:lnTo>
                    <a:pt x="162" y="30"/>
                  </a:lnTo>
                  <a:lnTo>
                    <a:pt x="162" y="30"/>
                  </a:lnTo>
                  <a:lnTo>
                    <a:pt x="166" y="34"/>
                  </a:lnTo>
                  <a:lnTo>
                    <a:pt x="170" y="38"/>
                  </a:lnTo>
                  <a:lnTo>
                    <a:pt x="172" y="42"/>
                  </a:lnTo>
                  <a:lnTo>
                    <a:pt x="172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2" y="42"/>
                  </a:lnTo>
                  <a:lnTo>
                    <a:pt x="162" y="42"/>
                  </a:lnTo>
                  <a:lnTo>
                    <a:pt x="158" y="42"/>
                  </a:lnTo>
                  <a:lnTo>
                    <a:pt x="154" y="42"/>
                  </a:lnTo>
                  <a:lnTo>
                    <a:pt x="154" y="42"/>
                  </a:lnTo>
                  <a:lnTo>
                    <a:pt x="150" y="42"/>
                  </a:lnTo>
                  <a:lnTo>
                    <a:pt x="150" y="42"/>
                  </a:lnTo>
                  <a:lnTo>
                    <a:pt x="150" y="50"/>
                  </a:lnTo>
                  <a:lnTo>
                    <a:pt x="150" y="50"/>
                  </a:lnTo>
                  <a:lnTo>
                    <a:pt x="150" y="54"/>
                  </a:lnTo>
                  <a:lnTo>
                    <a:pt x="150" y="58"/>
                  </a:lnTo>
                  <a:lnTo>
                    <a:pt x="154" y="64"/>
                  </a:lnTo>
                  <a:lnTo>
                    <a:pt x="154" y="72"/>
                  </a:lnTo>
                  <a:lnTo>
                    <a:pt x="154" y="80"/>
                  </a:lnTo>
                  <a:lnTo>
                    <a:pt x="154" y="80"/>
                  </a:lnTo>
                  <a:lnTo>
                    <a:pt x="154" y="80"/>
                  </a:lnTo>
                  <a:lnTo>
                    <a:pt x="154" y="84"/>
                  </a:lnTo>
                  <a:lnTo>
                    <a:pt x="154" y="94"/>
                  </a:lnTo>
                  <a:lnTo>
                    <a:pt x="154" y="98"/>
                  </a:lnTo>
                  <a:lnTo>
                    <a:pt x="158" y="102"/>
                  </a:lnTo>
                  <a:lnTo>
                    <a:pt x="158" y="106"/>
                  </a:lnTo>
                  <a:lnTo>
                    <a:pt x="158" y="110"/>
                  </a:lnTo>
                  <a:lnTo>
                    <a:pt x="158" y="114"/>
                  </a:lnTo>
                  <a:lnTo>
                    <a:pt x="158" y="118"/>
                  </a:lnTo>
                  <a:lnTo>
                    <a:pt x="158" y="120"/>
                  </a:lnTo>
                  <a:lnTo>
                    <a:pt x="158" y="128"/>
                  </a:lnTo>
                  <a:lnTo>
                    <a:pt x="158" y="134"/>
                  </a:lnTo>
                  <a:lnTo>
                    <a:pt x="158" y="134"/>
                  </a:lnTo>
                  <a:lnTo>
                    <a:pt x="162" y="142"/>
                  </a:lnTo>
                  <a:lnTo>
                    <a:pt x="162" y="146"/>
                  </a:lnTo>
                  <a:lnTo>
                    <a:pt x="162" y="146"/>
                  </a:lnTo>
                  <a:lnTo>
                    <a:pt x="162" y="154"/>
                  </a:lnTo>
                  <a:lnTo>
                    <a:pt x="162" y="154"/>
                  </a:lnTo>
                  <a:lnTo>
                    <a:pt x="162" y="160"/>
                  </a:lnTo>
                  <a:lnTo>
                    <a:pt x="162" y="164"/>
                  </a:lnTo>
                  <a:lnTo>
                    <a:pt x="162" y="168"/>
                  </a:lnTo>
                  <a:lnTo>
                    <a:pt x="162" y="176"/>
                  </a:lnTo>
                  <a:lnTo>
                    <a:pt x="166" y="188"/>
                  </a:lnTo>
                  <a:lnTo>
                    <a:pt x="166" y="190"/>
                  </a:lnTo>
                  <a:lnTo>
                    <a:pt x="170" y="194"/>
                  </a:lnTo>
                  <a:lnTo>
                    <a:pt x="170" y="198"/>
                  </a:lnTo>
                  <a:lnTo>
                    <a:pt x="170" y="198"/>
                  </a:lnTo>
                  <a:lnTo>
                    <a:pt x="166" y="202"/>
                  </a:lnTo>
                  <a:lnTo>
                    <a:pt x="166" y="210"/>
                  </a:lnTo>
                  <a:lnTo>
                    <a:pt x="166" y="210"/>
                  </a:lnTo>
                  <a:lnTo>
                    <a:pt x="166" y="210"/>
                  </a:lnTo>
                  <a:lnTo>
                    <a:pt x="166" y="210"/>
                  </a:lnTo>
                  <a:lnTo>
                    <a:pt x="158" y="210"/>
                  </a:lnTo>
                  <a:lnTo>
                    <a:pt x="154" y="210"/>
                  </a:lnTo>
                  <a:lnTo>
                    <a:pt x="154" y="210"/>
                  </a:lnTo>
                  <a:lnTo>
                    <a:pt x="154" y="210"/>
                  </a:lnTo>
                  <a:lnTo>
                    <a:pt x="150" y="210"/>
                  </a:lnTo>
                  <a:lnTo>
                    <a:pt x="142" y="210"/>
                  </a:lnTo>
                  <a:lnTo>
                    <a:pt x="140" y="210"/>
                  </a:lnTo>
                  <a:lnTo>
                    <a:pt x="140" y="210"/>
                  </a:lnTo>
                  <a:lnTo>
                    <a:pt x="136" y="210"/>
                  </a:lnTo>
                  <a:lnTo>
                    <a:pt x="132" y="210"/>
                  </a:lnTo>
                  <a:lnTo>
                    <a:pt x="128" y="210"/>
                  </a:lnTo>
                  <a:lnTo>
                    <a:pt x="124" y="210"/>
                  </a:lnTo>
                  <a:lnTo>
                    <a:pt x="124" y="210"/>
                  </a:lnTo>
                  <a:lnTo>
                    <a:pt x="120" y="210"/>
                  </a:lnTo>
                  <a:lnTo>
                    <a:pt x="116" y="210"/>
                  </a:lnTo>
                  <a:lnTo>
                    <a:pt x="116" y="210"/>
                  </a:lnTo>
                  <a:lnTo>
                    <a:pt x="116" y="210"/>
                  </a:lnTo>
                  <a:lnTo>
                    <a:pt x="112" y="210"/>
                  </a:lnTo>
                  <a:lnTo>
                    <a:pt x="112" y="210"/>
                  </a:lnTo>
                  <a:lnTo>
                    <a:pt x="112" y="210"/>
                  </a:lnTo>
                  <a:lnTo>
                    <a:pt x="112" y="210"/>
                  </a:lnTo>
                  <a:lnTo>
                    <a:pt x="112" y="206"/>
                  </a:lnTo>
                  <a:lnTo>
                    <a:pt x="112" y="206"/>
                  </a:lnTo>
                  <a:lnTo>
                    <a:pt x="110" y="210"/>
                  </a:lnTo>
                  <a:lnTo>
                    <a:pt x="110" y="210"/>
                  </a:lnTo>
                  <a:lnTo>
                    <a:pt x="110" y="210"/>
                  </a:lnTo>
                  <a:lnTo>
                    <a:pt x="106" y="210"/>
                  </a:lnTo>
                  <a:lnTo>
                    <a:pt x="106" y="210"/>
                  </a:lnTo>
                  <a:lnTo>
                    <a:pt x="106" y="214"/>
                  </a:lnTo>
                  <a:lnTo>
                    <a:pt x="106" y="214"/>
                  </a:lnTo>
                  <a:lnTo>
                    <a:pt x="106" y="214"/>
                  </a:lnTo>
                  <a:lnTo>
                    <a:pt x="102" y="214"/>
                  </a:lnTo>
                  <a:lnTo>
                    <a:pt x="102" y="214"/>
                  </a:lnTo>
                  <a:lnTo>
                    <a:pt x="102" y="214"/>
                  </a:lnTo>
                  <a:lnTo>
                    <a:pt x="102" y="214"/>
                  </a:lnTo>
                  <a:lnTo>
                    <a:pt x="98" y="210"/>
                  </a:lnTo>
                  <a:lnTo>
                    <a:pt x="98" y="210"/>
                  </a:lnTo>
                  <a:lnTo>
                    <a:pt x="98" y="210"/>
                  </a:lnTo>
                  <a:lnTo>
                    <a:pt x="94" y="210"/>
                  </a:lnTo>
                  <a:lnTo>
                    <a:pt x="94" y="210"/>
                  </a:lnTo>
                  <a:lnTo>
                    <a:pt x="94" y="210"/>
                  </a:lnTo>
                  <a:lnTo>
                    <a:pt x="94" y="210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90" y="210"/>
                  </a:lnTo>
                  <a:close/>
                  <a:moveTo>
                    <a:pt x="12" y="138"/>
                  </a:moveTo>
                  <a:lnTo>
                    <a:pt x="12" y="138"/>
                  </a:lnTo>
                  <a:lnTo>
                    <a:pt x="12" y="138"/>
                  </a:lnTo>
                  <a:lnTo>
                    <a:pt x="12" y="134"/>
                  </a:lnTo>
                  <a:lnTo>
                    <a:pt x="12" y="134"/>
                  </a:lnTo>
                  <a:lnTo>
                    <a:pt x="12" y="134"/>
                  </a:lnTo>
                  <a:lnTo>
                    <a:pt x="12" y="134"/>
                  </a:lnTo>
                  <a:lnTo>
                    <a:pt x="12" y="134"/>
                  </a:lnTo>
                  <a:lnTo>
                    <a:pt x="12" y="134"/>
                  </a:lnTo>
                  <a:lnTo>
                    <a:pt x="12" y="134"/>
                  </a:lnTo>
                  <a:lnTo>
                    <a:pt x="12" y="134"/>
                  </a:lnTo>
                  <a:lnTo>
                    <a:pt x="12" y="134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2" y="13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18" name="Freeform 158">
              <a:extLst>
                <a:ext uri="{FF2B5EF4-FFF2-40B4-BE49-F238E27FC236}">
                  <a16:creationId xmlns:a16="http://schemas.microsoft.com/office/drawing/2014/main" id="{1D63CBEC-7B26-7AF1-9D17-DE082984C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0761" y="2971956"/>
              <a:ext cx="335094" cy="290368"/>
            </a:xfrm>
            <a:custGeom>
              <a:avLst/>
              <a:gdLst>
                <a:gd name="T0" fmla="*/ 126 w 172"/>
                <a:gd name="T1" fmla="*/ 16 h 154"/>
                <a:gd name="T2" fmla="*/ 134 w 172"/>
                <a:gd name="T3" fmla="*/ 16 h 154"/>
                <a:gd name="T4" fmla="*/ 142 w 172"/>
                <a:gd name="T5" fmla="*/ 16 h 154"/>
                <a:gd name="T6" fmla="*/ 146 w 172"/>
                <a:gd name="T7" fmla="*/ 16 h 154"/>
                <a:gd name="T8" fmla="*/ 146 w 172"/>
                <a:gd name="T9" fmla="*/ 16 h 154"/>
                <a:gd name="T10" fmla="*/ 148 w 172"/>
                <a:gd name="T11" fmla="*/ 16 h 154"/>
                <a:gd name="T12" fmla="*/ 156 w 172"/>
                <a:gd name="T13" fmla="*/ 20 h 154"/>
                <a:gd name="T14" fmla="*/ 160 w 172"/>
                <a:gd name="T15" fmla="*/ 26 h 154"/>
                <a:gd name="T16" fmla="*/ 164 w 172"/>
                <a:gd name="T17" fmla="*/ 38 h 154"/>
                <a:gd name="T18" fmla="*/ 164 w 172"/>
                <a:gd name="T19" fmla="*/ 46 h 154"/>
                <a:gd name="T20" fmla="*/ 164 w 172"/>
                <a:gd name="T21" fmla="*/ 56 h 154"/>
                <a:gd name="T22" fmla="*/ 172 w 172"/>
                <a:gd name="T23" fmla="*/ 64 h 154"/>
                <a:gd name="T24" fmla="*/ 168 w 172"/>
                <a:gd name="T25" fmla="*/ 72 h 154"/>
                <a:gd name="T26" fmla="*/ 168 w 172"/>
                <a:gd name="T27" fmla="*/ 76 h 154"/>
                <a:gd name="T28" fmla="*/ 160 w 172"/>
                <a:gd name="T29" fmla="*/ 72 h 154"/>
                <a:gd name="T30" fmla="*/ 152 w 172"/>
                <a:gd name="T31" fmla="*/ 72 h 154"/>
                <a:gd name="T32" fmla="*/ 146 w 172"/>
                <a:gd name="T33" fmla="*/ 76 h 154"/>
                <a:gd name="T34" fmla="*/ 142 w 172"/>
                <a:gd name="T35" fmla="*/ 78 h 154"/>
                <a:gd name="T36" fmla="*/ 134 w 172"/>
                <a:gd name="T37" fmla="*/ 78 h 154"/>
                <a:gd name="T38" fmla="*/ 130 w 172"/>
                <a:gd name="T39" fmla="*/ 86 h 154"/>
                <a:gd name="T40" fmla="*/ 134 w 172"/>
                <a:gd name="T41" fmla="*/ 94 h 154"/>
                <a:gd name="T42" fmla="*/ 130 w 172"/>
                <a:gd name="T43" fmla="*/ 94 h 154"/>
                <a:gd name="T44" fmla="*/ 126 w 172"/>
                <a:gd name="T45" fmla="*/ 98 h 154"/>
                <a:gd name="T46" fmla="*/ 118 w 172"/>
                <a:gd name="T47" fmla="*/ 102 h 154"/>
                <a:gd name="T48" fmla="*/ 116 w 172"/>
                <a:gd name="T49" fmla="*/ 108 h 154"/>
                <a:gd name="T50" fmla="*/ 112 w 172"/>
                <a:gd name="T51" fmla="*/ 112 h 154"/>
                <a:gd name="T52" fmla="*/ 100 w 172"/>
                <a:gd name="T53" fmla="*/ 116 h 154"/>
                <a:gd name="T54" fmla="*/ 96 w 172"/>
                <a:gd name="T55" fmla="*/ 116 h 154"/>
                <a:gd name="T56" fmla="*/ 92 w 172"/>
                <a:gd name="T57" fmla="*/ 120 h 154"/>
                <a:gd name="T58" fmla="*/ 86 w 172"/>
                <a:gd name="T59" fmla="*/ 120 h 154"/>
                <a:gd name="T60" fmla="*/ 78 w 172"/>
                <a:gd name="T61" fmla="*/ 124 h 154"/>
                <a:gd name="T62" fmla="*/ 74 w 172"/>
                <a:gd name="T63" fmla="*/ 124 h 154"/>
                <a:gd name="T64" fmla="*/ 66 w 172"/>
                <a:gd name="T65" fmla="*/ 130 h 154"/>
                <a:gd name="T66" fmla="*/ 62 w 172"/>
                <a:gd name="T67" fmla="*/ 154 h 154"/>
                <a:gd name="T68" fmla="*/ 44 w 172"/>
                <a:gd name="T69" fmla="*/ 154 h 154"/>
                <a:gd name="T70" fmla="*/ 0 w 172"/>
                <a:gd name="T71" fmla="*/ 154 h 154"/>
                <a:gd name="T72" fmla="*/ 4 w 172"/>
                <a:gd name="T73" fmla="*/ 150 h 154"/>
                <a:gd name="T74" fmla="*/ 18 w 172"/>
                <a:gd name="T75" fmla="*/ 146 h 154"/>
                <a:gd name="T76" fmla="*/ 30 w 172"/>
                <a:gd name="T77" fmla="*/ 134 h 154"/>
                <a:gd name="T78" fmla="*/ 36 w 172"/>
                <a:gd name="T79" fmla="*/ 130 h 154"/>
                <a:gd name="T80" fmla="*/ 40 w 172"/>
                <a:gd name="T81" fmla="*/ 124 h 154"/>
                <a:gd name="T82" fmla="*/ 48 w 172"/>
                <a:gd name="T83" fmla="*/ 116 h 154"/>
                <a:gd name="T84" fmla="*/ 52 w 172"/>
                <a:gd name="T85" fmla="*/ 104 h 154"/>
                <a:gd name="T86" fmla="*/ 48 w 172"/>
                <a:gd name="T87" fmla="*/ 98 h 154"/>
                <a:gd name="T88" fmla="*/ 48 w 172"/>
                <a:gd name="T89" fmla="*/ 86 h 154"/>
                <a:gd name="T90" fmla="*/ 48 w 172"/>
                <a:gd name="T91" fmla="*/ 78 h 154"/>
                <a:gd name="T92" fmla="*/ 56 w 172"/>
                <a:gd name="T93" fmla="*/ 64 h 154"/>
                <a:gd name="T94" fmla="*/ 60 w 172"/>
                <a:gd name="T95" fmla="*/ 60 h 154"/>
                <a:gd name="T96" fmla="*/ 66 w 172"/>
                <a:gd name="T97" fmla="*/ 52 h 154"/>
                <a:gd name="T98" fmla="*/ 70 w 172"/>
                <a:gd name="T99" fmla="*/ 50 h 154"/>
                <a:gd name="T100" fmla="*/ 82 w 172"/>
                <a:gd name="T101" fmla="*/ 42 h 154"/>
                <a:gd name="T102" fmla="*/ 90 w 172"/>
                <a:gd name="T103" fmla="*/ 38 h 154"/>
                <a:gd name="T104" fmla="*/ 96 w 172"/>
                <a:gd name="T105" fmla="*/ 22 h 154"/>
                <a:gd name="T106" fmla="*/ 100 w 172"/>
                <a:gd name="T107" fmla="*/ 12 h 154"/>
                <a:gd name="T108" fmla="*/ 108 w 172"/>
                <a:gd name="T109" fmla="*/ 4 h 154"/>
                <a:gd name="T110" fmla="*/ 112 w 172"/>
                <a:gd name="T111" fmla="*/ 4 h 154"/>
                <a:gd name="T112" fmla="*/ 112 w 172"/>
                <a:gd name="T113" fmla="*/ 8 h 154"/>
                <a:gd name="T114" fmla="*/ 122 w 172"/>
                <a:gd name="T115" fmla="*/ 1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2" h="154">
                  <a:moveTo>
                    <a:pt x="122" y="16"/>
                  </a:moveTo>
                  <a:lnTo>
                    <a:pt x="122" y="16"/>
                  </a:lnTo>
                  <a:lnTo>
                    <a:pt x="122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4" y="16"/>
                  </a:lnTo>
                  <a:lnTo>
                    <a:pt x="134" y="16"/>
                  </a:lnTo>
                  <a:lnTo>
                    <a:pt x="134" y="16"/>
                  </a:lnTo>
                  <a:lnTo>
                    <a:pt x="134" y="16"/>
                  </a:lnTo>
                  <a:lnTo>
                    <a:pt x="134" y="16"/>
                  </a:lnTo>
                  <a:lnTo>
                    <a:pt x="138" y="16"/>
                  </a:lnTo>
                  <a:lnTo>
                    <a:pt x="138" y="16"/>
                  </a:lnTo>
                  <a:lnTo>
                    <a:pt x="138" y="16"/>
                  </a:lnTo>
                  <a:lnTo>
                    <a:pt x="138" y="16"/>
                  </a:lnTo>
                  <a:lnTo>
                    <a:pt x="142" y="16"/>
                  </a:lnTo>
                  <a:lnTo>
                    <a:pt x="142" y="16"/>
                  </a:lnTo>
                  <a:lnTo>
                    <a:pt x="146" y="12"/>
                  </a:lnTo>
                  <a:lnTo>
                    <a:pt x="146" y="12"/>
                  </a:lnTo>
                  <a:lnTo>
                    <a:pt x="146" y="12"/>
                  </a:lnTo>
                  <a:lnTo>
                    <a:pt x="146" y="12"/>
                  </a:lnTo>
                  <a:lnTo>
                    <a:pt x="146" y="12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20"/>
                  </a:lnTo>
                  <a:lnTo>
                    <a:pt x="148" y="20"/>
                  </a:lnTo>
                  <a:lnTo>
                    <a:pt x="152" y="16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6" y="20"/>
                  </a:lnTo>
                  <a:lnTo>
                    <a:pt x="156" y="20"/>
                  </a:lnTo>
                  <a:lnTo>
                    <a:pt x="156" y="20"/>
                  </a:lnTo>
                  <a:lnTo>
                    <a:pt x="156" y="20"/>
                  </a:lnTo>
                  <a:lnTo>
                    <a:pt x="156" y="20"/>
                  </a:lnTo>
                  <a:lnTo>
                    <a:pt x="160" y="22"/>
                  </a:lnTo>
                  <a:lnTo>
                    <a:pt x="160" y="22"/>
                  </a:lnTo>
                  <a:lnTo>
                    <a:pt x="160" y="22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26"/>
                  </a:lnTo>
                  <a:lnTo>
                    <a:pt x="160" y="30"/>
                  </a:lnTo>
                  <a:lnTo>
                    <a:pt x="164" y="30"/>
                  </a:lnTo>
                  <a:lnTo>
                    <a:pt x="160" y="30"/>
                  </a:lnTo>
                  <a:lnTo>
                    <a:pt x="160" y="30"/>
                  </a:lnTo>
                  <a:lnTo>
                    <a:pt x="160" y="30"/>
                  </a:lnTo>
                  <a:lnTo>
                    <a:pt x="160" y="34"/>
                  </a:lnTo>
                  <a:lnTo>
                    <a:pt x="164" y="38"/>
                  </a:lnTo>
                  <a:lnTo>
                    <a:pt x="164" y="38"/>
                  </a:lnTo>
                  <a:lnTo>
                    <a:pt x="164" y="38"/>
                  </a:lnTo>
                  <a:lnTo>
                    <a:pt x="164" y="42"/>
                  </a:lnTo>
                  <a:lnTo>
                    <a:pt x="160" y="42"/>
                  </a:lnTo>
                  <a:lnTo>
                    <a:pt x="164" y="46"/>
                  </a:lnTo>
                  <a:lnTo>
                    <a:pt x="164" y="46"/>
                  </a:lnTo>
                  <a:lnTo>
                    <a:pt x="164" y="46"/>
                  </a:lnTo>
                  <a:lnTo>
                    <a:pt x="164" y="46"/>
                  </a:lnTo>
                  <a:lnTo>
                    <a:pt x="164" y="46"/>
                  </a:lnTo>
                  <a:lnTo>
                    <a:pt x="164" y="50"/>
                  </a:lnTo>
                  <a:lnTo>
                    <a:pt x="164" y="50"/>
                  </a:lnTo>
                  <a:lnTo>
                    <a:pt x="164" y="50"/>
                  </a:lnTo>
                  <a:lnTo>
                    <a:pt x="164" y="52"/>
                  </a:lnTo>
                  <a:lnTo>
                    <a:pt x="164" y="52"/>
                  </a:lnTo>
                  <a:lnTo>
                    <a:pt x="164" y="52"/>
                  </a:lnTo>
                  <a:lnTo>
                    <a:pt x="164" y="52"/>
                  </a:lnTo>
                  <a:lnTo>
                    <a:pt x="164" y="56"/>
                  </a:lnTo>
                  <a:lnTo>
                    <a:pt x="164" y="56"/>
                  </a:lnTo>
                  <a:lnTo>
                    <a:pt x="164" y="56"/>
                  </a:lnTo>
                  <a:lnTo>
                    <a:pt x="164" y="56"/>
                  </a:lnTo>
                  <a:lnTo>
                    <a:pt x="164" y="56"/>
                  </a:lnTo>
                  <a:lnTo>
                    <a:pt x="164" y="56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72" y="64"/>
                  </a:lnTo>
                  <a:lnTo>
                    <a:pt x="172" y="68"/>
                  </a:lnTo>
                  <a:lnTo>
                    <a:pt x="172" y="68"/>
                  </a:lnTo>
                  <a:lnTo>
                    <a:pt x="172" y="68"/>
                  </a:lnTo>
                  <a:lnTo>
                    <a:pt x="172" y="68"/>
                  </a:lnTo>
                  <a:lnTo>
                    <a:pt x="168" y="68"/>
                  </a:lnTo>
                  <a:lnTo>
                    <a:pt x="168" y="68"/>
                  </a:lnTo>
                  <a:lnTo>
                    <a:pt x="168" y="68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72" y="72"/>
                  </a:lnTo>
                  <a:lnTo>
                    <a:pt x="172" y="72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0" y="72"/>
                  </a:lnTo>
                  <a:lnTo>
                    <a:pt x="160" y="72"/>
                  </a:lnTo>
                  <a:lnTo>
                    <a:pt x="156" y="72"/>
                  </a:lnTo>
                  <a:lnTo>
                    <a:pt x="156" y="72"/>
                  </a:lnTo>
                  <a:lnTo>
                    <a:pt x="156" y="72"/>
                  </a:lnTo>
                  <a:lnTo>
                    <a:pt x="156" y="72"/>
                  </a:lnTo>
                  <a:lnTo>
                    <a:pt x="152" y="72"/>
                  </a:lnTo>
                  <a:lnTo>
                    <a:pt x="152" y="72"/>
                  </a:lnTo>
                  <a:lnTo>
                    <a:pt x="152" y="72"/>
                  </a:lnTo>
                  <a:lnTo>
                    <a:pt x="152" y="72"/>
                  </a:lnTo>
                  <a:lnTo>
                    <a:pt x="152" y="72"/>
                  </a:lnTo>
                  <a:lnTo>
                    <a:pt x="146" y="76"/>
                  </a:lnTo>
                  <a:lnTo>
                    <a:pt x="146" y="76"/>
                  </a:lnTo>
                  <a:lnTo>
                    <a:pt x="146" y="76"/>
                  </a:lnTo>
                  <a:lnTo>
                    <a:pt x="146" y="76"/>
                  </a:lnTo>
                  <a:lnTo>
                    <a:pt x="146" y="76"/>
                  </a:lnTo>
                  <a:lnTo>
                    <a:pt x="146" y="76"/>
                  </a:lnTo>
                  <a:lnTo>
                    <a:pt x="146" y="76"/>
                  </a:lnTo>
                  <a:lnTo>
                    <a:pt x="146" y="78"/>
                  </a:lnTo>
                  <a:lnTo>
                    <a:pt x="146" y="78"/>
                  </a:lnTo>
                  <a:lnTo>
                    <a:pt x="146" y="78"/>
                  </a:lnTo>
                  <a:lnTo>
                    <a:pt x="142" y="78"/>
                  </a:lnTo>
                  <a:lnTo>
                    <a:pt x="142" y="78"/>
                  </a:lnTo>
                  <a:lnTo>
                    <a:pt x="142" y="78"/>
                  </a:lnTo>
                  <a:lnTo>
                    <a:pt x="142" y="78"/>
                  </a:lnTo>
                  <a:lnTo>
                    <a:pt x="138" y="78"/>
                  </a:lnTo>
                  <a:lnTo>
                    <a:pt x="138" y="78"/>
                  </a:lnTo>
                  <a:lnTo>
                    <a:pt x="138" y="82"/>
                  </a:lnTo>
                  <a:lnTo>
                    <a:pt x="138" y="82"/>
                  </a:lnTo>
                  <a:lnTo>
                    <a:pt x="138" y="82"/>
                  </a:lnTo>
                  <a:lnTo>
                    <a:pt x="134" y="82"/>
                  </a:lnTo>
                  <a:lnTo>
                    <a:pt x="134" y="78"/>
                  </a:lnTo>
                  <a:lnTo>
                    <a:pt x="134" y="78"/>
                  </a:lnTo>
                  <a:lnTo>
                    <a:pt x="134" y="78"/>
                  </a:lnTo>
                  <a:lnTo>
                    <a:pt x="134" y="78"/>
                  </a:lnTo>
                  <a:lnTo>
                    <a:pt x="134" y="78"/>
                  </a:lnTo>
                  <a:lnTo>
                    <a:pt x="134" y="78"/>
                  </a:lnTo>
                  <a:lnTo>
                    <a:pt x="130" y="82"/>
                  </a:lnTo>
                  <a:lnTo>
                    <a:pt x="130" y="82"/>
                  </a:lnTo>
                  <a:lnTo>
                    <a:pt x="130" y="86"/>
                  </a:lnTo>
                  <a:lnTo>
                    <a:pt x="130" y="86"/>
                  </a:lnTo>
                  <a:lnTo>
                    <a:pt x="134" y="86"/>
                  </a:lnTo>
                  <a:lnTo>
                    <a:pt x="130" y="90"/>
                  </a:lnTo>
                  <a:lnTo>
                    <a:pt x="130" y="90"/>
                  </a:lnTo>
                  <a:lnTo>
                    <a:pt x="134" y="90"/>
                  </a:lnTo>
                  <a:lnTo>
                    <a:pt x="134" y="90"/>
                  </a:lnTo>
                  <a:lnTo>
                    <a:pt x="134" y="90"/>
                  </a:lnTo>
                  <a:lnTo>
                    <a:pt x="134" y="90"/>
                  </a:lnTo>
                  <a:lnTo>
                    <a:pt x="134" y="94"/>
                  </a:lnTo>
                  <a:lnTo>
                    <a:pt x="134" y="94"/>
                  </a:lnTo>
                  <a:lnTo>
                    <a:pt x="134" y="94"/>
                  </a:lnTo>
                  <a:lnTo>
                    <a:pt x="134" y="94"/>
                  </a:lnTo>
                  <a:lnTo>
                    <a:pt x="134" y="94"/>
                  </a:lnTo>
                  <a:lnTo>
                    <a:pt x="134" y="94"/>
                  </a:lnTo>
                  <a:lnTo>
                    <a:pt x="134" y="94"/>
                  </a:lnTo>
                  <a:lnTo>
                    <a:pt x="130" y="94"/>
                  </a:lnTo>
                  <a:lnTo>
                    <a:pt x="130" y="94"/>
                  </a:lnTo>
                  <a:lnTo>
                    <a:pt x="130" y="94"/>
                  </a:lnTo>
                  <a:lnTo>
                    <a:pt x="130" y="94"/>
                  </a:lnTo>
                  <a:lnTo>
                    <a:pt x="130" y="94"/>
                  </a:lnTo>
                  <a:lnTo>
                    <a:pt x="130" y="94"/>
                  </a:lnTo>
                  <a:lnTo>
                    <a:pt x="126" y="98"/>
                  </a:lnTo>
                  <a:lnTo>
                    <a:pt x="126" y="98"/>
                  </a:lnTo>
                  <a:lnTo>
                    <a:pt x="126" y="98"/>
                  </a:lnTo>
                  <a:lnTo>
                    <a:pt x="126" y="98"/>
                  </a:lnTo>
                  <a:lnTo>
                    <a:pt x="126" y="98"/>
                  </a:lnTo>
                  <a:lnTo>
                    <a:pt x="126" y="98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18" y="102"/>
                  </a:lnTo>
                  <a:lnTo>
                    <a:pt x="116" y="102"/>
                  </a:lnTo>
                  <a:lnTo>
                    <a:pt x="116" y="102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8"/>
                  </a:lnTo>
                  <a:lnTo>
                    <a:pt x="116" y="108"/>
                  </a:lnTo>
                  <a:lnTo>
                    <a:pt x="112" y="108"/>
                  </a:lnTo>
                  <a:lnTo>
                    <a:pt x="112" y="108"/>
                  </a:lnTo>
                  <a:lnTo>
                    <a:pt x="112" y="108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08" y="112"/>
                  </a:lnTo>
                  <a:lnTo>
                    <a:pt x="108" y="112"/>
                  </a:lnTo>
                  <a:lnTo>
                    <a:pt x="108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100" y="116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92" y="116"/>
                  </a:lnTo>
                  <a:lnTo>
                    <a:pt x="92" y="116"/>
                  </a:lnTo>
                  <a:lnTo>
                    <a:pt x="92" y="120"/>
                  </a:lnTo>
                  <a:lnTo>
                    <a:pt x="92" y="120"/>
                  </a:lnTo>
                  <a:lnTo>
                    <a:pt x="92" y="120"/>
                  </a:lnTo>
                  <a:lnTo>
                    <a:pt x="92" y="120"/>
                  </a:lnTo>
                  <a:lnTo>
                    <a:pt x="92" y="120"/>
                  </a:lnTo>
                  <a:lnTo>
                    <a:pt x="92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86" y="120"/>
                  </a:lnTo>
                  <a:lnTo>
                    <a:pt x="86" y="120"/>
                  </a:lnTo>
                  <a:lnTo>
                    <a:pt x="86" y="120"/>
                  </a:lnTo>
                  <a:lnTo>
                    <a:pt x="82" y="120"/>
                  </a:lnTo>
                  <a:lnTo>
                    <a:pt x="82" y="120"/>
                  </a:lnTo>
                  <a:lnTo>
                    <a:pt x="82" y="120"/>
                  </a:lnTo>
                  <a:lnTo>
                    <a:pt x="82" y="120"/>
                  </a:lnTo>
                  <a:lnTo>
                    <a:pt x="82" y="124"/>
                  </a:lnTo>
                  <a:lnTo>
                    <a:pt x="82" y="124"/>
                  </a:lnTo>
                  <a:lnTo>
                    <a:pt x="82" y="124"/>
                  </a:lnTo>
                  <a:lnTo>
                    <a:pt x="78" y="124"/>
                  </a:lnTo>
                  <a:lnTo>
                    <a:pt x="78" y="124"/>
                  </a:lnTo>
                  <a:lnTo>
                    <a:pt x="78" y="124"/>
                  </a:lnTo>
                  <a:lnTo>
                    <a:pt x="78" y="124"/>
                  </a:lnTo>
                  <a:lnTo>
                    <a:pt x="78" y="124"/>
                  </a:lnTo>
                  <a:lnTo>
                    <a:pt x="78" y="124"/>
                  </a:lnTo>
                  <a:lnTo>
                    <a:pt x="78" y="124"/>
                  </a:lnTo>
                  <a:lnTo>
                    <a:pt x="78" y="124"/>
                  </a:lnTo>
                  <a:lnTo>
                    <a:pt x="74" y="124"/>
                  </a:lnTo>
                  <a:lnTo>
                    <a:pt x="74" y="128"/>
                  </a:lnTo>
                  <a:lnTo>
                    <a:pt x="70" y="128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66" y="130"/>
                  </a:lnTo>
                  <a:lnTo>
                    <a:pt x="66" y="130"/>
                  </a:lnTo>
                  <a:lnTo>
                    <a:pt x="66" y="130"/>
                  </a:lnTo>
                  <a:lnTo>
                    <a:pt x="66" y="130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62" y="134"/>
                  </a:lnTo>
                  <a:lnTo>
                    <a:pt x="62" y="134"/>
                  </a:lnTo>
                  <a:lnTo>
                    <a:pt x="62" y="134"/>
                  </a:lnTo>
                  <a:lnTo>
                    <a:pt x="62" y="150"/>
                  </a:lnTo>
                  <a:lnTo>
                    <a:pt x="62" y="154"/>
                  </a:lnTo>
                  <a:lnTo>
                    <a:pt x="56" y="154"/>
                  </a:lnTo>
                  <a:lnTo>
                    <a:pt x="56" y="154"/>
                  </a:lnTo>
                  <a:lnTo>
                    <a:pt x="48" y="154"/>
                  </a:lnTo>
                  <a:lnTo>
                    <a:pt x="48" y="154"/>
                  </a:lnTo>
                  <a:lnTo>
                    <a:pt x="44" y="154"/>
                  </a:lnTo>
                  <a:lnTo>
                    <a:pt x="44" y="154"/>
                  </a:lnTo>
                  <a:lnTo>
                    <a:pt x="44" y="154"/>
                  </a:lnTo>
                  <a:lnTo>
                    <a:pt x="44" y="154"/>
                  </a:lnTo>
                  <a:lnTo>
                    <a:pt x="44" y="154"/>
                  </a:lnTo>
                  <a:lnTo>
                    <a:pt x="40" y="154"/>
                  </a:lnTo>
                  <a:lnTo>
                    <a:pt x="4" y="154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4" y="154"/>
                  </a:lnTo>
                  <a:lnTo>
                    <a:pt x="4" y="154"/>
                  </a:lnTo>
                  <a:lnTo>
                    <a:pt x="4" y="150"/>
                  </a:lnTo>
                  <a:lnTo>
                    <a:pt x="4" y="150"/>
                  </a:lnTo>
                  <a:lnTo>
                    <a:pt x="4" y="150"/>
                  </a:lnTo>
                  <a:lnTo>
                    <a:pt x="4" y="150"/>
                  </a:lnTo>
                  <a:lnTo>
                    <a:pt x="4" y="150"/>
                  </a:lnTo>
                  <a:lnTo>
                    <a:pt x="4" y="150"/>
                  </a:lnTo>
                  <a:lnTo>
                    <a:pt x="6" y="150"/>
                  </a:lnTo>
                  <a:lnTo>
                    <a:pt x="6" y="150"/>
                  </a:lnTo>
                  <a:lnTo>
                    <a:pt x="6" y="150"/>
                  </a:lnTo>
                  <a:lnTo>
                    <a:pt x="10" y="146"/>
                  </a:lnTo>
                  <a:lnTo>
                    <a:pt x="14" y="146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6" y="142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30" y="134"/>
                  </a:lnTo>
                  <a:lnTo>
                    <a:pt x="30" y="134"/>
                  </a:lnTo>
                  <a:lnTo>
                    <a:pt x="30" y="134"/>
                  </a:lnTo>
                  <a:lnTo>
                    <a:pt x="30" y="134"/>
                  </a:lnTo>
                  <a:lnTo>
                    <a:pt x="34" y="134"/>
                  </a:lnTo>
                  <a:lnTo>
                    <a:pt x="34" y="130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6" y="128"/>
                  </a:lnTo>
                  <a:lnTo>
                    <a:pt x="36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4" y="120"/>
                  </a:lnTo>
                  <a:lnTo>
                    <a:pt x="44" y="120"/>
                  </a:lnTo>
                  <a:lnTo>
                    <a:pt x="44" y="120"/>
                  </a:lnTo>
                  <a:lnTo>
                    <a:pt x="48" y="116"/>
                  </a:lnTo>
                  <a:lnTo>
                    <a:pt x="48" y="116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4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8" y="86"/>
                  </a:lnTo>
                  <a:lnTo>
                    <a:pt x="48" y="86"/>
                  </a:lnTo>
                  <a:lnTo>
                    <a:pt x="48" y="86"/>
                  </a:lnTo>
                  <a:lnTo>
                    <a:pt x="48" y="82"/>
                  </a:lnTo>
                  <a:lnTo>
                    <a:pt x="48" y="82"/>
                  </a:lnTo>
                  <a:lnTo>
                    <a:pt x="48" y="82"/>
                  </a:lnTo>
                  <a:lnTo>
                    <a:pt x="48" y="82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2" y="56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4" y="50"/>
                  </a:lnTo>
                  <a:lnTo>
                    <a:pt x="74" y="46"/>
                  </a:lnTo>
                  <a:lnTo>
                    <a:pt x="74" y="46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82" y="46"/>
                  </a:lnTo>
                  <a:lnTo>
                    <a:pt x="82" y="42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2" y="26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4"/>
                  </a:lnTo>
                  <a:lnTo>
                    <a:pt x="108" y="4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22" y="16"/>
                  </a:lnTo>
                  <a:close/>
                </a:path>
              </a:pathLst>
            </a:custGeom>
            <a:solidFill>
              <a:srgbClr val="FFFF00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19" name="Freeform 159">
              <a:extLst>
                <a:ext uri="{FF2B5EF4-FFF2-40B4-BE49-F238E27FC236}">
                  <a16:creationId xmlns:a16="http://schemas.microsoft.com/office/drawing/2014/main" id="{557AA9A9-839B-471E-373D-42FC9C46B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26968" y="4510529"/>
              <a:ext cx="292233" cy="543026"/>
            </a:xfrm>
            <a:custGeom>
              <a:avLst/>
              <a:gdLst>
                <a:gd name="T0" fmla="*/ 22 w 150"/>
                <a:gd name="T1" fmla="*/ 274 h 288"/>
                <a:gd name="T2" fmla="*/ 22 w 150"/>
                <a:gd name="T3" fmla="*/ 254 h 288"/>
                <a:gd name="T4" fmla="*/ 22 w 150"/>
                <a:gd name="T5" fmla="*/ 240 h 288"/>
                <a:gd name="T6" fmla="*/ 18 w 150"/>
                <a:gd name="T7" fmla="*/ 226 h 288"/>
                <a:gd name="T8" fmla="*/ 22 w 150"/>
                <a:gd name="T9" fmla="*/ 198 h 288"/>
                <a:gd name="T10" fmla="*/ 34 w 150"/>
                <a:gd name="T11" fmla="*/ 176 h 288"/>
                <a:gd name="T12" fmla="*/ 38 w 150"/>
                <a:gd name="T13" fmla="*/ 158 h 288"/>
                <a:gd name="T14" fmla="*/ 38 w 150"/>
                <a:gd name="T15" fmla="*/ 146 h 288"/>
                <a:gd name="T16" fmla="*/ 42 w 150"/>
                <a:gd name="T17" fmla="*/ 136 h 288"/>
                <a:gd name="T18" fmla="*/ 38 w 150"/>
                <a:gd name="T19" fmla="*/ 120 h 288"/>
                <a:gd name="T20" fmla="*/ 34 w 150"/>
                <a:gd name="T21" fmla="*/ 106 h 288"/>
                <a:gd name="T22" fmla="*/ 22 w 150"/>
                <a:gd name="T23" fmla="*/ 98 h 288"/>
                <a:gd name="T24" fmla="*/ 8 w 150"/>
                <a:gd name="T25" fmla="*/ 94 h 288"/>
                <a:gd name="T26" fmla="*/ 0 w 150"/>
                <a:gd name="T27" fmla="*/ 80 h 288"/>
                <a:gd name="T28" fmla="*/ 12 w 150"/>
                <a:gd name="T29" fmla="*/ 72 h 288"/>
                <a:gd name="T30" fmla="*/ 26 w 150"/>
                <a:gd name="T31" fmla="*/ 68 h 288"/>
                <a:gd name="T32" fmla="*/ 44 w 150"/>
                <a:gd name="T33" fmla="*/ 64 h 288"/>
                <a:gd name="T34" fmla="*/ 60 w 150"/>
                <a:gd name="T35" fmla="*/ 68 h 288"/>
                <a:gd name="T36" fmla="*/ 60 w 150"/>
                <a:gd name="T37" fmla="*/ 86 h 288"/>
                <a:gd name="T38" fmla="*/ 60 w 150"/>
                <a:gd name="T39" fmla="*/ 102 h 288"/>
                <a:gd name="T40" fmla="*/ 68 w 150"/>
                <a:gd name="T41" fmla="*/ 116 h 288"/>
                <a:gd name="T42" fmla="*/ 68 w 150"/>
                <a:gd name="T43" fmla="*/ 106 h 288"/>
                <a:gd name="T44" fmla="*/ 78 w 150"/>
                <a:gd name="T45" fmla="*/ 98 h 288"/>
                <a:gd name="T46" fmla="*/ 78 w 150"/>
                <a:gd name="T47" fmla="*/ 76 h 288"/>
                <a:gd name="T48" fmla="*/ 68 w 150"/>
                <a:gd name="T49" fmla="*/ 52 h 288"/>
                <a:gd name="T50" fmla="*/ 60 w 150"/>
                <a:gd name="T51" fmla="*/ 38 h 288"/>
                <a:gd name="T52" fmla="*/ 60 w 150"/>
                <a:gd name="T53" fmla="*/ 26 h 288"/>
                <a:gd name="T54" fmla="*/ 70 w 150"/>
                <a:gd name="T55" fmla="*/ 20 h 288"/>
                <a:gd name="T56" fmla="*/ 90 w 150"/>
                <a:gd name="T57" fmla="*/ 20 h 288"/>
                <a:gd name="T58" fmla="*/ 108 w 150"/>
                <a:gd name="T59" fmla="*/ 20 h 288"/>
                <a:gd name="T60" fmla="*/ 112 w 150"/>
                <a:gd name="T61" fmla="*/ 12 h 288"/>
                <a:gd name="T62" fmla="*/ 128 w 150"/>
                <a:gd name="T63" fmla="*/ 12 h 288"/>
                <a:gd name="T64" fmla="*/ 138 w 150"/>
                <a:gd name="T65" fmla="*/ 4 h 288"/>
                <a:gd name="T66" fmla="*/ 146 w 150"/>
                <a:gd name="T67" fmla="*/ 12 h 288"/>
                <a:gd name="T68" fmla="*/ 146 w 150"/>
                <a:gd name="T69" fmla="*/ 24 h 288"/>
                <a:gd name="T70" fmla="*/ 142 w 150"/>
                <a:gd name="T71" fmla="*/ 42 h 288"/>
                <a:gd name="T72" fmla="*/ 146 w 150"/>
                <a:gd name="T73" fmla="*/ 56 h 288"/>
                <a:gd name="T74" fmla="*/ 146 w 150"/>
                <a:gd name="T75" fmla="*/ 68 h 288"/>
                <a:gd name="T76" fmla="*/ 146 w 150"/>
                <a:gd name="T77" fmla="*/ 80 h 288"/>
                <a:gd name="T78" fmla="*/ 142 w 150"/>
                <a:gd name="T79" fmla="*/ 86 h 288"/>
                <a:gd name="T80" fmla="*/ 134 w 150"/>
                <a:gd name="T81" fmla="*/ 102 h 288"/>
                <a:gd name="T82" fmla="*/ 124 w 150"/>
                <a:gd name="T83" fmla="*/ 112 h 288"/>
                <a:gd name="T84" fmla="*/ 108 w 150"/>
                <a:gd name="T85" fmla="*/ 120 h 288"/>
                <a:gd name="T86" fmla="*/ 94 w 150"/>
                <a:gd name="T87" fmla="*/ 132 h 288"/>
                <a:gd name="T88" fmla="*/ 86 w 150"/>
                <a:gd name="T89" fmla="*/ 140 h 288"/>
                <a:gd name="T90" fmla="*/ 82 w 150"/>
                <a:gd name="T91" fmla="*/ 146 h 288"/>
                <a:gd name="T92" fmla="*/ 70 w 150"/>
                <a:gd name="T93" fmla="*/ 158 h 288"/>
                <a:gd name="T94" fmla="*/ 64 w 150"/>
                <a:gd name="T95" fmla="*/ 162 h 288"/>
                <a:gd name="T96" fmla="*/ 68 w 150"/>
                <a:gd name="T97" fmla="*/ 176 h 288"/>
                <a:gd name="T98" fmla="*/ 70 w 150"/>
                <a:gd name="T99" fmla="*/ 192 h 288"/>
                <a:gd name="T100" fmla="*/ 70 w 150"/>
                <a:gd name="T101" fmla="*/ 210 h 288"/>
                <a:gd name="T102" fmla="*/ 74 w 150"/>
                <a:gd name="T103" fmla="*/ 210 h 288"/>
                <a:gd name="T104" fmla="*/ 70 w 150"/>
                <a:gd name="T105" fmla="*/ 228 h 288"/>
                <a:gd name="T106" fmla="*/ 74 w 150"/>
                <a:gd name="T107" fmla="*/ 236 h 288"/>
                <a:gd name="T108" fmla="*/ 68 w 150"/>
                <a:gd name="T109" fmla="*/ 248 h 288"/>
                <a:gd name="T110" fmla="*/ 52 w 150"/>
                <a:gd name="T111" fmla="*/ 254 h 288"/>
                <a:gd name="T112" fmla="*/ 38 w 150"/>
                <a:gd name="T113" fmla="*/ 262 h 288"/>
                <a:gd name="T114" fmla="*/ 34 w 150"/>
                <a:gd name="T115" fmla="*/ 278 h 288"/>
                <a:gd name="T116" fmla="*/ 38 w 150"/>
                <a:gd name="T117" fmla="*/ 288 h 288"/>
                <a:gd name="T118" fmla="*/ 26 w 150"/>
                <a:gd name="T119" fmla="*/ 288 h 288"/>
                <a:gd name="T120" fmla="*/ 74 w 150"/>
                <a:gd name="T121" fmla="*/ 19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0" h="288">
                  <a:moveTo>
                    <a:pt x="26" y="288"/>
                  </a:moveTo>
                  <a:lnTo>
                    <a:pt x="26" y="280"/>
                  </a:lnTo>
                  <a:lnTo>
                    <a:pt x="26" y="278"/>
                  </a:lnTo>
                  <a:lnTo>
                    <a:pt x="26" y="274"/>
                  </a:lnTo>
                  <a:lnTo>
                    <a:pt x="22" y="274"/>
                  </a:lnTo>
                  <a:lnTo>
                    <a:pt x="22" y="270"/>
                  </a:lnTo>
                  <a:lnTo>
                    <a:pt x="22" y="266"/>
                  </a:lnTo>
                  <a:lnTo>
                    <a:pt x="22" y="262"/>
                  </a:lnTo>
                  <a:lnTo>
                    <a:pt x="26" y="254"/>
                  </a:lnTo>
                  <a:lnTo>
                    <a:pt x="22" y="254"/>
                  </a:lnTo>
                  <a:lnTo>
                    <a:pt x="22" y="252"/>
                  </a:lnTo>
                  <a:lnTo>
                    <a:pt x="22" y="248"/>
                  </a:lnTo>
                  <a:lnTo>
                    <a:pt x="26" y="244"/>
                  </a:lnTo>
                  <a:lnTo>
                    <a:pt x="22" y="244"/>
                  </a:lnTo>
                  <a:lnTo>
                    <a:pt x="22" y="240"/>
                  </a:lnTo>
                  <a:lnTo>
                    <a:pt x="22" y="236"/>
                  </a:lnTo>
                  <a:lnTo>
                    <a:pt x="22" y="232"/>
                  </a:lnTo>
                  <a:lnTo>
                    <a:pt x="18" y="232"/>
                  </a:lnTo>
                  <a:lnTo>
                    <a:pt x="18" y="228"/>
                  </a:lnTo>
                  <a:lnTo>
                    <a:pt x="18" y="226"/>
                  </a:lnTo>
                  <a:lnTo>
                    <a:pt x="18" y="222"/>
                  </a:lnTo>
                  <a:lnTo>
                    <a:pt x="14" y="210"/>
                  </a:lnTo>
                  <a:lnTo>
                    <a:pt x="14" y="206"/>
                  </a:lnTo>
                  <a:lnTo>
                    <a:pt x="18" y="202"/>
                  </a:lnTo>
                  <a:lnTo>
                    <a:pt x="22" y="198"/>
                  </a:lnTo>
                  <a:lnTo>
                    <a:pt x="30" y="188"/>
                  </a:lnTo>
                  <a:lnTo>
                    <a:pt x="30" y="184"/>
                  </a:lnTo>
                  <a:lnTo>
                    <a:pt x="30" y="180"/>
                  </a:lnTo>
                  <a:lnTo>
                    <a:pt x="30" y="176"/>
                  </a:lnTo>
                  <a:lnTo>
                    <a:pt x="34" y="176"/>
                  </a:lnTo>
                  <a:lnTo>
                    <a:pt x="34" y="172"/>
                  </a:lnTo>
                  <a:lnTo>
                    <a:pt x="38" y="168"/>
                  </a:lnTo>
                  <a:lnTo>
                    <a:pt x="38" y="166"/>
                  </a:lnTo>
                  <a:lnTo>
                    <a:pt x="38" y="162"/>
                  </a:lnTo>
                  <a:lnTo>
                    <a:pt x="38" y="158"/>
                  </a:lnTo>
                  <a:lnTo>
                    <a:pt x="34" y="158"/>
                  </a:lnTo>
                  <a:lnTo>
                    <a:pt x="34" y="154"/>
                  </a:lnTo>
                  <a:lnTo>
                    <a:pt x="38" y="154"/>
                  </a:lnTo>
                  <a:lnTo>
                    <a:pt x="38" y="150"/>
                  </a:lnTo>
                  <a:lnTo>
                    <a:pt x="38" y="146"/>
                  </a:lnTo>
                  <a:lnTo>
                    <a:pt x="34" y="146"/>
                  </a:lnTo>
                  <a:lnTo>
                    <a:pt x="34" y="142"/>
                  </a:lnTo>
                  <a:lnTo>
                    <a:pt x="38" y="142"/>
                  </a:lnTo>
                  <a:lnTo>
                    <a:pt x="38" y="140"/>
                  </a:lnTo>
                  <a:lnTo>
                    <a:pt x="42" y="136"/>
                  </a:lnTo>
                  <a:lnTo>
                    <a:pt x="38" y="136"/>
                  </a:lnTo>
                  <a:lnTo>
                    <a:pt x="38" y="132"/>
                  </a:lnTo>
                  <a:lnTo>
                    <a:pt x="38" y="128"/>
                  </a:lnTo>
                  <a:lnTo>
                    <a:pt x="38" y="124"/>
                  </a:lnTo>
                  <a:lnTo>
                    <a:pt x="38" y="120"/>
                  </a:lnTo>
                  <a:lnTo>
                    <a:pt x="38" y="116"/>
                  </a:lnTo>
                  <a:lnTo>
                    <a:pt x="38" y="112"/>
                  </a:lnTo>
                  <a:lnTo>
                    <a:pt x="38" y="110"/>
                  </a:lnTo>
                  <a:lnTo>
                    <a:pt x="34" y="110"/>
                  </a:lnTo>
                  <a:lnTo>
                    <a:pt x="34" y="106"/>
                  </a:lnTo>
                  <a:lnTo>
                    <a:pt x="30" y="106"/>
                  </a:lnTo>
                  <a:lnTo>
                    <a:pt x="30" y="102"/>
                  </a:lnTo>
                  <a:lnTo>
                    <a:pt x="26" y="102"/>
                  </a:lnTo>
                  <a:lnTo>
                    <a:pt x="22" y="102"/>
                  </a:lnTo>
                  <a:lnTo>
                    <a:pt x="22" y="98"/>
                  </a:lnTo>
                  <a:lnTo>
                    <a:pt x="18" y="98"/>
                  </a:lnTo>
                  <a:lnTo>
                    <a:pt x="14" y="98"/>
                  </a:lnTo>
                  <a:lnTo>
                    <a:pt x="14" y="94"/>
                  </a:lnTo>
                  <a:lnTo>
                    <a:pt x="12" y="94"/>
                  </a:lnTo>
                  <a:lnTo>
                    <a:pt x="8" y="94"/>
                  </a:lnTo>
                  <a:lnTo>
                    <a:pt x="0" y="94"/>
                  </a:lnTo>
                  <a:lnTo>
                    <a:pt x="0" y="90"/>
                  </a:lnTo>
                  <a:lnTo>
                    <a:pt x="0" y="86"/>
                  </a:lnTo>
                  <a:lnTo>
                    <a:pt x="0" y="82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8" y="72"/>
                  </a:lnTo>
                  <a:lnTo>
                    <a:pt x="18" y="68"/>
                  </a:lnTo>
                  <a:lnTo>
                    <a:pt x="22" y="68"/>
                  </a:lnTo>
                  <a:lnTo>
                    <a:pt x="26" y="68"/>
                  </a:lnTo>
                  <a:lnTo>
                    <a:pt x="30" y="64"/>
                  </a:lnTo>
                  <a:lnTo>
                    <a:pt x="38" y="60"/>
                  </a:lnTo>
                  <a:lnTo>
                    <a:pt x="42" y="60"/>
                  </a:lnTo>
                  <a:lnTo>
                    <a:pt x="42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2"/>
                  </a:lnTo>
                  <a:lnTo>
                    <a:pt x="60" y="86"/>
                  </a:lnTo>
                  <a:lnTo>
                    <a:pt x="60" y="90"/>
                  </a:lnTo>
                  <a:lnTo>
                    <a:pt x="56" y="90"/>
                  </a:lnTo>
                  <a:lnTo>
                    <a:pt x="56" y="94"/>
                  </a:lnTo>
                  <a:lnTo>
                    <a:pt x="60" y="98"/>
                  </a:lnTo>
                  <a:lnTo>
                    <a:pt x="60" y="102"/>
                  </a:lnTo>
                  <a:lnTo>
                    <a:pt x="64" y="102"/>
                  </a:lnTo>
                  <a:lnTo>
                    <a:pt x="64" y="106"/>
                  </a:lnTo>
                  <a:lnTo>
                    <a:pt x="68" y="110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70" y="116"/>
                  </a:lnTo>
                  <a:lnTo>
                    <a:pt x="70" y="112"/>
                  </a:lnTo>
                  <a:lnTo>
                    <a:pt x="70" y="110"/>
                  </a:lnTo>
                  <a:lnTo>
                    <a:pt x="70" y="106"/>
                  </a:lnTo>
                  <a:lnTo>
                    <a:pt x="68" y="106"/>
                  </a:lnTo>
                  <a:lnTo>
                    <a:pt x="70" y="106"/>
                  </a:lnTo>
                  <a:lnTo>
                    <a:pt x="70" y="102"/>
                  </a:lnTo>
                  <a:lnTo>
                    <a:pt x="70" y="98"/>
                  </a:lnTo>
                  <a:lnTo>
                    <a:pt x="74" y="98"/>
                  </a:lnTo>
                  <a:lnTo>
                    <a:pt x="78" y="98"/>
                  </a:lnTo>
                  <a:lnTo>
                    <a:pt x="78" y="94"/>
                  </a:lnTo>
                  <a:lnTo>
                    <a:pt x="78" y="86"/>
                  </a:lnTo>
                  <a:lnTo>
                    <a:pt x="78" y="82"/>
                  </a:lnTo>
                  <a:lnTo>
                    <a:pt x="78" y="80"/>
                  </a:lnTo>
                  <a:lnTo>
                    <a:pt x="78" y="76"/>
                  </a:lnTo>
                  <a:lnTo>
                    <a:pt x="78" y="72"/>
                  </a:lnTo>
                  <a:lnTo>
                    <a:pt x="74" y="64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0" y="50"/>
                  </a:lnTo>
                  <a:lnTo>
                    <a:pt x="60" y="46"/>
                  </a:lnTo>
                  <a:lnTo>
                    <a:pt x="60" y="42"/>
                  </a:lnTo>
                  <a:lnTo>
                    <a:pt x="60" y="38"/>
                  </a:lnTo>
                  <a:lnTo>
                    <a:pt x="60" y="34"/>
                  </a:lnTo>
                  <a:lnTo>
                    <a:pt x="60" y="30"/>
                  </a:lnTo>
                  <a:lnTo>
                    <a:pt x="56" y="30"/>
                  </a:lnTo>
                  <a:lnTo>
                    <a:pt x="56" y="26"/>
                  </a:lnTo>
                  <a:lnTo>
                    <a:pt x="60" y="26"/>
                  </a:lnTo>
                  <a:lnTo>
                    <a:pt x="60" y="24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70" y="20"/>
                  </a:lnTo>
                  <a:lnTo>
                    <a:pt x="74" y="20"/>
                  </a:lnTo>
                  <a:lnTo>
                    <a:pt x="78" y="16"/>
                  </a:lnTo>
                  <a:lnTo>
                    <a:pt x="82" y="20"/>
                  </a:lnTo>
                  <a:lnTo>
                    <a:pt x="86" y="20"/>
                  </a:lnTo>
                  <a:lnTo>
                    <a:pt x="90" y="20"/>
                  </a:lnTo>
                  <a:lnTo>
                    <a:pt x="94" y="20"/>
                  </a:lnTo>
                  <a:lnTo>
                    <a:pt x="98" y="20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8"/>
                  </a:lnTo>
                  <a:lnTo>
                    <a:pt x="130" y="8"/>
                  </a:lnTo>
                  <a:lnTo>
                    <a:pt x="134" y="8"/>
                  </a:lnTo>
                  <a:lnTo>
                    <a:pt x="134" y="4"/>
                  </a:lnTo>
                  <a:lnTo>
                    <a:pt x="138" y="4"/>
                  </a:lnTo>
                  <a:lnTo>
                    <a:pt x="142" y="0"/>
                  </a:lnTo>
                  <a:lnTo>
                    <a:pt x="146" y="0"/>
                  </a:lnTo>
                  <a:lnTo>
                    <a:pt x="146" y="4"/>
                  </a:lnTo>
                  <a:lnTo>
                    <a:pt x="146" y="8"/>
                  </a:lnTo>
                  <a:lnTo>
                    <a:pt x="146" y="12"/>
                  </a:lnTo>
                  <a:lnTo>
                    <a:pt x="142" y="12"/>
                  </a:lnTo>
                  <a:lnTo>
                    <a:pt x="142" y="16"/>
                  </a:lnTo>
                  <a:lnTo>
                    <a:pt x="146" y="16"/>
                  </a:lnTo>
                  <a:lnTo>
                    <a:pt x="142" y="20"/>
                  </a:lnTo>
                  <a:lnTo>
                    <a:pt x="146" y="24"/>
                  </a:lnTo>
                  <a:lnTo>
                    <a:pt x="146" y="30"/>
                  </a:lnTo>
                  <a:lnTo>
                    <a:pt x="146" y="34"/>
                  </a:lnTo>
                  <a:lnTo>
                    <a:pt x="146" y="38"/>
                  </a:lnTo>
                  <a:lnTo>
                    <a:pt x="146" y="42"/>
                  </a:lnTo>
                  <a:lnTo>
                    <a:pt x="142" y="42"/>
                  </a:lnTo>
                  <a:lnTo>
                    <a:pt x="146" y="42"/>
                  </a:lnTo>
                  <a:lnTo>
                    <a:pt x="146" y="46"/>
                  </a:lnTo>
                  <a:lnTo>
                    <a:pt x="146" y="50"/>
                  </a:lnTo>
                  <a:lnTo>
                    <a:pt x="146" y="52"/>
                  </a:lnTo>
                  <a:lnTo>
                    <a:pt x="146" y="56"/>
                  </a:lnTo>
                  <a:lnTo>
                    <a:pt x="146" y="60"/>
                  </a:lnTo>
                  <a:lnTo>
                    <a:pt x="146" y="64"/>
                  </a:lnTo>
                  <a:lnTo>
                    <a:pt x="150" y="64"/>
                  </a:lnTo>
                  <a:lnTo>
                    <a:pt x="150" y="68"/>
                  </a:lnTo>
                  <a:lnTo>
                    <a:pt x="146" y="68"/>
                  </a:lnTo>
                  <a:lnTo>
                    <a:pt x="150" y="68"/>
                  </a:lnTo>
                  <a:lnTo>
                    <a:pt x="150" y="72"/>
                  </a:lnTo>
                  <a:lnTo>
                    <a:pt x="150" y="76"/>
                  </a:lnTo>
                  <a:lnTo>
                    <a:pt x="150" y="80"/>
                  </a:lnTo>
                  <a:lnTo>
                    <a:pt x="146" y="80"/>
                  </a:lnTo>
                  <a:lnTo>
                    <a:pt x="146" y="82"/>
                  </a:lnTo>
                  <a:lnTo>
                    <a:pt x="146" y="80"/>
                  </a:lnTo>
                  <a:lnTo>
                    <a:pt x="146" y="82"/>
                  </a:lnTo>
                  <a:lnTo>
                    <a:pt x="146" y="86"/>
                  </a:lnTo>
                  <a:lnTo>
                    <a:pt x="142" y="86"/>
                  </a:lnTo>
                  <a:lnTo>
                    <a:pt x="142" y="90"/>
                  </a:lnTo>
                  <a:lnTo>
                    <a:pt x="138" y="94"/>
                  </a:lnTo>
                  <a:lnTo>
                    <a:pt x="138" y="98"/>
                  </a:lnTo>
                  <a:lnTo>
                    <a:pt x="134" y="98"/>
                  </a:lnTo>
                  <a:lnTo>
                    <a:pt x="134" y="102"/>
                  </a:lnTo>
                  <a:lnTo>
                    <a:pt x="134" y="106"/>
                  </a:lnTo>
                  <a:lnTo>
                    <a:pt x="130" y="106"/>
                  </a:lnTo>
                  <a:lnTo>
                    <a:pt x="128" y="110"/>
                  </a:lnTo>
                  <a:lnTo>
                    <a:pt x="124" y="110"/>
                  </a:lnTo>
                  <a:lnTo>
                    <a:pt x="124" y="112"/>
                  </a:lnTo>
                  <a:lnTo>
                    <a:pt x="120" y="112"/>
                  </a:lnTo>
                  <a:lnTo>
                    <a:pt x="116" y="116"/>
                  </a:lnTo>
                  <a:lnTo>
                    <a:pt x="112" y="116"/>
                  </a:lnTo>
                  <a:lnTo>
                    <a:pt x="108" y="116"/>
                  </a:lnTo>
                  <a:lnTo>
                    <a:pt x="108" y="120"/>
                  </a:lnTo>
                  <a:lnTo>
                    <a:pt x="104" y="120"/>
                  </a:lnTo>
                  <a:lnTo>
                    <a:pt x="100" y="124"/>
                  </a:lnTo>
                  <a:lnTo>
                    <a:pt x="98" y="124"/>
                  </a:lnTo>
                  <a:lnTo>
                    <a:pt x="98" y="128"/>
                  </a:lnTo>
                  <a:lnTo>
                    <a:pt x="94" y="132"/>
                  </a:lnTo>
                  <a:lnTo>
                    <a:pt x="94" y="128"/>
                  </a:lnTo>
                  <a:lnTo>
                    <a:pt x="94" y="132"/>
                  </a:lnTo>
                  <a:lnTo>
                    <a:pt x="94" y="136"/>
                  </a:lnTo>
                  <a:lnTo>
                    <a:pt x="90" y="140"/>
                  </a:lnTo>
                  <a:lnTo>
                    <a:pt x="86" y="140"/>
                  </a:lnTo>
                  <a:lnTo>
                    <a:pt x="86" y="142"/>
                  </a:lnTo>
                  <a:lnTo>
                    <a:pt x="86" y="146"/>
                  </a:lnTo>
                  <a:lnTo>
                    <a:pt x="82" y="146"/>
                  </a:lnTo>
                  <a:lnTo>
                    <a:pt x="82" y="142"/>
                  </a:lnTo>
                  <a:lnTo>
                    <a:pt x="82" y="146"/>
                  </a:lnTo>
                  <a:lnTo>
                    <a:pt x="78" y="146"/>
                  </a:lnTo>
                  <a:lnTo>
                    <a:pt x="78" y="150"/>
                  </a:lnTo>
                  <a:lnTo>
                    <a:pt x="74" y="150"/>
                  </a:lnTo>
                  <a:lnTo>
                    <a:pt x="74" y="154"/>
                  </a:lnTo>
                  <a:lnTo>
                    <a:pt x="70" y="158"/>
                  </a:lnTo>
                  <a:lnTo>
                    <a:pt x="68" y="162"/>
                  </a:lnTo>
                  <a:lnTo>
                    <a:pt x="64" y="162"/>
                  </a:lnTo>
                  <a:lnTo>
                    <a:pt x="60" y="158"/>
                  </a:lnTo>
                  <a:lnTo>
                    <a:pt x="60" y="162"/>
                  </a:lnTo>
                  <a:lnTo>
                    <a:pt x="64" y="162"/>
                  </a:lnTo>
                  <a:lnTo>
                    <a:pt x="64" y="166"/>
                  </a:lnTo>
                  <a:lnTo>
                    <a:pt x="64" y="168"/>
                  </a:lnTo>
                  <a:lnTo>
                    <a:pt x="64" y="172"/>
                  </a:lnTo>
                  <a:lnTo>
                    <a:pt x="64" y="176"/>
                  </a:lnTo>
                  <a:lnTo>
                    <a:pt x="68" y="176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8" y="188"/>
                  </a:lnTo>
                  <a:lnTo>
                    <a:pt x="68" y="192"/>
                  </a:lnTo>
                  <a:lnTo>
                    <a:pt x="70" y="192"/>
                  </a:lnTo>
                  <a:lnTo>
                    <a:pt x="70" y="196"/>
                  </a:lnTo>
                  <a:lnTo>
                    <a:pt x="70" y="198"/>
                  </a:lnTo>
                  <a:lnTo>
                    <a:pt x="70" y="202"/>
                  </a:lnTo>
                  <a:lnTo>
                    <a:pt x="70" y="206"/>
                  </a:lnTo>
                  <a:lnTo>
                    <a:pt x="70" y="210"/>
                  </a:lnTo>
                  <a:lnTo>
                    <a:pt x="70" y="206"/>
                  </a:lnTo>
                  <a:lnTo>
                    <a:pt x="70" y="202"/>
                  </a:lnTo>
                  <a:lnTo>
                    <a:pt x="74" y="202"/>
                  </a:lnTo>
                  <a:lnTo>
                    <a:pt x="74" y="206"/>
                  </a:lnTo>
                  <a:lnTo>
                    <a:pt x="74" y="210"/>
                  </a:lnTo>
                  <a:lnTo>
                    <a:pt x="74" y="214"/>
                  </a:lnTo>
                  <a:lnTo>
                    <a:pt x="74" y="218"/>
                  </a:lnTo>
                  <a:lnTo>
                    <a:pt x="74" y="222"/>
                  </a:lnTo>
                  <a:lnTo>
                    <a:pt x="74" y="226"/>
                  </a:lnTo>
                  <a:lnTo>
                    <a:pt x="70" y="228"/>
                  </a:lnTo>
                  <a:lnTo>
                    <a:pt x="70" y="232"/>
                  </a:lnTo>
                  <a:lnTo>
                    <a:pt x="70" y="236"/>
                  </a:lnTo>
                  <a:lnTo>
                    <a:pt x="70" y="232"/>
                  </a:lnTo>
                  <a:lnTo>
                    <a:pt x="74" y="232"/>
                  </a:lnTo>
                  <a:lnTo>
                    <a:pt x="74" y="236"/>
                  </a:lnTo>
                  <a:lnTo>
                    <a:pt x="74" y="240"/>
                  </a:lnTo>
                  <a:lnTo>
                    <a:pt x="70" y="240"/>
                  </a:lnTo>
                  <a:lnTo>
                    <a:pt x="70" y="244"/>
                  </a:lnTo>
                  <a:lnTo>
                    <a:pt x="70" y="248"/>
                  </a:lnTo>
                  <a:lnTo>
                    <a:pt x="68" y="248"/>
                  </a:lnTo>
                  <a:lnTo>
                    <a:pt x="64" y="252"/>
                  </a:lnTo>
                  <a:lnTo>
                    <a:pt x="60" y="252"/>
                  </a:lnTo>
                  <a:lnTo>
                    <a:pt x="56" y="252"/>
                  </a:lnTo>
                  <a:lnTo>
                    <a:pt x="56" y="254"/>
                  </a:lnTo>
                  <a:lnTo>
                    <a:pt x="52" y="254"/>
                  </a:lnTo>
                  <a:lnTo>
                    <a:pt x="48" y="254"/>
                  </a:lnTo>
                  <a:lnTo>
                    <a:pt x="44" y="258"/>
                  </a:lnTo>
                  <a:lnTo>
                    <a:pt x="42" y="258"/>
                  </a:lnTo>
                  <a:lnTo>
                    <a:pt x="42" y="262"/>
                  </a:lnTo>
                  <a:lnTo>
                    <a:pt x="38" y="262"/>
                  </a:lnTo>
                  <a:lnTo>
                    <a:pt x="38" y="266"/>
                  </a:lnTo>
                  <a:lnTo>
                    <a:pt x="34" y="266"/>
                  </a:lnTo>
                  <a:lnTo>
                    <a:pt x="34" y="270"/>
                  </a:lnTo>
                  <a:lnTo>
                    <a:pt x="34" y="274"/>
                  </a:lnTo>
                  <a:lnTo>
                    <a:pt x="34" y="278"/>
                  </a:lnTo>
                  <a:lnTo>
                    <a:pt x="38" y="278"/>
                  </a:lnTo>
                  <a:lnTo>
                    <a:pt x="38" y="274"/>
                  </a:lnTo>
                  <a:lnTo>
                    <a:pt x="38" y="278"/>
                  </a:lnTo>
                  <a:lnTo>
                    <a:pt x="38" y="284"/>
                  </a:lnTo>
                  <a:lnTo>
                    <a:pt x="38" y="288"/>
                  </a:lnTo>
                  <a:lnTo>
                    <a:pt x="34" y="288"/>
                  </a:lnTo>
                  <a:lnTo>
                    <a:pt x="30" y="288"/>
                  </a:lnTo>
                  <a:lnTo>
                    <a:pt x="26" y="288"/>
                  </a:lnTo>
                  <a:lnTo>
                    <a:pt x="26" y="288"/>
                  </a:lnTo>
                  <a:lnTo>
                    <a:pt x="26" y="288"/>
                  </a:lnTo>
                  <a:close/>
                  <a:moveTo>
                    <a:pt x="74" y="198"/>
                  </a:moveTo>
                  <a:lnTo>
                    <a:pt x="70" y="198"/>
                  </a:lnTo>
                  <a:lnTo>
                    <a:pt x="70" y="196"/>
                  </a:lnTo>
                  <a:lnTo>
                    <a:pt x="74" y="192"/>
                  </a:lnTo>
                  <a:lnTo>
                    <a:pt x="74" y="196"/>
                  </a:lnTo>
                  <a:lnTo>
                    <a:pt x="74" y="198"/>
                  </a:lnTo>
                  <a:lnTo>
                    <a:pt x="74" y="198"/>
                  </a:lnTo>
                  <a:lnTo>
                    <a:pt x="74" y="19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20" name="Freeform 160">
              <a:extLst>
                <a:ext uri="{FF2B5EF4-FFF2-40B4-BE49-F238E27FC236}">
                  <a16:creationId xmlns:a16="http://schemas.microsoft.com/office/drawing/2014/main" id="{3A32C299-931A-6C5D-9181-41AB58735A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2638" y="4721706"/>
              <a:ext cx="377955" cy="403498"/>
            </a:xfrm>
            <a:custGeom>
              <a:avLst/>
              <a:gdLst>
                <a:gd name="T0" fmla="*/ 120 w 194"/>
                <a:gd name="T1" fmla="*/ 124 h 214"/>
                <a:gd name="T2" fmla="*/ 120 w 194"/>
                <a:gd name="T3" fmla="*/ 140 h 214"/>
                <a:gd name="T4" fmla="*/ 120 w 194"/>
                <a:gd name="T5" fmla="*/ 154 h 214"/>
                <a:gd name="T6" fmla="*/ 120 w 194"/>
                <a:gd name="T7" fmla="*/ 184 h 214"/>
                <a:gd name="T8" fmla="*/ 120 w 194"/>
                <a:gd name="T9" fmla="*/ 202 h 214"/>
                <a:gd name="T10" fmla="*/ 108 w 194"/>
                <a:gd name="T11" fmla="*/ 210 h 214"/>
                <a:gd name="T12" fmla="*/ 96 w 194"/>
                <a:gd name="T13" fmla="*/ 214 h 214"/>
                <a:gd name="T14" fmla="*/ 86 w 194"/>
                <a:gd name="T15" fmla="*/ 210 h 214"/>
                <a:gd name="T16" fmla="*/ 82 w 194"/>
                <a:gd name="T17" fmla="*/ 198 h 214"/>
                <a:gd name="T18" fmla="*/ 74 w 194"/>
                <a:gd name="T19" fmla="*/ 198 h 214"/>
                <a:gd name="T20" fmla="*/ 66 w 194"/>
                <a:gd name="T21" fmla="*/ 206 h 214"/>
                <a:gd name="T22" fmla="*/ 60 w 194"/>
                <a:gd name="T23" fmla="*/ 194 h 214"/>
                <a:gd name="T24" fmla="*/ 56 w 194"/>
                <a:gd name="T25" fmla="*/ 190 h 214"/>
                <a:gd name="T26" fmla="*/ 52 w 194"/>
                <a:gd name="T27" fmla="*/ 176 h 214"/>
                <a:gd name="T28" fmla="*/ 48 w 194"/>
                <a:gd name="T29" fmla="*/ 166 h 214"/>
                <a:gd name="T30" fmla="*/ 44 w 194"/>
                <a:gd name="T31" fmla="*/ 154 h 214"/>
                <a:gd name="T32" fmla="*/ 44 w 194"/>
                <a:gd name="T33" fmla="*/ 140 h 214"/>
                <a:gd name="T34" fmla="*/ 40 w 194"/>
                <a:gd name="T35" fmla="*/ 128 h 214"/>
                <a:gd name="T36" fmla="*/ 40 w 194"/>
                <a:gd name="T37" fmla="*/ 114 h 214"/>
                <a:gd name="T38" fmla="*/ 40 w 194"/>
                <a:gd name="T39" fmla="*/ 98 h 214"/>
                <a:gd name="T40" fmla="*/ 34 w 194"/>
                <a:gd name="T41" fmla="*/ 86 h 214"/>
                <a:gd name="T42" fmla="*/ 30 w 194"/>
                <a:gd name="T43" fmla="*/ 76 h 214"/>
                <a:gd name="T44" fmla="*/ 22 w 194"/>
                <a:gd name="T45" fmla="*/ 64 h 214"/>
                <a:gd name="T46" fmla="*/ 18 w 194"/>
                <a:gd name="T47" fmla="*/ 54 h 214"/>
                <a:gd name="T48" fmla="*/ 14 w 194"/>
                <a:gd name="T49" fmla="*/ 42 h 214"/>
                <a:gd name="T50" fmla="*/ 8 w 194"/>
                <a:gd name="T51" fmla="*/ 30 h 214"/>
                <a:gd name="T52" fmla="*/ 4 w 194"/>
                <a:gd name="T53" fmla="*/ 20 h 214"/>
                <a:gd name="T54" fmla="*/ 4 w 194"/>
                <a:gd name="T55" fmla="*/ 8 h 214"/>
                <a:gd name="T56" fmla="*/ 14 w 194"/>
                <a:gd name="T57" fmla="*/ 4 h 214"/>
                <a:gd name="T58" fmla="*/ 30 w 194"/>
                <a:gd name="T59" fmla="*/ 4 h 214"/>
                <a:gd name="T60" fmla="*/ 40 w 194"/>
                <a:gd name="T61" fmla="*/ 8 h 214"/>
                <a:gd name="T62" fmla="*/ 64 w 194"/>
                <a:gd name="T63" fmla="*/ 8 h 214"/>
                <a:gd name="T64" fmla="*/ 90 w 194"/>
                <a:gd name="T65" fmla="*/ 8 h 214"/>
                <a:gd name="T66" fmla="*/ 100 w 194"/>
                <a:gd name="T67" fmla="*/ 16 h 214"/>
                <a:gd name="T68" fmla="*/ 116 w 194"/>
                <a:gd name="T69" fmla="*/ 16 h 214"/>
                <a:gd name="T70" fmla="*/ 126 w 194"/>
                <a:gd name="T71" fmla="*/ 20 h 214"/>
                <a:gd name="T72" fmla="*/ 138 w 194"/>
                <a:gd name="T73" fmla="*/ 20 h 214"/>
                <a:gd name="T74" fmla="*/ 160 w 194"/>
                <a:gd name="T75" fmla="*/ 12 h 214"/>
                <a:gd name="T76" fmla="*/ 176 w 194"/>
                <a:gd name="T77" fmla="*/ 8 h 214"/>
                <a:gd name="T78" fmla="*/ 190 w 194"/>
                <a:gd name="T79" fmla="*/ 8 h 214"/>
                <a:gd name="T80" fmla="*/ 186 w 194"/>
                <a:gd name="T81" fmla="*/ 16 h 214"/>
                <a:gd name="T82" fmla="*/ 178 w 194"/>
                <a:gd name="T83" fmla="*/ 20 h 214"/>
                <a:gd name="T84" fmla="*/ 172 w 194"/>
                <a:gd name="T85" fmla="*/ 28 h 214"/>
                <a:gd name="T86" fmla="*/ 164 w 194"/>
                <a:gd name="T87" fmla="*/ 20 h 214"/>
                <a:gd name="T88" fmla="*/ 146 w 194"/>
                <a:gd name="T89" fmla="*/ 24 h 214"/>
                <a:gd name="T90" fmla="*/ 134 w 194"/>
                <a:gd name="T91" fmla="*/ 30 h 214"/>
                <a:gd name="T92" fmla="*/ 134 w 194"/>
                <a:gd name="T93" fmla="*/ 68 h 214"/>
                <a:gd name="T94" fmla="*/ 134 w 194"/>
                <a:gd name="T95" fmla="*/ 86 h 214"/>
                <a:gd name="T96" fmla="*/ 122 w 194"/>
                <a:gd name="T97" fmla="*/ 90 h 214"/>
                <a:gd name="T98" fmla="*/ 120 w 194"/>
                <a:gd name="T99" fmla="*/ 102 h 214"/>
                <a:gd name="T100" fmla="*/ 120 w 194"/>
                <a:gd name="T101" fmla="*/ 1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4" h="214">
                  <a:moveTo>
                    <a:pt x="120" y="114"/>
                  </a:moveTo>
                  <a:lnTo>
                    <a:pt x="120" y="116"/>
                  </a:lnTo>
                  <a:lnTo>
                    <a:pt x="120" y="120"/>
                  </a:lnTo>
                  <a:lnTo>
                    <a:pt x="120" y="124"/>
                  </a:lnTo>
                  <a:lnTo>
                    <a:pt x="120" y="128"/>
                  </a:lnTo>
                  <a:lnTo>
                    <a:pt x="120" y="132"/>
                  </a:lnTo>
                  <a:lnTo>
                    <a:pt x="120" y="136"/>
                  </a:lnTo>
                  <a:lnTo>
                    <a:pt x="120" y="140"/>
                  </a:lnTo>
                  <a:lnTo>
                    <a:pt x="120" y="144"/>
                  </a:lnTo>
                  <a:lnTo>
                    <a:pt x="120" y="146"/>
                  </a:lnTo>
                  <a:lnTo>
                    <a:pt x="120" y="150"/>
                  </a:lnTo>
                  <a:lnTo>
                    <a:pt x="120" y="154"/>
                  </a:lnTo>
                  <a:lnTo>
                    <a:pt x="120" y="158"/>
                  </a:lnTo>
                  <a:lnTo>
                    <a:pt x="120" y="168"/>
                  </a:lnTo>
                  <a:lnTo>
                    <a:pt x="120" y="180"/>
                  </a:lnTo>
                  <a:lnTo>
                    <a:pt x="120" y="184"/>
                  </a:lnTo>
                  <a:lnTo>
                    <a:pt x="120" y="186"/>
                  </a:lnTo>
                  <a:lnTo>
                    <a:pt x="120" y="194"/>
                  </a:lnTo>
                  <a:lnTo>
                    <a:pt x="120" y="198"/>
                  </a:lnTo>
                  <a:lnTo>
                    <a:pt x="120" y="202"/>
                  </a:lnTo>
                  <a:lnTo>
                    <a:pt x="116" y="206"/>
                  </a:lnTo>
                  <a:lnTo>
                    <a:pt x="112" y="206"/>
                  </a:lnTo>
                  <a:lnTo>
                    <a:pt x="112" y="210"/>
                  </a:lnTo>
                  <a:lnTo>
                    <a:pt x="108" y="210"/>
                  </a:lnTo>
                  <a:lnTo>
                    <a:pt x="108" y="214"/>
                  </a:lnTo>
                  <a:lnTo>
                    <a:pt x="104" y="214"/>
                  </a:lnTo>
                  <a:lnTo>
                    <a:pt x="100" y="210"/>
                  </a:lnTo>
                  <a:lnTo>
                    <a:pt x="96" y="214"/>
                  </a:lnTo>
                  <a:lnTo>
                    <a:pt x="94" y="214"/>
                  </a:lnTo>
                  <a:lnTo>
                    <a:pt x="90" y="214"/>
                  </a:lnTo>
                  <a:lnTo>
                    <a:pt x="90" y="210"/>
                  </a:lnTo>
                  <a:lnTo>
                    <a:pt x="86" y="210"/>
                  </a:lnTo>
                  <a:lnTo>
                    <a:pt x="82" y="210"/>
                  </a:lnTo>
                  <a:lnTo>
                    <a:pt x="82" y="206"/>
                  </a:lnTo>
                  <a:lnTo>
                    <a:pt x="82" y="202"/>
                  </a:lnTo>
                  <a:lnTo>
                    <a:pt x="82" y="198"/>
                  </a:lnTo>
                  <a:lnTo>
                    <a:pt x="82" y="202"/>
                  </a:lnTo>
                  <a:lnTo>
                    <a:pt x="78" y="202"/>
                  </a:lnTo>
                  <a:lnTo>
                    <a:pt x="78" y="198"/>
                  </a:lnTo>
                  <a:lnTo>
                    <a:pt x="74" y="198"/>
                  </a:lnTo>
                  <a:lnTo>
                    <a:pt x="74" y="202"/>
                  </a:lnTo>
                  <a:lnTo>
                    <a:pt x="74" y="206"/>
                  </a:lnTo>
                  <a:lnTo>
                    <a:pt x="70" y="206"/>
                  </a:lnTo>
                  <a:lnTo>
                    <a:pt x="66" y="206"/>
                  </a:lnTo>
                  <a:lnTo>
                    <a:pt x="64" y="202"/>
                  </a:lnTo>
                  <a:lnTo>
                    <a:pt x="64" y="198"/>
                  </a:lnTo>
                  <a:lnTo>
                    <a:pt x="60" y="198"/>
                  </a:lnTo>
                  <a:lnTo>
                    <a:pt x="60" y="194"/>
                  </a:lnTo>
                  <a:lnTo>
                    <a:pt x="56" y="194"/>
                  </a:lnTo>
                  <a:lnTo>
                    <a:pt x="60" y="194"/>
                  </a:lnTo>
                  <a:lnTo>
                    <a:pt x="56" y="194"/>
                  </a:lnTo>
                  <a:lnTo>
                    <a:pt x="56" y="190"/>
                  </a:lnTo>
                  <a:lnTo>
                    <a:pt x="52" y="186"/>
                  </a:lnTo>
                  <a:lnTo>
                    <a:pt x="52" y="184"/>
                  </a:lnTo>
                  <a:lnTo>
                    <a:pt x="52" y="180"/>
                  </a:lnTo>
                  <a:lnTo>
                    <a:pt x="52" y="176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48" y="168"/>
                  </a:lnTo>
                  <a:lnTo>
                    <a:pt x="48" y="166"/>
                  </a:lnTo>
                  <a:lnTo>
                    <a:pt x="48" y="162"/>
                  </a:lnTo>
                  <a:lnTo>
                    <a:pt x="48" y="158"/>
                  </a:lnTo>
                  <a:lnTo>
                    <a:pt x="44" y="158"/>
                  </a:lnTo>
                  <a:lnTo>
                    <a:pt x="44" y="154"/>
                  </a:lnTo>
                  <a:lnTo>
                    <a:pt x="44" y="150"/>
                  </a:lnTo>
                  <a:lnTo>
                    <a:pt x="44" y="146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40" y="128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40" y="114"/>
                  </a:lnTo>
                  <a:lnTo>
                    <a:pt x="40" y="110"/>
                  </a:lnTo>
                  <a:lnTo>
                    <a:pt x="40" y="106"/>
                  </a:lnTo>
                  <a:lnTo>
                    <a:pt x="40" y="102"/>
                  </a:lnTo>
                  <a:lnTo>
                    <a:pt x="40" y="98"/>
                  </a:lnTo>
                  <a:lnTo>
                    <a:pt x="40" y="94"/>
                  </a:lnTo>
                  <a:lnTo>
                    <a:pt x="38" y="90"/>
                  </a:lnTo>
                  <a:lnTo>
                    <a:pt x="38" y="86"/>
                  </a:lnTo>
                  <a:lnTo>
                    <a:pt x="34" y="86"/>
                  </a:lnTo>
                  <a:lnTo>
                    <a:pt x="34" y="84"/>
                  </a:lnTo>
                  <a:lnTo>
                    <a:pt x="34" y="80"/>
                  </a:lnTo>
                  <a:lnTo>
                    <a:pt x="30" y="80"/>
                  </a:lnTo>
                  <a:lnTo>
                    <a:pt x="30" y="76"/>
                  </a:lnTo>
                  <a:lnTo>
                    <a:pt x="30" y="72"/>
                  </a:lnTo>
                  <a:lnTo>
                    <a:pt x="26" y="68"/>
                  </a:lnTo>
                  <a:lnTo>
                    <a:pt x="26" y="64"/>
                  </a:lnTo>
                  <a:lnTo>
                    <a:pt x="22" y="64"/>
                  </a:lnTo>
                  <a:lnTo>
                    <a:pt x="22" y="60"/>
                  </a:lnTo>
                  <a:lnTo>
                    <a:pt x="22" y="58"/>
                  </a:lnTo>
                  <a:lnTo>
                    <a:pt x="22" y="54"/>
                  </a:lnTo>
                  <a:lnTo>
                    <a:pt x="18" y="54"/>
                  </a:lnTo>
                  <a:lnTo>
                    <a:pt x="18" y="50"/>
                  </a:lnTo>
                  <a:lnTo>
                    <a:pt x="18" y="46"/>
                  </a:lnTo>
                  <a:lnTo>
                    <a:pt x="14" y="46"/>
                  </a:lnTo>
                  <a:lnTo>
                    <a:pt x="14" y="42"/>
                  </a:lnTo>
                  <a:lnTo>
                    <a:pt x="14" y="38"/>
                  </a:lnTo>
                  <a:lnTo>
                    <a:pt x="12" y="34"/>
                  </a:lnTo>
                  <a:lnTo>
                    <a:pt x="12" y="30"/>
                  </a:lnTo>
                  <a:lnTo>
                    <a:pt x="8" y="30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4" y="8"/>
                  </a:lnTo>
                  <a:lnTo>
                    <a:pt x="38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6" y="8"/>
                  </a:lnTo>
                  <a:lnTo>
                    <a:pt x="64" y="8"/>
                  </a:lnTo>
                  <a:lnTo>
                    <a:pt x="70" y="8"/>
                  </a:lnTo>
                  <a:lnTo>
                    <a:pt x="82" y="8"/>
                  </a:lnTo>
                  <a:lnTo>
                    <a:pt x="86" y="8"/>
                  </a:lnTo>
                  <a:lnTo>
                    <a:pt x="90" y="8"/>
                  </a:lnTo>
                  <a:lnTo>
                    <a:pt x="94" y="8"/>
                  </a:lnTo>
                  <a:lnTo>
                    <a:pt x="96" y="8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2" y="16"/>
                  </a:lnTo>
                  <a:lnTo>
                    <a:pt x="126" y="16"/>
                  </a:lnTo>
                  <a:lnTo>
                    <a:pt x="126" y="20"/>
                  </a:lnTo>
                  <a:lnTo>
                    <a:pt x="130" y="20"/>
                  </a:lnTo>
                  <a:lnTo>
                    <a:pt x="134" y="16"/>
                  </a:lnTo>
                  <a:lnTo>
                    <a:pt x="138" y="16"/>
                  </a:lnTo>
                  <a:lnTo>
                    <a:pt x="138" y="20"/>
                  </a:lnTo>
                  <a:lnTo>
                    <a:pt x="146" y="16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8"/>
                  </a:lnTo>
                  <a:lnTo>
                    <a:pt x="178" y="8"/>
                  </a:lnTo>
                  <a:lnTo>
                    <a:pt x="182" y="8"/>
                  </a:lnTo>
                  <a:lnTo>
                    <a:pt x="186" y="8"/>
                  </a:lnTo>
                  <a:lnTo>
                    <a:pt x="190" y="8"/>
                  </a:lnTo>
                  <a:lnTo>
                    <a:pt x="190" y="12"/>
                  </a:lnTo>
                  <a:lnTo>
                    <a:pt x="194" y="16"/>
                  </a:lnTo>
                  <a:lnTo>
                    <a:pt x="190" y="16"/>
                  </a:lnTo>
                  <a:lnTo>
                    <a:pt x="186" y="16"/>
                  </a:lnTo>
                  <a:lnTo>
                    <a:pt x="182" y="20"/>
                  </a:lnTo>
                  <a:lnTo>
                    <a:pt x="182" y="16"/>
                  </a:lnTo>
                  <a:lnTo>
                    <a:pt x="178" y="16"/>
                  </a:lnTo>
                  <a:lnTo>
                    <a:pt x="178" y="20"/>
                  </a:lnTo>
                  <a:lnTo>
                    <a:pt x="176" y="20"/>
                  </a:lnTo>
                  <a:lnTo>
                    <a:pt x="176" y="24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68" y="28"/>
                  </a:lnTo>
                  <a:lnTo>
                    <a:pt x="168" y="24"/>
                  </a:lnTo>
                  <a:lnTo>
                    <a:pt x="168" y="20"/>
                  </a:lnTo>
                  <a:lnTo>
                    <a:pt x="164" y="20"/>
                  </a:lnTo>
                  <a:lnTo>
                    <a:pt x="156" y="20"/>
                  </a:lnTo>
                  <a:lnTo>
                    <a:pt x="152" y="20"/>
                  </a:lnTo>
                  <a:lnTo>
                    <a:pt x="150" y="20"/>
                  </a:lnTo>
                  <a:lnTo>
                    <a:pt x="146" y="24"/>
                  </a:lnTo>
                  <a:lnTo>
                    <a:pt x="138" y="24"/>
                  </a:lnTo>
                  <a:lnTo>
                    <a:pt x="134" y="24"/>
                  </a:lnTo>
                  <a:lnTo>
                    <a:pt x="134" y="28"/>
                  </a:lnTo>
                  <a:lnTo>
                    <a:pt x="134" y="30"/>
                  </a:lnTo>
                  <a:lnTo>
                    <a:pt x="134" y="38"/>
                  </a:lnTo>
                  <a:lnTo>
                    <a:pt x="134" y="54"/>
                  </a:lnTo>
                  <a:lnTo>
                    <a:pt x="134" y="58"/>
                  </a:lnTo>
                  <a:lnTo>
                    <a:pt x="134" y="68"/>
                  </a:lnTo>
                  <a:lnTo>
                    <a:pt x="134" y="72"/>
                  </a:lnTo>
                  <a:lnTo>
                    <a:pt x="134" y="76"/>
                  </a:lnTo>
                  <a:lnTo>
                    <a:pt x="134" y="84"/>
                  </a:lnTo>
                  <a:lnTo>
                    <a:pt x="134" y="86"/>
                  </a:lnTo>
                  <a:lnTo>
                    <a:pt x="134" y="90"/>
                  </a:lnTo>
                  <a:lnTo>
                    <a:pt x="130" y="90"/>
                  </a:lnTo>
                  <a:lnTo>
                    <a:pt x="126" y="90"/>
                  </a:lnTo>
                  <a:lnTo>
                    <a:pt x="122" y="90"/>
                  </a:lnTo>
                  <a:lnTo>
                    <a:pt x="120" y="90"/>
                  </a:lnTo>
                  <a:lnTo>
                    <a:pt x="120" y="94"/>
                  </a:lnTo>
                  <a:lnTo>
                    <a:pt x="120" y="98"/>
                  </a:lnTo>
                  <a:lnTo>
                    <a:pt x="120" y="102"/>
                  </a:lnTo>
                  <a:lnTo>
                    <a:pt x="120" y="106"/>
                  </a:lnTo>
                  <a:lnTo>
                    <a:pt x="120" y="110"/>
                  </a:lnTo>
                  <a:lnTo>
                    <a:pt x="120" y="114"/>
                  </a:lnTo>
                  <a:lnTo>
                    <a:pt x="120" y="114"/>
                  </a:lnTo>
                  <a:lnTo>
                    <a:pt x="120" y="114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21" name="Freeform 161">
              <a:extLst>
                <a:ext uri="{FF2B5EF4-FFF2-40B4-BE49-F238E27FC236}">
                  <a16:creationId xmlns:a16="http://schemas.microsoft.com/office/drawing/2014/main" id="{EFCB8D06-2194-1340-E8BA-8007E91D6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923" y="3401851"/>
              <a:ext cx="436401" cy="392185"/>
            </a:xfrm>
            <a:custGeom>
              <a:avLst/>
              <a:gdLst>
                <a:gd name="T0" fmla="*/ 84 w 224"/>
                <a:gd name="T1" fmla="*/ 174 h 208"/>
                <a:gd name="T2" fmla="*/ 80 w 224"/>
                <a:gd name="T3" fmla="*/ 172 h 208"/>
                <a:gd name="T4" fmla="*/ 70 w 224"/>
                <a:gd name="T5" fmla="*/ 172 h 208"/>
                <a:gd name="T6" fmla="*/ 60 w 224"/>
                <a:gd name="T7" fmla="*/ 172 h 208"/>
                <a:gd name="T8" fmla="*/ 52 w 224"/>
                <a:gd name="T9" fmla="*/ 186 h 208"/>
                <a:gd name="T10" fmla="*/ 48 w 224"/>
                <a:gd name="T11" fmla="*/ 202 h 208"/>
                <a:gd name="T12" fmla="*/ 48 w 224"/>
                <a:gd name="T13" fmla="*/ 208 h 208"/>
                <a:gd name="T14" fmla="*/ 44 w 224"/>
                <a:gd name="T15" fmla="*/ 204 h 208"/>
                <a:gd name="T16" fmla="*/ 36 w 224"/>
                <a:gd name="T17" fmla="*/ 198 h 208"/>
                <a:gd name="T18" fmla="*/ 30 w 224"/>
                <a:gd name="T19" fmla="*/ 198 h 208"/>
                <a:gd name="T20" fmla="*/ 30 w 224"/>
                <a:gd name="T21" fmla="*/ 202 h 208"/>
                <a:gd name="T22" fmla="*/ 26 w 224"/>
                <a:gd name="T23" fmla="*/ 190 h 208"/>
                <a:gd name="T24" fmla="*/ 14 w 224"/>
                <a:gd name="T25" fmla="*/ 186 h 208"/>
                <a:gd name="T26" fmla="*/ 10 w 224"/>
                <a:gd name="T27" fmla="*/ 178 h 208"/>
                <a:gd name="T28" fmla="*/ 14 w 224"/>
                <a:gd name="T29" fmla="*/ 178 h 208"/>
                <a:gd name="T30" fmla="*/ 8 w 224"/>
                <a:gd name="T31" fmla="*/ 174 h 208"/>
                <a:gd name="T32" fmla="*/ 4 w 224"/>
                <a:gd name="T33" fmla="*/ 164 h 208"/>
                <a:gd name="T34" fmla="*/ 0 w 224"/>
                <a:gd name="T35" fmla="*/ 156 h 208"/>
                <a:gd name="T36" fmla="*/ 0 w 224"/>
                <a:gd name="T37" fmla="*/ 148 h 208"/>
                <a:gd name="T38" fmla="*/ 4 w 224"/>
                <a:gd name="T39" fmla="*/ 152 h 208"/>
                <a:gd name="T40" fmla="*/ 10 w 224"/>
                <a:gd name="T41" fmla="*/ 148 h 208"/>
                <a:gd name="T42" fmla="*/ 36 w 224"/>
                <a:gd name="T43" fmla="*/ 144 h 208"/>
                <a:gd name="T44" fmla="*/ 48 w 224"/>
                <a:gd name="T45" fmla="*/ 142 h 208"/>
                <a:gd name="T46" fmla="*/ 52 w 224"/>
                <a:gd name="T47" fmla="*/ 138 h 208"/>
                <a:gd name="T48" fmla="*/ 56 w 224"/>
                <a:gd name="T49" fmla="*/ 126 h 208"/>
                <a:gd name="T50" fmla="*/ 56 w 224"/>
                <a:gd name="T51" fmla="*/ 112 h 208"/>
                <a:gd name="T52" fmla="*/ 56 w 224"/>
                <a:gd name="T53" fmla="*/ 78 h 208"/>
                <a:gd name="T54" fmla="*/ 74 w 224"/>
                <a:gd name="T55" fmla="*/ 74 h 208"/>
                <a:gd name="T56" fmla="*/ 88 w 224"/>
                <a:gd name="T57" fmla="*/ 60 h 208"/>
                <a:gd name="T58" fmla="*/ 118 w 224"/>
                <a:gd name="T59" fmla="*/ 38 h 208"/>
                <a:gd name="T60" fmla="*/ 144 w 224"/>
                <a:gd name="T61" fmla="*/ 16 h 208"/>
                <a:gd name="T62" fmla="*/ 168 w 224"/>
                <a:gd name="T63" fmla="*/ 0 h 208"/>
                <a:gd name="T64" fmla="*/ 182 w 224"/>
                <a:gd name="T65" fmla="*/ 4 h 208"/>
                <a:gd name="T66" fmla="*/ 190 w 224"/>
                <a:gd name="T67" fmla="*/ 8 h 208"/>
                <a:gd name="T68" fmla="*/ 204 w 224"/>
                <a:gd name="T69" fmla="*/ 12 h 208"/>
                <a:gd name="T70" fmla="*/ 212 w 224"/>
                <a:gd name="T71" fmla="*/ 26 h 208"/>
                <a:gd name="T72" fmla="*/ 216 w 224"/>
                <a:gd name="T73" fmla="*/ 44 h 208"/>
                <a:gd name="T74" fmla="*/ 216 w 224"/>
                <a:gd name="T75" fmla="*/ 48 h 208"/>
                <a:gd name="T76" fmla="*/ 220 w 224"/>
                <a:gd name="T77" fmla="*/ 60 h 208"/>
                <a:gd name="T78" fmla="*/ 216 w 224"/>
                <a:gd name="T79" fmla="*/ 86 h 208"/>
                <a:gd name="T80" fmla="*/ 216 w 224"/>
                <a:gd name="T81" fmla="*/ 118 h 208"/>
                <a:gd name="T82" fmla="*/ 200 w 224"/>
                <a:gd name="T83" fmla="*/ 138 h 208"/>
                <a:gd name="T84" fmla="*/ 190 w 224"/>
                <a:gd name="T85" fmla="*/ 152 h 208"/>
                <a:gd name="T86" fmla="*/ 190 w 224"/>
                <a:gd name="T87" fmla="*/ 160 h 208"/>
                <a:gd name="T88" fmla="*/ 186 w 224"/>
                <a:gd name="T89" fmla="*/ 160 h 208"/>
                <a:gd name="T90" fmla="*/ 182 w 224"/>
                <a:gd name="T91" fmla="*/ 174 h 208"/>
                <a:gd name="T92" fmla="*/ 174 w 224"/>
                <a:gd name="T93" fmla="*/ 178 h 208"/>
                <a:gd name="T94" fmla="*/ 174 w 224"/>
                <a:gd name="T95" fmla="*/ 182 h 208"/>
                <a:gd name="T96" fmla="*/ 164 w 224"/>
                <a:gd name="T97" fmla="*/ 182 h 208"/>
                <a:gd name="T98" fmla="*/ 156 w 224"/>
                <a:gd name="T99" fmla="*/ 178 h 208"/>
                <a:gd name="T100" fmla="*/ 152 w 224"/>
                <a:gd name="T101" fmla="*/ 178 h 208"/>
                <a:gd name="T102" fmla="*/ 148 w 224"/>
                <a:gd name="T103" fmla="*/ 178 h 208"/>
                <a:gd name="T104" fmla="*/ 144 w 224"/>
                <a:gd name="T105" fmla="*/ 178 h 208"/>
                <a:gd name="T106" fmla="*/ 138 w 224"/>
                <a:gd name="T107" fmla="*/ 182 h 208"/>
                <a:gd name="T108" fmla="*/ 134 w 224"/>
                <a:gd name="T109" fmla="*/ 190 h 208"/>
                <a:gd name="T110" fmla="*/ 122 w 224"/>
                <a:gd name="T111" fmla="*/ 186 h 208"/>
                <a:gd name="T112" fmla="*/ 114 w 224"/>
                <a:gd name="T113" fmla="*/ 182 h 208"/>
                <a:gd name="T114" fmla="*/ 110 w 224"/>
                <a:gd name="T115" fmla="*/ 182 h 208"/>
                <a:gd name="T116" fmla="*/ 100 w 224"/>
                <a:gd name="T117" fmla="*/ 182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4" h="208">
                  <a:moveTo>
                    <a:pt x="96" y="186"/>
                  </a:moveTo>
                  <a:lnTo>
                    <a:pt x="92" y="186"/>
                  </a:lnTo>
                  <a:lnTo>
                    <a:pt x="92" y="182"/>
                  </a:lnTo>
                  <a:lnTo>
                    <a:pt x="92" y="182"/>
                  </a:lnTo>
                  <a:lnTo>
                    <a:pt x="88" y="178"/>
                  </a:lnTo>
                  <a:lnTo>
                    <a:pt x="88" y="178"/>
                  </a:lnTo>
                  <a:lnTo>
                    <a:pt x="84" y="174"/>
                  </a:lnTo>
                  <a:lnTo>
                    <a:pt x="84" y="174"/>
                  </a:lnTo>
                  <a:lnTo>
                    <a:pt x="84" y="174"/>
                  </a:lnTo>
                  <a:lnTo>
                    <a:pt x="84" y="174"/>
                  </a:lnTo>
                  <a:lnTo>
                    <a:pt x="84" y="174"/>
                  </a:lnTo>
                  <a:lnTo>
                    <a:pt x="80" y="174"/>
                  </a:lnTo>
                  <a:lnTo>
                    <a:pt x="80" y="172"/>
                  </a:lnTo>
                  <a:lnTo>
                    <a:pt x="80" y="172"/>
                  </a:lnTo>
                  <a:lnTo>
                    <a:pt x="78" y="172"/>
                  </a:lnTo>
                  <a:lnTo>
                    <a:pt x="78" y="172"/>
                  </a:lnTo>
                  <a:lnTo>
                    <a:pt x="74" y="172"/>
                  </a:lnTo>
                  <a:lnTo>
                    <a:pt x="74" y="172"/>
                  </a:lnTo>
                  <a:lnTo>
                    <a:pt x="74" y="172"/>
                  </a:lnTo>
                  <a:lnTo>
                    <a:pt x="70" y="172"/>
                  </a:lnTo>
                  <a:lnTo>
                    <a:pt x="70" y="172"/>
                  </a:lnTo>
                  <a:lnTo>
                    <a:pt x="70" y="172"/>
                  </a:lnTo>
                  <a:lnTo>
                    <a:pt x="70" y="172"/>
                  </a:lnTo>
                  <a:lnTo>
                    <a:pt x="66" y="172"/>
                  </a:lnTo>
                  <a:lnTo>
                    <a:pt x="66" y="172"/>
                  </a:lnTo>
                  <a:lnTo>
                    <a:pt x="66" y="172"/>
                  </a:lnTo>
                  <a:lnTo>
                    <a:pt x="64" y="172"/>
                  </a:lnTo>
                  <a:lnTo>
                    <a:pt x="60" y="172"/>
                  </a:lnTo>
                  <a:lnTo>
                    <a:pt x="56" y="174"/>
                  </a:lnTo>
                  <a:lnTo>
                    <a:pt x="56" y="174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6" y="182"/>
                  </a:lnTo>
                  <a:lnTo>
                    <a:pt x="56" y="186"/>
                  </a:lnTo>
                  <a:lnTo>
                    <a:pt x="52" y="186"/>
                  </a:lnTo>
                  <a:lnTo>
                    <a:pt x="52" y="190"/>
                  </a:lnTo>
                  <a:lnTo>
                    <a:pt x="52" y="190"/>
                  </a:lnTo>
                  <a:lnTo>
                    <a:pt x="48" y="194"/>
                  </a:lnTo>
                  <a:lnTo>
                    <a:pt x="48" y="194"/>
                  </a:lnTo>
                  <a:lnTo>
                    <a:pt x="48" y="198"/>
                  </a:lnTo>
                  <a:lnTo>
                    <a:pt x="48" y="198"/>
                  </a:lnTo>
                  <a:lnTo>
                    <a:pt x="48" y="202"/>
                  </a:lnTo>
                  <a:lnTo>
                    <a:pt x="48" y="202"/>
                  </a:lnTo>
                  <a:lnTo>
                    <a:pt x="48" y="202"/>
                  </a:lnTo>
                  <a:lnTo>
                    <a:pt x="48" y="204"/>
                  </a:lnTo>
                  <a:lnTo>
                    <a:pt x="48" y="204"/>
                  </a:lnTo>
                  <a:lnTo>
                    <a:pt x="48" y="204"/>
                  </a:lnTo>
                  <a:lnTo>
                    <a:pt x="48" y="204"/>
                  </a:lnTo>
                  <a:lnTo>
                    <a:pt x="48" y="208"/>
                  </a:lnTo>
                  <a:lnTo>
                    <a:pt x="48" y="208"/>
                  </a:lnTo>
                  <a:lnTo>
                    <a:pt x="44" y="204"/>
                  </a:lnTo>
                  <a:lnTo>
                    <a:pt x="44" y="204"/>
                  </a:lnTo>
                  <a:lnTo>
                    <a:pt x="44" y="204"/>
                  </a:lnTo>
                  <a:lnTo>
                    <a:pt x="44" y="204"/>
                  </a:lnTo>
                  <a:lnTo>
                    <a:pt x="44" y="204"/>
                  </a:lnTo>
                  <a:lnTo>
                    <a:pt x="44" y="204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40" y="202"/>
                  </a:lnTo>
                  <a:lnTo>
                    <a:pt x="40" y="202"/>
                  </a:lnTo>
                  <a:lnTo>
                    <a:pt x="40" y="202"/>
                  </a:lnTo>
                  <a:lnTo>
                    <a:pt x="36" y="198"/>
                  </a:lnTo>
                  <a:lnTo>
                    <a:pt x="36" y="198"/>
                  </a:lnTo>
                  <a:lnTo>
                    <a:pt x="36" y="194"/>
                  </a:lnTo>
                  <a:lnTo>
                    <a:pt x="36" y="198"/>
                  </a:lnTo>
                  <a:lnTo>
                    <a:pt x="34" y="198"/>
                  </a:lnTo>
                  <a:lnTo>
                    <a:pt x="34" y="198"/>
                  </a:lnTo>
                  <a:lnTo>
                    <a:pt x="34" y="198"/>
                  </a:lnTo>
                  <a:lnTo>
                    <a:pt x="34" y="198"/>
                  </a:lnTo>
                  <a:lnTo>
                    <a:pt x="30" y="198"/>
                  </a:lnTo>
                  <a:lnTo>
                    <a:pt x="30" y="198"/>
                  </a:lnTo>
                  <a:lnTo>
                    <a:pt x="30" y="202"/>
                  </a:lnTo>
                  <a:lnTo>
                    <a:pt x="30" y="202"/>
                  </a:lnTo>
                  <a:lnTo>
                    <a:pt x="30" y="204"/>
                  </a:lnTo>
                  <a:lnTo>
                    <a:pt x="30" y="204"/>
                  </a:lnTo>
                  <a:lnTo>
                    <a:pt x="30" y="204"/>
                  </a:lnTo>
                  <a:lnTo>
                    <a:pt x="30" y="202"/>
                  </a:lnTo>
                  <a:lnTo>
                    <a:pt x="26" y="198"/>
                  </a:lnTo>
                  <a:lnTo>
                    <a:pt x="26" y="198"/>
                  </a:lnTo>
                  <a:lnTo>
                    <a:pt x="26" y="194"/>
                  </a:lnTo>
                  <a:lnTo>
                    <a:pt x="26" y="194"/>
                  </a:lnTo>
                  <a:lnTo>
                    <a:pt x="30" y="194"/>
                  </a:lnTo>
                  <a:lnTo>
                    <a:pt x="26" y="194"/>
                  </a:lnTo>
                  <a:lnTo>
                    <a:pt x="26" y="190"/>
                  </a:lnTo>
                  <a:lnTo>
                    <a:pt x="26" y="190"/>
                  </a:lnTo>
                  <a:lnTo>
                    <a:pt x="26" y="190"/>
                  </a:lnTo>
                  <a:lnTo>
                    <a:pt x="26" y="190"/>
                  </a:lnTo>
                  <a:lnTo>
                    <a:pt x="22" y="190"/>
                  </a:lnTo>
                  <a:lnTo>
                    <a:pt x="22" y="194"/>
                  </a:lnTo>
                  <a:lnTo>
                    <a:pt x="18" y="190"/>
                  </a:lnTo>
                  <a:lnTo>
                    <a:pt x="14" y="186"/>
                  </a:lnTo>
                  <a:lnTo>
                    <a:pt x="10" y="186"/>
                  </a:lnTo>
                  <a:lnTo>
                    <a:pt x="10" y="186"/>
                  </a:lnTo>
                  <a:lnTo>
                    <a:pt x="10" y="182"/>
                  </a:lnTo>
                  <a:lnTo>
                    <a:pt x="10" y="182"/>
                  </a:lnTo>
                  <a:lnTo>
                    <a:pt x="10" y="178"/>
                  </a:lnTo>
                  <a:lnTo>
                    <a:pt x="10" y="178"/>
                  </a:lnTo>
                  <a:lnTo>
                    <a:pt x="10" y="178"/>
                  </a:lnTo>
                  <a:lnTo>
                    <a:pt x="10" y="178"/>
                  </a:lnTo>
                  <a:lnTo>
                    <a:pt x="10" y="178"/>
                  </a:lnTo>
                  <a:lnTo>
                    <a:pt x="10" y="178"/>
                  </a:lnTo>
                  <a:lnTo>
                    <a:pt x="10" y="178"/>
                  </a:lnTo>
                  <a:lnTo>
                    <a:pt x="14" y="178"/>
                  </a:lnTo>
                  <a:lnTo>
                    <a:pt x="14" y="178"/>
                  </a:lnTo>
                  <a:lnTo>
                    <a:pt x="14" y="178"/>
                  </a:lnTo>
                  <a:lnTo>
                    <a:pt x="10" y="178"/>
                  </a:lnTo>
                  <a:lnTo>
                    <a:pt x="10" y="178"/>
                  </a:lnTo>
                  <a:lnTo>
                    <a:pt x="10" y="178"/>
                  </a:lnTo>
                  <a:lnTo>
                    <a:pt x="10" y="174"/>
                  </a:lnTo>
                  <a:lnTo>
                    <a:pt x="10" y="174"/>
                  </a:lnTo>
                  <a:lnTo>
                    <a:pt x="10" y="174"/>
                  </a:lnTo>
                  <a:lnTo>
                    <a:pt x="8" y="174"/>
                  </a:lnTo>
                  <a:lnTo>
                    <a:pt x="4" y="174"/>
                  </a:lnTo>
                  <a:lnTo>
                    <a:pt x="4" y="172"/>
                  </a:lnTo>
                  <a:lnTo>
                    <a:pt x="4" y="172"/>
                  </a:lnTo>
                  <a:lnTo>
                    <a:pt x="4" y="168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4" y="164"/>
                  </a:lnTo>
                  <a:lnTo>
                    <a:pt x="0" y="16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0" y="156"/>
                  </a:lnTo>
                  <a:lnTo>
                    <a:pt x="0" y="156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52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4" y="148"/>
                  </a:lnTo>
                  <a:lnTo>
                    <a:pt x="4" y="152"/>
                  </a:lnTo>
                  <a:lnTo>
                    <a:pt x="4" y="152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10" y="148"/>
                  </a:lnTo>
                  <a:lnTo>
                    <a:pt x="10" y="148"/>
                  </a:lnTo>
                  <a:lnTo>
                    <a:pt x="10" y="148"/>
                  </a:lnTo>
                  <a:lnTo>
                    <a:pt x="10" y="148"/>
                  </a:lnTo>
                  <a:lnTo>
                    <a:pt x="14" y="144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34" y="144"/>
                  </a:lnTo>
                  <a:lnTo>
                    <a:pt x="34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2"/>
                  </a:lnTo>
                  <a:lnTo>
                    <a:pt x="40" y="142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4" y="142"/>
                  </a:lnTo>
                  <a:lnTo>
                    <a:pt x="48" y="142"/>
                  </a:lnTo>
                  <a:lnTo>
                    <a:pt x="48" y="138"/>
                  </a:lnTo>
                  <a:lnTo>
                    <a:pt x="48" y="138"/>
                  </a:lnTo>
                  <a:lnTo>
                    <a:pt x="48" y="138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4"/>
                  </a:lnTo>
                  <a:lnTo>
                    <a:pt x="52" y="130"/>
                  </a:lnTo>
                  <a:lnTo>
                    <a:pt x="52" y="126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6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6" y="9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2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6" y="74"/>
                  </a:lnTo>
                  <a:lnTo>
                    <a:pt x="70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8" y="74"/>
                  </a:lnTo>
                  <a:lnTo>
                    <a:pt x="78" y="74"/>
                  </a:lnTo>
                  <a:lnTo>
                    <a:pt x="80" y="70"/>
                  </a:lnTo>
                  <a:lnTo>
                    <a:pt x="80" y="70"/>
                  </a:lnTo>
                  <a:lnTo>
                    <a:pt x="84" y="66"/>
                  </a:lnTo>
                  <a:lnTo>
                    <a:pt x="88" y="62"/>
                  </a:lnTo>
                  <a:lnTo>
                    <a:pt x="88" y="60"/>
                  </a:lnTo>
                  <a:lnTo>
                    <a:pt x="92" y="56"/>
                  </a:lnTo>
                  <a:lnTo>
                    <a:pt x="100" y="48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10" y="42"/>
                  </a:lnTo>
                  <a:lnTo>
                    <a:pt x="118" y="38"/>
                  </a:lnTo>
                  <a:lnTo>
                    <a:pt x="118" y="34"/>
                  </a:lnTo>
                  <a:lnTo>
                    <a:pt x="122" y="30"/>
                  </a:lnTo>
                  <a:lnTo>
                    <a:pt x="130" y="26"/>
                  </a:lnTo>
                  <a:lnTo>
                    <a:pt x="134" y="22"/>
                  </a:lnTo>
                  <a:lnTo>
                    <a:pt x="138" y="18"/>
                  </a:lnTo>
                  <a:lnTo>
                    <a:pt x="140" y="18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60" y="4"/>
                  </a:lnTo>
                  <a:lnTo>
                    <a:pt x="164" y="4"/>
                  </a:lnTo>
                  <a:lnTo>
                    <a:pt x="164" y="0"/>
                  </a:lnTo>
                  <a:lnTo>
                    <a:pt x="168" y="0"/>
                  </a:lnTo>
                  <a:lnTo>
                    <a:pt x="170" y="4"/>
                  </a:lnTo>
                  <a:lnTo>
                    <a:pt x="170" y="4"/>
                  </a:lnTo>
                  <a:lnTo>
                    <a:pt x="170" y="4"/>
                  </a:lnTo>
                  <a:lnTo>
                    <a:pt x="170" y="4"/>
                  </a:lnTo>
                  <a:lnTo>
                    <a:pt x="174" y="4"/>
                  </a:lnTo>
                  <a:lnTo>
                    <a:pt x="178" y="4"/>
                  </a:lnTo>
                  <a:lnTo>
                    <a:pt x="182" y="4"/>
                  </a:lnTo>
                  <a:lnTo>
                    <a:pt x="186" y="8"/>
                  </a:lnTo>
                  <a:lnTo>
                    <a:pt x="186" y="8"/>
                  </a:lnTo>
                  <a:lnTo>
                    <a:pt x="186" y="8"/>
                  </a:lnTo>
                  <a:lnTo>
                    <a:pt x="186" y="8"/>
                  </a:lnTo>
                  <a:lnTo>
                    <a:pt x="186" y="8"/>
                  </a:lnTo>
                  <a:lnTo>
                    <a:pt x="186" y="8"/>
                  </a:lnTo>
                  <a:lnTo>
                    <a:pt x="190" y="8"/>
                  </a:lnTo>
                  <a:lnTo>
                    <a:pt x="190" y="8"/>
                  </a:lnTo>
                  <a:lnTo>
                    <a:pt x="194" y="12"/>
                  </a:lnTo>
                  <a:lnTo>
                    <a:pt x="198" y="18"/>
                  </a:lnTo>
                  <a:lnTo>
                    <a:pt x="198" y="16"/>
                  </a:lnTo>
                  <a:lnTo>
                    <a:pt x="200" y="16"/>
                  </a:lnTo>
                  <a:lnTo>
                    <a:pt x="200" y="16"/>
                  </a:lnTo>
                  <a:lnTo>
                    <a:pt x="204" y="12"/>
                  </a:lnTo>
                  <a:lnTo>
                    <a:pt x="204" y="12"/>
                  </a:lnTo>
                  <a:lnTo>
                    <a:pt x="208" y="12"/>
                  </a:lnTo>
                  <a:lnTo>
                    <a:pt x="208" y="12"/>
                  </a:lnTo>
                  <a:lnTo>
                    <a:pt x="208" y="12"/>
                  </a:lnTo>
                  <a:lnTo>
                    <a:pt x="208" y="16"/>
                  </a:lnTo>
                  <a:lnTo>
                    <a:pt x="212" y="26"/>
                  </a:lnTo>
                  <a:lnTo>
                    <a:pt x="212" y="26"/>
                  </a:lnTo>
                  <a:lnTo>
                    <a:pt x="212" y="30"/>
                  </a:lnTo>
                  <a:lnTo>
                    <a:pt x="212" y="34"/>
                  </a:lnTo>
                  <a:lnTo>
                    <a:pt x="212" y="34"/>
                  </a:lnTo>
                  <a:lnTo>
                    <a:pt x="212" y="38"/>
                  </a:lnTo>
                  <a:lnTo>
                    <a:pt x="212" y="38"/>
                  </a:lnTo>
                  <a:lnTo>
                    <a:pt x="212" y="38"/>
                  </a:lnTo>
                  <a:lnTo>
                    <a:pt x="216" y="44"/>
                  </a:lnTo>
                  <a:lnTo>
                    <a:pt x="216" y="44"/>
                  </a:lnTo>
                  <a:lnTo>
                    <a:pt x="216" y="44"/>
                  </a:lnTo>
                  <a:lnTo>
                    <a:pt x="216" y="48"/>
                  </a:lnTo>
                  <a:lnTo>
                    <a:pt x="216" y="48"/>
                  </a:lnTo>
                  <a:lnTo>
                    <a:pt x="216" y="48"/>
                  </a:lnTo>
                  <a:lnTo>
                    <a:pt x="216" y="48"/>
                  </a:lnTo>
                  <a:lnTo>
                    <a:pt x="216" y="48"/>
                  </a:lnTo>
                  <a:lnTo>
                    <a:pt x="216" y="48"/>
                  </a:lnTo>
                  <a:lnTo>
                    <a:pt x="216" y="48"/>
                  </a:lnTo>
                  <a:lnTo>
                    <a:pt x="216" y="52"/>
                  </a:lnTo>
                  <a:lnTo>
                    <a:pt x="216" y="52"/>
                  </a:lnTo>
                  <a:lnTo>
                    <a:pt x="224" y="56"/>
                  </a:lnTo>
                  <a:lnTo>
                    <a:pt x="224" y="56"/>
                  </a:lnTo>
                  <a:lnTo>
                    <a:pt x="220" y="60"/>
                  </a:lnTo>
                  <a:lnTo>
                    <a:pt x="220" y="62"/>
                  </a:lnTo>
                  <a:lnTo>
                    <a:pt x="220" y="62"/>
                  </a:lnTo>
                  <a:lnTo>
                    <a:pt x="220" y="66"/>
                  </a:lnTo>
                  <a:lnTo>
                    <a:pt x="220" y="70"/>
                  </a:lnTo>
                  <a:lnTo>
                    <a:pt x="216" y="82"/>
                  </a:lnTo>
                  <a:lnTo>
                    <a:pt x="216" y="82"/>
                  </a:lnTo>
                  <a:lnTo>
                    <a:pt x="216" y="86"/>
                  </a:lnTo>
                  <a:lnTo>
                    <a:pt x="216" y="92"/>
                  </a:lnTo>
                  <a:lnTo>
                    <a:pt x="216" y="92"/>
                  </a:lnTo>
                  <a:lnTo>
                    <a:pt x="216" y="96"/>
                  </a:lnTo>
                  <a:lnTo>
                    <a:pt x="216" y="108"/>
                  </a:lnTo>
                  <a:lnTo>
                    <a:pt x="216" y="116"/>
                  </a:lnTo>
                  <a:lnTo>
                    <a:pt x="216" y="118"/>
                  </a:lnTo>
                  <a:lnTo>
                    <a:pt x="216" y="118"/>
                  </a:lnTo>
                  <a:lnTo>
                    <a:pt x="216" y="118"/>
                  </a:lnTo>
                  <a:lnTo>
                    <a:pt x="212" y="118"/>
                  </a:lnTo>
                  <a:lnTo>
                    <a:pt x="212" y="122"/>
                  </a:lnTo>
                  <a:lnTo>
                    <a:pt x="208" y="122"/>
                  </a:lnTo>
                  <a:lnTo>
                    <a:pt x="208" y="126"/>
                  </a:lnTo>
                  <a:lnTo>
                    <a:pt x="200" y="134"/>
                  </a:lnTo>
                  <a:lnTo>
                    <a:pt x="200" y="138"/>
                  </a:lnTo>
                  <a:lnTo>
                    <a:pt x="198" y="142"/>
                  </a:lnTo>
                  <a:lnTo>
                    <a:pt x="198" y="142"/>
                  </a:lnTo>
                  <a:lnTo>
                    <a:pt x="194" y="144"/>
                  </a:lnTo>
                  <a:lnTo>
                    <a:pt x="194" y="144"/>
                  </a:lnTo>
                  <a:lnTo>
                    <a:pt x="194" y="148"/>
                  </a:lnTo>
                  <a:lnTo>
                    <a:pt x="190" y="152"/>
                  </a:lnTo>
                  <a:lnTo>
                    <a:pt x="190" y="152"/>
                  </a:lnTo>
                  <a:lnTo>
                    <a:pt x="190" y="152"/>
                  </a:lnTo>
                  <a:lnTo>
                    <a:pt x="190" y="156"/>
                  </a:lnTo>
                  <a:lnTo>
                    <a:pt x="190" y="156"/>
                  </a:lnTo>
                  <a:lnTo>
                    <a:pt x="190" y="156"/>
                  </a:lnTo>
                  <a:lnTo>
                    <a:pt x="190" y="156"/>
                  </a:lnTo>
                  <a:lnTo>
                    <a:pt x="190" y="156"/>
                  </a:lnTo>
                  <a:lnTo>
                    <a:pt x="190" y="160"/>
                  </a:lnTo>
                  <a:lnTo>
                    <a:pt x="190" y="160"/>
                  </a:lnTo>
                  <a:lnTo>
                    <a:pt x="190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8"/>
                  </a:lnTo>
                  <a:lnTo>
                    <a:pt x="190" y="172"/>
                  </a:lnTo>
                  <a:lnTo>
                    <a:pt x="190" y="172"/>
                  </a:lnTo>
                  <a:lnTo>
                    <a:pt x="186" y="172"/>
                  </a:lnTo>
                  <a:lnTo>
                    <a:pt x="182" y="174"/>
                  </a:lnTo>
                  <a:lnTo>
                    <a:pt x="182" y="174"/>
                  </a:lnTo>
                  <a:lnTo>
                    <a:pt x="182" y="174"/>
                  </a:lnTo>
                  <a:lnTo>
                    <a:pt x="182" y="174"/>
                  </a:lnTo>
                  <a:lnTo>
                    <a:pt x="182" y="174"/>
                  </a:lnTo>
                  <a:lnTo>
                    <a:pt x="178" y="174"/>
                  </a:lnTo>
                  <a:lnTo>
                    <a:pt x="178" y="174"/>
                  </a:lnTo>
                  <a:lnTo>
                    <a:pt x="178" y="174"/>
                  </a:lnTo>
                  <a:lnTo>
                    <a:pt x="174" y="178"/>
                  </a:lnTo>
                  <a:lnTo>
                    <a:pt x="174" y="178"/>
                  </a:lnTo>
                  <a:lnTo>
                    <a:pt x="174" y="178"/>
                  </a:lnTo>
                  <a:lnTo>
                    <a:pt x="174" y="178"/>
                  </a:lnTo>
                  <a:lnTo>
                    <a:pt x="174" y="178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4" y="182"/>
                  </a:lnTo>
                  <a:lnTo>
                    <a:pt x="164" y="178"/>
                  </a:lnTo>
                  <a:lnTo>
                    <a:pt x="160" y="178"/>
                  </a:lnTo>
                  <a:lnTo>
                    <a:pt x="160" y="178"/>
                  </a:lnTo>
                  <a:lnTo>
                    <a:pt x="160" y="178"/>
                  </a:lnTo>
                  <a:lnTo>
                    <a:pt x="156" y="178"/>
                  </a:lnTo>
                  <a:lnTo>
                    <a:pt x="156" y="178"/>
                  </a:lnTo>
                  <a:lnTo>
                    <a:pt x="156" y="178"/>
                  </a:lnTo>
                  <a:lnTo>
                    <a:pt x="156" y="178"/>
                  </a:lnTo>
                  <a:lnTo>
                    <a:pt x="156" y="178"/>
                  </a:lnTo>
                  <a:lnTo>
                    <a:pt x="156" y="178"/>
                  </a:lnTo>
                  <a:lnTo>
                    <a:pt x="152" y="178"/>
                  </a:lnTo>
                  <a:lnTo>
                    <a:pt x="152" y="178"/>
                  </a:lnTo>
                  <a:lnTo>
                    <a:pt x="152" y="178"/>
                  </a:lnTo>
                  <a:lnTo>
                    <a:pt x="152" y="178"/>
                  </a:lnTo>
                  <a:lnTo>
                    <a:pt x="152" y="178"/>
                  </a:lnTo>
                  <a:lnTo>
                    <a:pt x="152" y="178"/>
                  </a:lnTo>
                  <a:lnTo>
                    <a:pt x="152" y="178"/>
                  </a:lnTo>
                  <a:lnTo>
                    <a:pt x="152" y="178"/>
                  </a:lnTo>
                  <a:lnTo>
                    <a:pt x="148" y="178"/>
                  </a:lnTo>
                  <a:lnTo>
                    <a:pt x="148" y="178"/>
                  </a:lnTo>
                  <a:lnTo>
                    <a:pt x="148" y="178"/>
                  </a:lnTo>
                  <a:lnTo>
                    <a:pt x="148" y="178"/>
                  </a:lnTo>
                  <a:lnTo>
                    <a:pt x="148" y="178"/>
                  </a:lnTo>
                  <a:lnTo>
                    <a:pt x="148" y="178"/>
                  </a:lnTo>
                  <a:lnTo>
                    <a:pt x="144" y="178"/>
                  </a:lnTo>
                  <a:lnTo>
                    <a:pt x="144" y="178"/>
                  </a:lnTo>
                  <a:lnTo>
                    <a:pt x="144" y="178"/>
                  </a:lnTo>
                  <a:lnTo>
                    <a:pt x="144" y="178"/>
                  </a:lnTo>
                  <a:lnTo>
                    <a:pt x="144" y="178"/>
                  </a:lnTo>
                  <a:lnTo>
                    <a:pt x="144" y="178"/>
                  </a:lnTo>
                  <a:lnTo>
                    <a:pt x="140" y="178"/>
                  </a:lnTo>
                  <a:lnTo>
                    <a:pt x="140" y="178"/>
                  </a:lnTo>
                  <a:lnTo>
                    <a:pt x="140" y="178"/>
                  </a:lnTo>
                  <a:lnTo>
                    <a:pt x="140" y="178"/>
                  </a:lnTo>
                  <a:lnTo>
                    <a:pt x="138" y="182"/>
                  </a:lnTo>
                  <a:lnTo>
                    <a:pt x="138" y="182"/>
                  </a:lnTo>
                  <a:lnTo>
                    <a:pt x="138" y="182"/>
                  </a:lnTo>
                  <a:lnTo>
                    <a:pt x="138" y="182"/>
                  </a:lnTo>
                  <a:lnTo>
                    <a:pt x="134" y="182"/>
                  </a:lnTo>
                  <a:lnTo>
                    <a:pt x="134" y="186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0" y="190"/>
                  </a:lnTo>
                  <a:lnTo>
                    <a:pt x="126" y="186"/>
                  </a:lnTo>
                  <a:lnTo>
                    <a:pt x="126" y="186"/>
                  </a:lnTo>
                  <a:lnTo>
                    <a:pt x="122" y="186"/>
                  </a:lnTo>
                  <a:lnTo>
                    <a:pt x="122" y="186"/>
                  </a:lnTo>
                  <a:lnTo>
                    <a:pt x="122" y="186"/>
                  </a:lnTo>
                  <a:lnTo>
                    <a:pt x="122" y="186"/>
                  </a:lnTo>
                  <a:lnTo>
                    <a:pt x="118" y="186"/>
                  </a:lnTo>
                  <a:lnTo>
                    <a:pt x="118" y="186"/>
                  </a:lnTo>
                  <a:lnTo>
                    <a:pt x="118" y="186"/>
                  </a:lnTo>
                  <a:lnTo>
                    <a:pt x="118" y="186"/>
                  </a:lnTo>
                  <a:lnTo>
                    <a:pt x="118" y="186"/>
                  </a:lnTo>
                  <a:lnTo>
                    <a:pt x="114" y="182"/>
                  </a:lnTo>
                  <a:lnTo>
                    <a:pt x="114" y="182"/>
                  </a:lnTo>
                  <a:lnTo>
                    <a:pt x="114" y="182"/>
                  </a:lnTo>
                  <a:lnTo>
                    <a:pt x="114" y="182"/>
                  </a:lnTo>
                  <a:lnTo>
                    <a:pt x="114" y="182"/>
                  </a:lnTo>
                  <a:lnTo>
                    <a:pt x="114" y="182"/>
                  </a:lnTo>
                  <a:lnTo>
                    <a:pt x="114" y="182"/>
                  </a:lnTo>
                  <a:lnTo>
                    <a:pt x="110" y="182"/>
                  </a:lnTo>
                  <a:lnTo>
                    <a:pt x="110" y="182"/>
                  </a:lnTo>
                  <a:lnTo>
                    <a:pt x="110" y="182"/>
                  </a:lnTo>
                  <a:lnTo>
                    <a:pt x="110" y="178"/>
                  </a:lnTo>
                  <a:lnTo>
                    <a:pt x="110" y="178"/>
                  </a:lnTo>
                  <a:lnTo>
                    <a:pt x="110" y="178"/>
                  </a:lnTo>
                  <a:lnTo>
                    <a:pt x="108" y="178"/>
                  </a:lnTo>
                  <a:lnTo>
                    <a:pt x="100" y="182"/>
                  </a:lnTo>
                  <a:lnTo>
                    <a:pt x="100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6"/>
                  </a:lnTo>
                  <a:lnTo>
                    <a:pt x="96" y="186"/>
                  </a:lnTo>
                  <a:lnTo>
                    <a:pt x="96" y="186"/>
                  </a:lnTo>
                  <a:lnTo>
                    <a:pt x="96" y="186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22" name="Freeform 162">
              <a:extLst>
                <a:ext uri="{FF2B5EF4-FFF2-40B4-BE49-F238E27FC236}">
                  <a16:creationId xmlns:a16="http://schemas.microsoft.com/office/drawing/2014/main" id="{F234704D-3DAB-494E-0EF3-7D85E47554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67162" y="3726158"/>
              <a:ext cx="331197" cy="309223"/>
            </a:xfrm>
            <a:custGeom>
              <a:avLst/>
              <a:gdLst>
                <a:gd name="T0" fmla="*/ 126 w 170"/>
                <a:gd name="T1" fmla="*/ 122 h 164"/>
                <a:gd name="T2" fmla="*/ 118 w 170"/>
                <a:gd name="T3" fmla="*/ 122 h 164"/>
                <a:gd name="T4" fmla="*/ 110 w 170"/>
                <a:gd name="T5" fmla="*/ 114 h 164"/>
                <a:gd name="T6" fmla="*/ 102 w 170"/>
                <a:gd name="T7" fmla="*/ 118 h 164"/>
                <a:gd name="T8" fmla="*/ 96 w 170"/>
                <a:gd name="T9" fmla="*/ 126 h 164"/>
                <a:gd name="T10" fmla="*/ 88 w 170"/>
                <a:gd name="T11" fmla="*/ 140 h 164"/>
                <a:gd name="T12" fmla="*/ 80 w 170"/>
                <a:gd name="T13" fmla="*/ 152 h 164"/>
                <a:gd name="T14" fmla="*/ 76 w 170"/>
                <a:gd name="T15" fmla="*/ 156 h 164"/>
                <a:gd name="T16" fmla="*/ 70 w 170"/>
                <a:gd name="T17" fmla="*/ 160 h 164"/>
                <a:gd name="T18" fmla="*/ 62 w 170"/>
                <a:gd name="T19" fmla="*/ 156 h 164"/>
                <a:gd name="T20" fmla="*/ 58 w 170"/>
                <a:gd name="T21" fmla="*/ 160 h 164"/>
                <a:gd name="T22" fmla="*/ 58 w 170"/>
                <a:gd name="T23" fmla="*/ 160 h 164"/>
                <a:gd name="T24" fmla="*/ 58 w 170"/>
                <a:gd name="T25" fmla="*/ 156 h 164"/>
                <a:gd name="T26" fmla="*/ 50 w 170"/>
                <a:gd name="T27" fmla="*/ 160 h 164"/>
                <a:gd name="T28" fmla="*/ 40 w 170"/>
                <a:gd name="T29" fmla="*/ 156 h 164"/>
                <a:gd name="T30" fmla="*/ 36 w 170"/>
                <a:gd name="T31" fmla="*/ 148 h 164"/>
                <a:gd name="T32" fmla="*/ 40 w 170"/>
                <a:gd name="T33" fmla="*/ 144 h 164"/>
                <a:gd name="T34" fmla="*/ 36 w 170"/>
                <a:gd name="T35" fmla="*/ 140 h 164"/>
                <a:gd name="T36" fmla="*/ 30 w 170"/>
                <a:gd name="T37" fmla="*/ 130 h 164"/>
                <a:gd name="T38" fmla="*/ 18 w 170"/>
                <a:gd name="T39" fmla="*/ 126 h 164"/>
                <a:gd name="T40" fmla="*/ 18 w 170"/>
                <a:gd name="T41" fmla="*/ 122 h 164"/>
                <a:gd name="T42" fmla="*/ 10 w 170"/>
                <a:gd name="T43" fmla="*/ 126 h 164"/>
                <a:gd name="T44" fmla="*/ 0 w 170"/>
                <a:gd name="T45" fmla="*/ 122 h 164"/>
                <a:gd name="T46" fmla="*/ 2 w 170"/>
                <a:gd name="T47" fmla="*/ 110 h 164"/>
                <a:gd name="T48" fmla="*/ 0 w 170"/>
                <a:gd name="T49" fmla="*/ 96 h 164"/>
                <a:gd name="T50" fmla="*/ 2 w 170"/>
                <a:gd name="T51" fmla="*/ 82 h 164"/>
                <a:gd name="T52" fmla="*/ 10 w 170"/>
                <a:gd name="T53" fmla="*/ 70 h 164"/>
                <a:gd name="T54" fmla="*/ 14 w 170"/>
                <a:gd name="T55" fmla="*/ 58 h 164"/>
                <a:gd name="T56" fmla="*/ 14 w 170"/>
                <a:gd name="T57" fmla="*/ 52 h 164"/>
                <a:gd name="T58" fmla="*/ 10 w 170"/>
                <a:gd name="T59" fmla="*/ 36 h 164"/>
                <a:gd name="T60" fmla="*/ 14 w 170"/>
                <a:gd name="T61" fmla="*/ 26 h 164"/>
                <a:gd name="T62" fmla="*/ 22 w 170"/>
                <a:gd name="T63" fmla="*/ 14 h 164"/>
                <a:gd name="T64" fmla="*/ 26 w 170"/>
                <a:gd name="T65" fmla="*/ 0 h 164"/>
                <a:gd name="T66" fmla="*/ 40 w 170"/>
                <a:gd name="T67" fmla="*/ 0 h 164"/>
                <a:gd name="T68" fmla="*/ 50 w 170"/>
                <a:gd name="T69" fmla="*/ 2 h 164"/>
                <a:gd name="T70" fmla="*/ 62 w 170"/>
                <a:gd name="T71" fmla="*/ 14 h 164"/>
                <a:gd name="T72" fmla="*/ 76 w 170"/>
                <a:gd name="T73" fmla="*/ 6 h 164"/>
                <a:gd name="T74" fmla="*/ 88 w 170"/>
                <a:gd name="T75" fmla="*/ 14 h 164"/>
                <a:gd name="T76" fmla="*/ 100 w 170"/>
                <a:gd name="T77" fmla="*/ 14 h 164"/>
                <a:gd name="T78" fmla="*/ 110 w 170"/>
                <a:gd name="T79" fmla="*/ 6 h 164"/>
                <a:gd name="T80" fmla="*/ 126 w 170"/>
                <a:gd name="T81" fmla="*/ 6 h 164"/>
                <a:gd name="T82" fmla="*/ 136 w 170"/>
                <a:gd name="T83" fmla="*/ 10 h 164"/>
                <a:gd name="T84" fmla="*/ 148 w 170"/>
                <a:gd name="T85" fmla="*/ 2 h 164"/>
                <a:gd name="T86" fmla="*/ 158 w 170"/>
                <a:gd name="T87" fmla="*/ 6 h 164"/>
                <a:gd name="T88" fmla="*/ 162 w 170"/>
                <a:gd name="T89" fmla="*/ 22 h 164"/>
                <a:gd name="T90" fmla="*/ 170 w 170"/>
                <a:gd name="T91" fmla="*/ 28 h 164"/>
                <a:gd name="T92" fmla="*/ 166 w 170"/>
                <a:gd name="T93" fmla="*/ 32 h 164"/>
                <a:gd name="T94" fmla="*/ 162 w 170"/>
                <a:gd name="T95" fmla="*/ 40 h 164"/>
                <a:gd name="T96" fmla="*/ 156 w 170"/>
                <a:gd name="T97" fmla="*/ 52 h 164"/>
                <a:gd name="T98" fmla="*/ 148 w 170"/>
                <a:gd name="T99" fmla="*/ 62 h 164"/>
                <a:gd name="T100" fmla="*/ 144 w 170"/>
                <a:gd name="T101" fmla="*/ 74 h 164"/>
                <a:gd name="T102" fmla="*/ 140 w 170"/>
                <a:gd name="T103" fmla="*/ 88 h 164"/>
                <a:gd name="T104" fmla="*/ 132 w 170"/>
                <a:gd name="T105" fmla="*/ 96 h 164"/>
                <a:gd name="T106" fmla="*/ 132 w 170"/>
                <a:gd name="T107" fmla="*/ 104 h 164"/>
                <a:gd name="T108" fmla="*/ 128 w 170"/>
                <a:gd name="T109" fmla="*/ 110 h 164"/>
                <a:gd name="T110" fmla="*/ 62 w 170"/>
                <a:gd name="T111" fmla="*/ 16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0" h="164">
                  <a:moveTo>
                    <a:pt x="128" y="110"/>
                  </a:moveTo>
                  <a:lnTo>
                    <a:pt x="128" y="114"/>
                  </a:lnTo>
                  <a:lnTo>
                    <a:pt x="126" y="118"/>
                  </a:lnTo>
                  <a:lnTo>
                    <a:pt x="126" y="122"/>
                  </a:lnTo>
                  <a:lnTo>
                    <a:pt x="122" y="122"/>
                  </a:lnTo>
                  <a:lnTo>
                    <a:pt x="122" y="126"/>
                  </a:lnTo>
                  <a:lnTo>
                    <a:pt x="118" y="126"/>
                  </a:lnTo>
                  <a:lnTo>
                    <a:pt x="118" y="122"/>
                  </a:lnTo>
                  <a:lnTo>
                    <a:pt x="118" y="118"/>
                  </a:lnTo>
                  <a:lnTo>
                    <a:pt x="114" y="118"/>
                  </a:lnTo>
                  <a:lnTo>
                    <a:pt x="114" y="114"/>
                  </a:lnTo>
                  <a:lnTo>
                    <a:pt x="110" y="114"/>
                  </a:lnTo>
                  <a:lnTo>
                    <a:pt x="110" y="118"/>
                  </a:lnTo>
                  <a:lnTo>
                    <a:pt x="106" y="118"/>
                  </a:lnTo>
                  <a:lnTo>
                    <a:pt x="106" y="114"/>
                  </a:lnTo>
                  <a:lnTo>
                    <a:pt x="102" y="118"/>
                  </a:lnTo>
                  <a:lnTo>
                    <a:pt x="100" y="118"/>
                  </a:lnTo>
                  <a:lnTo>
                    <a:pt x="100" y="122"/>
                  </a:lnTo>
                  <a:lnTo>
                    <a:pt x="100" y="126"/>
                  </a:lnTo>
                  <a:lnTo>
                    <a:pt x="96" y="126"/>
                  </a:lnTo>
                  <a:lnTo>
                    <a:pt x="92" y="130"/>
                  </a:lnTo>
                  <a:lnTo>
                    <a:pt x="88" y="134"/>
                  </a:lnTo>
                  <a:lnTo>
                    <a:pt x="88" y="138"/>
                  </a:lnTo>
                  <a:lnTo>
                    <a:pt x="88" y="140"/>
                  </a:lnTo>
                  <a:lnTo>
                    <a:pt x="88" y="144"/>
                  </a:lnTo>
                  <a:lnTo>
                    <a:pt x="84" y="148"/>
                  </a:lnTo>
                  <a:lnTo>
                    <a:pt x="84" y="152"/>
                  </a:lnTo>
                  <a:lnTo>
                    <a:pt x="80" y="152"/>
                  </a:lnTo>
                  <a:lnTo>
                    <a:pt x="80" y="156"/>
                  </a:lnTo>
                  <a:lnTo>
                    <a:pt x="80" y="152"/>
                  </a:lnTo>
                  <a:lnTo>
                    <a:pt x="76" y="152"/>
                  </a:lnTo>
                  <a:lnTo>
                    <a:pt x="76" y="156"/>
                  </a:lnTo>
                  <a:lnTo>
                    <a:pt x="80" y="156"/>
                  </a:lnTo>
                  <a:lnTo>
                    <a:pt x="76" y="160"/>
                  </a:lnTo>
                  <a:lnTo>
                    <a:pt x="72" y="160"/>
                  </a:lnTo>
                  <a:lnTo>
                    <a:pt x="70" y="160"/>
                  </a:lnTo>
                  <a:lnTo>
                    <a:pt x="70" y="156"/>
                  </a:lnTo>
                  <a:lnTo>
                    <a:pt x="66" y="160"/>
                  </a:lnTo>
                  <a:lnTo>
                    <a:pt x="62" y="160"/>
                  </a:lnTo>
                  <a:lnTo>
                    <a:pt x="62" y="156"/>
                  </a:lnTo>
                  <a:lnTo>
                    <a:pt x="62" y="160"/>
                  </a:lnTo>
                  <a:lnTo>
                    <a:pt x="62" y="156"/>
                  </a:lnTo>
                  <a:lnTo>
                    <a:pt x="58" y="156"/>
                  </a:lnTo>
                  <a:lnTo>
                    <a:pt x="58" y="160"/>
                  </a:lnTo>
                  <a:lnTo>
                    <a:pt x="62" y="160"/>
                  </a:lnTo>
                  <a:lnTo>
                    <a:pt x="58" y="160"/>
                  </a:lnTo>
                  <a:lnTo>
                    <a:pt x="58" y="156"/>
                  </a:lnTo>
                  <a:lnTo>
                    <a:pt x="58" y="160"/>
                  </a:lnTo>
                  <a:lnTo>
                    <a:pt x="58" y="164"/>
                  </a:lnTo>
                  <a:lnTo>
                    <a:pt x="54" y="160"/>
                  </a:lnTo>
                  <a:lnTo>
                    <a:pt x="58" y="160"/>
                  </a:lnTo>
                  <a:lnTo>
                    <a:pt x="58" y="156"/>
                  </a:lnTo>
                  <a:lnTo>
                    <a:pt x="54" y="160"/>
                  </a:lnTo>
                  <a:lnTo>
                    <a:pt x="54" y="164"/>
                  </a:lnTo>
                  <a:lnTo>
                    <a:pt x="50" y="164"/>
                  </a:lnTo>
                  <a:lnTo>
                    <a:pt x="50" y="160"/>
                  </a:lnTo>
                  <a:lnTo>
                    <a:pt x="50" y="164"/>
                  </a:lnTo>
                  <a:lnTo>
                    <a:pt x="46" y="164"/>
                  </a:lnTo>
                  <a:lnTo>
                    <a:pt x="44" y="160"/>
                  </a:lnTo>
                  <a:lnTo>
                    <a:pt x="40" y="156"/>
                  </a:lnTo>
                  <a:lnTo>
                    <a:pt x="40" y="152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36" y="140"/>
                  </a:lnTo>
                  <a:lnTo>
                    <a:pt x="32" y="138"/>
                  </a:lnTo>
                  <a:lnTo>
                    <a:pt x="32" y="134"/>
                  </a:lnTo>
                  <a:lnTo>
                    <a:pt x="30" y="134"/>
                  </a:lnTo>
                  <a:lnTo>
                    <a:pt x="30" y="130"/>
                  </a:lnTo>
                  <a:lnTo>
                    <a:pt x="26" y="130"/>
                  </a:lnTo>
                  <a:lnTo>
                    <a:pt x="26" y="126"/>
                  </a:lnTo>
                  <a:lnTo>
                    <a:pt x="22" y="126"/>
                  </a:lnTo>
                  <a:lnTo>
                    <a:pt x="18" y="126"/>
                  </a:lnTo>
                  <a:lnTo>
                    <a:pt x="14" y="126"/>
                  </a:lnTo>
                  <a:lnTo>
                    <a:pt x="10" y="126"/>
                  </a:lnTo>
                  <a:lnTo>
                    <a:pt x="14" y="126"/>
                  </a:lnTo>
                  <a:lnTo>
                    <a:pt x="18" y="122"/>
                  </a:lnTo>
                  <a:lnTo>
                    <a:pt x="14" y="122"/>
                  </a:lnTo>
                  <a:lnTo>
                    <a:pt x="10" y="126"/>
                  </a:lnTo>
                  <a:lnTo>
                    <a:pt x="10" y="122"/>
                  </a:lnTo>
                  <a:lnTo>
                    <a:pt x="10" y="126"/>
                  </a:lnTo>
                  <a:lnTo>
                    <a:pt x="6" y="126"/>
                  </a:lnTo>
                  <a:lnTo>
                    <a:pt x="2" y="126"/>
                  </a:lnTo>
                  <a:lnTo>
                    <a:pt x="0" y="126"/>
                  </a:lnTo>
                  <a:lnTo>
                    <a:pt x="0" y="122"/>
                  </a:lnTo>
                  <a:lnTo>
                    <a:pt x="0" y="118"/>
                  </a:lnTo>
                  <a:lnTo>
                    <a:pt x="0" y="114"/>
                  </a:lnTo>
                  <a:lnTo>
                    <a:pt x="2" y="114"/>
                  </a:lnTo>
                  <a:lnTo>
                    <a:pt x="2" y="110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2" y="82"/>
                  </a:lnTo>
                  <a:lnTo>
                    <a:pt x="6" y="82"/>
                  </a:lnTo>
                  <a:lnTo>
                    <a:pt x="6" y="78"/>
                  </a:lnTo>
                  <a:lnTo>
                    <a:pt x="6" y="74"/>
                  </a:lnTo>
                  <a:lnTo>
                    <a:pt x="10" y="70"/>
                  </a:lnTo>
                  <a:lnTo>
                    <a:pt x="10" y="66"/>
                  </a:lnTo>
                  <a:lnTo>
                    <a:pt x="14" y="66"/>
                  </a:lnTo>
                  <a:lnTo>
                    <a:pt x="14" y="62"/>
                  </a:lnTo>
                  <a:lnTo>
                    <a:pt x="14" y="58"/>
                  </a:lnTo>
                  <a:lnTo>
                    <a:pt x="14" y="56"/>
                  </a:lnTo>
                  <a:lnTo>
                    <a:pt x="18" y="56"/>
                  </a:lnTo>
                  <a:lnTo>
                    <a:pt x="18" y="52"/>
                  </a:lnTo>
                  <a:lnTo>
                    <a:pt x="14" y="52"/>
                  </a:lnTo>
                  <a:lnTo>
                    <a:pt x="14" y="48"/>
                  </a:lnTo>
                  <a:lnTo>
                    <a:pt x="14" y="44"/>
                  </a:lnTo>
                  <a:lnTo>
                    <a:pt x="10" y="40"/>
                  </a:lnTo>
                  <a:lnTo>
                    <a:pt x="10" y="36"/>
                  </a:lnTo>
                  <a:lnTo>
                    <a:pt x="14" y="36"/>
                  </a:lnTo>
                  <a:lnTo>
                    <a:pt x="14" y="32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4" y="22"/>
                  </a:lnTo>
                  <a:lnTo>
                    <a:pt x="18" y="18"/>
                  </a:lnTo>
                  <a:lnTo>
                    <a:pt x="18" y="14"/>
                  </a:lnTo>
                  <a:lnTo>
                    <a:pt x="22" y="14"/>
                  </a:lnTo>
                  <a:lnTo>
                    <a:pt x="22" y="10"/>
                  </a:lnTo>
                  <a:lnTo>
                    <a:pt x="22" y="6"/>
                  </a:lnTo>
                  <a:lnTo>
                    <a:pt x="22" y="2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6" y="2"/>
                  </a:lnTo>
                  <a:lnTo>
                    <a:pt x="50" y="2"/>
                  </a:lnTo>
                  <a:lnTo>
                    <a:pt x="54" y="6"/>
                  </a:lnTo>
                  <a:lnTo>
                    <a:pt x="58" y="10"/>
                  </a:lnTo>
                  <a:lnTo>
                    <a:pt x="58" y="14"/>
                  </a:lnTo>
                  <a:lnTo>
                    <a:pt x="62" y="14"/>
                  </a:lnTo>
                  <a:lnTo>
                    <a:pt x="62" y="10"/>
                  </a:lnTo>
                  <a:lnTo>
                    <a:pt x="66" y="10"/>
                  </a:lnTo>
                  <a:lnTo>
                    <a:pt x="72" y="6"/>
                  </a:lnTo>
                  <a:lnTo>
                    <a:pt x="76" y="6"/>
                  </a:lnTo>
                  <a:lnTo>
                    <a:pt x="76" y="10"/>
                  </a:lnTo>
                  <a:lnTo>
                    <a:pt x="80" y="10"/>
                  </a:lnTo>
                  <a:lnTo>
                    <a:pt x="84" y="14"/>
                  </a:lnTo>
                  <a:lnTo>
                    <a:pt x="88" y="14"/>
                  </a:lnTo>
                  <a:lnTo>
                    <a:pt x="92" y="14"/>
                  </a:lnTo>
                  <a:lnTo>
                    <a:pt x="96" y="18"/>
                  </a:lnTo>
                  <a:lnTo>
                    <a:pt x="100" y="18"/>
                  </a:lnTo>
                  <a:lnTo>
                    <a:pt x="100" y="14"/>
                  </a:lnTo>
                  <a:lnTo>
                    <a:pt x="100" y="10"/>
                  </a:lnTo>
                  <a:lnTo>
                    <a:pt x="102" y="10"/>
                  </a:lnTo>
                  <a:lnTo>
                    <a:pt x="106" y="6"/>
                  </a:lnTo>
                  <a:lnTo>
                    <a:pt x="110" y="6"/>
                  </a:lnTo>
                  <a:lnTo>
                    <a:pt x="114" y="6"/>
                  </a:lnTo>
                  <a:lnTo>
                    <a:pt x="118" y="6"/>
                  </a:lnTo>
                  <a:lnTo>
                    <a:pt x="122" y="6"/>
                  </a:lnTo>
                  <a:lnTo>
                    <a:pt x="126" y="6"/>
                  </a:lnTo>
                  <a:lnTo>
                    <a:pt x="128" y="6"/>
                  </a:lnTo>
                  <a:lnTo>
                    <a:pt x="128" y="10"/>
                  </a:lnTo>
                  <a:lnTo>
                    <a:pt x="132" y="10"/>
                  </a:lnTo>
                  <a:lnTo>
                    <a:pt x="136" y="10"/>
                  </a:lnTo>
                  <a:lnTo>
                    <a:pt x="140" y="10"/>
                  </a:lnTo>
                  <a:lnTo>
                    <a:pt x="140" y="6"/>
                  </a:lnTo>
                  <a:lnTo>
                    <a:pt x="144" y="2"/>
                  </a:lnTo>
                  <a:lnTo>
                    <a:pt x="148" y="2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56" y="2"/>
                  </a:lnTo>
                  <a:lnTo>
                    <a:pt x="158" y="6"/>
                  </a:lnTo>
                  <a:lnTo>
                    <a:pt x="158" y="10"/>
                  </a:lnTo>
                  <a:lnTo>
                    <a:pt x="162" y="14"/>
                  </a:lnTo>
                  <a:lnTo>
                    <a:pt x="162" y="18"/>
                  </a:lnTo>
                  <a:lnTo>
                    <a:pt x="162" y="22"/>
                  </a:lnTo>
                  <a:lnTo>
                    <a:pt x="162" y="26"/>
                  </a:lnTo>
                  <a:lnTo>
                    <a:pt x="166" y="26"/>
                  </a:lnTo>
                  <a:lnTo>
                    <a:pt x="170" y="26"/>
                  </a:lnTo>
                  <a:lnTo>
                    <a:pt x="170" y="28"/>
                  </a:lnTo>
                  <a:lnTo>
                    <a:pt x="166" y="28"/>
                  </a:lnTo>
                  <a:lnTo>
                    <a:pt x="170" y="28"/>
                  </a:lnTo>
                  <a:lnTo>
                    <a:pt x="170" y="32"/>
                  </a:lnTo>
                  <a:lnTo>
                    <a:pt x="166" y="32"/>
                  </a:lnTo>
                  <a:lnTo>
                    <a:pt x="166" y="36"/>
                  </a:lnTo>
                  <a:lnTo>
                    <a:pt x="170" y="36"/>
                  </a:lnTo>
                  <a:lnTo>
                    <a:pt x="166" y="40"/>
                  </a:lnTo>
                  <a:lnTo>
                    <a:pt x="162" y="40"/>
                  </a:lnTo>
                  <a:lnTo>
                    <a:pt x="162" y="44"/>
                  </a:lnTo>
                  <a:lnTo>
                    <a:pt x="158" y="44"/>
                  </a:lnTo>
                  <a:lnTo>
                    <a:pt x="156" y="48"/>
                  </a:lnTo>
                  <a:lnTo>
                    <a:pt x="156" y="52"/>
                  </a:lnTo>
                  <a:lnTo>
                    <a:pt x="152" y="56"/>
                  </a:lnTo>
                  <a:lnTo>
                    <a:pt x="152" y="58"/>
                  </a:lnTo>
                  <a:lnTo>
                    <a:pt x="152" y="62"/>
                  </a:lnTo>
                  <a:lnTo>
                    <a:pt x="148" y="62"/>
                  </a:lnTo>
                  <a:lnTo>
                    <a:pt x="148" y="66"/>
                  </a:lnTo>
                  <a:lnTo>
                    <a:pt x="148" y="70"/>
                  </a:lnTo>
                  <a:lnTo>
                    <a:pt x="148" y="74"/>
                  </a:lnTo>
                  <a:lnTo>
                    <a:pt x="144" y="74"/>
                  </a:lnTo>
                  <a:lnTo>
                    <a:pt x="144" y="78"/>
                  </a:lnTo>
                  <a:lnTo>
                    <a:pt x="144" y="82"/>
                  </a:lnTo>
                  <a:lnTo>
                    <a:pt x="144" y="84"/>
                  </a:lnTo>
                  <a:lnTo>
                    <a:pt x="140" y="88"/>
                  </a:lnTo>
                  <a:lnTo>
                    <a:pt x="136" y="88"/>
                  </a:lnTo>
                  <a:lnTo>
                    <a:pt x="136" y="92"/>
                  </a:lnTo>
                  <a:lnTo>
                    <a:pt x="132" y="92"/>
                  </a:lnTo>
                  <a:lnTo>
                    <a:pt x="132" y="96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2" y="108"/>
                  </a:lnTo>
                  <a:lnTo>
                    <a:pt x="128" y="108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close/>
                  <a:moveTo>
                    <a:pt x="62" y="160"/>
                  </a:moveTo>
                  <a:lnTo>
                    <a:pt x="66" y="160"/>
                  </a:lnTo>
                  <a:lnTo>
                    <a:pt x="62" y="160"/>
                  </a:lnTo>
                  <a:lnTo>
                    <a:pt x="62" y="160"/>
                  </a:lnTo>
                  <a:lnTo>
                    <a:pt x="62" y="16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23" name="Freeform 163">
              <a:extLst>
                <a:ext uri="{FF2B5EF4-FFF2-40B4-BE49-F238E27FC236}">
                  <a16:creationId xmlns:a16="http://schemas.microsoft.com/office/drawing/2014/main" id="{DE2BA496-A39B-1DB4-C8F3-809BCAB84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1900" y="4205077"/>
              <a:ext cx="50654" cy="56565"/>
            </a:xfrm>
            <a:custGeom>
              <a:avLst/>
              <a:gdLst>
                <a:gd name="T0" fmla="*/ 0 w 26"/>
                <a:gd name="T1" fmla="*/ 30 h 30"/>
                <a:gd name="T2" fmla="*/ 0 w 26"/>
                <a:gd name="T3" fmla="*/ 30 h 30"/>
                <a:gd name="T4" fmla="*/ 0 w 26"/>
                <a:gd name="T5" fmla="*/ 22 h 30"/>
                <a:gd name="T6" fmla="*/ 4 w 26"/>
                <a:gd name="T7" fmla="*/ 22 h 30"/>
                <a:gd name="T8" fmla="*/ 4 w 26"/>
                <a:gd name="T9" fmla="*/ 18 h 30"/>
                <a:gd name="T10" fmla="*/ 4 w 26"/>
                <a:gd name="T11" fmla="*/ 18 h 30"/>
                <a:gd name="T12" fmla="*/ 4 w 26"/>
                <a:gd name="T13" fmla="*/ 14 h 30"/>
                <a:gd name="T14" fmla="*/ 4 w 26"/>
                <a:gd name="T15" fmla="*/ 14 h 30"/>
                <a:gd name="T16" fmla="*/ 4 w 26"/>
                <a:gd name="T17" fmla="*/ 6 h 30"/>
                <a:gd name="T18" fmla="*/ 8 w 26"/>
                <a:gd name="T19" fmla="*/ 6 h 30"/>
                <a:gd name="T20" fmla="*/ 8 w 26"/>
                <a:gd name="T21" fmla="*/ 6 h 30"/>
                <a:gd name="T22" fmla="*/ 8 w 26"/>
                <a:gd name="T23" fmla="*/ 6 h 30"/>
                <a:gd name="T24" fmla="*/ 10 w 26"/>
                <a:gd name="T25" fmla="*/ 6 h 30"/>
                <a:gd name="T26" fmla="*/ 10 w 26"/>
                <a:gd name="T27" fmla="*/ 6 h 30"/>
                <a:gd name="T28" fmla="*/ 14 w 26"/>
                <a:gd name="T29" fmla="*/ 6 h 30"/>
                <a:gd name="T30" fmla="*/ 14 w 26"/>
                <a:gd name="T31" fmla="*/ 6 h 30"/>
                <a:gd name="T32" fmla="*/ 18 w 26"/>
                <a:gd name="T33" fmla="*/ 4 h 30"/>
                <a:gd name="T34" fmla="*/ 18 w 26"/>
                <a:gd name="T35" fmla="*/ 4 h 30"/>
                <a:gd name="T36" fmla="*/ 22 w 26"/>
                <a:gd name="T37" fmla="*/ 0 h 30"/>
                <a:gd name="T38" fmla="*/ 22 w 26"/>
                <a:gd name="T39" fmla="*/ 4 h 30"/>
                <a:gd name="T40" fmla="*/ 22 w 26"/>
                <a:gd name="T41" fmla="*/ 6 h 30"/>
                <a:gd name="T42" fmla="*/ 26 w 26"/>
                <a:gd name="T43" fmla="*/ 6 h 30"/>
                <a:gd name="T44" fmla="*/ 26 w 26"/>
                <a:gd name="T45" fmla="*/ 10 h 30"/>
                <a:gd name="T46" fmla="*/ 26 w 26"/>
                <a:gd name="T47" fmla="*/ 14 h 30"/>
                <a:gd name="T48" fmla="*/ 26 w 26"/>
                <a:gd name="T49" fmla="*/ 18 h 30"/>
                <a:gd name="T50" fmla="*/ 26 w 26"/>
                <a:gd name="T51" fmla="*/ 22 h 30"/>
                <a:gd name="T52" fmla="*/ 26 w 26"/>
                <a:gd name="T53" fmla="*/ 22 h 30"/>
                <a:gd name="T54" fmla="*/ 26 w 26"/>
                <a:gd name="T55" fmla="*/ 22 h 30"/>
                <a:gd name="T56" fmla="*/ 22 w 26"/>
                <a:gd name="T57" fmla="*/ 22 h 30"/>
                <a:gd name="T58" fmla="*/ 22 w 26"/>
                <a:gd name="T59" fmla="*/ 22 h 30"/>
                <a:gd name="T60" fmla="*/ 18 w 26"/>
                <a:gd name="T61" fmla="*/ 22 h 30"/>
                <a:gd name="T62" fmla="*/ 14 w 26"/>
                <a:gd name="T63" fmla="*/ 26 h 30"/>
                <a:gd name="T64" fmla="*/ 14 w 26"/>
                <a:gd name="T65" fmla="*/ 22 h 30"/>
                <a:gd name="T66" fmla="*/ 14 w 26"/>
                <a:gd name="T67" fmla="*/ 30 h 30"/>
                <a:gd name="T68" fmla="*/ 10 w 26"/>
                <a:gd name="T69" fmla="*/ 30 h 30"/>
                <a:gd name="T70" fmla="*/ 10 w 26"/>
                <a:gd name="T71" fmla="*/ 30 h 30"/>
                <a:gd name="T72" fmla="*/ 8 w 26"/>
                <a:gd name="T73" fmla="*/ 30 h 30"/>
                <a:gd name="T74" fmla="*/ 8 w 26"/>
                <a:gd name="T75" fmla="*/ 30 h 30"/>
                <a:gd name="T76" fmla="*/ 4 w 26"/>
                <a:gd name="T77" fmla="*/ 30 h 30"/>
                <a:gd name="T78" fmla="*/ 4 w 26"/>
                <a:gd name="T79" fmla="*/ 30 h 30"/>
                <a:gd name="T80" fmla="*/ 4 w 26"/>
                <a:gd name="T81" fmla="*/ 30 h 30"/>
                <a:gd name="T82" fmla="*/ 0 w 26"/>
                <a:gd name="T83" fmla="*/ 26 h 30"/>
                <a:gd name="T84" fmla="*/ 0 w 26"/>
                <a:gd name="T85" fmla="*/ 30 h 30"/>
                <a:gd name="T86" fmla="*/ 0 w 26"/>
                <a:gd name="T8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" h="30">
                  <a:moveTo>
                    <a:pt x="0" y="30"/>
                  </a:move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6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24" name="Freeform 164">
              <a:extLst>
                <a:ext uri="{FF2B5EF4-FFF2-40B4-BE49-F238E27FC236}">
                  <a16:creationId xmlns:a16="http://schemas.microsoft.com/office/drawing/2014/main" id="{B9E180CB-A0E8-E947-C049-4ED9956A23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72366" y="4118344"/>
              <a:ext cx="23379" cy="49023"/>
            </a:xfrm>
            <a:custGeom>
              <a:avLst/>
              <a:gdLst>
                <a:gd name="T0" fmla="*/ 12 w 12"/>
                <a:gd name="T1" fmla="*/ 0 h 26"/>
                <a:gd name="T2" fmla="*/ 12 w 12"/>
                <a:gd name="T3" fmla="*/ 0 h 26"/>
                <a:gd name="T4" fmla="*/ 12 w 12"/>
                <a:gd name="T5" fmla="*/ 0 h 26"/>
                <a:gd name="T6" fmla="*/ 12 w 12"/>
                <a:gd name="T7" fmla="*/ 0 h 26"/>
                <a:gd name="T8" fmla="*/ 12 w 12"/>
                <a:gd name="T9" fmla="*/ 0 h 26"/>
                <a:gd name="T10" fmla="*/ 12 w 12"/>
                <a:gd name="T11" fmla="*/ 0 h 26"/>
                <a:gd name="T12" fmla="*/ 12 w 12"/>
                <a:gd name="T13" fmla="*/ 0 h 26"/>
                <a:gd name="T14" fmla="*/ 12 w 12"/>
                <a:gd name="T15" fmla="*/ 0 h 26"/>
                <a:gd name="T16" fmla="*/ 12 w 12"/>
                <a:gd name="T17" fmla="*/ 0 h 26"/>
                <a:gd name="T18" fmla="*/ 12 w 12"/>
                <a:gd name="T19" fmla="*/ 0 h 26"/>
                <a:gd name="T20" fmla="*/ 12 w 12"/>
                <a:gd name="T21" fmla="*/ 0 h 26"/>
                <a:gd name="T22" fmla="*/ 12 w 12"/>
                <a:gd name="T23" fmla="*/ 0 h 26"/>
                <a:gd name="T24" fmla="*/ 12 w 12"/>
                <a:gd name="T25" fmla="*/ 0 h 26"/>
                <a:gd name="T26" fmla="*/ 0 w 12"/>
                <a:gd name="T27" fmla="*/ 26 h 26"/>
                <a:gd name="T28" fmla="*/ 0 w 12"/>
                <a:gd name="T29" fmla="*/ 26 h 26"/>
                <a:gd name="T30" fmla="*/ 0 w 12"/>
                <a:gd name="T31" fmla="*/ 26 h 26"/>
                <a:gd name="T32" fmla="*/ 0 w 12"/>
                <a:gd name="T33" fmla="*/ 26 h 26"/>
                <a:gd name="T34" fmla="*/ 0 w 12"/>
                <a:gd name="T35" fmla="*/ 22 h 26"/>
                <a:gd name="T36" fmla="*/ 0 w 12"/>
                <a:gd name="T37" fmla="*/ 22 h 26"/>
                <a:gd name="T38" fmla="*/ 0 w 12"/>
                <a:gd name="T39" fmla="*/ 22 h 26"/>
                <a:gd name="T40" fmla="*/ 0 w 12"/>
                <a:gd name="T41" fmla="*/ 22 h 26"/>
                <a:gd name="T42" fmla="*/ 0 w 12"/>
                <a:gd name="T43" fmla="*/ 22 h 26"/>
                <a:gd name="T44" fmla="*/ 0 w 12"/>
                <a:gd name="T45" fmla="*/ 22 h 26"/>
                <a:gd name="T46" fmla="*/ 0 w 12"/>
                <a:gd name="T47" fmla="*/ 22 h 26"/>
                <a:gd name="T48" fmla="*/ 4 w 12"/>
                <a:gd name="T49" fmla="*/ 22 h 26"/>
                <a:gd name="T50" fmla="*/ 4 w 12"/>
                <a:gd name="T51" fmla="*/ 22 h 26"/>
                <a:gd name="T52" fmla="*/ 4 w 12"/>
                <a:gd name="T53" fmla="*/ 22 h 26"/>
                <a:gd name="T54" fmla="*/ 4 w 12"/>
                <a:gd name="T55" fmla="*/ 22 h 26"/>
                <a:gd name="T56" fmla="*/ 4 w 12"/>
                <a:gd name="T57" fmla="*/ 26 h 26"/>
                <a:gd name="T58" fmla="*/ 0 w 12"/>
                <a:gd name="T59" fmla="*/ 26 h 26"/>
                <a:gd name="T60" fmla="*/ 0 w 12"/>
                <a:gd name="T61" fmla="*/ 26 h 26"/>
                <a:gd name="T62" fmla="*/ 0 w 12"/>
                <a:gd name="T63" fmla="*/ 26 h 26"/>
                <a:gd name="T64" fmla="*/ 0 w 12"/>
                <a:gd name="T65" fmla="*/ 26 h 26"/>
                <a:gd name="T66" fmla="*/ 0 w 12"/>
                <a:gd name="T6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" h="26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  <a:moveTo>
                    <a:pt x="0" y="26"/>
                  </a:move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25" name="Freeform 165">
              <a:extLst>
                <a:ext uri="{FF2B5EF4-FFF2-40B4-BE49-F238E27FC236}">
                  <a16:creationId xmlns:a16="http://schemas.microsoft.com/office/drawing/2014/main" id="{30B85C10-388E-09CA-9CA9-E9FC04992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6075" y="3628112"/>
              <a:ext cx="175340" cy="143299"/>
            </a:xfrm>
            <a:custGeom>
              <a:avLst/>
              <a:gdLst>
                <a:gd name="T0" fmla="*/ 82 w 90"/>
                <a:gd name="T1" fmla="*/ 76 h 76"/>
                <a:gd name="T2" fmla="*/ 78 w 90"/>
                <a:gd name="T3" fmla="*/ 76 h 76"/>
                <a:gd name="T4" fmla="*/ 70 w 90"/>
                <a:gd name="T5" fmla="*/ 76 h 76"/>
                <a:gd name="T6" fmla="*/ 64 w 90"/>
                <a:gd name="T7" fmla="*/ 74 h 76"/>
                <a:gd name="T8" fmla="*/ 60 w 90"/>
                <a:gd name="T9" fmla="*/ 70 h 76"/>
                <a:gd name="T10" fmla="*/ 44 w 90"/>
                <a:gd name="T11" fmla="*/ 70 h 76"/>
                <a:gd name="T12" fmla="*/ 30 w 90"/>
                <a:gd name="T13" fmla="*/ 74 h 76"/>
                <a:gd name="T14" fmla="*/ 22 w 90"/>
                <a:gd name="T15" fmla="*/ 74 h 76"/>
                <a:gd name="T16" fmla="*/ 14 w 90"/>
                <a:gd name="T17" fmla="*/ 76 h 76"/>
                <a:gd name="T18" fmla="*/ 14 w 90"/>
                <a:gd name="T19" fmla="*/ 70 h 76"/>
                <a:gd name="T20" fmla="*/ 22 w 90"/>
                <a:gd name="T21" fmla="*/ 74 h 76"/>
                <a:gd name="T22" fmla="*/ 26 w 90"/>
                <a:gd name="T23" fmla="*/ 74 h 76"/>
                <a:gd name="T24" fmla="*/ 30 w 90"/>
                <a:gd name="T25" fmla="*/ 70 h 76"/>
                <a:gd name="T26" fmla="*/ 30 w 90"/>
                <a:gd name="T27" fmla="*/ 70 h 76"/>
                <a:gd name="T28" fmla="*/ 26 w 90"/>
                <a:gd name="T29" fmla="*/ 70 h 76"/>
                <a:gd name="T30" fmla="*/ 22 w 90"/>
                <a:gd name="T31" fmla="*/ 70 h 76"/>
                <a:gd name="T32" fmla="*/ 14 w 90"/>
                <a:gd name="T33" fmla="*/ 70 h 76"/>
                <a:gd name="T34" fmla="*/ 12 w 90"/>
                <a:gd name="T35" fmla="*/ 74 h 76"/>
                <a:gd name="T36" fmla="*/ 12 w 90"/>
                <a:gd name="T37" fmla="*/ 66 h 76"/>
                <a:gd name="T38" fmla="*/ 26 w 90"/>
                <a:gd name="T39" fmla="*/ 62 h 76"/>
                <a:gd name="T40" fmla="*/ 34 w 90"/>
                <a:gd name="T41" fmla="*/ 58 h 76"/>
                <a:gd name="T42" fmla="*/ 38 w 90"/>
                <a:gd name="T43" fmla="*/ 54 h 76"/>
                <a:gd name="T44" fmla="*/ 42 w 90"/>
                <a:gd name="T45" fmla="*/ 58 h 76"/>
                <a:gd name="T46" fmla="*/ 44 w 90"/>
                <a:gd name="T47" fmla="*/ 62 h 76"/>
                <a:gd name="T48" fmla="*/ 52 w 90"/>
                <a:gd name="T49" fmla="*/ 58 h 76"/>
                <a:gd name="T50" fmla="*/ 56 w 90"/>
                <a:gd name="T51" fmla="*/ 54 h 76"/>
                <a:gd name="T52" fmla="*/ 48 w 90"/>
                <a:gd name="T53" fmla="*/ 54 h 76"/>
                <a:gd name="T54" fmla="*/ 44 w 90"/>
                <a:gd name="T55" fmla="*/ 54 h 76"/>
                <a:gd name="T56" fmla="*/ 42 w 90"/>
                <a:gd name="T57" fmla="*/ 54 h 76"/>
                <a:gd name="T58" fmla="*/ 42 w 90"/>
                <a:gd name="T59" fmla="*/ 52 h 76"/>
                <a:gd name="T60" fmla="*/ 34 w 90"/>
                <a:gd name="T61" fmla="*/ 52 h 76"/>
                <a:gd name="T62" fmla="*/ 30 w 90"/>
                <a:gd name="T63" fmla="*/ 54 h 76"/>
                <a:gd name="T64" fmla="*/ 14 w 90"/>
                <a:gd name="T65" fmla="*/ 54 h 76"/>
                <a:gd name="T66" fmla="*/ 14 w 90"/>
                <a:gd name="T67" fmla="*/ 52 h 76"/>
                <a:gd name="T68" fmla="*/ 14 w 90"/>
                <a:gd name="T69" fmla="*/ 48 h 76"/>
                <a:gd name="T70" fmla="*/ 18 w 90"/>
                <a:gd name="T71" fmla="*/ 44 h 76"/>
                <a:gd name="T72" fmla="*/ 14 w 90"/>
                <a:gd name="T73" fmla="*/ 48 h 76"/>
                <a:gd name="T74" fmla="*/ 12 w 90"/>
                <a:gd name="T75" fmla="*/ 40 h 76"/>
                <a:gd name="T76" fmla="*/ 8 w 90"/>
                <a:gd name="T77" fmla="*/ 36 h 76"/>
                <a:gd name="T78" fmla="*/ 4 w 90"/>
                <a:gd name="T79" fmla="*/ 36 h 76"/>
                <a:gd name="T80" fmla="*/ 8 w 90"/>
                <a:gd name="T81" fmla="*/ 32 h 76"/>
                <a:gd name="T82" fmla="*/ 12 w 90"/>
                <a:gd name="T83" fmla="*/ 22 h 76"/>
                <a:gd name="T84" fmla="*/ 14 w 90"/>
                <a:gd name="T85" fmla="*/ 18 h 76"/>
                <a:gd name="T86" fmla="*/ 18 w 90"/>
                <a:gd name="T87" fmla="*/ 6 h 76"/>
                <a:gd name="T88" fmla="*/ 22 w 90"/>
                <a:gd name="T89" fmla="*/ 2 h 76"/>
                <a:gd name="T90" fmla="*/ 30 w 90"/>
                <a:gd name="T91" fmla="*/ 2 h 76"/>
                <a:gd name="T92" fmla="*/ 38 w 90"/>
                <a:gd name="T93" fmla="*/ 2 h 76"/>
                <a:gd name="T94" fmla="*/ 44 w 90"/>
                <a:gd name="T95" fmla="*/ 2 h 76"/>
                <a:gd name="T96" fmla="*/ 56 w 90"/>
                <a:gd name="T97" fmla="*/ 10 h 76"/>
                <a:gd name="T98" fmla="*/ 60 w 90"/>
                <a:gd name="T99" fmla="*/ 14 h 76"/>
                <a:gd name="T100" fmla="*/ 68 w 90"/>
                <a:gd name="T101" fmla="*/ 26 h 76"/>
                <a:gd name="T102" fmla="*/ 68 w 90"/>
                <a:gd name="T103" fmla="*/ 28 h 76"/>
                <a:gd name="T104" fmla="*/ 74 w 90"/>
                <a:gd name="T105" fmla="*/ 32 h 76"/>
                <a:gd name="T106" fmla="*/ 78 w 90"/>
                <a:gd name="T107" fmla="*/ 40 h 76"/>
                <a:gd name="T108" fmla="*/ 82 w 90"/>
                <a:gd name="T109" fmla="*/ 48 h 76"/>
                <a:gd name="T110" fmla="*/ 78 w 90"/>
                <a:gd name="T111" fmla="*/ 52 h 76"/>
                <a:gd name="T112" fmla="*/ 82 w 90"/>
                <a:gd name="T113" fmla="*/ 58 h 76"/>
                <a:gd name="T114" fmla="*/ 86 w 90"/>
                <a:gd name="T115" fmla="*/ 62 h 76"/>
                <a:gd name="T116" fmla="*/ 90 w 90"/>
                <a:gd name="T117" fmla="*/ 7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0" h="76">
                  <a:moveTo>
                    <a:pt x="90" y="74"/>
                  </a:moveTo>
                  <a:lnTo>
                    <a:pt x="90" y="74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6" y="76"/>
                  </a:lnTo>
                  <a:lnTo>
                    <a:pt x="82" y="76"/>
                  </a:lnTo>
                  <a:lnTo>
                    <a:pt x="82" y="76"/>
                  </a:lnTo>
                  <a:lnTo>
                    <a:pt x="82" y="76"/>
                  </a:lnTo>
                  <a:lnTo>
                    <a:pt x="82" y="74"/>
                  </a:lnTo>
                  <a:lnTo>
                    <a:pt x="78" y="74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0" y="76"/>
                  </a:lnTo>
                  <a:lnTo>
                    <a:pt x="70" y="76"/>
                  </a:lnTo>
                  <a:lnTo>
                    <a:pt x="70" y="74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64" y="74"/>
                  </a:lnTo>
                  <a:lnTo>
                    <a:pt x="64" y="74"/>
                  </a:lnTo>
                  <a:lnTo>
                    <a:pt x="64" y="74"/>
                  </a:lnTo>
                  <a:lnTo>
                    <a:pt x="64" y="74"/>
                  </a:lnTo>
                  <a:lnTo>
                    <a:pt x="68" y="74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38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18" y="74"/>
                  </a:lnTo>
                  <a:lnTo>
                    <a:pt x="18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4" y="70"/>
                  </a:lnTo>
                  <a:lnTo>
                    <a:pt x="14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4" y="70"/>
                  </a:lnTo>
                  <a:lnTo>
                    <a:pt x="34" y="66"/>
                  </a:lnTo>
                  <a:lnTo>
                    <a:pt x="30" y="66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4"/>
                  </a:lnTo>
                  <a:lnTo>
                    <a:pt x="22" y="70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22" y="62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6" y="58"/>
                  </a:lnTo>
                  <a:lnTo>
                    <a:pt x="30" y="58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4" y="62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8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8" y="58"/>
                  </a:lnTo>
                  <a:lnTo>
                    <a:pt x="44" y="58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26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48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4" y="44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4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8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0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4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8" y="22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8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4" y="28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8" y="32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78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2" y="48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82" y="54"/>
                  </a:lnTo>
                  <a:lnTo>
                    <a:pt x="82" y="58"/>
                  </a:lnTo>
                  <a:lnTo>
                    <a:pt x="82" y="58"/>
                  </a:lnTo>
                  <a:lnTo>
                    <a:pt x="82" y="58"/>
                  </a:lnTo>
                  <a:lnTo>
                    <a:pt x="82" y="58"/>
                  </a:lnTo>
                  <a:lnTo>
                    <a:pt x="82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62"/>
                  </a:lnTo>
                  <a:lnTo>
                    <a:pt x="86" y="62"/>
                  </a:lnTo>
                  <a:lnTo>
                    <a:pt x="86" y="62"/>
                  </a:lnTo>
                  <a:lnTo>
                    <a:pt x="86" y="62"/>
                  </a:lnTo>
                  <a:lnTo>
                    <a:pt x="90" y="62"/>
                  </a:lnTo>
                  <a:lnTo>
                    <a:pt x="90" y="66"/>
                  </a:lnTo>
                  <a:lnTo>
                    <a:pt x="90" y="66"/>
                  </a:lnTo>
                  <a:lnTo>
                    <a:pt x="90" y="66"/>
                  </a:lnTo>
                  <a:lnTo>
                    <a:pt x="90" y="70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4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26" name="Freeform 166">
              <a:extLst>
                <a:ext uri="{FF2B5EF4-FFF2-40B4-BE49-F238E27FC236}">
                  <a16:creationId xmlns:a16="http://schemas.microsoft.com/office/drawing/2014/main" id="{97B048AC-B9CB-BF8E-B0E1-4E5F61C775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63369" y="4314436"/>
              <a:ext cx="261061" cy="162154"/>
            </a:xfrm>
            <a:custGeom>
              <a:avLst/>
              <a:gdLst>
                <a:gd name="T0" fmla="*/ 4 w 134"/>
                <a:gd name="T1" fmla="*/ 86 h 86"/>
                <a:gd name="T2" fmla="*/ 4 w 134"/>
                <a:gd name="T3" fmla="*/ 86 h 86"/>
                <a:gd name="T4" fmla="*/ 0 w 134"/>
                <a:gd name="T5" fmla="*/ 86 h 86"/>
                <a:gd name="T6" fmla="*/ 0 w 134"/>
                <a:gd name="T7" fmla="*/ 86 h 86"/>
                <a:gd name="T8" fmla="*/ 0 w 134"/>
                <a:gd name="T9" fmla="*/ 86 h 86"/>
                <a:gd name="T10" fmla="*/ 0 w 134"/>
                <a:gd name="T11" fmla="*/ 86 h 86"/>
                <a:gd name="T12" fmla="*/ 0 w 134"/>
                <a:gd name="T13" fmla="*/ 86 h 86"/>
                <a:gd name="T14" fmla="*/ 0 w 134"/>
                <a:gd name="T15" fmla="*/ 86 h 86"/>
                <a:gd name="T16" fmla="*/ 0 w 134"/>
                <a:gd name="T17" fmla="*/ 86 h 86"/>
                <a:gd name="T18" fmla="*/ 4 w 134"/>
                <a:gd name="T19" fmla="*/ 86 h 86"/>
                <a:gd name="T20" fmla="*/ 4 w 134"/>
                <a:gd name="T21" fmla="*/ 86 h 86"/>
                <a:gd name="T22" fmla="*/ 4 w 134"/>
                <a:gd name="T23" fmla="*/ 86 h 86"/>
                <a:gd name="T24" fmla="*/ 4 w 134"/>
                <a:gd name="T25" fmla="*/ 86 h 86"/>
                <a:gd name="T26" fmla="*/ 4 w 134"/>
                <a:gd name="T27" fmla="*/ 82 h 86"/>
                <a:gd name="T28" fmla="*/ 4 w 134"/>
                <a:gd name="T29" fmla="*/ 82 h 86"/>
                <a:gd name="T30" fmla="*/ 4 w 134"/>
                <a:gd name="T31" fmla="*/ 82 h 86"/>
                <a:gd name="T32" fmla="*/ 8 w 134"/>
                <a:gd name="T33" fmla="*/ 82 h 86"/>
                <a:gd name="T34" fmla="*/ 8 w 134"/>
                <a:gd name="T35" fmla="*/ 86 h 86"/>
                <a:gd name="T36" fmla="*/ 8 w 134"/>
                <a:gd name="T37" fmla="*/ 86 h 86"/>
                <a:gd name="T38" fmla="*/ 4 w 134"/>
                <a:gd name="T39" fmla="*/ 86 h 86"/>
                <a:gd name="T40" fmla="*/ 4 w 134"/>
                <a:gd name="T41" fmla="*/ 86 h 86"/>
                <a:gd name="T42" fmla="*/ 4 w 134"/>
                <a:gd name="T43" fmla="*/ 86 h 86"/>
                <a:gd name="T44" fmla="*/ 4 w 134"/>
                <a:gd name="T45" fmla="*/ 86 h 86"/>
                <a:gd name="T46" fmla="*/ 4 w 134"/>
                <a:gd name="T47" fmla="*/ 86 h 86"/>
                <a:gd name="T48" fmla="*/ 4 w 134"/>
                <a:gd name="T49" fmla="*/ 86 h 86"/>
                <a:gd name="T50" fmla="*/ 4 w 134"/>
                <a:gd name="T51" fmla="*/ 86 h 86"/>
                <a:gd name="T52" fmla="*/ 4 w 134"/>
                <a:gd name="T53" fmla="*/ 86 h 86"/>
                <a:gd name="T54" fmla="*/ 4 w 134"/>
                <a:gd name="T55" fmla="*/ 86 h 86"/>
                <a:gd name="T56" fmla="*/ 4 w 134"/>
                <a:gd name="T57" fmla="*/ 86 h 86"/>
                <a:gd name="T58" fmla="*/ 4 w 134"/>
                <a:gd name="T59" fmla="*/ 86 h 86"/>
                <a:gd name="T60" fmla="*/ 134 w 134"/>
                <a:gd name="T61" fmla="*/ 4 h 86"/>
                <a:gd name="T62" fmla="*/ 134 w 134"/>
                <a:gd name="T63" fmla="*/ 4 h 86"/>
                <a:gd name="T64" fmla="*/ 134 w 134"/>
                <a:gd name="T65" fmla="*/ 4 h 86"/>
                <a:gd name="T66" fmla="*/ 134 w 134"/>
                <a:gd name="T67" fmla="*/ 4 h 86"/>
                <a:gd name="T68" fmla="*/ 130 w 134"/>
                <a:gd name="T69" fmla="*/ 4 h 86"/>
                <a:gd name="T70" fmla="*/ 130 w 134"/>
                <a:gd name="T71" fmla="*/ 0 h 86"/>
                <a:gd name="T72" fmla="*/ 130 w 134"/>
                <a:gd name="T73" fmla="*/ 0 h 86"/>
                <a:gd name="T74" fmla="*/ 134 w 134"/>
                <a:gd name="T75" fmla="*/ 0 h 86"/>
                <a:gd name="T76" fmla="*/ 134 w 134"/>
                <a:gd name="T77" fmla="*/ 4 h 86"/>
                <a:gd name="T78" fmla="*/ 134 w 134"/>
                <a:gd name="T79" fmla="*/ 4 h 86"/>
                <a:gd name="T80" fmla="*/ 134 w 134"/>
                <a:gd name="T81" fmla="*/ 4 h 86"/>
                <a:gd name="T82" fmla="*/ 134 w 134"/>
                <a:gd name="T83" fmla="*/ 4 h 86"/>
                <a:gd name="T84" fmla="*/ 134 w 134"/>
                <a:gd name="T85" fmla="*/ 4 h 86"/>
                <a:gd name="T86" fmla="*/ 134 w 134"/>
                <a:gd name="T87" fmla="*/ 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4" h="86">
                  <a:moveTo>
                    <a:pt x="4" y="86"/>
                  </a:moveTo>
                  <a:lnTo>
                    <a:pt x="4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8" y="82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close/>
                  <a:moveTo>
                    <a:pt x="134" y="4"/>
                  </a:moveTo>
                  <a:lnTo>
                    <a:pt x="134" y="4"/>
                  </a:lnTo>
                  <a:lnTo>
                    <a:pt x="134" y="4"/>
                  </a:lnTo>
                  <a:lnTo>
                    <a:pt x="134" y="4"/>
                  </a:lnTo>
                  <a:lnTo>
                    <a:pt x="130" y="4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4" y="0"/>
                  </a:lnTo>
                  <a:lnTo>
                    <a:pt x="134" y="4"/>
                  </a:lnTo>
                  <a:lnTo>
                    <a:pt x="134" y="4"/>
                  </a:lnTo>
                  <a:lnTo>
                    <a:pt x="134" y="4"/>
                  </a:lnTo>
                  <a:lnTo>
                    <a:pt x="134" y="4"/>
                  </a:lnTo>
                  <a:lnTo>
                    <a:pt x="134" y="4"/>
                  </a:lnTo>
                  <a:lnTo>
                    <a:pt x="134" y="4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27" name="Freeform 167">
              <a:extLst>
                <a:ext uri="{FF2B5EF4-FFF2-40B4-BE49-F238E27FC236}">
                  <a16:creationId xmlns:a16="http://schemas.microsoft.com/office/drawing/2014/main" id="{6BCB866B-EBD5-C225-A9F9-25F6706317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0761" y="3850602"/>
              <a:ext cx="77929" cy="101817"/>
            </a:xfrm>
            <a:custGeom>
              <a:avLst/>
              <a:gdLst>
                <a:gd name="T0" fmla="*/ 22 w 40"/>
                <a:gd name="T1" fmla="*/ 50 h 54"/>
                <a:gd name="T2" fmla="*/ 18 w 40"/>
                <a:gd name="T3" fmla="*/ 50 h 54"/>
                <a:gd name="T4" fmla="*/ 10 w 40"/>
                <a:gd name="T5" fmla="*/ 46 h 54"/>
                <a:gd name="T6" fmla="*/ 10 w 40"/>
                <a:gd name="T7" fmla="*/ 42 h 54"/>
                <a:gd name="T8" fmla="*/ 10 w 40"/>
                <a:gd name="T9" fmla="*/ 42 h 54"/>
                <a:gd name="T10" fmla="*/ 14 w 40"/>
                <a:gd name="T11" fmla="*/ 42 h 54"/>
                <a:gd name="T12" fmla="*/ 10 w 40"/>
                <a:gd name="T13" fmla="*/ 42 h 54"/>
                <a:gd name="T14" fmla="*/ 6 w 40"/>
                <a:gd name="T15" fmla="*/ 38 h 54"/>
                <a:gd name="T16" fmla="*/ 4 w 40"/>
                <a:gd name="T17" fmla="*/ 34 h 54"/>
                <a:gd name="T18" fmla="*/ 4 w 40"/>
                <a:gd name="T19" fmla="*/ 30 h 54"/>
                <a:gd name="T20" fmla="*/ 4 w 40"/>
                <a:gd name="T21" fmla="*/ 30 h 54"/>
                <a:gd name="T22" fmla="*/ 0 w 40"/>
                <a:gd name="T23" fmla="*/ 26 h 54"/>
                <a:gd name="T24" fmla="*/ 0 w 40"/>
                <a:gd name="T25" fmla="*/ 26 h 54"/>
                <a:gd name="T26" fmla="*/ 0 w 40"/>
                <a:gd name="T27" fmla="*/ 26 h 54"/>
                <a:gd name="T28" fmla="*/ 4 w 40"/>
                <a:gd name="T29" fmla="*/ 22 h 54"/>
                <a:gd name="T30" fmla="*/ 4 w 40"/>
                <a:gd name="T31" fmla="*/ 22 h 54"/>
                <a:gd name="T32" fmla="*/ 0 w 40"/>
                <a:gd name="T33" fmla="*/ 22 h 54"/>
                <a:gd name="T34" fmla="*/ 0 w 40"/>
                <a:gd name="T35" fmla="*/ 20 h 54"/>
                <a:gd name="T36" fmla="*/ 0 w 40"/>
                <a:gd name="T37" fmla="*/ 16 h 54"/>
                <a:gd name="T38" fmla="*/ 0 w 40"/>
                <a:gd name="T39" fmla="*/ 16 h 54"/>
                <a:gd name="T40" fmla="*/ 0 w 40"/>
                <a:gd name="T41" fmla="*/ 16 h 54"/>
                <a:gd name="T42" fmla="*/ 4 w 40"/>
                <a:gd name="T43" fmla="*/ 12 h 54"/>
                <a:gd name="T44" fmla="*/ 4 w 40"/>
                <a:gd name="T45" fmla="*/ 12 h 54"/>
                <a:gd name="T46" fmla="*/ 6 w 40"/>
                <a:gd name="T47" fmla="*/ 8 h 54"/>
                <a:gd name="T48" fmla="*/ 6 w 40"/>
                <a:gd name="T49" fmla="*/ 4 h 54"/>
                <a:gd name="T50" fmla="*/ 14 w 40"/>
                <a:gd name="T51" fmla="*/ 0 h 54"/>
                <a:gd name="T52" fmla="*/ 14 w 40"/>
                <a:gd name="T53" fmla="*/ 0 h 54"/>
                <a:gd name="T54" fmla="*/ 22 w 40"/>
                <a:gd name="T55" fmla="*/ 0 h 54"/>
                <a:gd name="T56" fmla="*/ 26 w 40"/>
                <a:gd name="T57" fmla="*/ 0 h 54"/>
                <a:gd name="T58" fmla="*/ 30 w 40"/>
                <a:gd name="T59" fmla="*/ 4 h 54"/>
                <a:gd name="T60" fmla="*/ 34 w 40"/>
                <a:gd name="T61" fmla="*/ 8 h 54"/>
                <a:gd name="T62" fmla="*/ 36 w 40"/>
                <a:gd name="T63" fmla="*/ 12 h 54"/>
                <a:gd name="T64" fmla="*/ 34 w 40"/>
                <a:gd name="T65" fmla="*/ 16 h 54"/>
                <a:gd name="T66" fmla="*/ 36 w 40"/>
                <a:gd name="T67" fmla="*/ 16 h 54"/>
                <a:gd name="T68" fmla="*/ 36 w 40"/>
                <a:gd name="T69" fmla="*/ 20 h 54"/>
                <a:gd name="T70" fmla="*/ 36 w 40"/>
                <a:gd name="T71" fmla="*/ 22 h 54"/>
                <a:gd name="T72" fmla="*/ 36 w 40"/>
                <a:gd name="T73" fmla="*/ 26 h 54"/>
                <a:gd name="T74" fmla="*/ 40 w 40"/>
                <a:gd name="T75" fmla="*/ 26 h 54"/>
                <a:gd name="T76" fmla="*/ 40 w 40"/>
                <a:gd name="T77" fmla="*/ 30 h 54"/>
                <a:gd name="T78" fmla="*/ 36 w 40"/>
                <a:gd name="T79" fmla="*/ 30 h 54"/>
                <a:gd name="T80" fmla="*/ 36 w 40"/>
                <a:gd name="T81" fmla="*/ 34 h 54"/>
                <a:gd name="T82" fmla="*/ 34 w 40"/>
                <a:gd name="T83" fmla="*/ 38 h 54"/>
                <a:gd name="T84" fmla="*/ 34 w 40"/>
                <a:gd name="T85" fmla="*/ 42 h 54"/>
                <a:gd name="T86" fmla="*/ 30 w 40"/>
                <a:gd name="T87" fmla="*/ 46 h 54"/>
                <a:gd name="T88" fmla="*/ 30 w 40"/>
                <a:gd name="T89" fmla="*/ 46 h 54"/>
                <a:gd name="T90" fmla="*/ 26 w 40"/>
                <a:gd name="T91" fmla="*/ 50 h 54"/>
                <a:gd name="T92" fmla="*/ 26 w 40"/>
                <a:gd name="T93" fmla="*/ 54 h 54"/>
                <a:gd name="T94" fmla="*/ 22 w 40"/>
                <a:gd name="T95" fmla="*/ 54 h 54"/>
                <a:gd name="T96" fmla="*/ 6 w 40"/>
                <a:gd name="T97" fmla="*/ 38 h 54"/>
                <a:gd name="T98" fmla="*/ 10 w 40"/>
                <a:gd name="T99" fmla="*/ 42 h 54"/>
                <a:gd name="T100" fmla="*/ 6 w 40"/>
                <a:gd name="T101" fmla="*/ 42 h 54"/>
                <a:gd name="T102" fmla="*/ 6 w 40"/>
                <a:gd name="T103" fmla="*/ 42 h 54"/>
                <a:gd name="T104" fmla="*/ 6 w 40"/>
                <a:gd name="T105" fmla="*/ 42 h 54"/>
                <a:gd name="T106" fmla="*/ 4 w 40"/>
                <a:gd name="T107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0" h="54">
                  <a:moveTo>
                    <a:pt x="22" y="54"/>
                  </a:moveTo>
                  <a:lnTo>
                    <a:pt x="22" y="54"/>
                  </a:lnTo>
                  <a:lnTo>
                    <a:pt x="22" y="54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4" y="38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40" y="26"/>
                  </a:lnTo>
                  <a:lnTo>
                    <a:pt x="40" y="22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close/>
                  <a:moveTo>
                    <a:pt x="4" y="42"/>
                  </a:move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2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28" name="Freeform 168">
              <a:extLst>
                <a:ext uri="{FF2B5EF4-FFF2-40B4-BE49-F238E27FC236}">
                  <a16:creationId xmlns:a16="http://schemas.microsoft.com/office/drawing/2014/main" id="{85144E67-FB70-6F4D-B4E4-2E8E41EA2E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6994" y="3778953"/>
              <a:ext cx="280544" cy="444980"/>
            </a:xfrm>
            <a:custGeom>
              <a:avLst/>
              <a:gdLst>
                <a:gd name="T0" fmla="*/ 78 w 144"/>
                <a:gd name="T1" fmla="*/ 24 h 236"/>
                <a:gd name="T2" fmla="*/ 92 w 144"/>
                <a:gd name="T3" fmla="*/ 16 h 236"/>
                <a:gd name="T4" fmla="*/ 108 w 144"/>
                <a:gd name="T5" fmla="*/ 12 h 236"/>
                <a:gd name="T6" fmla="*/ 118 w 144"/>
                <a:gd name="T7" fmla="*/ 12 h 236"/>
                <a:gd name="T8" fmla="*/ 134 w 144"/>
                <a:gd name="T9" fmla="*/ 8 h 236"/>
                <a:gd name="T10" fmla="*/ 140 w 144"/>
                <a:gd name="T11" fmla="*/ 4 h 236"/>
                <a:gd name="T12" fmla="*/ 140 w 144"/>
                <a:gd name="T13" fmla="*/ 16 h 236"/>
                <a:gd name="T14" fmla="*/ 140 w 144"/>
                <a:gd name="T15" fmla="*/ 30 h 236"/>
                <a:gd name="T16" fmla="*/ 140 w 144"/>
                <a:gd name="T17" fmla="*/ 30 h 236"/>
                <a:gd name="T18" fmla="*/ 136 w 144"/>
                <a:gd name="T19" fmla="*/ 46 h 236"/>
                <a:gd name="T20" fmla="*/ 130 w 144"/>
                <a:gd name="T21" fmla="*/ 58 h 236"/>
                <a:gd name="T22" fmla="*/ 126 w 144"/>
                <a:gd name="T23" fmla="*/ 68 h 236"/>
                <a:gd name="T24" fmla="*/ 122 w 144"/>
                <a:gd name="T25" fmla="*/ 80 h 236"/>
                <a:gd name="T26" fmla="*/ 114 w 144"/>
                <a:gd name="T27" fmla="*/ 88 h 236"/>
                <a:gd name="T28" fmla="*/ 110 w 144"/>
                <a:gd name="T29" fmla="*/ 102 h 236"/>
                <a:gd name="T30" fmla="*/ 104 w 144"/>
                <a:gd name="T31" fmla="*/ 120 h 236"/>
                <a:gd name="T32" fmla="*/ 96 w 144"/>
                <a:gd name="T33" fmla="*/ 128 h 236"/>
                <a:gd name="T34" fmla="*/ 88 w 144"/>
                <a:gd name="T35" fmla="*/ 140 h 236"/>
                <a:gd name="T36" fmla="*/ 82 w 144"/>
                <a:gd name="T37" fmla="*/ 150 h 236"/>
                <a:gd name="T38" fmla="*/ 74 w 144"/>
                <a:gd name="T39" fmla="*/ 162 h 236"/>
                <a:gd name="T40" fmla="*/ 62 w 144"/>
                <a:gd name="T41" fmla="*/ 170 h 236"/>
                <a:gd name="T42" fmla="*/ 56 w 144"/>
                <a:gd name="T43" fmla="*/ 176 h 236"/>
                <a:gd name="T44" fmla="*/ 44 w 144"/>
                <a:gd name="T45" fmla="*/ 188 h 236"/>
                <a:gd name="T46" fmla="*/ 36 w 144"/>
                <a:gd name="T47" fmla="*/ 196 h 236"/>
                <a:gd name="T48" fmla="*/ 26 w 144"/>
                <a:gd name="T49" fmla="*/ 206 h 236"/>
                <a:gd name="T50" fmla="*/ 18 w 144"/>
                <a:gd name="T51" fmla="*/ 214 h 236"/>
                <a:gd name="T52" fmla="*/ 10 w 144"/>
                <a:gd name="T53" fmla="*/ 226 h 236"/>
                <a:gd name="T54" fmla="*/ 6 w 144"/>
                <a:gd name="T55" fmla="*/ 236 h 236"/>
                <a:gd name="T56" fmla="*/ 0 w 144"/>
                <a:gd name="T57" fmla="*/ 206 h 236"/>
                <a:gd name="T58" fmla="*/ 4 w 144"/>
                <a:gd name="T59" fmla="*/ 154 h 236"/>
                <a:gd name="T60" fmla="*/ 14 w 144"/>
                <a:gd name="T61" fmla="*/ 136 h 236"/>
                <a:gd name="T62" fmla="*/ 26 w 144"/>
                <a:gd name="T63" fmla="*/ 132 h 236"/>
                <a:gd name="T64" fmla="*/ 32 w 144"/>
                <a:gd name="T65" fmla="*/ 124 h 236"/>
                <a:gd name="T66" fmla="*/ 48 w 144"/>
                <a:gd name="T67" fmla="*/ 124 h 236"/>
                <a:gd name="T68" fmla="*/ 62 w 144"/>
                <a:gd name="T69" fmla="*/ 114 h 236"/>
                <a:gd name="T70" fmla="*/ 70 w 144"/>
                <a:gd name="T71" fmla="*/ 102 h 236"/>
                <a:gd name="T72" fmla="*/ 92 w 144"/>
                <a:gd name="T73" fmla="*/ 76 h 236"/>
                <a:gd name="T74" fmla="*/ 82 w 144"/>
                <a:gd name="T75" fmla="*/ 72 h 236"/>
                <a:gd name="T76" fmla="*/ 70 w 144"/>
                <a:gd name="T77" fmla="*/ 64 h 236"/>
                <a:gd name="T78" fmla="*/ 48 w 144"/>
                <a:gd name="T79" fmla="*/ 58 h 236"/>
                <a:gd name="T80" fmla="*/ 32 w 144"/>
                <a:gd name="T81" fmla="*/ 46 h 236"/>
                <a:gd name="T82" fmla="*/ 26 w 144"/>
                <a:gd name="T83" fmla="*/ 34 h 236"/>
                <a:gd name="T84" fmla="*/ 26 w 144"/>
                <a:gd name="T85" fmla="*/ 24 h 236"/>
                <a:gd name="T86" fmla="*/ 30 w 144"/>
                <a:gd name="T87" fmla="*/ 12 h 236"/>
                <a:gd name="T88" fmla="*/ 36 w 144"/>
                <a:gd name="T89" fmla="*/ 24 h 236"/>
                <a:gd name="T90" fmla="*/ 48 w 144"/>
                <a:gd name="T91" fmla="*/ 30 h 236"/>
                <a:gd name="T92" fmla="*/ 56 w 144"/>
                <a:gd name="T93" fmla="*/ 28 h 236"/>
                <a:gd name="T94" fmla="*/ 62 w 144"/>
                <a:gd name="T95" fmla="*/ 2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4" h="236">
                  <a:moveTo>
                    <a:pt x="66" y="24"/>
                  </a:moveTo>
                  <a:lnTo>
                    <a:pt x="70" y="24"/>
                  </a:lnTo>
                  <a:lnTo>
                    <a:pt x="74" y="24"/>
                  </a:lnTo>
                  <a:lnTo>
                    <a:pt x="78" y="24"/>
                  </a:lnTo>
                  <a:lnTo>
                    <a:pt x="82" y="20"/>
                  </a:lnTo>
                  <a:lnTo>
                    <a:pt x="84" y="20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0" y="16"/>
                  </a:lnTo>
                  <a:lnTo>
                    <a:pt x="114" y="16"/>
                  </a:lnTo>
                  <a:lnTo>
                    <a:pt x="118" y="12"/>
                  </a:lnTo>
                  <a:lnTo>
                    <a:pt x="122" y="12"/>
                  </a:lnTo>
                  <a:lnTo>
                    <a:pt x="126" y="12"/>
                  </a:lnTo>
                  <a:lnTo>
                    <a:pt x="130" y="8"/>
                  </a:lnTo>
                  <a:lnTo>
                    <a:pt x="134" y="8"/>
                  </a:lnTo>
                  <a:lnTo>
                    <a:pt x="134" y="4"/>
                  </a:lnTo>
                  <a:lnTo>
                    <a:pt x="136" y="0"/>
                  </a:lnTo>
                  <a:lnTo>
                    <a:pt x="136" y="4"/>
                  </a:lnTo>
                  <a:lnTo>
                    <a:pt x="140" y="4"/>
                  </a:lnTo>
                  <a:lnTo>
                    <a:pt x="144" y="4"/>
                  </a:lnTo>
                  <a:lnTo>
                    <a:pt x="140" y="8"/>
                  </a:lnTo>
                  <a:lnTo>
                    <a:pt x="140" y="12"/>
                  </a:lnTo>
                  <a:lnTo>
                    <a:pt x="140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0" y="30"/>
                  </a:lnTo>
                  <a:lnTo>
                    <a:pt x="140" y="28"/>
                  </a:lnTo>
                  <a:lnTo>
                    <a:pt x="144" y="28"/>
                  </a:lnTo>
                  <a:lnTo>
                    <a:pt x="144" y="30"/>
                  </a:lnTo>
                  <a:lnTo>
                    <a:pt x="140" y="30"/>
                  </a:lnTo>
                  <a:lnTo>
                    <a:pt x="136" y="30"/>
                  </a:lnTo>
                  <a:lnTo>
                    <a:pt x="136" y="34"/>
                  </a:lnTo>
                  <a:lnTo>
                    <a:pt x="136" y="42"/>
                  </a:lnTo>
                  <a:lnTo>
                    <a:pt x="136" y="46"/>
                  </a:lnTo>
                  <a:lnTo>
                    <a:pt x="136" y="50"/>
                  </a:lnTo>
                  <a:lnTo>
                    <a:pt x="134" y="50"/>
                  </a:lnTo>
                  <a:lnTo>
                    <a:pt x="134" y="54"/>
                  </a:lnTo>
                  <a:lnTo>
                    <a:pt x="130" y="58"/>
                  </a:lnTo>
                  <a:lnTo>
                    <a:pt x="130" y="60"/>
                  </a:lnTo>
                  <a:lnTo>
                    <a:pt x="130" y="64"/>
                  </a:lnTo>
                  <a:lnTo>
                    <a:pt x="126" y="64"/>
                  </a:lnTo>
                  <a:lnTo>
                    <a:pt x="126" y="68"/>
                  </a:lnTo>
                  <a:lnTo>
                    <a:pt x="126" y="72"/>
                  </a:lnTo>
                  <a:lnTo>
                    <a:pt x="122" y="72"/>
                  </a:lnTo>
                  <a:lnTo>
                    <a:pt x="122" y="76"/>
                  </a:lnTo>
                  <a:lnTo>
                    <a:pt x="122" y="80"/>
                  </a:lnTo>
                  <a:lnTo>
                    <a:pt x="118" y="80"/>
                  </a:lnTo>
                  <a:lnTo>
                    <a:pt x="118" y="84"/>
                  </a:lnTo>
                  <a:lnTo>
                    <a:pt x="118" y="88"/>
                  </a:lnTo>
                  <a:lnTo>
                    <a:pt x="114" y="88"/>
                  </a:lnTo>
                  <a:lnTo>
                    <a:pt x="114" y="90"/>
                  </a:lnTo>
                  <a:lnTo>
                    <a:pt x="114" y="94"/>
                  </a:lnTo>
                  <a:lnTo>
                    <a:pt x="110" y="98"/>
                  </a:lnTo>
                  <a:lnTo>
                    <a:pt x="110" y="102"/>
                  </a:lnTo>
                  <a:lnTo>
                    <a:pt x="108" y="110"/>
                  </a:lnTo>
                  <a:lnTo>
                    <a:pt x="108" y="114"/>
                  </a:lnTo>
                  <a:lnTo>
                    <a:pt x="104" y="118"/>
                  </a:lnTo>
                  <a:lnTo>
                    <a:pt x="104" y="120"/>
                  </a:lnTo>
                  <a:lnTo>
                    <a:pt x="100" y="120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32"/>
                  </a:lnTo>
                  <a:lnTo>
                    <a:pt x="92" y="136"/>
                  </a:lnTo>
                  <a:lnTo>
                    <a:pt x="92" y="140"/>
                  </a:lnTo>
                  <a:lnTo>
                    <a:pt x="88" y="140"/>
                  </a:lnTo>
                  <a:lnTo>
                    <a:pt x="88" y="144"/>
                  </a:lnTo>
                  <a:lnTo>
                    <a:pt x="84" y="146"/>
                  </a:lnTo>
                  <a:lnTo>
                    <a:pt x="84" y="150"/>
                  </a:lnTo>
                  <a:lnTo>
                    <a:pt x="82" y="150"/>
                  </a:lnTo>
                  <a:lnTo>
                    <a:pt x="78" y="154"/>
                  </a:lnTo>
                  <a:lnTo>
                    <a:pt x="78" y="158"/>
                  </a:lnTo>
                  <a:lnTo>
                    <a:pt x="74" y="158"/>
                  </a:lnTo>
                  <a:lnTo>
                    <a:pt x="74" y="162"/>
                  </a:lnTo>
                  <a:lnTo>
                    <a:pt x="70" y="162"/>
                  </a:lnTo>
                  <a:lnTo>
                    <a:pt x="70" y="166"/>
                  </a:lnTo>
                  <a:lnTo>
                    <a:pt x="66" y="170"/>
                  </a:lnTo>
                  <a:lnTo>
                    <a:pt x="62" y="170"/>
                  </a:lnTo>
                  <a:lnTo>
                    <a:pt x="62" y="174"/>
                  </a:lnTo>
                  <a:lnTo>
                    <a:pt x="58" y="174"/>
                  </a:lnTo>
                  <a:lnTo>
                    <a:pt x="58" y="176"/>
                  </a:lnTo>
                  <a:lnTo>
                    <a:pt x="56" y="176"/>
                  </a:lnTo>
                  <a:lnTo>
                    <a:pt x="52" y="176"/>
                  </a:lnTo>
                  <a:lnTo>
                    <a:pt x="48" y="180"/>
                  </a:lnTo>
                  <a:lnTo>
                    <a:pt x="44" y="184"/>
                  </a:lnTo>
                  <a:lnTo>
                    <a:pt x="44" y="188"/>
                  </a:lnTo>
                  <a:lnTo>
                    <a:pt x="40" y="188"/>
                  </a:lnTo>
                  <a:lnTo>
                    <a:pt x="40" y="192"/>
                  </a:lnTo>
                  <a:lnTo>
                    <a:pt x="36" y="192"/>
                  </a:lnTo>
                  <a:lnTo>
                    <a:pt x="36" y="196"/>
                  </a:lnTo>
                  <a:lnTo>
                    <a:pt x="32" y="200"/>
                  </a:lnTo>
                  <a:lnTo>
                    <a:pt x="30" y="200"/>
                  </a:lnTo>
                  <a:lnTo>
                    <a:pt x="30" y="204"/>
                  </a:lnTo>
                  <a:lnTo>
                    <a:pt x="26" y="206"/>
                  </a:lnTo>
                  <a:lnTo>
                    <a:pt x="26" y="210"/>
                  </a:lnTo>
                  <a:lnTo>
                    <a:pt x="22" y="210"/>
                  </a:lnTo>
                  <a:lnTo>
                    <a:pt x="22" y="214"/>
                  </a:lnTo>
                  <a:lnTo>
                    <a:pt x="18" y="214"/>
                  </a:lnTo>
                  <a:lnTo>
                    <a:pt x="18" y="218"/>
                  </a:lnTo>
                  <a:lnTo>
                    <a:pt x="14" y="222"/>
                  </a:lnTo>
                  <a:lnTo>
                    <a:pt x="14" y="226"/>
                  </a:lnTo>
                  <a:lnTo>
                    <a:pt x="10" y="226"/>
                  </a:lnTo>
                  <a:lnTo>
                    <a:pt x="10" y="230"/>
                  </a:lnTo>
                  <a:lnTo>
                    <a:pt x="10" y="234"/>
                  </a:lnTo>
                  <a:lnTo>
                    <a:pt x="6" y="234"/>
                  </a:lnTo>
                  <a:lnTo>
                    <a:pt x="6" y="236"/>
                  </a:lnTo>
                  <a:lnTo>
                    <a:pt x="4" y="234"/>
                  </a:lnTo>
                  <a:lnTo>
                    <a:pt x="0" y="226"/>
                  </a:lnTo>
                  <a:lnTo>
                    <a:pt x="0" y="222"/>
                  </a:lnTo>
                  <a:lnTo>
                    <a:pt x="0" y="206"/>
                  </a:lnTo>
                  <a:lnTo>
                    <a:pt x="0" y="184"/>
                  </a:lnTo>
                  <a:lnTo>
                    <a:pt x="0" y="170"/>
                  </a:lnTo>
                  <a:lnTo>
                    <a:pt x="0" y="162"/>
                  </a:lnTo>
                  <a:lnTo>
                    <a:pt x="4" y="154"/>
                  </a:lnTo>
                  <a:lnTo>
                    <a:pt x="10" y="144"/>
                  </a:lnTo>
                  <a:lnTo>
                    <a:pt x="10" y="140"/>
                  </a:lnTo>
                  <a:lnTo>
                    <a:pt x="14" y="140"/>
                  </a:lnTo>
                  <a:lnTo>
                    <a:pt x="14" y="136"/>
                  </a:lnTo>
                  <a:lnTo>
                    <a:pt x="18" y="136"/>
                  </a:lnTo>
                  <a:lnTo>
                    <a:pt x="22" y="136"/>
                  </a:lnTo>
                  <a:lnTo>
                    <a:pt x="26" y="136"/>
                  </a:lnTo>
                  <a:lnTo>
                    <a:pt x="26" y="132"/>
                  </a:lnTo>
                  <a:lnTo>
                    <a:pt x="26" y="128"/>
                  </a:lnTo>
                  <a:lnTo>
                    <a:pt x="30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44" y="124"/>
                  </a:lnTo>
                  <a:lnTo>
                    <a:pt x="48" y="124"/>
                  </a:lnTo>
                  <a:lnTo>
                    <a:pt x="56" y="124"/>
                  </a:lnTo>
                  <a:lnTo>
                    <a:pt x="56" y="120"/>
                  </a:lnTo>
                  <a:lnTo>
                    <a:pt x="58" y="118"/>
                  </a:lnTo>
                  <a:lnTo>
                    <a:pt x="62" y="114"/>
                  </a:lnTo>
                  <a:lnTo>
                    <a:pt x="62" y="110"/>
                  </a:lnTo>
                  <a:lnTo>
                    <a:pt x="66" y="106"/>
                  </a:lnTo>
                  <a:lnTo>
                    <a:pt x="70" y="106"/>
                  </a:lnTo>
                  <a:lnTo>
                    <a:pt x="70" y="102"/>
                  </a:lnTo>
                  <a:lnTo>
                    <a:pt x="78" y="94"/>
                  </a:lnTo>
                  <a:lnTo>
                    <a:pt x="82" y="88"/>
                  </a:lnTo>
                  <a:lnTo>
                    <a:pt x="88" y="80"/>
                  </a:lnTo>
                  <a:lnTo>
                    <a:pt x="92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84" y="72"/>
                  </a:lnTo>
                  <a:lnTo>
                    <a:pt x="82" y="72"/>
                  </a:lnTo>
                  <a:lnTo>
                    <a:pt x="82" y="68"/>
                  </a:lnTo>
                  <a:lnTo>
                    <a:pt x="78" y="68"/>
                  </a:lnTo>
                  <a:lnTo>
                    <a:pt x="74" y="68"/>
                  </a:lnTo>
                  <a:lnTo>
                    <a:pt x="70" y="64"/>
                  </a:lnTo>
                  <a:lnTo>
                    <a:pt x="62" y="64"/>
                  </a:lnTo>
                  <a:lnTo>
                    <a:pt x="58" y="60"/>
                  </a:lnTo>
                  <a:lnTo>
                    <a:pt x="56" y="60"/>
                  </a:lnTo>
                  <a:lnTo>
                    <a:pt x="48" y="58"/>
                  </a:lnTo>
                  <a:lnTo>
                    <a:pt x="40" y="54"/>
                  </a:lnTo>
                  <a:lnTo>
                    <a:pt x="36" y="50"/>
                  </a:lnTo>
                  <a:lnTo>
                    <a:pt x="32" y="50"/>
                  </a:lnTo>
                  <a:lnTo>
                    <a:pt x="32" y="46"/>
                  </a:lnTo>
                  <a:lnTo>
                    <a:pt x="30" y="42"/>
                  </a:lnTo>
                  <a:lnTo>
                    <a:pt x="30" y="38"/>
                  </a:lnTo>
                  <a:lnTo>
                    <a:pt x="26" y="38"/>
                  </a:lnTo>
                  <a:lnTo>
                    <a:pt x="26" y="34"/>
                  </a:lnTo>
                  <a:lnTo>
                    <a:pt x="22" y="30"/>
                  </a:lnTo>
                  <a:lnTo>
                    <a:pt x="22" y="28"/>
                  </a:lnTo>
                  <a:lnTo>
                    <a:pt x="22" y="24"/>
                  </a:lnTo>
                  <a:lnTo>
                    <a:pt x="26" y="24"/>
                  </a:lnTo>
                  <a:lnTo>
                    <a:pt x="26" y="20"/>
                  </a:lnTo>
                  <a:lnTo>
                    <a:pt x="26" y="16"/>
                  </a:lnTo>
                  <a:lnTo>
                    <a:pt x="30" y="16"/>
                  </a:lnTo>
                  <a:lnTo>
                    <a:pt x="30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4" y="28"/>
                  </a:lnTo>
                  <a:lnTo>
                    <a:pt x="44" y="30"/>
                  </a:lnTo>
                  <a:lnTo>
                    <a:pt x="48" y="30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6" y="30"/>
                  </a:lnTo>
                  <a:lnTo>
                    <a:pt x="56" y="28"/>
                  </a:lnTo>
                  <a:lnTo>
                    <a:pt x="58" y="28"/>
                  </a:lnTo>
                  <a:lnTo>
                    <a:pt x="58" y="24"/>
                  </a:lnTo>
                  <a:lnTo>
                    <a:pt x="58" y="28"/>
                  </a:lnTo>
                  <a:lnTo>
                    <a:pt x="62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29" name="Freeform 169">
              <a:extLst>
                <a:ext uri="{FF2B5EF4-FFF2-40B4-BE49-F238E27FC236}">
                  <a16:creationId xmlns:a16="http://schemas.microsoft.com/office/drawing/2014/main" id="{2F00F8FC-D09A-054F-8E68-CF2DE2DF98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2554" y="5012074"/>
              <a:ext cx="35068" cy="56565"/>
            </a:xfrm>
            <a:custGeom>
              <a:avLst/>
              <a:gdLst>
                <a:gd name="T0" fmla="*/ 0 w 18"/>
                <a:gd name="T1" fmla="*/ 18 h 30"/>
                <a:gd name="T2" fmla="*/ 0 w 18"/>
                <a:gd name="T3" fmla="*/ 22 h 30"/>
                <a:gd name="T4" fmla="*/ 0 w 18"/>
                <a:gd name="T5" fmla="*/ 22 h 30"/>
                <a:gd name="T6" fmla="*/ 0 w 18"/>
                <a:gd name="T7" fmla="*/ 18 h 30"/>
                <a:gd name="T8" fmla="*/ 0 w 18"/>
                <a:gd name="T9" fmla="*/ 18 h 30"/>
                <a:gd name="T10" fmla="*/ 0 w 18"/>
                <a:gd name="T11" fmla="*/ 18 h 30"/>
                <a:gd name="T12" fmla="*/ 0 w 18"/>
                <a:gd name="T13" fmla="*/ 18 h 30"/>
                <a:gd name="T14" fmla="*/ 0 w 18"/>
                <a:gd name="T15" fmla="*/ 14 h 30"/>
                <a:gd name="T16" fmla="*/ 0 w 18"/>
                <a:gd name="T17" fmla="*/ 14 h 30"/>
                <a:gd name="T18" fmla="*/ 0 w 18"/>
                <a:gd name="T19" fmla="*/ 14 h 30"/>
                <a:gd name="T20" fmla="*/ 0 w 18"/>
                <a:gd name="T21" fmla="*/ 14 h 30"/>
                <a:gd name="T22" fmla="*/ 0 w 18"/>
                <a:gd name="T23" fmla="*/ 12 h 30"/>
                <a:gd name="T24" fmla="*/ 4 w 18"/>
                <a:gd name="T25" fmla="*/ 12 h 30"/>
                <a:gd name="T26" fmla="*/ 4 w 18"/>
                <a:gd name="T27" fmla="*/ 12 h 30"/>
                <a:gd name="T28" fmla="*/ 4 w 18"/>
                <a:gd name="T29" fmla="*/ 8 h 30"/>
                <a:gd name="T30" fmla="*/ 4 w 18"/>
                <a:gd name="T31" fmla="*/ 8 h 30"/>
                <a:gd name="T32" fmla="*/ 4 w 18"/>
                <a:gd name="T33" fmla="*/ 8 h 30"/>
                <a:gd name="T34" fmla="*/ 4 w 18"/>
                <a:gd name="T35" fmla="*/ 8 h 30"/>
                <a:gd name="T36" fmla="*/ 4 w 18"/>
                <a:gd name="T37" fmla="*/ 8 h 30"/>
                <a:gd name="T38" fmla="*/ 4 w 18"/>
                <a:gd name="T39" fmla="*/ 4 h 30"/>
                <a:gd name="T40" fmla="*/ 6 w 18"/>
                <a:gd name="T41" fmla="*/ 0 h 30"/>
                <a:gd name="T42" fmla="*/ 6 w 18"/>
                <a:gd name="T43" fmla="*/ 0 h 30"/>
                <a:gd name="T44" fmla="*/ 10 w 18"/>
                <a:gd name="T45" fmla="*/ 4 h 30"/>
                <a:gd name="T46" fmla="*/ 10 w 18"/>
                <a:gd name="T47" fmla="*/ 4 h 30"/>
                <a:gd name="T48" fmla="*/ 14 w 18"/>
                <a:gd name="T49" fmla="*/ 4 h 30"/>
                <a:gd name="T50" fmla="*/ 14 w 18"/>
                <a:gd name="T51" fmla="*/ 4 h 30"/>
                <a:gd name="T52" fmla="*/ 14 w 18"/>
                <a:gd name="T53" fmla="*/ 8 h 30"/>
                <a:gd name="T54" fmla="*/ 14 w 18"/>
                <a:gd name="T55" fmla="*/ 4 h 30"/>
                <a:gd name="T56" fmla="*/ 14 w 18"/>
                <a:gd name="T57" fmla="*/ 8 h 30"/>
                <a:gd name="T58" fmla="*/ 18 w 18"/>
                <a:gd name="T59" fmla="*/ 8 h 30"/>
                <a:gd name="T60" fmla="*/ 18 w 18"/>
                <a:gd name="T61" fmla="*/ 8 h 30"/>
                <a:gd name="T62" fmla="*/ 18 w 18"/>
                <a:gd name="T63" fmla="*/ 12 h 30"/>
                <a:gd name="T64" fmla="*/ 18 w 18"/>
                <a:gd name="T65" fmla="*/ 14 h 30"/>
                <a:gd name="T66" fmla="*/ 18 w 18"/>
                <a:gd name="T67" fmla="*/ 14 h 30"/>
                <a:gd name="T68" fmla="*/ 18 w 18"/>
                <a:gd name="T69" fmla="*/ 14 h 30"/>
                <a:gd name="T70" fmla="*/ 18 w 18"/>
                <a:gd name="T71" fmla="*/ 22 h 30"/>
                <a:gd name="T72" fmla="*/ 18 w 18"/>
                <a:gd name="T73" fmla="*/ 22 h 30"/>
                <a:gd name="T74" fmla="*/ 18 w 18"/>
                <a:gd name="T75" fmla="*/ 22 h 30"/>
                <a:gd name="T76" fmla="*/ 14 w 18"/>
                <a:gd name="T77" fmla="*/ 22 h 30"/>
                <a:gd name="T78" fmla="*/ 14 w 18"/>
                <a:gd name="T79" fmla="*/ 26 h 30"/>
                <a:gd name="T80" fmla="*/ 14 w 18"/>
                <a:gd name="T81" fmla="*/ 26 h 30"/>
                <a:gd name="T82" fmla="*/ 14 w 18"/>
                <a:gd name="T83" fmla="*/ 26 h 30"/>
                <a:gd name="T84" fmla="*/ 14 w 18"/>
                <a:gd name="T85" fmla="*/ 30 h 30"/>
                <a:gd name="T86" fmla="*/ 14 w 18"/>
                <a:gd name="T87" fmla="*/ 30 h 30"/>
                <a:gd name="T88" fmla="*/ 14 w 18"/>
                <a:gd name="T89" fmla="*/ 30 h 30"/>
                <a:gd name="T90" fmla="*/ 14 w 18"/>
                <a:gd name="T91" fmla="*/ 30 h 30"/>
                <a:gd name="T92" fmla="*/ 14 w 18"/>
                <a:gd name="T93" fmla="*/ 30 h 30"/>
                <a:gd name="T94" fmla="*/ 14 w 18"/>
                <a:gd name="T95" fmla="*/ 30 h 30"/>
                <a:gd name="T96" fmla="*/ 10 w 18"/>
                <a:gd name="T97" fmla="*/ 30 h 30"/>
                <a:gd name="T98" fmla="*/ 10 w 18"/>
                <a:gd name="T99" fmla="*/ 30 h 30"/>
                <a:gd name="T100" fmla="*/ 6 w 18"/>
                <a:gd name="T101" fmla="*/ 30 h 30"/>
                <a:gd name="T102" fmla="*/ 6 w 18"/>
                <a:gd name="T103" fmla="*/ 30 h 30"/>
                <a:gd name="T104" fmla="*/ 4 w 18"/>
                <a:gd name="T105" fmla="*/ 30 h 30"/>
                <a:gd name="T106" fmla="*/ 4 w 18"/>
                <a:gd name="T107" fmla="*/ 30 h 30"/>
                <a:gd name="T108" fmla="*/ 4 w 18"/>
                <a:gd name="T109" fmla="*/ 26 h 30"/>
                <a:gd name="T110" fmla="*/ 4 w 18"/>
                <a:gd name="T111" fmla="*/ 22 h 30"/>
                <a:gd name="T112" fmla="*/ 0 w 18"/>
                <a:gd name="T113" fmla="*/ 22 h 30"/>
                <a:gd name="T114" fmla="*/ 0 w 18"/>
                <a:gd name="T115" fmla="*/ 18 h 30"/>
                <a:gd name="T116" fmla="*/ 0 w 18"/>
                <a:gd name="T117" fmla="*/ 18 h 30"/>
                <a:gd name="T118" fmla="*/ 0 w 18"/>
                <a:gd name="T119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" h="30">
                  <a:moveTo>
                    <a:pt x="0" y="18"/>
                  </a:moveTo>
                  <a:lnTo>
                    <a:pt x="0" y="22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6" y="0"/>
                  </a:lnTo>
                  <a:lnTo>
                    <a:pt x="6" y="0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8"/>
                  </a:lnTo>
                  <a:lnTo>
                    <a:pt x="14" y="4"/>
                  </a:lnTo>
                  <a:lnTo>
                    <a:pt x="14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12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4" y="22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4" y="22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30" name="Freeform 170">
              <a:extLst>
                <a:ext uri="{FF2B5EF4-FFF2-40B4-BE49-F238E27FC236}">
                  <a16:creationId xmlns:a16="http://schemas.microsoft.com/office/drawing/2014/main" id="{53806811-0C07-C649-8FBC-A0DEF4FDBE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5796" y="4205077"/>
              <a:ext cx="307819" cy="343162"/>
            </a:xfrm>
            <a:custGeom>
              <a:avLst/>
              <a:gdLst>
                <a:gd name="T0" fmla="*/ 64 w 158"/>
                <a:gd name="T1" fmla="*/ 148 h 182"/>
                <a:gd name="T2" fmla="*/ 52 w 158"/>
                <a:gd name="T3" fmla="*/ 144 h 182"/>
                <a:gd name="T4" fmla="*/ 42 w 158"/>
                <a:gd name="T5" fmla="*/ 136 h 182"/>
                <a:gd name="T6" fmla="*/ 30 w 158"/>
                <a:gd name="T7" fmla="*/ 130 h 182"/>
                <a:gd name="T8" fmla="*/ 22 w 158"/>
                <a:gd name="T9" fmla="*/ 122 h 182"/>
                <a:gd name="T10" fmla="*/ 20 w 158"/>
                <a:gd name="T11" fmla="*/ 110 h 182"/>
                <a:gd name="T12" fmla="*/ 16 w 158"/>
                <a:gd name="T13" fmla="*/ 100 h 182"/>
                <a:gd name="T14" fmla="*/ 4 w 158"/>
                <a:gd name="T15" fmla="*/ 88 h 182"/>
                <a:gd name="T16" fmla="*/ 4 w 158"/>
                <a:gd name="T17" fmla="*/ 74 h 182"/>
                <a:gd name="T18" fmla="*/ 0 w 158"/>
                <a:gd name="T19" fmla="*/ 62 h 182"/>
                <a:gd name="T20" fmla="*/ 12 w 158"/>
                <a:gd name="T21" fmla="*/ 54 h 182"/>
                <a:gd name="T22" fmla="*/ 20 w 158"/>
                <a:gd name="T23" fmla="*/ 44 h 182"/>
                <a:gd name="T24" fmla="*/ 22 w 158"/>
                <a:gd name="T25" fmla="*/ 34 h 182"/>
                <a:gd name="T26" fmla="*/ 20 w 158"/>
                <a:gd name="T27" fmla="*/ 22 h 182"/>
                <a:gd name="T28" fmla="*/ 22 w 158"/>
                <a:gd name="T29" fmla="*/ 10 h 182"/>
                <a:gd name="T30" fmla="*/ 20 w 158"/>
                <a:gd name="T31" fmla="*/ 0 h 182"/>
                <a:gd name="T32" fmla="*/ 34 w 158"/>
                <a:gd name="T33" fmla="*/ 0 h 182"/>
                <a:gd name="T34" fmla="*/ 56 w 158"/>
                <a:gd name="T35" fmla="*/ 0 h 182"/>
                <a:gd name="T36" fmla="*/ 80 w 158"/>
                <a:gd name="T37" fmla="*/ 6 h 182"/>
                <a:gd name="T38" fmla="*/ 98 w 158"/>
                <a:gd name="T39" fmla="*/ 18 h 182"/>
                <a:gd name="T40" fmla="*/ 112 w 158"/>
                <a:gd name="T41" fmla="*/ 30 h 182"/>
                <a:gd name="T42" fmla="*/ 120 w 158"/>
                <a:gd name="T43" fmla="*/ 40 h 182"/>
                <a:gd name="T44" fmla="*/ 132 w 158"/>
                <a:gd name="T45" fmla="*/ 54 h 182"/>
                <a:gd name="T46" fmla="*/ 142 w 158"/>
                <a:gd name="T47" fmla="*/ 66 h 182"/>
                <a:gd name="T48" fmla="*/ 136 w 158"/>
                <a:gd name="T49" fmla="*/ 80 h 182"/>
                <a:gd name="T50" fmla="*/ 140 w 158"/>
                <a:gd name="T51" fmla="*/ 92 h 182"/>
                <a:gd name="T52" fmla="*/ 146 w 158"/>
                <a:gd name="T53" fmla="*/ 104 h 182"/>
                <a:gd name="T54" fmla="*/ 142 w 158"/>
                <a:gd name="T55" fmla="*/ 114 h 182"/>
                <a:gd name="T56" fmla="*/ 142 w 158"/>
                <a:gd name="T57" fmla="*/ 126 h 182"/>
                <a:gd name="T58" fmla="*/ 142 w 158"/>
                <a:gd name="T59" fmla="*/ 134 h 182"/>
                <a:gd name="T60" fmla="*/ 146 w 158"/>
                <a:gd name="T61" fmla="*/ 140 h 182"/>
                <a:gd name="T62" fmla="*/ 150 w 158"/>
                <a:gd name="T63" fmla="*/ 156 h 182"/>
                <a:gd name="T64" fmla="*/ 158 w 158"/>
                <a:gd name="T65" fmla="*/ 156 h 182"/>
                <a:gd name="T66" fmla="*/ 150 w 158"/>
                <a:gd name="T67" fmla="*/ 166 h 182"/>
                <a:gd name="T68" fmla="*/ 142 w 158"/>
                <a:gd name="T69" fmla="*/ 174 h 182"/>
                <a:gd name="T70" fmla="*/ 128 w 158"/>
                <a:gd name="T71" fmla="*/ 178 h 182"/>
                <a:gd name="T72" fmla="*/ 120 w 158"/>
                <a:gd name="T73" fmla="*/ 178 h 182"/>
                <a:gd name="T74" fmla="*/ 116 w 158"/>
                <a:gd name="T75" fmla="*/ 182 h 182"/>
                <a:gd name="T76" fmla="*/ 102 w 158"/>
                <a:gd name="T77" fmla="*/ 182 h 182"/>
                <a:gd name="T78" fmla="*/ 86 w 158"/>
                <a:gd name="T79" fmla="*/ 182 h 182"/>
                <a:gd name="T80" fmla="*/ 80 w 158"/>
                <a:gd name="T81" fmla="*/ 174 h 182"/>
                <a:gd name="T82" fmla="*/ 80 w 158"/>
                <a:gd name="T83" fmla="*/ 164 h 182"/>
                <a:gd name="T84" fmla="*/ 76 w 158"/>
                <a:gd name="T85" fmla="*/ 152 h 182"/>
                <a:gd name="T86" fmla="*/ 72 w 158"/>
                <a:gd name="T87" fmla="*/ 144 h 182"/>
                <a:gd name="T88" fmla="*/ 150 w 158"/>
                <a:gd name="T89" fmla="*/ 70 h 182"/>
                <a:gd name="T90" fmla="*/ 150 w 158"/>
                <a:gd name="T91" fmla="*/ 74 h 182"/>
                <a:gd name="T92" fmla="*/ 142 w 158"/>
                <a:gd name="T93" fmla="*/ 84 h 182"/>
                <a:gd name="T94" fmla="*/ 146 w 158"/>
                <a:gd name="T95" fmla="*/ 88 h 182"/>
                <a:gd name="T96" fmla="*/ 142 w 158"/>
                <a:gd name="T97" fmla="*/ 84 h 182"/>
                <a:gd name="T98" fmla="*/ 150 w 158"/>
                <a:gd name="T99" fmla="*/ 114 h 182"/>
                <a:gd name="T100" fmla="*/ 146 w 158"/>
                <a:gd name="T101" fmla="*/ 118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8" h="182">
                  <a:moveTo>
                    <a:pt x="72" y="144"/>
                  </a:moveTo>
                  <a:lnTo>
                    <a:pt x="68" y="144"/>
                  </a:lnTo>
                  <a:lnTo>
                    <a:pt x="68" y="148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60" y="144"/>
                  </a:lnTo>
                  <a:lnTo>
                    <a:pt x="56" y="144"/>
                  </a:lnTo>
                  <a:lnTo>
                    <a:pt x="52" y="144"/>
                  </a:lnTo>
                  <a:lnTo>
                    <a:pt x="50" y="140"/>
                  </a:lnTo>
                  <a:lnTo>
                    <a:pt x="46" y="140"/>
                  </a:lnTo>
                  <a:lnTo>
                    <a:pt x="46" y="136"/>
                  </a:lnTo>
                  <a:lnTo>
                    <a:pt x="42" y="136"/>
                  </a:lnTo>
                  <a:lnTo>
                    <a:pt x="38" y="136"/>
                  </a:lnTo>
                  <a:lnTo>
                    <a:pt x="38" y="134"/>
                  </a:lnTo>
                  <a:lnTo>
                    <a:pt x="34" y="134"/>
                  </a:lnTo>
                  <a:lnTo>
                    <a:pt x="30" y="130"/>
                  </a:lnTo>
                  <a:lnTo>
                    <a:pt x="26" y="130"/>
                  </a:lnTo>
                  <a:lnTo>
                    <a:pt x="22" y="130"/>
                  </a:lnTo>
                  <a:lnTo>
                    <a:pt x="22" y="126"/>
                  </a:lnTo>
                  <a:lnTo>
                    <a:pt x="22" y="122"/>
                  </a:lnTo>
                  <a:lnTo>
                    <a:pt x="22" y="118"/>
                  </a:lnTo>
                  <a:lnTo>
                    <a:pt x="20" y="118"/>
                  </a:lnTo>
                  <a:lnTo>
                    <a:pt x="20" y="114"/>
                  </a:lnTo>
                  <a:lnTo>
                    <a:pt x="20" y="110"/>
                  </a:lnTo>
                  <a:lnTo>
                    <a:pt x="16" y="110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78"/>
                  </a:lnTo>
                  <a:lnTo>
                    <a:pt x="4" y="74"/>
                  </a:lnTo>
                  <a:lnTo>
                    <a:pt x="4" y="70"/>
                  </a:lnTo>
                  <a:lnTo>
                    <a:pt x="0" y="70"/>
                  </a:lnTo>
                  <a:lnTo>
                    <a:pt x="0" y="66"/>
                  </a:lnTo>
                  <a:lnTo>
                    <a:pt x="0" y="62"/>
                  </a:lnTo>
                  <a:lnTo>
                    <a:pt x="4" y="62"/>
                  </a:lnTo>
                  <a:lnTo>
                    <a:pt x="4" y="58"/>
                  </a:lnTo>
                  <a:lnTo>
                    <a:pt x="8" y="58"/>
                  </a:lnTo>
                  <a:lnTo>
                    <a:pt x="12" y="54"/>
                  </a:lnTo>
                  <a:lnTo>
                    <a:pt x="16" y="50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2" y="40"/>
                  </a:lnTo>
                  <a:lnTo>
                    <a:pt x="22" y="36"/>
                  </a:lnTo>
                  <a:lnTo>
                    <a:pt x="22" y="34"/>
                  </a:lnTo>
                  <a:lnTo>
                    <a:pt x="20" y="34"/>
                  </a:lnTo>
                  <a:lnTo>
                    <a:pt x="16" y="34"/>
                  </a:lnTo>
                  <a:lnTo>
                    <a:pt x="20" y="26"/>
                  </a:lnTo>
                  <a:lnTo>
                    <a:pt x="20" y="22"/>
                  </a:lnTo>
                  <a:lnTo>
                    <a:pt x="22" y="22"/>
                  </a:lnTo>
                  <a:lnTo>
                    <a:pt x="22" y="18"/>
                  </a:lnTo>
                  <a:lnTo>
                    <a:pt x="22" y="14"/>
                  </a:lnTo>
                  <a:lnTo>
                    <a:pt x="22" y="10"/>
                  </a:lnTo>
                  <a:lnTo>
                    <a:pt x="22" y="6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34" y="0"/>
                  </a:lnTo>
                  <a:lnTo>
                    <a:pt x="46" y="0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8" y="0"/>
                  </a:lnTo>
                  <a:lnTo>
                    <a:pt x="76" y="4"/>
                  </a:lnTo>
                  <a:lnTo>
                    <a:pt x="80" y="6"/>
                  </a:lnTo>
                  <a:lnTo>
                    <a:pt x="86" y="10"/>
                  </a:lnTo>
                  <a:lnTo>
                    <a:pt x="90" y="14"/>
                  </a:lnTo>
                  <a:lnTo>
                    <a:pt x="94" y="18"/>
                  </a:lnTo>
                  <a:lnTo>
                    <a:pt x="98" y="18"/>
                  </a:lnTo>
                  <a:lnTo>
                    <a:pt x="98" y="22"/>
                  </a:lnTo>
                  <a:lnTo>
                    <a:pt x="102" y="22"/>
                  </a:lnTo>
                  <a:lnTo>
                    <a:pt x="106" y="26"/>
                  </a:lnTo>
                  <a:lnTo>
                    <a:pt x="112" y="30"/>
                  </a:lnTo>
                  <a:lnTo>
                    <a:pt x="116" y="34"/>
                  </a:lnTo>
                  <a:lnTo>
                    <a:pt x="120" y="34"/>
                  </a:lnTo>
                  <a:lnTo>
                    <a:pt x="120" y="36"/>
                  </a:lnTo>
                  <a:lnTo>
                    <a:pt x="120" y="40"/>
                  </a:lnTo>
                  <a:lnTo>
                    <a:pt x="120" y="44"/>
                  </a:lnTo>
                  <a:lnTo>
                    <a:pt x="124" y="44"/>
                  </a:lnTo>
                  <a:lnTo>
                    <a:pt x="132" y="50"/>
                  </a:lnTo>
                  <a:lnTo>
                    <a:pt x="132" y="54"/>
                  </a:lnTo>
                  <a:lnTo>
                    <a:pt x="136" y="54"/>
                  </a:lnTo>
                  <a:lnTo>
                    <a:pt x="140" y="58"/>
                  </a:lnTo>
                  <a:lnTo>
                    <a:pt x="142" y="62"/>
                  </a:lnTo>
                  <a:lnTo>
                    <a:pt x="142" y="66"/>
                  </a:lnTo>
                  <a:lnTo>
                    <a:pt x="140" y="70"/>
                  </a:lnTo>
                  <a:lnTo>
                    <a:pt x="140" y="74"/>
                  </a:lnTo>
                  <a:lnTo>
                    <a:pt x="140" y="78"/>
                  </a:lnTo>
                  <a:lnTo>
                    <a:pt x="136" y="80"/>
                  </a:lnTo>
                  <a:lnTo>
                    <a:pt x="136" y="84"/>
                  </a:lnTo>
                  <a:lnTo>
                    <a:pt x="136" y="88"/>
                  </a:lnTo>
                  <a:lnTo>
                    <a:pt x="136" y="92"/>
                  </a:lnTo>
                  <a:lnTo>
                    <a:pt x="140" y="92"/>
                  </a:lnTo>
                  <a:lnTo>
                    <a:pt x="142" y="96"/>
                  </a:lnTo>
                  <a:lnTo>
                    <a:pt x="142" y="100"/>
                  </a:lnTo>
                  <a:lnTo>
                    <a:pt x="146" y="100"/>
                  </a:lnTo>
                  <a:lnTo>
                    <a:pt x="146" y="104"/>
                  </a:lnTo>
                  <a:lnTo>
                    <a:pt x="146" y="108"/>
                  </a:lnTo>
                  <a:lnTo>
                    <a:pt x="142" y="108"/>
                  </a:lnTo>
                  <a:lnTo>
                    <a:pt x="142" y="110"/>
                  </a:lnTo>
                  <a:lnTo>
                    <a:pt x="142" y="114"/>
                  </a:lnTo>
                  <a:lnTo>
                    <a:pt x="146" y="114"/>
                  </a:lnTo>
                  <a:lnTo>
                    <a:pt x="146" y="118"/>
                  </a:lnTo>
                  <a:lnTo>
                    <a:pt x="142" y="122"/>
                  </a:lnTo>
                  <a:lnTo>
                    <a:pt x="142" y="126"/>
                  </a:lnTo>
                  <a:lnTo>
                    <a:pt x="142" y="122"/>
                  </a:lnTo>
                  <a:lnTo>
                    <a:pt x="142" y="126"/>
                  </a:lnTo>
                  <a:lnTo>
                    <a:pt x="142" y="130"/>
                  </a:lnTo>
                  <a:lnTo>
                    <a:pt x="142" y="134"/>
                  </a:lnTo>
                  <a:lnTo>
                    <a:pt x="146" y="134"/>
                  </a:lnTo>
                  <a:lnTo>
                    <a:pt x="142" y="134"/>
                  </a:lnTo>
                  <a:lnTo>
                    <a:pt x="146" y="136"/>
                  </a:lnTo>
                  <a:lnTo>
                    <a:pt x="146" y="140"/>
                  </a:lnTo>
                  <a:lnTo>
                    <a:pt x="150" y="144"/>
                  </a:lnTo>
                  <a:lnTo>
                    <a:pt x="150" y="148"/>
                  </a:lnTo>
                  <a:lnTo>
                    <a:pt x="150" y="152"/>
                  </a:lnTo>
                  <a:lnTo>
                    <a:pt x="150" y="156"/>
                  </a:lnTo>
                  <a:lnTo>
                    <a:pt x="154" y="156"/>
                  </a:lnTo>
                  <a:lnTo>
                    <a:pt x="154" y="160"/>
                  </a:lnTo>
                  <a:lnTo>
                    <a:pt x="158" y="160"/>
                  </a:lnTo>
                  <a:lnTo>
                    <a:pt x="158" y="156"/>
                  </a:lnTo>
                  <a:lnTo>
                    <a:pt x="158" y="160"/>
                  </a:lnTo>
                  <a:lnTo>
                    <a:pt x="158" y="164"/>
                  </a:lnTo>
                  <a:lnTo>
                    <a:pt x="154" y="166"/>
                  </a:lnTo>
                  <a:lnTo>
                    <a:pt x="150" y="166"/>
                  </a:lnTo>
                  <a:lnTo>
                    <a:pt x="150" y="170"/>
                  </a:lnTo>
                  <a:lnTo>
                    <a:pt x="146" y="170"/>
                  </a:lnTo>
                  <a:lnTo>
                    <a:pt x="142" y="170"/>
                  </a:lnTo>
                  <a:lnTo>
                    <a:pt x="142" y="174"/>
                  </a:lnTo>
                  <a:lnTo>
                    <a:pt x="140" y="174"/>
                  </a:lnTo>
                  <a:lnTo>
                    <a:pt x="136" y="174"/>
                  </a:lnTo>
                  <a:lnTo>
                    <a:pt x="132" y="178"/>
                  </a:lnTo>
                  <a:lnTo>
                    <a:pt x="128" y="178"/>
                  </a:lnTo>
                  <a:lnTo>
                    <a:pt x="128" y="174"/>
                  </a:lnTo>
                  <a:lnTo>
                    <a:pt x="124" y="174"/>
                  </a:lnTo>
                  <a:lnTo>
                    <a:pt x="124" y="178"/>
                  </a:lnTo>
                  <a:lnTo>
                    <a:pt x="120" y="178"/>
                  </a:lnTo>
                  <a:lnTo>
                    <a:pt x="124" y="178"/>
                  </a:lnTo>
                  <a:lnTo>
                    <a:pt x="124" y="182"/>
                  </a:lnTo>
                  <a:lnTo>
                    <a:pt x="120" y="182"/>
                  </a:lnTo>
                  <a:lnTo>
                    <a:pt x="116" y="182"/>
                  </a:lnTo>
                  <a:lnTo>
                    <a:pt x="112" y="182"/>
                  </a:lnTo>
                  <a:lnTo>
                    <a:pt x="110" y="182"/>
                  </a:lnTo>
                  <a:lnTo>
                    <a:pt x="106" y="182"/>
                  </a:lnTo>
                  <a:lnTo>
                    <a:pt x="102" y="182"/>
                  </a:lnTo>
                  <a:lnTo>
                    <a:pt x="98" y="182"/>
                  </a:lnTo>
                  <a:lnTo>
                    <a:pt x="94" y="178"/>
                  </a:lnTo>
                  <a:lnTo>
                    <a:pt x="90" y="182"/>
                  </a:lnTo>
                  <a:lnTo>
                    <a:pt x="86" y="182"/>
                  </a:lnTo>
                  <a:lnTo>
                    <a:pt x="82" y="182"/>
                  </a:lnTo>
                  <a:lnTo>
                    <a:pt x="82" y="178"/>
                  </a:lnTo>
                  <a:lnTo>
                    <a:pt x="80" y="178"/>
                  </a:lnTo>
                  <a:lnTo>
                    <a:pt x="80" y="174"/>
                  </a:lnTo>
                  <a:lnTo>
                    <a:pt x="76" y="174"/>
                  </a:lnTo>
                  <a:lnTo>
                    <a:pt x="76" y="170"/>
                  </a:lnTo>
                  <a:lnTo>
                    <a:pt x="80" y="166"/>
                  </a:lnTo>
                  <a:lnTo>
                    <a:pt x="80" y="164"/>
                  </a:lnTo>
                  <a:lnTo>
                    <a:pt x="76" y="164"/>
                  </a:lnTo>
                  <a:lnTo>
                    <a:pt x="76" y="160"/>
                  </a:lnTo>
                  <a:lnTo>
                    <a:pt x="76" y="156"/>
                  </a:lnTo>
                  <a:lnTo>
                    <a:pt x="76" y="152"/>
                  </a:lnTo>
                  <a:lnTo>
                    <a:pt x="72" y="152"/>
                  </a:lnTo>
                  <a:lnTo>
                    <a:pt x="72" y="148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close/>
                  <a:moveTo>
                    <a:pt x="150" y="70"/>
                  </a:moveTo>
                  <a:lnTo>
                    <a:pt x="150" y="66"/>
                  </a:lnTo>
                  <a:lnTo>
                    <a:pt x="150" y="70"/>
                  </a:lnTo>
                  <a:lnTo>
                    <a:pt x="150" y="74"/>
                  </a:lnTo>
                  <a:lnTo>
                    <a:pt x="150" y="78"/>
                  </a:lnTo>
                  <a:lnTo>
                    <a:pt x="146" y="74"/>
                  </a:lnTo>
                  <a:lnTo>
                    <a:pt x="150" y="74"/>
                  </a:lnTo>
                  <a:lnTo>
                    <a:pt x="150" y="70"/>
                  </a:lnTo>
                  <a:lnTo>
                    <a:pt x="150" y="70"/>
                  </a:lnTo>
                  <a:lnTo>
                    <a:pt x="150" y="70"/>
                  </a:lnTo>
                  <a:close/>
                  <a:moveTo>
                    <a:pt x="142" y="84"/>
                  </a:moveTo>
                  <a:lnTo>
                    <a:pt x="142" y="80"/>
                  </a:lnTo>
                  <a:lnTo>
                    <a:pt x="142" y="84"/>
                  </a:lnTo>
                  <a:lnTo>
                    <a:pt x="146" y="84"/>
                  </a:lnTo>
                  <a:lnTo>
                    <a:pt x="146" y="88"/>
                  </a:lnTo>
                  <a:lnTo>
                    <a:pt x="146" y="92"/>
                  </a:lnTo>
                  <a:lnTo>
                    <a:pt x="146" y="88"/>
                  </a:lnTo>
                  <a:lnTo>
                    <a:pt x="142" y="88"/>
                  </a:lnTo>
                  <a:lnTo>
                    <a:pt x="142" y="84"/>
                  </a:lnTo>
                  <a:lnTo>
                    <a:pt x="142" y="84"/>
                  </a:lnTo>
                  <a:lnTo>
                    <a:pt x="142" y="84"/>
                  </a:lnTo>
                  <a:close/>
                  <a:moveTo>
                    <a:pt x="146" y="118"/>
                  </a:moveTo>
                  <a:lnTo>
                    <a:pt x="150" y="114"/>
                  </a:lnTo>
                  <a:lnTo>
                    <a:pt x="150" y="118"/>
                  </a:lnTo>
                  <a:lnTo>
                    <a:pt x="146" y="118"/>
                  </a:lnTo>
                  <a:lnTo>
                    <a:pt x="146" y="118"/>
                  </a:lnTo>
                  <a:lnTo>
                    <a:pt x="146" y="11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31" name="Freeform 171">
              <a:extLst>
                <a:ext uri="{FF2B5EF4-FFF2-40B4-BE49-F238E27FC236}">
                  <a16:creationId xmlns:a16="http://schemas.microsoft.com/office/drawing/2014/main" id="{B49832F1-8662-8F98-7E01-2B289A4DA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5557" y="3726158"/>
              <a:ext cx="89618" cy="18855"/>
            </a:xfrm>
            <a:custGeom>
              <a:avLst/>
              <a:gdLst>
                <a:gd name="T0" fmla="*/ 4 w 46"/>
                <a:gd name="T1" fmla="*/ 6 h 10"/>
                <a:gd name="T2" fmla="*/ 4 w 46"/>
                <a:gd name="T3" fmla="*/ 6 h 10"/>
                <a:gd name="T4" fmla="*/ 4 w 46"/>
                <a:gd name="T5" fmla="*/ 6 h 10"/>
                <a:gd name="T6" fmla="*/ 8 w 46"/>
                <a:gd name="T7" fmla="*/ 10 h 10"/>
                <a:gd name="T8" fmla="*/ 8 w 46"/>
                <a:gd name="T9" fmla="*/ 6 h 10"/>
                <a:gd name="T10" fmla="*/ 12 w 46"/>
                <a:gd name="T11" fmla="*/ 6 h 10"/>
                <a:gd name="T12" fmla="*/ 12 w 46"/>
                <a:gd name="T13" fmla="*/ 6 h 10"/>
                <a:gd name="T14" fmla="*/ 8 w 46"/>
                <a:gd name="T15" fmla="*/ 6 h 10"/>
                <a:gd name="T16" fmla="*/ 12 w 46"/>
                <a:gd name="T17" fmla="*/ 6 h 10"/>
                <a:gd name="T18" fmla="*/ 20 w 46"/>
                <a:gd name="T19" fmla="*/ 6 h 10"/>
                <a:gd name="T20" fmla="*/ 24 w 46"/>
                <a:gd name="T21" fmla="*/ 6 h 10"/>
                <a:gd name="T22" fmla="*/ 24 w 46"/>
                <a:gd name="T23" fmla="*/ 6 h 10"/>
                <a:gd name="T24" fmla="*/ 24 w 46"/>
                <a:gd name="T25" fmla="*/ 2 h 10"/>
                <a:gd name="T26" fmla="*/ 24 w 46"/>
                <a:gd name="T27" fmla="*/ 6 h 10"/>
                <a:gd name="T28" fmla="*/ 20 w 46"/>
                <a:gd name="T29" fmla="*/ 2 h 10"/>
                <a:gd name="T30" fmla="*/ 12 w 46"/>
                <a:gd name="T31" fmla="*/ 6 h 10"/>
                <a:gd name="T32" fmla="*/ 12 w 46"/>
                <a:gd name="T33" fmla="*/ 6 h 10"/>
                <a:gd name="T34" fmla="*/ 8 w 46"/>
                <a:gd name="T35" fmla="*/ 6 h 10"/>
                <a:gd name="T36" fmla="*/ 4 w 46"/>
                <a:gd name="T37" fmla="*/ 6 h 10"/>
                <a:gd name="T38" fmla="*/ 4 w 46"/>
                <a:gd name="T39" fmla="*/ 2 h 10"/>
                <a:gd name="T40" fmla="*/ 12 w 46"/>
                <a:gd name="T41" fmla="*/ 2 h 10"/>
                <a:gd name="T42" fmla="*/ 20 w 46"/>
                <a:gd name="T43" fmla="*/ 2 h 10"/>
                <a:gd name="T44" fmla="*/ 20 w 46"/>
                <a:gd name="T45" fmla="*/ 2 h 10"/>
                <a:gd name="T46" fmla="*/ 20 w 46"/>
                <a:gd name="T47" fmla="*/ 0 h 10"/>
                <a:gd name="T48" fmla="*/ 24 w 46"/>
                <a:gd name="T49" fmla="*/ 0 h 10"/>
                <a:gd name="T50" fmla="*/ 24 w 46"/>
                <a:gd name="T51" fmla="*/ 0 h 10"/>
                <a:gd name="T52" fmla="*/ 26 w 46"/>
                <a:gd name="T53" fmla="*/ 0 h 10"/>
                <a:gd name="T54" fmla="*/ 30 w 46"/>
                <a:gd name="T55" fmla="*/ 0 h 10"/>
                <a:gd name="T56" fmla="*/ 30 w 46"/>
                <a:gd name="T57" fmla="*/ 0 h 10"/>
                <a:gd name="T58" fmla="*/ 30 w 46"/>
                <a:gd name="T59" fmla="*/ 2 h 10"/>
                <a:gd name="T60" fmla="*/ 30 w 46"/>
                <a:gd name="T61" fmla="*/ 2 h 10"/>
                <a:gd name="T62" fmla="*/ 34 w 46"/>
                <a:gd name="T63" fmla="*/ 2 h 10"/>
                <a:gd name="T64" fmla="*/ 34 w 46"/>
                <a:gd name="T65" fmla="*/ 2 h 10"/>
                <a:gd name="T66" fmla="*/ 34 w 46"/>
                <a:gd name="T67" fmla="*/ 2 h 10"/>
                <a:gd name="T68" fmla="*/ 34 w 46"/>
                <a:gd name="T69" fmla="*/ 6 h 10"/>
                <a:gd name="T70" fmla="*/ 38 w 46"/>
                <a:gd name="T71" fmla="*/ 2 h 10"/>
                <a:gd name="T72" fmla="*/ 42 w 46"/>
                <a:gd name="T73" fmla="*/ 2 h 10"/>
                <a:gd name="T74" fmla="*/ 42 w 46"/>
                <a:gd name="T75" fmla="*/ 2 h 10"/>
                <a:gd name="T76" fmla="*/ 46 w 46"/>
                <a:gd name="T77" fmla="*/ 2 h 10"/>
                <a:gd name="T78" fmla="*/ 46 w 46"/>
                <a:gd name="T79" fmla="*/ 6 h 10"/>
                <a:gd name="T80" fmla="*/ 42 w 46"/>
                <a:gd name="T81" fmla="*/ 6 h 10"/>
                <a:gd name="T82" fmla="*/ 42 w 46"/>
                <a:gd name="T83" fmla="*/ 6 h 10"/>
                <a:gd name="T84" fmla="*/ 38 w 46"/>
                <a:gd name="T85" fmla="*/ 10 h 10"/>
                <a:gd name="T86" fmla="*/ 38 w 46"/>
                <a:gd name="T87" fmla="*/ 10 h 10"/>
                <a:gd name="T88" fmla="*/ 34 w 46"/>
                <a:gd name="T89" fmla="*/ 6 h 10"/>
                <a:gd name="T90" fmla="*/ 30 w 46"/>
                <a:gd name="T91" fmla="*/ 6 h 10"/>
                <a:gd name="T92" fmla="*/ 30 w 46"/>
                <a:gd name="T93" fmla="*/ 6 h 10"/>
                <a:gd name="T94" fmla="*/ 26 w 46"/>
                <a:gd name="T95" fmla="*/ 6 h 10"/>
                <a:gd name="T96" fmla="*/ 26 w 46"/>
                <a:gd name="T97" fmla="*/ 2 h 10"/>
                <a:gd name="T98" fmla="*/ 26 w 46"/>
                <a:gd name="T99" fmla="*/ 2 h 10"/>
                <a:gd name="T100" fmla="*/ 24 w 46"/>
                <a:gd name="T101" fmla="*/ 2 h 10"/>
                <a:gd name="T102" fmla="*/ 24 w 46"/>
                <a:gd name="T103" fmla="*/ 6 h 10"/>
                <a:gd name="T104" fmla="*/ 24 w 46"/>
                <a:gd name="T105" fmla="*/ 6 h 10"/>
                <a:gd name="T106" fmla="*/ 20 w 46"/>
                <a:gd name="T107" fmla="*/ 6 h 10"/>
                <a:gd name="T108" fmla="*/ 16 w 46"/>
                <a:gd name="T109" fmla="*/ 10 h 10"/>
                <a:gd name="T110" fmla="*/ 12 w 46"/>
                <a:gd name="T111" fmla="*/ 10 h 10"/>
                <a:gd name="T112" fmla="*/ 0 w 46"/>
                <a:gd name="T113" fmla="*/ 10 h 10"/>
                <a:gd name="T114" fmla="*/ 0 w 46"/>
                <a:gd name="T115" fmla="*/ 6 h 10"/>
                <a:gd name="T116" fmla="*/ 0 w 46"/>
                <a:gd name="T117" fmla="*/ 6 h 10"/>
                <a:gd name="T118" fmla="*/ 4 w 46"/>
                <a:gd name="T119" fmla="*/ 2 h 10"/>
                <a:gd name="T120" fmla="*/ 4 w 46"/>
                <a:gd name="T12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6" h="10">
                  <a:moveTo>
                    <a:pt x="4" y="6"/>
                  </a:move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8" y="10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2" y="1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6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6" y="2"/>
                  </a:lnTo>
                  <a:lnTo>
                    <a:pt x="16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2"/>
                  </a:lnTo>
                  <a:lnTo>
                    <a:pt x="4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6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6"/>
                  </a:lnTo>
                  <a:lnTo>
                    <a:pt x="38" y="6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6" y="2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4" y="10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0" y="6"/>
                  </a:lnTo>
                  <a:lnTo>
                    <a:pt x="16" y="6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2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32" name="Freeform 172">
              <a:extLst>
                <a:ext uri="{FF2B5EF4-FFF2-40B4-BE49-F238E27FC236}">
                  <a16:creationId xmlns:a16="http://schemas.microsoft.com/office/drawing/2014/main" id="{B4E13DAB-7A64-1E0F-5DEE-6ABC1EAC60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5337" y="3809121"/>
              <a:ext cx="58447" cy="169696"/>
            </a:xfrm>
            <a:custGeom>
              <a:avLst/>
              <a:gdLst>
                <a:gd name="T0" fmla="*/ 26 w 30"/>
                <a:gd name="T1" fmla="*/ 68 h 90"/>
                <a:gd name="T2" fmla="*/ 26 w 30"/>
                <a:gd name="T3" fmla="*/ 74 h 90"/>
                <a:gd name="T4" fmla="*/ 26 w 30"/>
                <a:gd name="T5" fmla="*/ 78 h 90"/>
                <a:gd name="T6" fmla="*/ 26 w 30"/>
                <a:gd name="T7" fmla="*/ 78 h 90"/>
                <a:gd name="T8" fmla="*/ 30 w 30"/>
                <a:gd name="T9" fmla="*/ 82 h 90"/>
                <a:gd name="T10" fmla="*/ 26 w 30"/>
                <a:gd name="T11" fmla="*/ 86 h 90"/>
                <a:gd name="T12" fmla="*/ 26 w 30"/>
                <a:gd name="T13" fmla="*/ 86 h 90"/>
                <a:gd name="T14" fmla="*/ 24 w 30"/>
                <a:gd name="T15" fmla="*/ 86 h 90"/>
                <a:gd name="T16" fmla="*/ 20 w 30"/>
                <a:gd name="T17" fmla="*/ 86 h 90"/>
                <a:gd name="T18" fmla="*/ 16 w 30"/>
                <a:gd name="T19" fmla="*/ 82 h 90"/>
                <a:gd name="T20" fmla="*/ 16 w 30"/>
                <a:gd name="T21" fmla="*/ 82 h 90"/>
                <a:gd name="T22" fmla="*/ 16 w 30"/>
                <a:gd name="T23" fmla="*/ 78 h 90"/>
                <a:gd name="T24" fmla="*/ 12 w 30"/>
                <a:gd name="T25" fmla="*/ 78 h 90"/>
                <a:gd name="T26" fmla="*/ 12 w 30"/>
                <a:gd name="T27" fmla="*/ 70 h 90"/>
                <a:gd name="T28" fmla="*/ 12 w 30"/>
                <a:gd name="T29" fmla="*/ 68 h 90"/>
                <a:gd name="T30" fmla="*/ 12 w 30"/>
                <a:gd name="T31" fmla="*/ 64 h 90"/>
                <a:gd name="T32" fmla="*/ 12 w 30"/>
                <a:gd name="T33" fmla="*/ 64 h 90"/>
                <a:gd name="T34" fmla="*/ 12 w 30"/>
                <a:gd name="T35" fmla="*/ 52 h 90"/>
                <a:gd name="T36" fmla="*/ 16 w 30"/>
                <a:gd name="T37" fmla="*/ 48 h 90"/>
                <a:gd name="T38" fmla="*/ 12 w 30"/>
                <a:gd name="T39" fmla="*/ 48 h 90"/>
                <a:gd name="T40" fmla="*/ 8 w 30"/>
                <a:gd name="T41" fmla="*/ 42 h 90"/>
                <a:gd name="T42" fmla="*/ 12 w 30"/>
                <a:gd name="T43" fmla="*/ 42 h 90"/>
                <a:gd name="T44" fmla="*/ 12 w 30"/>
                <a:gd name="T45" fmla="*/ 38 h 90"/>
                <a:gd name="T46" fmla="*/ 12 w 30"/>
                <a:gd name="T47" fmla="*/ 30 h 90"/>
                <a:gd name="T48" fmla="*/ 12 w 30"/>
                <a:gd name="T49" fmla="*/ 30 h 90"/>
                <a:gd name="T50" fmla="*/ 8 w 30"/>
                <a:gd name="T51" fmla="*/ 30 h 90"/>
                <a:gd name="T52" fmla="*/ 8 w 30"/>
                <a:gd name="T53" fmla="*/ 26 h 90"/>
                <a:gd name="T54" fmla="*/ 12 w 30"/>
                <a:gd name="T55" fmla="*/ 18 h 90"/>
                <a:gd name="T56" fmla="*/ 8 w 30"/>
                <a:gd name="T57" fmla="*/ 18 h 90"/>
                <a:gd name="T58" fmla="*/ 8 w 30"/>
                <a:gd name="T59" fmla="*/ 16 h 90"/>
                <a:gd name="T60" fmla="*/ 4 w 30"/>
                <a:gd name="T61" fmla="*/ 12 h 90"/>
                <a:gd name="T62" fmla="*/ 4 w 30"/>
                <a:gd name="T63" fmla="*/ 8 h 90"/>
                <a:gd name="T64" fmla="*/ 4 w 30"/>
                <a:gd name="T65" fmla="*/ 4 h 90"/>
                <a:gd name="T66" fmla="*/ 4 w 30"/>
                <a:gd name="T67" fmla="*/ 4 h 90"/>
                <a:gd name="T68" fmla="*/ 4 w 30"/>
                <a:gd name="T69" fmla="*/ 0 h 90"/>
                <a:gd name="T70" fmla="*/ 12 w 30"/>
                <a:gd name="T71" fmla="*/ 4 h 90"/>
                <a:gd name="T72" fmla="*/ 12 w 30"/>
                <a:gd name="T73" fmla="*/ 4 h 90"/>
                <a:gd name="T74" fmla="*/ 16 w 30"/>
                <a:gd name="T75" fmla="*/ 4 h 90"/>
                <a:gd name="T76" fmla="*/ 16 w 30"/>
                <a:gd name="T77" fmla="*/ 8 h 90"/>
                <a:gd name="T78" fmla="*/ 16 w 30"/>
                <a:gd name="T79" fmla="*/ 12 h 90"/>
                <a:gd name="T80" fmla="*/ 16 w 30"/>
                <a:gd name="T81" fmla="*/ 12 h 90"/>
                <a:gd name="T82" fmla="*/ 20 w 30"/>
                <a:gd name="T83" fmla="*/ 18 h 90"/>
                <a:gd name="T84" fmla="*/ 24 w 30"/>
                <a:gd name="T85" fmla="*/ 22 h 90"/>
                <a:gd name="T86" fmla="*/ 24 w 30"/>
                <a:gd name="T87" fmla="*/ 30 h 90"/>
                <a:gd name="T88" fmla="*/ 24 w 30"/>
                <a:gd name="T89" fmla="*/ 30 h 90"/>
                <a:gd name="T90" fmla="*/ 26 w 30"/>
                <a:gd name="T91" fmla="*/ 34 h 90"/>
                <a:gd name="T92" fmla="*/ 26 w 30"/>
                <a:gd name="T93" fmla="*/ 34 h 90"/>
                <a:gd name="T94" fmla="*/ 26 w 30"/>
                <a:gd name="T95" fmla="*/ 42 h 90"/>
                <a:gd name="T96" fmla="*/ 26 w 30"/>
                <a:gd name="T97" fmla="*/ 48 h 90"/>
                <a:gd name="T98" fmla="*/ 26 w 30"/>
                <a:gd name="T99" fmla="*/ 6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" h="90">
                  <a:moveTo>
                    <a:pt x="26" y="64"/>
                  </a:moveTo>
                  <a:lnTo>
                    <a:pt x="26" y="64"/>
                  </a:lnTo>
                  <a:lnTo>
                    <a:pt x="26" y="64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30" y="82"/>
                  </a:lnTo>
                  <a:lnTo>
                    <a:pt x="30" y="82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90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6" y="44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56"/>
                  </a:lnTo>
                  <a:lnTo>
                    <a:pt x="26" y="60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33" name="Freeform 173">
              <a:extLst>
                <a:ext uri="{FF2B5EF4-FFF2-40B4-BE49-F238E27FC236}">
                  <a16:creationId xmlns:a16="http://schemas.microsoft.com/office/drawing/2014/main" id="{AABFB88F-B1E5-7243-7C61-2DFC090234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95745" y="2922932"/>
              <a:ext cx="116893" cy="256429"/>
            </a:xfrm>
            <a:custGeom>
              <a:avLst/>
              <a:gdLst>
                <a:gd name="T0" fmla="*/ 40 w 60"/>
                <a:gd name="T1" fmla="*/ 12 h 136"/>
                <a:gd name="T2" fmla="*/ 44 w 60"/>
                <a:gd name="T3" fmla="*/ 12 h 136"/>
                <a:gd name="T4" fmla="*/ 44 w 60"/>
                <a:gd name="T5" fmla="*/ 8 h 136"/>
                <a:gd name="T6" fmla="*/ 48 w 60"/>
                <a:gd name="T7" fmla="*/ 8 h 136"/>
                <a:gd name="T8" fmla="*/ 48 w 60"/>
                <a:gd name="T9" fmla="*/ 14 h 136"/>
                <a:gd name="T10" fmla="*/ 48 w 60"/>
                <a:gd name="T11" fmla="*/ 18 h 136"/>
                <a:gd name="T12" fmla="*/ 44 w 60"/>
                <a:gd name="T13" fmla="*/ 18 h 136"/>
                <a:gd name="T14" fmla="*/ 44 w 60"/>
                <a:gd name="T15" fmla="*/ 30 h 136"/>
                <a:gd name="T16" fmla="*/ 48 w 60"/>
                <a:gd name="T17" fmla="*/ 34 h 136"/>
                <a:gd name="T18" fmla="*/ 52 w 60"/>
                <a:gd name="T19" fmla="*/ 34 h 136"/>
                <a:gd name="T20" fmla="*/ 52 w 60"/>
                <a:gd name="T21" fmla="*/ 42 h 136"/>
                <a:gd name="T22" fmla="*/ 48 w 60"/>
                <a:gd name="T23" fmla="*/ 52 h 136"/>
                <a:gd name="T24" fmla="*/ 44 w 60"/>
                <a:gd name="T25" fmla="*/ 56 h 136"/>
                <a:gd name="T26" fmla="*/ 38 w 60"/>
                <a:gd name="T27" fmla="*/ 60 h 136"/>
                <a:gd name="T28" fmla="*/ 38 w 60"/>
                <a:gd name="T29" fmla="*/ 64 h 136"/>
                <a:gd name="T30" fmla="*/ 40 w 60"/>
                <a:gd name="T31" fmla="*/ 72 h 136"/>
                <a:gd name="T32" fmla="*/ 44 w 60"/>
                <a:gd name="T33" fmla="*/ 72 h 136"/>
                <a:gd name="T34" fmla="*/ 48 w 60"/>
                <a:gd name="T35" fmla="*/ 74 h 136"/>
                <a:gd name="T36" fmla="*/ 52 w 60"/>
                <a:gd name="T37" fmla="*/ 72 h 136"/>
                <a:gd name="T38" fmla="*/ 52 w 60"/>
                <a:gd name="T39" fmla="*/ 74 h 136"/>
                <a:gd name="T40" fmla="*/ 56 w 60"/>
                <a:gd name="T41" fmla="*/ 78 h 136"/>
                <a:gd name="T42" fmla="*/ 60 w 60"/>
                <a:gd name="T43" fmla="*/ 82 h 136"/>
                <a:gd name="T44" fmla="*/ 60 w 60"/>
                <a:gd name="T45" fmla="*/ 90 h 136"/>
                <a:gd name="T46" fmla="*/ 60 w 60"/>
                <a:gd name="T47" fmla="*/ 94 h 136"/>
                <a:gd name="T48" fmla="*/ 48 w 60"/>
                <a:gd name="T49" fmla="*/ 102 h 136"/>
                <a:gd name="T50" fmla="*/ 44 w 60"/>
                <a:gd name="T51" fmla="*/ 106 h 136"/>
                <a:gd name="T52" fmla="*/ 38 w 60"/>
                <a:gd name="T53" fmla="*/ 108 h 136"/>
                <a:gd name="T54" fmla="*/ 40 w 60"/>
                <a:gd name="T55" fmla="*/ 124 h 136"/>
                <a:gd name="T56" fmla="*/ 34 w 60"/>
                <a:gd name="T57" fmla="*/ 132 h 136"/>
                <a:gd name="T58" fmla="*/ 30 w 60"/>
                <a:gd name="T59" fmla="*/ 124 h 136"/>
                <a:gd name="T60" fmla="*/ 22 w 60"/>
                <a:gd name="T61" fmla="*/ 102 h 136"/>
                <a:gd name="T62" fmla="*/ 14 w 60"/>
                <a:gd name="T63" fmla="*/ 90 h 136"/>
                <a:gd name="T64" fmla="*/ 10 w 60"/>
                <a:gd name="T65" fmla="*/ 82 h 136"/>
                <a:gd name="T66" fmla="*/ 4 w 60"/>
                <a:gd name="T67" fmla="*/ 78 h 136"/>
                <a:gd name="T68" fmla="*/ 4 w 60"/>
                <a:gd name="T69" fmla="*/ 68 h 136"/>
                <a:gd name="T70" fmla="*/ 4 w 60"/>
                <a:gd name="T71" fmla="*/ 64 h 136"/>
                <a:gd name="T72" fmla="*/ 4 w 60"/>
                <a:gd name="T73" fmla="*/ 60 h 136"/>
                <a:gd name="T74" fmla="*/ 10 w 60"/>
                <a:gd name="T75" fmla="*/ 52 h 136"/>
                <a:gd name="T76" fmla="*/ 10 w 60"/>
                <a:gd name="T77" fmla="*/ 48 h 136"/>
                <a:gd name="T78" fmla="*/ 14 w 60"/>
                <a:gd name="T79" fmla="*/ 42 h 136"/>
                <a:gd name="T80" fmla="*/ 14 w 60"/>
                <a:gd name="T81" fmla="*/ 34 h 136"/>
                <a:gd name="T82" fmla="*/ 10 w 60"/>
                <a:gd name="T83" fmla="*/ 30 h 136"/>
                <a:gd name="T84" fmla="*/ 14 w 60"/>
                <a:gd name="T85" fmla="*/ 22 h 136"/>
                <a:gd name="T86" fmla="*/ 10 w 60"/>
                <a:gd name="T87" fmla="*/ 14 h 136"/>
                <a:gd name="T88" fmla="*/ 10 w 60"/>
                <a:gd name="T89" fmla="*/ 14 h 136"/>
                <a:gd name="T90" fmla="*/ 18 w 60"/>
                <a:gd name="T91" fmla="*/ 8 h 136"/>
                <a:gd name="T92" fmla="*/ 22 w 60"/>
                <a:gd name="T93" fmla="*/ 8 h 136"/>
                <a:gd name="T94" fmla="*/ 22 w 60"/>
                <a:gd name="T95" fmla="*/ 4 h 136"/>
                <a:gd name="T96" fmla="*/ 34 w 60"/>
                <a:gd name="T97" fmla="*/ 0 h 136"/>
                <a:gd name="T98" fmla="*/ 34 w 60"/>
                <a:gd name="T99" fmla="*/ 4 h 136"/>
                <a:gd name="T100" fmla="*/ 40 w 60"/>
                <a:gd name="T101" fmla="*/ 4 h 136"/>
                <a:gd name="T102" fmla="*/ 40 w 60"/>
                <a:gd name="T103" fmla="*/ 8 h 136"/>
                <a:gd name="T104" fmla="*/ 52 w 60"/>
                <a:gd name="T105" fmla="*/ 52 h 136"/>
                <a:gd name="T106" fmla="*/ 56 w 60"/>
                <a:gd name="T107" fmla="*/ 48 h 136"/>
                <a:gd name="T108" fmla="*/ 52 w 60"/>
                <a:gd name="T109" fmla="*/ 52 h 136"/>
                <a:gd name="T110" fmla="*/ 48 w 60"/>
                <a:gd name="T111" fmla="*/ 68 h 136"/>
                <a:gd name="T112" fmla="*/ 48 w 60"/>
                <a:gd name="T113" fmla="*/ 68 h 136"/>
                <a:gd name="T114" fmla="*/ 48 w 60"/>
                <a:gd name="T115" fmla="*/ 68 h 136"/>
                <a:gd name="T116" fmla="*/ 52 w 60"/>
                <a:gd name="T117" fmla="*/ 68 h 136"/>
                <a:gd name="T118" fmla="*/ 48 w 60"/>
                <a:gd name="T119" fmla="*/ 7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0" h="136">
                  <a:moveTo>
                    <a:pt x="40" y="8"/>
                  </a:move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8" y="56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6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60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48" y="98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8" y="102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38" y="108"/>
                  </a:lnTo>
                  <a:lnTo>
                    <a:pt x="38" y="112"/>
                  </a:lnTo>
                  <a:lnTo>
                    <a:pt x="40" y="112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0" y="120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38" y="128"/>
                  </a:lnTo>
                  <a:lnTo>
                    <a:pt x="38" y="132"/>
                  </a:lnTo>
                  <a:lnTo>
                    <a:pt x="38" y="132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0" y="136"/>
                  </a:lnTo>
                  <a:lnTo>
                    <a:pt x="30" y="136"/>
                  </a:lnTo>
                  <a:lnTo>
                    <a:pt x="30" y="132"/>
                  </a:lnTo>
                  <a:lnTo>
                    <a:pt x="30" y="128"/>
                  </a:lnTo>
                  <a:lnTo>
                    <a:pt x="30" y="128"/>
                  </a:lnTo>
                  <a:lnTo>
                    <a:pt x="30" y="124"/>
                  </a:lnTo>
                  <a:lnTo>
                    <a:pt x="26" y="120"/>
                  </a:lnTo>
                  <a:lnTo>
                    <a:pt x="26" y="116"/>
                  </a:lnTo>
                  <a:lnTo>
                    <a:pt x="26" y="108"/>
                  </a:lnTo>
                  <a:lnTo>
                    <a:pt x="26" y="108"/>
                  </a:lnTo>
                  <a:lnTo>
                    <a:pt x="26" y="102"/>
                  </a:lnTo>
                  <a:lnTo>
                    <a:pt x="22" y="102"/>
                  </a:lnTo>
                  <a:lnTo>
                    <a:pt x="22" y="102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18" y="94"/>
                  </a:lnTo>
                  <a:lnTo>
                    <a:pt x="14" y="94"/>
                  </a:lnTo>
                  <a:lnTo>
                    <a:pt x="14" y="94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0" y="86"/>
                  </a:lnTo>
                  <a:lnTo>
                    <a:pt x="10" y="82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6" y="78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6" y="60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4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0" y="14"/>
                  </a:lnTo>
                  <a:lnTo>
                    <a:pt x="10" y="18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8" y="12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30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4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close/>
                  <a:moveTo>
                    <a:pt x="52" y="52"/>
                  </a:moveTo>
                  <a:lnTo>
                    <a:pt x="52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close/>
                  <a:moveTo>
                    <a:pt x="48" y="72"/>
                  </a:moveTo>
                  <a:lnTo>
                    <a:pt x="48" y="72"/>
                  </a:lnTo>
                  <a:lnTo>
                    <a:pt x="48" y="72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34" name="Freeform 174">
              <a:extLst>
                <a:ext uri="{FF2B5EF4-FFF2-40B4-BE49-F238E27FC236}">
                  <a16:creationId xmlns:a16="http://schemas.microsoft.com/office/drawing/2014/main" id="{EA3E4409-5F9B-6237-DE62-15E62CC4D5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3589" y="4035381"/>
              <a:ext cx="155858" cy="184780"/>
            </a:xfrm>
            <a:custGeom>
              <a:avLst/>
              <a:gdLst>
                <a:gd name="T0" fmla="*/ 42 w 80"/>
                <a:gd name="T1" fmla="*/ 90 h 98"/>
                <a:gd name="T2" fmla="*/ 22 w 80"/>
                <a:gd name="T3" fmla="*/ 90 h 98"/>
                <a:gd name="T4" fmla="*/ 16 w 80"/>
                <a:gd name="T5" fmla="*/ 90 h 98"/>
                <a:gd name="T6" fmla="*/ 12 w 80"/>
                <a:gd name="T7" fmla="*/ 94 h 98"/>
                <a:gd name="T8" fmla="*/ 8 w 80"/>
                <a:gd name="T9" fmla="*/ 98 h 98"/>
                <a:gd name="T10" fmla="*/ 4 w 80"/>
                <a:gd name="T11" fmla="*/ 98 h 98"/>
                <a:gd name="T12" fmla="*/ 4 w 80"/>
                <a:gd name="T13" fmla="*/ 98 h 98"/>
                <a:gd name="T14" fmla="*/ 0 w 80"/>
                <a:gd name="T15" fmla="*/ 98 h 98"/>
                <a:gd name="T16" fmla="*/ 0 w 80"/>
                <a:gd name="T17" fmla="*/ 90 h 98"/>
                <a:gd name="T18" fmla="*/ 4 w 80"/>
                <a:gd name="T19" fmla="*/ 82 h 98"/>
                <a:gd name="T20" fmla="*/ 4 w 80"/>
                <a:gd name="T21" fmla="*/ 74 h 98"/>
                <a:gd name="T22" fmla="*/ 4 w 80"/>
                <a:gd name="T23" fmla="*/ 70 h 98"/>
                <a:gd name="T24" fmla="*/ 8 w 80"/>
                <a:gd name="T25" fmla="*/ 64 h 98"/>
                <a:gd name="T26" fmla="*/ 8 w 80"/>
                <a:gd name="T27" fmla="*/ 60 h 98"/>
                <a:gd name="T28" fmla="*/ 8 w 80"/>
                <a:gd name="T29" fmla="*/ 56 h 98"/>
                <a:gd name="T30" fmla="*/ 12 w 80"/>
                <a:gd name="T31" fmla="*/ 52 h 98"/>
                <a:gd name="T32" fmla="*/ 16 w 80"/>
                <a:gd name="T33" fmla="*/ 52 h 98"/>
                <a:gd name="T34" fmla="*/ 22 w 80"/>
                <a:gd name="T35" fmla="*/ 40 h 98"/>
                <a:gd name="T36" fmla="*/ 22 w 80"/>
                <a:gd name="T37" fmla="*/ 34 h 98"/>
                <a:gd name="T38" fmla="*/ 20 w 80"/>
                <a:gd name="T39" fmla="*/ 34 h 98"/>
                <a:gd name="T40" fmla="*/ 20 w 80"/>
                <a:gd name="T41" fmla="*/ 30 h 98"/>
                <a:gd name="T42" fmla="*/ 20 w 80"/>
                <a:gd name="T43" fmla="*/ 22 h 98"/>
                <a:gd name="T44" fmla="*/ 20 w 80"/>
                <a:gd name="T45" fmla="*/ 18 h 98"/>
                <a:gd name="T46" fmla="*/ 20 w 80"/>
                <a:gd name="T47" fmla="*/ 10 h 98"/>
                <a:gd name="T48" fmla="*/ 20 w 80"/>
                <a:gd name="T49" fmla="*/ 10 h 98"/>
                <a:gd name="T50" fmla="*/ 26 w 80"/>
                <a:gd name="T51" fmla="*/ 6 h 98"/>
                <a:gd name="T52" fmla="*/ 34 w 80"/>
                <a:gd name="T53" fmla="*/ 6 h 98"/>
                <a:gd name="T54" fmla="*/ 34 w 80"/>
                <a:gd name="T55" fmla="*/ 10 h 98"/>
                <a:gd name="T56" fmla="*/ 38 w 80"/>
                <a:gd name="T57" fmla="*/ 10 h 98"/>
                <a:gd name="T58" fmla="*/ 42 w 80"/>
                <a:gd name="T59" fmla="*/ 6 h 98"/>
                <a:gd name="T60" fmla="*/ 46 w 80"/>
                <a:gd name="T61" fmla="*/ 6 h 98"/>
                <a:gd name="T62" fmla="*/ 50 w 80"/>
                <a:gd name="T63" fmla="*/ 6 h 98"/>
                <a:gd name="T64" fmla="*/ 56 w 80"/>
                <a:gd name="T65" fmla="*/ 6 h 98"/>
                <a:gd name="T66" fmla="*/ 64 w 80"/>
                <a:gd name="T67" fmla="*/ 0 h 98"/>
                <a:gd name="T68" fmla="*/ 68 w 80"/>
                <a:gd name="T69" fmla="*/ 6 h 98"/>
                <a:gd name="T70" fmla="*/ 72 w 80"/>
                <a:gd name="T71" fmla="*/ 10 h 98"/>
                <a:gd name="T72" fmla="*/ 72 w 80"/>
                <a:gd name="T73" fmla="*/ 18 h 98"/>
                <a:gd name="T74" fmla="*/ 76 w 80"/>
                <a:gd name="T75" fmla="*/ 22 h 98"/>
                <a:gd name="T76" fmla="*/ 76 w 80"/>
                <a:gd name="T77" fmla="*/ 26 h 98"/>
                <a:gd name="T78" fmla="*/ 76 w 80"/>
                <a:gd name="T79" fmla="*/ 34 h 98"/>
                <a:gd name="T80" fmla="*/ 80 w 80"/>
                <a:gd name="T81" fmla="*/ 40 h 98"/>
                <a:gd name="T82" fmla="*/ 76 w 80"/>
                <a:gd name="T83" fmla="*/ 44 h 98"/>
                <a:gd name="T84" fmla="*/ 76 w 80"/>
                <a:gd name="T85" fmla="*/ 48 h 98"/>
                <a:gd name="T86" fmla="*/ 76 w 80"/>
                <a:gd name="T87" fmla="*/ 52 h 98"/>
                <a:gd name="T88" fmla="*/ 76 w 80"/>
                <a:gd name="T89" fmla="*/ 52 h 98"/>
                <a:gd name="T90" fmla="*/ 72 w 80"/>
                <a:gd name="T91" fmla="*/ 56 h 98"/>
                <a:gd name="T92" fmla="*/ 72 w 80"/>
                <a:gd name="T93" fmla="*/ 60 h 98"/>
                <a:gd name="T94" fmla="*/ 64 w 80"/>
                <a:gd name="T95" fmla="*/ 66 h 98"/>
                <a:gd name="T96" fmla="*/ 64 w 80"/>
                <a:gd name="T97" fmla="*/ 70 h 98"/>
                <a:gd name="T98" fmla="*/ 64 w 80"/>
                <a:gd name="T99" fmla="*/ 78 h 98"/>
                <a:gd name="T100" fmla="*/ 56 w 80"/>
                <a:gd name="T101" fmla="*/ 90 h 98"/>
                <a:gd name="T102" fmla="*/ 52 w 80"/>
                <a:gd name="T103" fmla="*/ 9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0" h="98">
                  <a:moveTo>
                    <a:pt x="50" y="90"/>
                  </a:moveTo>
                  <a:lnTo>
                    <a:pt x="46" y="90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2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2" y="90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8"/>
                  </a:lnTo>
                  <a:lnTo>
                    <a:pt x="8" y="98"/>
                  </a:lnTo>
                  <a:lnTo>
                    <a:pt x="8" y="98"/>
                  </a:lnTo>
                  <a:lnTo>
                    <a:pt x="8" y="98"/>
                  </a:lnTo>
                  <a:lnTo>
                    <a:pt x="8" y="98"/>
                  </a:lnTo>
                  <a:lnTo>
                    <a:pt x="8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4" y="78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8" y="66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20" y="44"/>
                  </a:lnTo>
                  <a:lnTo>
                    <a:pt x="22" y="40"/>
                  </a:lnTo>
                  <a:lnTo>
                    <a:pt x="22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2" y="10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10"/>
                  </a:lnTo>
                  <a:lnTo>
                    <a:pt x="30" y="1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2"/>
                  </a:lnTo>
                  <a:lnTo>
                    <a:pt x="68" y="2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22"/>
                  </a:lnTo>
                  <a:lnTo>
                    <a:pt x="72" y="22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76" y="26"/>
                  </a:lnTo>
                  <a:lnTo>
                    <a:pt x="76" y="26"/>
                  </a:lnTo>
                  <a:lnTo>
                    <a:pt x="76" y="26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4" y="74"/>
                  </a:lnTo>
                  <a:lnTo>
                    <a:pt x="64" y="74"/>
                  </a:lnTo>
                  <a:lnTo>
                    <a:pt x="64" y="74"/>
                  </a:lnTo>
                  <a:lnTo>
                    <a:pt x="64" y="78"/>
                  </a:lnTo>
                  <a:lnTo>
                    <a:pt x="64" y="82"/>
                  </a:lnTo>
                  <a:lnTo>
                    <a:pt x="64" y="90"/>
                  </a:lnTo>
                  <a:lnTo>
                    <a:pt x="64" y="90"/>
                  </a:lnTo>
                  <a:lnTo>
                    <a:pt x="64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50" y="9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35" name="Freeform 175">
              <a:extLst>
                <a:ext uri="{FF2B5EF4-FFF2-40B4-BE49-F238E27FC236}">
                  <a16:creationId xmlns:a16="http://schemas.microsoft.com/office/drawing/2014/main" id="{89B6214A-A416-EB22-C714-CCCD872620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7764" y="3262324"/>
              <a:ext cx="233786" cy="233803"/>
            </a:xfrm>
            <a:custGeom>
              <a:avLst/>
              <a:gdLst>
                <a:gd name="T0" fmla="*/ 0 w 120"/>
                <a:gd name="T1" fmla="*/ 120 h 124"/>
                <a:gd name="T2" fmla="*/ 0 w 120"/>
                <a:gd name="T3" fmla="*/ 112 h 124"/>
                <a:gd name="T4" fmla="*/ 4 w 120"/>
                <a:gd name="T5" fmla="*/ 108 h 124"/>
                <a:gd name="T6" fmla="*/ 4 w 120"/>
                <a:gd name="T7" fmla="*/ 104 h 124"/>
                <a:gd name="T8" fmla="*/ 8 w 120"/>
                <a:gd name="T9" fmla="*/ 96 h 124"/>
                <a:gd name="T10" fmla="*/ 12 w 120"/>
                <a:gd name="T11" fmla="*/ 96 h 124"/>
                <a:gd name="T12" fmla="*/ 12 w 120"/>
                <a:gd name="T13" fmla="*/ 94 h 124"/>
                <a:gd name="T14" fmla="*/ 12 w 120"/>
                <a:gd name="T15" fmla="*/ 90 h 124"/>
                <a:gd name="T16" fmla="*/ 16 w 120"/>
                <a:gd name="T17" fmla="*/ 86 h 124"/>
                <a:gd name="T18" fmla="*/ 16 w 120"/>
                <a:gd name="T19" fmla="*/ 82 h 124"/>
                <a:gd name="T20" fmla="*/ 16 w 120"/>
                <a:gd name="T21" fmla="*/ 78 h 124"/>
                <a:gd name="T22" fmla="*/ 16 w 120"/>
                <a:gd name="T23" fmla="*/ 78 h 124"/>
                <a:gd name="T24" fmla="*/ 20 w 120"/>
                <a:gd name="T25" fmla="*/ 74 h 124"/>
                <a:gd name="T26" fmla="*/ 20 w 120"/>
                <a:gd name="T27" fmla="*/ 70 h 124"/>
                <a:gd name="T28" fmla="*/ 20 w 120"/>
                <a:gd name="T29" fmla="*/ 70 h 124"/>
                <a:gd name="T30" fmla="*/ 20 w 120"/>
                <a:gd name="T31" fmla="*/ 70 h 124"/>
                <a:gd name="T32" fmla="*/ 20 w 120"/>
                <a:gd name="T33" fmla="*/ 66 h 124"/>
                <a:gd name="T34" fmla="*/ 28 w 120"/>
                <a:gd name="T35" fmla="*/ 64 h 124"/>
                <a:gd name="T36" fmla="*/ 28 w 120"/>
                <a:gd name="T37" fmla="*/ 60 h 124"/>
                <a:gd name="T38" fmla="*/ 30 w 120"/>
                <a:gd name="T39" fmla="*/ 56 h 124"/>
                <a:gd name="T40" fmla="*/ 34 w 120"/>
                <a:gd name="T41" fmla="*/ 52 h 124"/>
                <a:gd name="T42" fmla="*/ 34 w 120"/>
                <a:gd name="T43" fmla="*/ 48 h 124"/>
                <a:gd name="T44" fmla="*/ 34 w 120"/>
                <a:gd name="T45" fmla="*/ 40 h 124"/>
                <a:gd name="T46" fmla="*/ 34 w 120"/>
                <a:gd name="T47" fmla="*/ 34 h 124"/>
                <a:gd name="T48" fmla="*/ 38 w 120"/>
                <a:gd name="T49" fmla="*/ 34 h 124"/>
                <a:gd name="T50" fmla="*/ 38 w 120"/>
                <a:gd name="T51" fmla="*/ 30 h 124"/>
                <a:gd name="T52" fmla="*/ 38 w 120"/>
                <a:gd name="T53" fmla="*/ 30 h 124"/>
                <a:gd name="T54" fmla="*/ 42 w 120"/>
                <a:gd name="T55" fmla="*/ 26 h 124"/>
                <a:gd name="T56" fmla="*/ 42 w 120"/>
                <a:gd name="T57" fmla="*/ 26 h 124"/>
                <a:gd name="T58" fmla="*/ 46 w 120"/>
                <a:gd name="T59" fmla="*/ 22 h 124"/>
                <a:gd name="T60" fmla="*/ 50 w 120"/>
                <a:gd name="T61" fmla="*/ 18 h 124"/>
                <a:gd name="T62" fmla="*/ 54 w 120"/>
                <a:gd name="T63" fmla="*/ 14 h 124"/>
                <a:gd name="T64" fmla="*/ 54 w 120"/>
                <a:gd name="T65" fmla="*/ 10 h 124"/>
                <a:gd name="T66" fmla="*/ 54 w 120"/>
                <a:gd name="T67" fmla="*/ 6 h 124"/>
                <a:gd name="T68" fmla="*/ 58 w 120"/>
                <a:gd name="T69" fmla="*/ 4 h 124"/>
                <a:gd name="T70" fmla="*/ 58 w 120"/>
                <a:gd name="T71" fmla="*/ 0 h 124"/>
                <a:gd name="T72" fmla="*/ 102 w 120"/>
                <a:gd name="T73" fmla="*/ 0 h 124"/>
                <a:gd name="T74" fmla="*/ 106 w 120"/>
                <a:gd name="T75" fmla="*/ 0 h 124"/>
                <a:gd name="T76" fmla="*/ 120 w 120"/>
                <a:gd name="T77" fmla="*/ 0 h 124"/>
                <a:gd name="T78" fmla="*/ 120 w 120"/>
                <a:gd name="T79" fmla="*/ 14 h 124"/>
                <a:gd name="T80" fmla="*/ 120 w 120"/>
                <a:gd name="T81" fmla="*/ 30 h 124"/>
                <a:gd name="T82" fmla="*/ 106 w 120"/>
                <a:gd name="T83" fmla="*/ 30 h 124"/>
                <a:gd name="T84" fmla="*/ 102 w 120"/>
                <a:gd name="T85" fmla="*/ 30 h 124"/>
                <a:gd name="T86" fmla="*/ 84 w 120"/>
                <a:gd name="T87" fmla="*/ 30 h 124"/>
                <a:gd name="T88" fmla="*/ 72 w 120"/>
                <a:gd name="T89" fmla="*/ 36 h 124"/>
                <a:gd name="T90" fmla="*/ 72 w 120"/>
                <a:gd name="T91" fmla="*/ 44 h 124"/>
                <a:gd name="T92" fmla="*/ 72 w 120"/>
                <a:gd name="T93" fmla="*/ 60 h 124"/>
                <a:gd name="T94" fmla="*/ 72 w 120"/>
                <a:gd name="T95" fmla="*/ 78 h 124"/>
                <a:gd name="T96" fmla="*/ 64 w 120"/>
                <a:gd name="T97" fmla="*/ 78 h 124"/>
                <a:gd name="T98" fmla="*/ 60 w 120"/>
                <a:gd name="T99" fmla="*/ 86 h 124"/>
                <a:gd name="T100" fmla="*/ 58 w 120"/>
                <a:gd name="T101" fmla="*/ 90 h 124"/>
                <a:gd name="T102" fmla="*/ 58 w 120"/>
                <a:gd name="T103" fmla="*/ 96 h 124"/>
                <a:gd name="T104" fmla="*/ 60 w 120"/>
                <a:gd name="T105" fmla="*/ 104 h 124"/>
                <a:gd name="T106" fmla="*/ 46 w 120"/>
                <a:gd name="T107" fmla="*/ 116 h 124"/>
                <a:gd name="T108" fmla="*/ 34 w 120"/>
                <a:gd name="T109" fmla="*/ 116 h 124"/>
                <a:gd name="T110" fmla="*/ 20 w 120"/>
                <a:gd name="T111" fmla="*/ 116 h 124"/>
                <a:gd name="T112" fmla="*/ 4 w 120"/>
                <a:gd name="T113" fmla="*/ 116 h 124"/>
                <a:gd name="T114" fmla="*/ 0 w 120"/>
                <a:gd name="T115" fmla="*/ 120 h 124"/>
                <a:gd name="T116" fmla="*/ 0 w 120"/>
                <a:gd name="T11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0" h="124">
                  <a:moveTo>
                    <a:pt x="0" y="124"/>
                  </a:moveTo>
                  <a:lnTo>
                    <a:pt x="0" y="124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66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16" y="74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4" y="66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4" y="52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4" y="18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8" y="6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60" y="0"/>
                  </a:lnTo>
                  <a:lnTo>
                    <a:pt x="98" y="0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20" y="0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6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20" y="22"/>
                  </a:lnTo>
                  <a:lnTo>
                    <a:pt x="120" y="30"/>
                  </a:lnTo>
                  <a:lnTo>
                    <a:pt x="120" y="30"/>
                  </a:lnTo>
                  <a:lnTo>
                    <a:pt x="120" y="30"/>
                  </a:lnTo>
                  <a:lnTo>
                    <a:pt x="110" y="30"/>
                  </a:lnTo>
                  <a:lnTo>
                    <a:pt x="110" y="30"/>
                  </a:lnTo>
                  <a:lnTo>
                    <a:pt x="106" y="30"/>
                  </a:lnTo>
                  <a:lnTo>
                    <a:pt x="106" y="30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94" y="30"/>
                  </a:lnTo>
                  <a:lnTo>
                    <a:pt x="90" y="30"/>
                  </a:lnTo>
                  <a:lnTo>
                    <a:pt x="84" y="30"/>
                  </a:lnTo>
                  <a:lnTo>
                    <a:pt x="80" y="30"/>
                  </a:lnTo>
                  <a:lnTo>
                    <a:pt x="72" y="30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6"/>
                  </a:lnTo>
                  <a:lnTo>
                    <a:pt x="72" y="70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68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0" y="86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100"/>
                  </a:lnTo>
                  <a:lnTo>
                    <a:pt x="58" y="100"/>
                  </a:lnTo>
                  <a:lnTo>
                    <a:pt x="60" y="104"/>
                  </a:lnTo>
                  <a:lnTo>
                    <a:pt x="60" y="112"/>
                  </a:lnTo>
                  <a:lnTo>
                    <a:pt x="60" y="116"/>
                  </a:lnTo>
                  <a:lnTo>
                    <a:pt x="54" y="116"/>
                  </a:lnTo>
                  <a:lnTo>
                    <a:pt x="46" y="116"/>
                  </a:lnTo>
                  <a:lnTo>
                    <a:pt x="42" y="116"/>
                  </a:lnTo>
                  <a:lnTo>
                    <a:pt x="42" y="116"/>
                  </a:lnTo>
                  <a:lnTo>
                    <a:pt x="38" y="116"/>
                  </a:lnTo>
                  <a:lnTo>
                    <a:pt x="34" y="116"/>
                  </a:lnTo>
                  <a:lnTo>
                    <a:pt x="30" y="116"/>
                  </a:lnTo>
                  <a:lnTo>
                    <a:pt x="28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8" y="116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20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close/>
                </a:path>
              </a:pathLst>
            </a:custGeom>
            <a:solidFill>
              <a:srgbClr val="008BE5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36" name="Freeform 176">
              <a:extLst>
                <a:ext uri="{FF2B5EF4-FFF2-40B4-BE49-F238E27FC236}">
                  <a16:creationId xmlns:a16="http://schemas.microsoft.com/office/drawing/2014/main" id="{477C9A7D-66A6-48E9-1E3C-3EB7C89520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3181" y="4435109"/>
              <a:ext cx="327301" cy="324307"/>
            </a:xfrm>
            <a:custGeom>
              <a:avLst/>
              <a:gdLst>
                <a:gd name="T0" fmla="*/ 120 w 168"/>
                <a:gd name="T1" fmla="*/ 130 h 172"/>
                <a:gd name="T2" fmla="*/ 108 w 168"/>
                <a:gd name="T3" fmla="*/ 130 h 172"/>
                <a:gd name="T4" fmla="*/ 98 w 168"/>
                <a:gd name="T5" fmla="*/ 138 h 172"/>
                <a:gd name="T6" fmla="*/ 90 w 168"/>
                <a:gd name="T7" fmla="*/ 148 h 172"/>
                <a:gd name="T8" fmla="*/ 84 w 168"/>
                <a:gd name="T9" fmla="*/ 160 h 172"/>
                <a:gd name="T10" fmla="*/ 72 w 168"/>
                <a:gd name="T11" fmla="*/ 168 h 172"/>
                <a:gd name="T12" fmla="*/ 60 w 168"/>
                <a:gd name="T13" fmla="*/ 168 h 172"/>
                <a:gd name="T14" fmla="*/ 54 w 168"/>
                <a:gd name="T15" fmla="*/ 168 h 172"/>
                <a:gd name="T16" fmla="*/ 42 w 168"/>
                <a:gd name="T17" fmla="*/ 160 h 172"/>
                <a:gd name="T18" fmla="*/ 28 w 168"/>
                <a:gd name="T19" fmla="*/ 164 h 172"/>
                <a:gd name="T20" fmla="*/ 8 w 168"/>
                <a:gd name="T21" fmla="*/ 148 h 172"/>
                <a:gd name="T22" fmla="*/ 4 w 168"/>
                <a:gd name="T23" fmla="*/ 138 h 172"/>
                <a:gd name="T24" fmla="*/ 0 w 168"/>
                <a:gd name="T25" fmla="*/ 116 h 172"/>
                <a:gd name="T26" fmla="*/ 0 w 168"/>
                <a:gd name="T27" fmla="*/ 96 h 172"/>
                <a:gd name="T28" fmla="*/ 16 w 168"/>
                <a:gd name="T29" fmla="*/ 82 h 172"/>
                <a:gd name="T30" fmla="*/ 30 w 168"/>
                <a:gd name="T31" fmla="*/ 82 h 172"/>
                <a:gd name="T32" fmla="*/ 30 w 168"/>
                <a:gd name="T33" fmla="*/ 62 h 172"/>
                <a:gd name="T34" fmla="*/ 30 w 168"/>
                <a:gd name="T35" fmla="*/ 48 h 172"/>
                <a:gd name="T36" fmla="*/ 38 w 168"/>
                <a:gd name="T37" fmla="*/ 48 h 172"/>
                <a:gd name="T38" fmla="*/ 42 w 168"/>
                <a:gd name="T39" fmla="*/ 56 h 172"/>
                <a:gd name="T40" fmla="*/ 50 w 168"/>
                <a:gd name="T41" fmla="*/ 60 h 172"/>
                <a:gd name="T42" fmla="*/ 64 w 168"/>
                <a:gd name="T43" fmla="*/ 62 h 172"/>
                <a:gd name="T44" fmla="*/ 76 w 168"/>
                <a:gd name="T45" fmla="*/ 60 h 172"/>
                <a:gd name="T46" fmla="*/ 84 w 168"/>
                <a:gd name="T47" fmla="*/ 70 h 172"/>
                <a:gd name="T48" fmla="*/ 94 w 168"/>
                <a:gd name="T49" fmla="*/ 78 h 172"/>
                <a:gd name="T50" fmla="*/ 102 w 168"/>
                <a:gd name="T51" fmla="*/ 90 h 172"/>
                <a:gd name="T52" fmla="*/ 112 w 168"/>
                <a:gd name="T53" fmla="*/ 90 h 172"/>
                <a:gd name="T54" fmla="*/ 112 w 168"/>
                <a:gd name="T55" fmla="*/ 78 h 172"/>
                <a:gd name="T56" fmla="*/ 108 w 168"/>
                <a:gd name="T57" fmla="*/ 70 h 172"/>
                <a:gd name="T58" fmla="*/ 98 w 168"/>
                <a:gd name="T59" fmla="*/ 66 h 172"/>
                <a:gd name="T60" fmla="*/ 94 w 168"/>
                <a:gd name="T61" fmla="*/ 56 h 172"/>
                <a:gd name="T62" fmla="*/ 98 w 168"/>
                <a:gd name="T63" fmla="*/ 44 h 172"/>
                <a:gd name="T64" fmla="*/ 98 w 168"/>
                <a:gd name="T65" fmla="*/ 30 h 172"/>
                <a:gd name="T66" fmla="*/ 98 w 168"/>
                <a:gd name="T67" fmla="*/ 14 h 172"/>
                <a:gd name="T68" fmla="*/ 102 w 168"/>
                <a:gd name="T69" fmla="*/ 4 h 172"/>
                <a:gd name="T70" fmla="*/ 120 w 168"/>
                <a:gd name="T71" fmla="*/ 0 h 172"/>
                <a:gd name="T72" fmla="*/ 128 w 168"/>
                <a:gd name="T73" fmla="*/ 6 h 172"/>
                <a:gd name="T74" fmla="*/ 142 w 168"/>
                <a:gd name="T75" fmla="*/ 10 h 172"/>
                <a:gd name="T76" fmla="*/ 150 w 168"/>
                <a:gd name="T77" fmla="*/ 18 h 172"/>
                <a:gd name="T78" fmla="*/ 162 w 168"/>
                <a:gd name="T79" fmla="*/ 26 h 172"/>
                <a:gd name="T80" fmla="*/ 162 w 168"/>
                <a:gd name="T81" fmla="*/ 32 h 172"/>
                <a:gd name="T82" fmla="*/ 166 w 168"/>
                <a:gd name="T83" fmla="*/ 44 h 172"/>
                <a:gd name="T84" fmla="*/ 166 w 168"/>
                <a:gd name="T85" fmla="*/ 52 h 172"/>
                <a:gd name="T86" fmla="*/ 162 w 168"/>
                <a:gd name="T87" fmla="*/ 66 h 172"/>
                <a:gd name="T88" fmla="*/ 158 w 168"/>
                <a:gd name="T89" fmla="*/ 74 h 172"/>
                <a:gd name="T90" fmla="*/ 158 w 168"/>
                <a:gd name="T91" fmla="*/ 90 h 172"/>
                <a:gd name="T92" fmla="*/ 158 w 168"/>
                <a:gd name="T93" fmla="*/ 100 h 172"/>
                <a:gd name="T94" fmla="*/ 146 w 168"/>
                <a:gd name="T95" fmla="*/ 108 h 172"/>
                <a:gd name="T96" fmla="*/ 136 w 168"/>
                <a:gd name="T97" fmla="*/ 112 h 172"/>
                <a:gd name="T98" fmla="*/ 124 w 168"/>
                <a:gd name="T99" fmla="*/ 116 h 172"/>
                <a:gd name="T100" fmla="*/ 120 w 168"/>
                <a:gd name="T101" fmla="*/ 118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8" h="172">
                  <a:moveTo>
                    <a:pt x="120" y="118"/>
                  </a:moveTo>
                  <a:lnTo>
                    <a:pt x="120" y="122"/>
                  </a:lnTo>
                  <a:lnTo>
                    <a:pt x="120" y="126"/>
                  </a:lnTo>
                  <a:lnTo>
                    <a:pt x="120" y="130"/>
                  </a:lnTo>
                  <a:lnTo>
                    <a:pt x="116" y="130"/>
                  </a:lnTo>
                  <a:lnTo>
                    <a:pt x="112" y="126"/>
                  </a:lnTo>
                  <a:lnTo>
                    <a:pt x="112" y="130"/>
                  </a:lnTo>
                  <a:lnTo>
                    <a:pt x="108" y="130"/>
                  </a:lnTo>
                  <a:lnTo>
                    <a:pt x="104" y="130"/>
                  </a:lnTo>
                  <a:lnTo>
                    <a:pt x="102" y="134"/>
                  </a:lnTo>
                  <a:lnTo>
                    <a:pt x="102" y="138"/>
                  </a:lnTo>
                  <a:lnTo>
                    <a:pt x="98" y="138"/>
                  </a:lnTo>
                  <a:lnTo>
                    <a:pt x="98" y="142"/>
                  </a:lnTo>
                  <a:lnTo>
                    <a:pt x="98" y="146"/>
                  </a:lnTo>
                  <a:lnTo>
                    <a:pt x="94" y="146"/>
                  </a:lnTo>
                  <a:lnTo>
                    <a:pt x="90" y="148"/>
                  </a:lnTo>
                  <a:lnTo>
                    <a:pt x="88" y="148"/>
                  </a:lnTo>
                  <a:lnTo>
                    <a:pt x="88" y="152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lnTo>
                    <a:pt x="80" y="164"/>
                  </a:lnTo>
                  <a:lnTo>
                    <a:pt x="76" y="168"/>
                  </a:lnTo>
                  <a:lnTo>
                    <a:pt x="72" y="168"/>
                  </a:lnTo>
                  <a:lnTo>
                    <a:pt x="72" y="172"/>
                  </a:lnTo>
                  <a:lnTo>
                    <a:pt x="68" y="172"/>
                  </a:lnTo>
                  <a:lnTo>
                    <a:pt x="64" y="168"/>
                  </a:lnTo>
                  <a:lnTo>
                    <a:pt x="60" y="168"/>
                  </a:lnTo>
                  <a:lnTo>
                    <a:pt x="60" y="172"/>
                  </a:lnTo>
                  <a:lnTo>
                    <a:pt x="58" y="172"/>
                  </a:lnTo>
                  <a:lnTo>
                    <a:pt x="58" y="168"/>
                  </a:lnTo>
                  <a:lnTo>
                    <a:pt x="54" y="168"/>
                  </a:lnTo>
                  <a:lnTo>
                    <a:pt x="50" y="168"/>
                  </a:lnTo>
                  <a:lnTo>
                    <a:pt x="46" y="164"/>
                  </a:lnTo>
                  <a:lnTo>
                    <a:pt x="46" y="160"/>
                  </a:lnTo>
                  <a:lnTo>
                    <a:pt x="42" y="160"/>
                  </a:lnTo>
                  <a:lnTo>
                    <a:pt x="38" y="160"/>
                  </a:lnTo>
                  <a:lnTo>
                    <a:pt x="34" y="160"/>
                  </a:lnTo>
                  <a:lnTo>
                    <a:pt x="30" y="160"/>
                  </a:lnTo>
                  <a:lnTo>
                    <a:pt x="28" y="164"/>
                  </a:lnTo>
                  <a:lnTo>
                    <a:pt x="24" y="164"/>
                  </a:lnTo>
                  <a:lnTo>
                    <a:pt x="20" y="160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8" y="146"/>
                  </a:lnTo>
                  <a:lnTo>
                    <a:pt x="4" y="146"/>
                  </a:lnTo>
                  <a:lnTo>
                    <a:pt x="4" y="142"/>
                  </a:lnTo>
                  <a:lnTo>
                    <a:pt x="4" y="138"/>
                  </a:lnTo>
                  <a:lnTo>
                    <a:pt x="0" y="138"/>
                  </a:lnTo>
                  <a:lnTo>
                    <a:pt x="0" y="134"/>
                  </a:lnTo>
                  <a:lnTo>
                    <a:pt x="0" y="126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0"/>
                  </a:lnTo>
                  <a:lnTo>
                    <a:pt x="0" y="82"/>
                  </a:lnTo>
                  <a:lnTo>
                    <a:pt x="8" y="82"/>
                  </a:lnTo>
                  <a:lnTo>
                    <a:pt x="16" y="82"/>
                  </a:lnTo>
                  <a:lnTo>
                    <a:pt x="20" y="82"/>
                  </a:lnTo>
                  <a:lnTo>
                    <a:pt x="24" y="82"/>
                  </a:lnTo>
                  <a:lnTo>
                    <a:pt x="28" y="82"/>
                  </a:lnTo>
                  <a:lnTo>
                    <a:pt x="30" y="82"/>
                  </a:lnTo>
                  <a:lnTo>
                    <a:pt x="30" y="78"/>
                  </a:lnTo>
                  <a:lnTo>
                    <a:pt x="30" y="74"/>
                  </a:lnTo>
                  <a:lnTo>
                    <a:pt x="30" y="70"/>
                  </a:lnTo>
                  <a:lnTo>
                    <a:pt x="30" y="62"/>
                  </a:lnTo>
                  <a:lnTo>
                    <a:pt x="30" y="60"/>
                  </a:lnTo>
                  <a:lnTo>
                    <a:pt x="30" y="56"/>
                  </a:lnTo>
                  <a:lnTo>
                    <a:pt x="30" y="52"/>
                  </a:lnTo>
                  <a:lnTo>
                    <a:pt x="30" y="48"/>
                  </a:lnTo>
                  <a:lnTo>
                    <a:pt x="30" y="44"/>
                  </a:lnTo>
                  <a:lnTo>
                    <a:pt x="30" y="48"/>
                  </a:lnTo>
                  <a:lnTo>
                    <a:pt x="34" y="48"/>
                  </a:lnTo>
                  <a:lnTo>
                    <a:pt x="38" y="48"/>
                  </a:lnTo>
                  <a:lnTo>
                    <a:pt x="38" y="52"/>
                  </a:lnTo>
                  <a:lnTo>
                    <a:pt x="34" y="56"/>
                  </a:lnTo>
                  <a:lnTo>
                    <a:pt x="38" y="56"/>
                  </a:lnTo>
                  <a:lnTo>
                    <a:pt x="42" y="56"/>
                  </a:lnTo>
                  <a:lnTo>
                    <a:pt x="46" y="52"/>
                  </a:lnTo>
                  <a:lnTo>
                    <a:pt x="50" y="52"/>
                  </a:lnTo>
                  <a:lnTo>
                    <a:pt x="50" y="56"/>
                  </a:lnTo>
                  <a:lnTo>
                    <a:pt x="50" y="60"/>
                  </a:lnTo>
                  <a:lnTo>
                    <a:pt x="54" y="60"/>
                  </a:lnTo>
                  <a:lnTo>
                    <a:pt x="58" y="62"/>
                  </a:lnTo>
                  <a:lnTo>
                    <a:pt x="60" y="62"/>
                  </a:lnTo>
                  <a:lnTo>
                    <a:pt x="64" y="62"/>
                  </a:lnTo>
                  <a:lnTo>
                    <a:pt x="68" y="66"/>
                  </a:lnTo>
                  <a:lnTo>
                    <a:pt x="72" y="66"/>
                  </a:lnTo>
                  <a:lnTo>
                    <a:pt x="72" y="62"/>
                  </a:lnTo>
                  <a:lnTo>
                    <a:pt x="76" y="60"/>
                  </a:lnTo>
                  <a:lnTo>
                    <a:pt x="76" y="62"/>
                  </a:lnTo>
                  <a:lnTo>
                    <a:pt x="80" y="62"/>
                  </a:lnTo>
                  <a:lnTo>
                    <a:pt x="80" y="66"/>
                  </a:lnTo>
                  <a:lnTo>
                    <a:pt x="84" y="70"/>
                  </a:lnTo>
                  <a:lnTo>
                    <a:pt x="88" y="70"/>
                  </a:lnTo>
                  <a:lnTo>
                    <a:pt x="90" y="74"/>
                  </a:lnTo>
                  <a:lnTo>
                    <a:pt x="94" y="74"/>
                  </a:lnTo>
                  <a:lnTo>
                    <a:pt x="94" y="78"/>
                  </a:lnTo>
                  <a:lnTo>
                    <a:pt x="94" y="82"/>
                  </a:lnTo>
                  <a:lnTo>
                    <a:pt x="98" y="82"/>
                  </a:lnTo>
                  <a:lnTo>
                    <a:pt x="102" y="86"/>
                  </a:lnTo>
                  <a:lnTo>
                    <a:pt x="102" y="90"/>
                  </a:lnTo>
                  <a:lnTo>
                    <a:pt x="104" y="90"/>
                  </a:lnTo>
                  <a:lnTo>
                    <a:pt x="108" y="90"/>
                  </a:lnTo>
                  <a:lnTo>
                    <a:pt x="108" y="86"/>
                  </a:lnTo>
                  <a:lnTo>
                    <a:pt x="112" y="90"/>
                  </a:lnTo>
                  <a:lnTo>
                    <a:pt x="108" y="90"/>
                  </a:lnTo>
                  <a:lnTo>
                    <a:pt x="112" y="90"/>
                  </a:lnTo>
                  <a:lnTo>
                    <a:pt x="112" y="86"/>
                  </a:lnTo>
                  <a:lnTo>
                    <a:pt x="112" y="78"/>
                  </a:lnTo>
                  <a:lnTo>
                    <a:pt x="112" y="74"/>
                  </a:lnTo>
                  <a:lnTo>
                    <a:pt x="112" y="70"/>
                  </a:lnTo>
                  <a:lnTo>
                    <a:pt x="112" y="66"/>
                  </a:lnTo>
                  <a:lnTo>
                    <a:pt x="108" y="70"/>
                  </a:lnTo>
                  <a:lnTo>
                    <a:pt x="108" y="74"/>
                  </a:lnTo>
                  <a:lnTo>
                    <a:pt x="104" y="70"/>
                  </a:lnTo>
                  <a:lnTo>
                    <a:pt x="102" y="70"/>
                  </a:lnTo>
                  <a:lnTo>
                    <a:pt x="98" y="66"/>
                  </a:lnTo>
                  <a:lnTo>
                    <a:pt x="98" y="62"/>
                  </a:lnTo>
                  <a:lnTo>
                    <a:pt x="94" y="62"/>
                  </a:lnTo>
                  <a:lnTo>
                    <a:pt x="94" y="60"/>
                  </a:lnTo>
                  <a:lnTo>
                    <a:pt x="94" y="56"/>
                  </a:lnTo>
                  <a:lnTo>
                    <a:pt x="94" y="52"/>
                  </a:lnTo>
                  <a:lnTo>
                    <a:pt x="94" y="48"/>
                  </a:lnTo>
                  <a:lnTo>
                    <a:pt x="94" y="44"/>
                  </a:lnTo>
                  <a:lnTo>
                    <a:pt x="98" y="44"/>
                  </a:lnTo>
                  <a:lnTo>
                    <a:pt x="98" y="40"/>
                  </a:lnTo>
                  <a:lnTo>
                    <a:pt x="98" y="36"/>
                  </a:lnTo>
                  <a:lnTo>
                    <a:pt x="98" y="32"/>
                  </a:lnTo>
                  <a:lnTo>
                    <a:pt x="98" y="30"/>
                  </a:lnTo>
                  <a:lnTo>
                    <a:pt x="98" y="26"/>
                  </a:lnTo>
                  <a:lnTo>
                    <a:pt x="94" y="22"/>
                  </a:lnTo>
                  <a:lnTo>
                    <a:pt x="94" y="18"/>
                  </a:lnTo>
                  <a:lnTo>
                    <a:pt x="98" y="14"/>
                  </a:lnTo>
                  <a:lnTo>
                    <a:pt x="98" y="10"/>
                  </a:lnTo>
                  <a:lnTo>
                    <a:pt x="102" y="10"/>
                  </a:lnTo>
                  <a:lnTo>
                    <a:pt x="102" y="6"/>
                  </a:lnTo>
                  <a:lnTo>
                    <a:pt x="102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16" y="4"/>
                  </a:lnTo>
                  <a:lnTo>
                    <a:pt x="120" y="0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28" y="6"/>
                  </a:lnTo>
                  <a:lnTo>
                    <a:pt x="132" y="6"/>
                  </a:lnTo>
                  <a:lnTo>
                    <a:pt x="136" y="6"/>
                  </a:lnTo>
                  <a:lnTo>
                    <a:pt x="138" y="10"/>
                  </a:lnTo>
                  <a:lnTo>
                    <a:pt x="142" y="10"/>
                  </a:lnTo>
                  <a:lnTo>
                    <a:pt x="142" y="14"/>
                  </a:lnTo>
                  <a:lnTo>
                    <a:pt x="146" y="14"/>
                  </a:lnTo>
                  <a:lnTo>
                    <a:pt x="150" y="14"/>
                  </a:lnTo>
                  <a:lnTo>
                    <a:pt x="150" y="18"/>
                  </a:lnTo>
                  <a:lnTo>
                    <a:pt x="154" y="18"/>
                  </a:lnTo>
                  <a:lnTo>
                    <a:pt x="158" y="22"/>
                  </a:lnTo>
                  <a:lnTo>
                    <a:pt x="158" y="26"/>
                  </a:lnTo>
                  <a:lnTo>
                    <a:pt x="162" y="26"/>
                  </a:lnTo>
                  <a:lnTo>
                    <a:pt x="162" y="30"/>
                  </a:lnTo>
                  <a:lnTo>
                    <a:pt x="166" y="30"/>
                  </a:lnTo>
                  <a:lnTo>
                    <a:pt x="162" y="30"/>
                  </a:lnTo>
                  <a:lnTo>
                    <a:pt x="162" y="32"/>
                  </a:lnTo>
                  <a:lnTo>
                    <a:pt x="166" y="32"/>
                  </a:lnTo>
                  <a:lnTo>
                    <a:pt x="166" y="36"/>
                  </a:lnTo>
                  <a:lnTo>
                    <a:pt x="168" y="40"/>
                  </a:lnTo>
                  <a:lnTo>
                    <a:pt x="166" y="44"/>
                  </a:lnTo>
                  <a:lnTo>
                    <a:pt x="162" y="44"/>
                  </a:lnTo>
                  <a:lnTo>
                    <a:pt x="162" y="48"/>
                  </a:lnTo>
                  <a:lnTo>
                    <a:pt x="166" y="48"/>
                  </a:lnTo>
                  <a:lnTo>
                    <a:pt x="166" y="52"/>
                  </a:lnTo>
                  <a:lnTo>
                    <a:pt x="162" y="56"/>
                  </a:lnTo>
                  <a:lnTo>
                    <a:pt x="162" y="60"/>
                  </a:lnTo>
                  <a:lnTo>
                    <a:pt x="162" y="62"/>
                  </a:lnTo>
                  <a:lnTo>
                    <a:pt x="162" y="66"/>
                  </a:lnTo>
                  <a:lnTo>
                    <a:pt x="166" y="70"/>
                  </a:lnTo>
                  <a:lnTo>
                    <a:pt x="166" y="74"/>
                  </a:lnTo>
                  <a:lnTo>
                    <a:pt x="162" y="74"/>
                  </a:lnTo>
                  <a:lnTo>
                    <a:pt x="158" y="74"/>
                  </a:lnTo>
                  <a:lnTo>
                    <a:pt x="158" y="78"/>
                  </a:lnTo>
                  <a:lnTo>
                    <a:pt x="158" y="82"/>
                  </a:lnTo>
                  <a:lnTo>
                    <a:pt x="158" y="86"/>
                  </a:lnTo>
                  <a:lnTo>
                    <a:pt x="158" y="90"/>
                  </a:lnTo>
                  <a:lnTo>
                    <a:pt x="158" y="92"/>
                  </a:lnTo>
                  <a:lnTo>
                    <a:pt x="154" y="92"/>
                  </a:lnTo>
                  <a:lnTo>
                    <a:pt x="158" y="96"/>
                  </a:lnTo>
                  <a:lnTo>
                    <a:pt x="158" y="100"/>
                  </a:lnTo>
                  <a:lnTo>
                    <a:pt x="162" y="100"/>
                  </a:lnTo>
                  <a:lnTo>
                    <a:pt x="158" y="100"/>
                  </a:lnTo>
                  <a:lnTo>
                    <a:pt x="150" y="104"/>
                  </a:lnTo>
                  <a:lnTo>
                    <a:pt x="146" y="108"/>
                  </a:lnTo>
                  <a:lnTo>
                    <a:pt x="142" y="108"/>
                  </a:lnTo>
                  <a:lnTo>
                    <a:pt x="138" y="108"/>
                  </a:lnTo>
                  <a:lnTo>
                    <a:pt x="138" y="112"/>
                  </a:lnTo>
                  <a:lnTo>
                    <a:pt x="136" y="112"/>
                  </a:lnTo>
                  <a:lnTo>
                    <a:pt x="132" y="112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4" y="116"/>
                  </a:lnTo>
                  <a:lnTo>
                    <a:pt x="120" y="116"/>
                  </a:lnTo>
                  <a:lnTo>
                    <a:pt x="120" y="118"/>
                  </a:lnTo>
                  <a:lnTo>
                    <a:pt x="120" y="118"/>
                  </a:lnTo>
                  <a:lnTo>
                    <a:pt x="120" y="11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37" name="Freeform 177">
              <a:extLst>
                <a:ext uri="{FF2B5EF4-FFF2-40B4-BE49-F238E27FC236}">
                  <a16:creationId xmlns:a16="http://schemas.microsoft.com/office/drawing/2014/main" id="{13851CD7-0BFB-A218-22DA-7183F7BB05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0592" y="4676454"/>
              <a:ext cx="218201" cy="230032"/>
            </a:xfrm>
            <a:custGeom>
              <a:avLst/>
              <a:gdLst>
                <a:gd name="T0" fmla="*/ 88 w 112"/>
                <a:gd name="T1" fmla="*/ 114 h 122"/>
                <a:gd name="T2" fmla="*/ 84 w 112"/>
                <a:gd name="T3" fmla="*/ 118 h 122"/>
                <a:gd name="T4" fmla="*/ 82 w 112"/>
                <a:gd name="T5" fmla="*/ 118 h 122"/>
                <a:gd name="T6" fmla="*/ 74 w 112"/>
                <a:gd name="T7" fmla="*/ 118 h 122"/>
                <a:gd name="T8" fmla="*/ 70 w 112"/>
                <a:gd name="T9" fmla="*/ 118 h 122"/>
                <a:gd name="T10" fmla="*/ 62 w 112"/>
                <a:gd name="T11" fmla="*/ 114 h 122"/>
                <a:gd name="T12" fmla="*/ 54 w 112"/>
                <a:gd name="T13" fmla="*/ 114 h 122"/>
                <a:gd name="T14" fmla="*/ 52 w 112"/>
                <a:gd name="T15" fmla="*/ 114 h 122"/>
                <a:gd name="T16" fmla="*/ 52 w 112"/>
                <a:gd name="T17" fmla="*/ 110 h 122"/>
                <a:gd name="T18" fmla="*/ 52 w 112"/>
                <a:gd name="T19" fmla="*/ 108 h 122"/>
                <a:gd name="T20" fmla="*/ 44 w 112"/>
                <a:gd name="T21" fmla="*/ 108 h 122"/>
                <a:gd name="T22" fmla="*/ 40 w 112"/>
                <a:gd name="T23" fmla="*/ 108 h 122"/>
                <a:gd name="T24" fmla="*/ 38 w 112"/>
                <a:gd name="T25" fmla="*/ 104 h 122"/>
                <a:gd name="T26" fmla="*/ 34 w 112"/>
                <a:gd name="T27" fmla="*/ 96 h 122"/>
                <a:gd name="T28" fmla="*/ 34 w 112"/>
                <a:gd name="T29" fmla="*/ 92 h 122"/>
                <a:gd name="T30" fmla="*/ 30 w 112"/>
                <a:gd name="T31" fmla="*/ 84 h 122"/>
                <a:gd name="T32" fmla="*/ 30 w 112"/>
                <a:gd name="T33" fmla="*/ 84 h 122"/>
                <a:gd name="T34" fmla="*/ 26 w 112"/>
                <a:gd name="T35" fmla="*/ 78 h 122"/>
                <a:gd name="T36" fmla="*/ 18 w 112"/>
                <a:gd name="T37" fmla="*/ 74 h 122"/>
                <a:gd name="T38" fmla="*/ 14 w 112"/>
                <a:gd name="T39" fmla="*/ 70 h 122"/>
                <a:gd name="T40" fmla="*/ 12 w 112"/>
                <a:gd name="T41" fmla="*/ 66 h 122"/>
                <a:gd name="T42" fmla="*/ 12 w 112"/>
                <a:gd name="T43" fmla="*/ 58 h 122"/>
                <a:gd name="T44" fmla="*/ 8 w 112"/>
                <a:gd name="T45" fmla="*/ 52 h 122"/>
                <a:gd name="T46" fmla="*/ 4 w 112"/>
                <a:gd name="T47" fmla="*/ 48 h 122"/>
                <a:gd name="T48" fmla="*/ 0 w 112"/>
                <a:gd name="T49" fmla="*/ 44 h 122"/>
                <a:gd name="T50" fmla="*/ 0 w 112"/>
                <a:gd name="T51" fmla="*/ 40 h 122"/>
                <a:gd name="T52" fmla="*/ 4 w 112"/>
                <a:gd name="T53" fmla="*/ 40 h 122"/>
                <a:gd name="T54" fmla="*/ 12 w 112"/>
                <a:gd name="T55" fmla="*/ 44 h 122"/>
                <a:gd name="T56" fmla="*/ 14 w 112"/>
                <a:gd name="T57" fmla="*/ 40 h 122"/>
                <a:gd name="T58" fmla="*/ 22 w 112"/>
                <a:gd name="T59" fmla="*/ 44 h 122"/>
                <a:gd name="T60" fmla="*/ 26 w 112"/>
                <a:gd name="T61" fmla="*/ 40 h 122"/>
                <a:gd name="T62" fmla="*/ 38 w 112"/>
                <a:gd name="T63" fmla="*/ 26 h 122"/>
                <a:gd name="T64" fmla="*/ 48 w 112"/>
                <a:gd name="T65" fmla="*/ 18 h 122"/>
                <a:gd name="T66" fmla="*/ 48 w 112"/>
                <a:gd name="T67" fmla="*/ 10 h 122"/>
                <a:gd name="T68" fmla="*/ 52 w 112"/>
                <a:gd name="T69" fmla="*/ 6 h 122"/>
                <a:gd name="T70" fmla="*/ 62 w 112"/>
                <a:gd name="T71" fmla="*/ 2 h 122"/>
                <a:gd name="T72" fmla="*/ 70 w 112"/>
                <a:gd name="T73" fmla="*/ 2 h 122"/>
                <a:gd name="T74" fmla="*/ 78 w 112"/>
                <a:gd name="T75" fmla="*/ 6 h 122"/>
                <a:gd name="T76" fmla="*/ 84 w 112"/>
                <a:gd name="T77" fmla="*/ 10 h 122"/>
                <a:gd name="T78" fmla="*/ 88 w 112"/>
                <a:gd name="T79" fmla="*/ 10 h 122"/>
                <a:gd name="T80" fmla="*/ 96 w 112"/>
                <a:gd name="T81" fmla="*/ 14 h 122"/>
                <a:gd name="T82" fmla="*/ 100 w 112"/>
                <a:gd name="T83" fmla="*/ 14 h 122"/>
                <a:gd name="T84" fmla="*/ 104 w 112"/>
                <a:gd name="T85" fmla="*/ 22 h 122"/>
                <a:gd name="T86" fmla="*/ 108 w 112"/>
                <a:gd name="T87" fmla="*/ 22 h 122"/>
                <a:gd name="T88" fmla="*/ 108 w 112"/>
                <a:gd name="T89" fmla="*/ 26 h 122"/>
                <a:gd name="T90" fmla="*/ 108 w 112"/>
                <a:gd name="T91" fmla="*/ 28 h 122"/>
                <a:gd name="T92" fmla="*/ 108 w 112"/>
                <a:gd name="T93" fmla="*/ 32 h 122"/>
                <a:gd name="T94" fmla="*/ 108 w 112"/>
                <a:gd name="T95" fmla="*/ 40 h 122"/>
                <a:gd name="T96" fmla="*/ 108 w 112"/>
                <a:gd name="T97" fmla="*/ 44 h 122"/>
                <a:gd name="T98" fmla="*/ 108 w 112"/>
                <a:gd name="T99" fmla="*/ 52 h 122"/>
                <a:gd name="T100" fmla="*/ 108 w 112"/>
                <a:gd name="T101" fmla="*/ 54 h 122"/>
                <a:gd name="T102" fmla="*/ 104 w 112"/>
                <a:gd name="T103" fmla="*/ 54 h 122"/>
                <a:gd name="T104" fmla="*/ 108 w 112"/>
                <a:gd name="T105" fmla="*/ 58 h 122"/>
                <a:gd name="T106" fmla="*/ 108 w 112"/>
                <a:gd name="T107" fmla="*/ 70 h 122"/>
                <a:gd name="T108" fmla="*/ 108 w 112"/>
                <a:gd name="T109" fmla="*/ 78 h 122"/>
                <a:gd name="T110" fmla="*/ 104 w 112"/>
                <a:gd name="T111" fmla="*/ 84 h 122"/>
                <a:gd name="T112" fmla="*/ 100 w 112"/>
                <a:gd name="T113" fmla="*/ 92 h 122"/>
                <a:gd name="T114" fmla="*/ 100 w 112"/>
                <a:gd name="T115" fmla="*/ 10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2" h="122">
                  <a:moveTo>
                    <a:pt x="100" y="100"/>
                  </a:move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92" y="110"/>
                  </a:lnTo>
                  <a:lnTo>
                    <a:pt x="88" y="114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4" y="122"/>
                  </a:lnTo>
                  <a:lnTo>
                    <a:pt x="84" y="118"/>
                  </a:lnTo>
                  <a:lnTo>
                    <a:pt x="84" y="118"/>
                  </a:lnTo>
                  <a:lnTo>
                    <a:pt x="82" y="118"/>
                  </a:lnTo>
                  <a:lnTo>
                    <a:pt x="82" y="118"/>
                  </a:lnTo>
                  <a:lnTo>
                    <a:pt x="82" y="118"/>
                  </a:lnTo>
                  <a:lnTo>
                    <a:pt x="82" y="118"/>
                  </a:lnTo>
                  <a:lnTo>
                    <a:pt x="82" y="118"/>
                  </a:lnTo>
                  <a:lnTo>
                    <a:pt x="82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4" y="118"/>
                  </a:lnTo>
                  <a:lnTo>
                    <a:pt x="74" y="118"/>
                  </a:lnTo>
                  <a:lnTo>
                    <a:pt x="74" y="118"/>
                  </a:lnTo>
                  <a:lnTo>
                    <a:pt x="74" y="118"/>
                  </a:lnTo>
                  <a:lnTo>
                    <a:pt x="74" y="118"/>
                  </a:lnTo>
                  <a:lnTo>
                    <a:pt x="70" y="118"/>
                  </a:lnTo>
                  <a:lnTo>
                    <a:pt x="70" y="118"/>
                  </a:lnTo>
                  <a:lnTo>
                    <a:pt x="70" y="118"/>
                  </a:lnTo>
                  <a:lnTo>
                    <a:pt x="66" y="118"/>
                  </a:lnTo>
                  <a:lnTo>
                    <a:pt x="66" y="114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62" y="114"/>
                  </a:lnTo>
                  <a:lnTo>
                    <a:pt x="58" y="114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48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8" y="108"/>
                  </a:lnTo>
                  <a:lnTo>
                    <a:pt x="38" y="104"/>
                  </a:lnTo>
                  <a:lnTo>
                    <a:pt x="38" y="104"/>
                  </a:lnTo>
                  <a:lnTo>
                    <a:pt x="38" y="104"/>
                  </a:lnTo>
                  <a:lnTo>
                    <a:pt x="38" y="104"/>
                  </a:lnTo>
                  <a:lnTo>
                    <a:pt x="38" y="104"/>
                  </a:lnTo>
                  <a:lnTo>
                    <a:pt x="38" y="100"/>
                  </a:lnTo>
                  <a:lnTo>
                    <a:pt x="38" y="100"/>
                  </a:lnTo>
                  <a:lnTo>
                    <a:pt x="34" y="100"/>
                  </a:lnTo>
                  <a:lnTo>
                    <a:pt x="34" y="100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88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26" y="80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2" y="78"/>
                  </a:lnTo>
                  <a:lnTo>
                    <a:pt x="18" y="78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4" y="74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54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2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30" y="36"/>
                  </a:lnTo>
                  <a:lnTo>
                    <a:pt x="30" y="32"/>
                  </a:lnTo>
                  <a:lnTo>
                    <a:pt x="34" y="32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4" y="18"/>
                  </a:lnTo>
                  <a:lnTo>
                    <a:pt x="48" y="18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0"/>
                  </a:lnTo>
                  <a:lnTo>
                    <a:pt x="52" y="10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0"/>
                  </a:lnTo>
                  <a:lnTo>
                    <a:pt x="66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0" y="6"/>
                  </a:lnTo>
                  <a:lnTo>
                    <a:pt x="78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92" y="10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100" y="14"/>
                  </a:lnTo>
                  <a:lnTo>
                    <a:pt x="100" y="14"/>
                  </a:lnTo>
                  <a:lnTo>
                    <a:pt x="100" y="14"/>
                  </a:lnTo>
                  <a:lnTo>
                    <a:pt x="100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4" y="22"/>
                  </a:lnTo>
                  <a:lnTo>
                    <a:pt x="104" y="22"/>
                  </a:lnTo>
                  <a:lnTo>
                    <a:pt x="104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6"/>
                  </a:lnTo>
                  <a:lnTo>
                    <a:pt x="108" y="26"/>
                  </a:lnTo>
                  <a:lnTo>
                    <a:pt x="108" y="26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12" y="48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4" y="54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8" y="58"/>
                  </a:lnTo>
                  <a:lnTo>
                    <a:pt x="108" y="62"/>
                  </a:lnTo>
                  <a:lnTo>
                    <a:pt x="108" y="66"/>
                  </a:lnTo>
                  <a:lnTo>
                    <a:pt x="108" y="66"/>
                  </a:lnTo>
                  <a:lnTo>
                    <a:pt x="104" y="66"/>
                  </a:lnTo>
                  <a:lnTo>
                    <a:pt x="104" y="70"/>
                  </a:lnTo>
                  <a:lnTo>
                    <a:pt x="108" y="70"/>
                  </a:lnTo>
                  <a:lnTo>
                    <a:pt x="108" y="70"/>
                  </a:lnTo>
                  <a:lnTo>
                    <a:pt x="108" y="70"/>
                  </a:lnTo>
                  <a:lnTo>
                    <a:pt x="108" y="70"/>
                  </a:lnTo>
                  <a:lnTo>
                    <a:pt x="108" y="74"/>
                  </a:lnTo>
                  <a:lnTo>
                    <a:pt x="108" y="74"/>
                  </a:lnTo>
                  <a:lnTo>
                    <a:pt x="108" y="78"/>
                  </a:lnTo>
                  <a:lnTo>
                    <a:pt x="108" y="78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4" y="84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0" y="88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38" name="Freeform 178">
              <a:extLst>
                <a:ext uri="{FF2B5EF4-FFF2-40B4-BE49-F238E27FC236}">
                  <a16:creationId xmlns:a16="http://schemas.microsoft.com/office/drawing/2014/main" id="{23956881-952F-8ACF-1C44-E7342E5FB0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6981" y="4880088"/>
              <a:ext cx="545502" cy="1214266"/>
            </a:xfrm>
            <a:custGeom>
              <a:avLst/>
              <a:gdLst>
                <a:gd name="T0" fmla="*/ 28 w 280"/>
                <a:gd name="T1" fmla="*/ 328 h 644"/>
                <a:gd name="T2" fmla="*/ 38 w 280"/>
                <a:gd name="T3" fmla="*/ 304 h 644"/>
                <a:gd name="T4" fmla="*/ 38 w 280"/>
                <a:gd name="T5" fmla="*/ 272 h 644"/>
                <a:gd name="T6" fmla="*/ 46 w 280"/>
                <a:gd name="T7" fmla="*/ 242 h 644"/>
                <a:gd name="T8" fmla="*/ 54 w 280"/>
                <a:gd name="T9" fmla="*/ 208 h 644"/>
                <a:gd name="T10" fmla="*/ 42 w 280"/>
                <a:gd name="T11" fmla="*/ 174 h 644"/>
                <a:gd name="T12" fmla="*/ 54 w 280"/>
                <a:gd name="T13" fmla="*/ 144 h 644"/>
                <a:gd name="T14" fmla="*/ 60 w 280"/>
                <a:gd name="T15" fmla="*/ 114 h 644"/>
                <a:gd name="T16" fmla="*/ 72 w 280"/>
                <a:gd name="T17" fmla="*/ 84 h 644"/>
                <a:gd name="T18" fmla="*/ 76 w 280"/>
                <a:gd name="T19" fmla="*/ 48 h 644"/>
                <a:gd name="T20" fmla="*/ 90 w 280"/>
                <a:gd name="T21" fmla="*/ 22 h 644"/>
                <a:gd name="T22" fmla="*/ 106 w 280"/>
                <a:gd name="T23" fmla="*/ 4 h 644"/>
                <a:gd name="T24" fmla="*/ 130 w 280"/>
                <a:gd name="T25" fmla="*/ 22 h 644"/>
                <a:gd name="T26" fmla="*/ 156 w 280"/>
                <a:gd name="T27" fmla="*/ 10 h 644"/>
                <a:gd name="T28" fmla="*/ 176 w 280"/>
                <a:gd name="T29" fmla="*/ 36 h 644"/>
                <a:gd name="T30" fmla="*/ 208 w 280"/>
                <a:gd name="T31" fmla="*/ 56 h 644"/>
                <a:gd name="T32" fmla="*/ 220 w 280"/>
                <a:gd name="T33" fmla="*/ 78 h 644"/>
                <a:gd name="T34" fmla="*/ 224 w 280"/>
                <a:gd name="T35" fmla="*/ 100 h 644"/>
                <a:gd name="T36" fmla="*/ 254 w 280"/>
                <a:gd name="T37" fmla="*/ 100 h 644"/>
                <a:gd name="T38" fmla="*/ 272 w 280"/>
                <a:gd name="T39" fmla="*/ 70 h 644"/>
                <a:gd name="T40" fmla="*/ 276 w 280"/>
                <a:gd name="T41" fmla="*/ 96 h 644"/>
                <a:gd name="T42" fmla="*/ 250 w 280"/>
                <a:gd name="T43" fmla="*/ 114 h 644"/>
                <a:gd name="T44" fmla="*/ 238 w 280"/>
                <a:gd name="T45" fmla="*/ 136 h 644"/>
                <a:gd name="T46" fmla="*/ 220 w 280"/>
                <a:gd name="T47" fmla="*/ 170 h 644"/>
                <a:gd name="T48" fmla="*/ 216 w 280"/>
                <a:gd name="T49" fmla="*/ 200 h 644"/>
                <a:gd name="T50" fmla="*/ 216 w 280"/>
                <a:gd name="T51" fmla="*/ 234 h 644"/>
                <a:gd name="T52" fmla="*/ 230 w 280"/>
                <a:gd name="T53" fmla="*/ 264 h 644"/>
                <a:gd name="T54" fmla="*/ 228 w 280"/>
                <a:gd name="T55" fmla="*/ 294 h 644"/>
                <a:gd name="T56" fmla="*/ 194 w 280"/>
                <a:gd name="T57" fmla="*/ 316 h 644"/>
                <a:gd name="T58" fmla="*/ 156 w 280"/>
                <a:gd name="T59" fmla="*/ 312 h 644"/>
                <a:gd name="T60" fmla="*/ 160 w 280"/>
                <a:gd name="T61" fmla="*/ 330 h 644"/>
                <a:gd name="T62" fmla="*/ 152 w 280"/>
                <a:gd name="T63" fmla="*/ 358 h 644"/>
                <a:gd name="T64" fmla="*/ 122 w 280"/>
                <a:gd name="T65" fmla="*/ 350 h 644"/>
                <a:gd name="T66" fmla="*/ 126 w 280"/>
                <a:gd name="T67" fmla="*/ 380 h 644"/>
                <a:gd name="T68" fmla="*/ 142 w 280"/>
                <a:gd name="T69" fmla="*/ 386 h 644"/>
                <a:gd name="T70" fmla="*/ 126 w 280"/>
                <a:gd name="T71" fmla="*/ 394 h 644"/>
                <a:gd name="T72" fmla="*/ 120 w 280"/>
                <a:gd name="T73" fmla="*/ 414 h 644"/>
                <a:gd name="T74" fmla="*/ 98 w 280"/>
                <a:gd name="T75" fmla="*/ 440 h 644"/>
                <a:gd name="T76" fmla="*/ 86 w 280"/>
                <a:gd name="T77" fmla="*/ 470 h 644"/>
                <a:gd name="T78" fmla="*/ 108 w 280"/>
                <a:gd name="T79" fmla="*/ 490 h 644"/>
                <a:gd name="T80" fmla="*/ 90 w 280"/>
                <a:gd name="T81" fmla="*/ 510 h 644"/>
                <a:gd name="T82" fmla="*/ 82 w 280"/>
                <a:gd name="T83" fmla="*/ 536 h 644"/>
                <a:gd name="T84" fmla="*/ 76 w 280"/>
                <a:gd name="T85" fmla="*/ 540 h 644"/>
                <a:gd name="T86" fmla="*/ 64 w 280"/>
                <a:gd name="T87" fmla="*/ 566 h 644"/>
                <a:gd name="T88" fmla="*/ 72 w 280"/>
                <a:gd name="T89" fmla="*/ 584 h 644"/>
                <a:gd name="T90" fmla="*/ 34 w 280"/>
                <a:gd name="T91" fmla="*/ 580 h 644"/>
                <a:gd name="T92" fmla="*/ 16 w 280"/>
                <a:gd name="T93" fmla="*/ 550 h 644"/>
                <a:gd name="T94" fmla="*/ 0 w 280"/>
                <a:gd name="T95" fmla="*/ 536 h 644"/>
                <a:gd name="T96" fmla="*/ 16 w 280"/>
                <a:gd name="T97" fmla="*/ 512 h 644"/>
                <a:gd name="T98" fmla="*/ 20 w 280"/>
                <a:gd name="T99" fmla="*/ 488 h 644"/>
                <a:gd name="T100" fmla="*/ 28 w 280"/>
                <a:gd name="T101" fmla="*/ 458 h 644"/>
                <a:gd name="T102" fmla="*/ 24 w 280"/>
                <a:gd name="T103" fmla="*/ 432 h 644"/>
                <a:gd name="T104" fmla="*/ 24 w 280"/>
                <a:gd name="T105" fmla="*/ 416 h 644"/>
                <a:gd name="T106" fmla="*/ 20 w 280"/>
                <a:gd name="T107" fmla="*/ 394 h 644"/>
                <a:gd name="T108" fmla="*/ 24 w 280"/>
                <a:gd name="T109" fmla="*/ 364 h 644"/>
                <a:gd name="T110" fmla="*/ 72 w 280"/>
                <a:gd name="T111" fmla="*/ 592 h 644"/>
                <a:gd name="T112" fmla="*/ 80 w 280"/>
                <a:gd name="T113" fmla="*/ 614 h 644"/>
                <a:gd name="T114" fmla="*/ 108 w 280"/>
                <a:gd name="T115" fmla="*/ 636 h 644"/>
                <a:gd name="T116" fmla="*/ 94 w 280"/>
                <a:gd name="T117" fmla="*/ 640 h 644"/>
                <a:gd name="T118" fmla="*/ 72 w 280"/>
                <a:gd name="T119" fmla="*/ 610 h 644"/>
                <a:gd name="T120" fmla="*/ 126 w 280"/>
                <a:gd name="T121" fmla="*/ 636 h 644"/>
                <a:gd name="T122" fmla="*/ 126 w 280"/>
                <a:gd name="T123" fmla="*/ 640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0" h="644">
                  <a:moveTo>
                    <a:pt x="24" y="358"/>
                  </a:moveTo>
                  <a:lnTo>
                    <a:pt x="24" y="354"/>
                  </a:lnTo>
                  <a:lnTo>
                    <a:pt x="24" y="350"/>
                  </a:lnTo>
                  <a:lnTo>
                    <a:pt x="24" y="346"/>
                  </a:lnTo>
                  <a:lnTo>
                    <a:pt x="28" y="346"/>
                  </a:lnTo>
                  <a:lnTo>
                    <a:pt x="28" y="342"/>
                  </a:lnTo>
                  <a:lnTo>
                    <a:pt x="24" y="342"/>
                  </a:lnTo>
                  <a:lnTo>
                    <a:pt x="28" y="338"/>
                  </a:lnTo>
                  <a:lnTo>
                    <a:pt x="28" y="334"/>
                  </a:lnTo>
                  <a:lnTo>
                    <a:pt x="28" y="330"/>
                  </a:lnTo>
                  <a:lnTo>
                    <a:pt x="28" y="328"/>
                  </a:lnTo>
                  <a:lnTo>
                    <a:pt x="28" y="330"/>
                  </a:lnTo>
                  <a:lnTo>
                    <a:pt x="30" y="330"/>
                  </a:lnTo>
                  <a:lnTo>
                    <a:pt x="30" y="328"/>
                  </a:lnTo>
                  <a:lnTo>
                    <a:pt x="30" y="324"/>
                  </a:lnTo>
                  <a:lnTo>
                    <a:pt x="30" y="320"/>
                  </a:lnTo>
                  <a:lnTo>
                    <a:pt x="30" y="316"/>
                  </a:lnTo>
                  <a:lnTo>
                    <a:pt x="34" y="316"/>
                  </a:lnTo>
                  <a:lnTo>
                    <a:pt x="34" y="312"/>
                  </a:lnTo>
                  <a:lnTo>
                    <a:pt x="38" y="312"/>
                  </a:lnTo>
                  <a:lnTo>
                    <a:pt x="38" y="308"/>
                  </a:lnTo>
                  <a:lnTo>
                    <a:pt x="38" y="304"/>
                  </a:lnTo>
                  <a:lnTo>
                    <a:pt x="38" y="302"/>
                  </a:lnTo>
                  <a:lnTo>
                    <a:pt x="34" y="298"/>
                  </a:lnTo>
                  <a:lnTo>
                    <a:pt x="34" y="294"/>
                  </a:lnTo>
                  <a:lnTo>
                    <a:pt x="34" y="290"/>
                  </a:lnTo>
                  <a:lnTo>
                    <a:pt x="34" y="286"/>
                  </a:lnTo>
                  <a:lnTo>
                    <a:pt x="34" y="282"/>
                  </a:lnTo>
                  <a:lnTo>
                    <a:pt x="34" y="278"/>
                  </a:lnTo>
                  <a:lnTo>
                    <a:pt x="34" y="274"/>
                  </a:lnTo>
                  <a:lnTo>
                    <a:pt x="34" y="272"/>
                  </a:lnTo>
                  <a:lnTo>
                    <a:pt x="38" y="268"/>
                  </a:lnTo>
                  <a:lnTo>
                    <a:pt x="38" y="272"/>
                  </a:lnTo>
                  <a:lnTo>
                    <a:pt x="42" y="268"/>
                  </a:lnTo>
                  <a:lnTo>
                    <a:pt x="42" y="264"/>
                  </a:lnTo>
                  <a:lnTo>
                    <a:pt x="46" y="264"/>
                  </a:lnTo>
                  <a:lnTo>
                    <a:pt x="46" y="260"/>
                  </a:lnTo>
                  <a:lnTo>
                    <a:pt x="46" y="256"/>
                  </a:lnTo>
                  <a:lnTo>
                    <a:pt x="46" y="252"/>
                  </a:lnTo>
                  <a:lnTo>
                    <a:pt x="46" y="248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6" y="246"/>
                  </a:lnTo>
                  <a:lnTo>
                    <a:pt x="46" y="242"/>
                  </a:lnTo>
                  <a:lnTo>
                    <a:pt x="46" y="238"/>
                  </a:lnTo>
                  <a:lnTo>
                    <a:pt x="46" y="234"/>
                  </a:lnTo>
                  <a:lnTo>
                    <a:pt x="50" y="234"/>
                  </a:lnTo>
                  <a:lnTo>
                    <a:pt x="50" y="230"/>
                  </a:lnTo>
                  <a:lnTo>
                    <a:pt x="50" y="226"/>
                  </a:lnTo>
                  <a:lnTo>
                    <a:pt x="54" y="226"/>
                  </a:lnTo>
                  <a:lnTo>
                    <a:pt x="54" y="222"/>
                  </a:lnTo>
                  <a:lnTo>
                    <a:pt x="54" y="218"/>
                  </a:lnTo>
                  <a:lnTo>
                    <a:pt x="54" y="216"/>
                  </a:lnTo>
                  <a:lnTo>
                    <a:pt x="54" y="212"/>
                  </a:lnTo>
                  <a:lnTo>
                    <a:pt x="54" y="208"/>
                  </a:lnTo>
                  <a:lnTo>
                    <a:pt x="50" y="208"/>
                  </a:lnTo>
                  <a:lnTo>
                    <a:pt x="50" y="204"/>
                  </a:lnTo>
                  <a:lnTo>
                    <a:pt x="50" y="200"/>
                  </a:lnTo>
                  <a:lnTo>
                    <a:pt x="50" y="196"/>
                  </a:lnTo>
                  <a:lnTo>
                    <a:pt x="50" y="192"/>
                  </a:lnTo>
                  <a:lnTo>
                    <a:pt x="46" y="192"/>
                  </a:lnTo>
                  <a:lnTo>
                    <a:pt x="46" y="190"/>
                  </a:lnTo>
                  <a:lnTo>
                    <a:pt x="46" y="186"/>
                  </a:lnTo>
                  <a:lnTo>
                    <a:pt x="46" y="182"/>
                  </a:lnTo>
                  <a:lnTo>
                    <a:pt x="42" y="178"/>
                  </a:lnTo>
                  <a:lnTo>
                    <a:pt x="42" y="174"/>
                  </a:lnTo>
                  <a:lnTo>
                    <a:pt x="42" y="170"/>
                  </a:lnTo>
                  <a:lnTo>
                    <a:pt x="46" y="170"/>
                  </a:lnTo>
                  <a:lnTo>
                    <a:pt x="46" y="166"/>
                  </a:lnTo>
                  <a:lnTo>
                    <a:pt x="46" y="162"/>
                  </a:lnTo>
                  <a:lnTo>
                    <a:pt x="46" y="160"/>
                  </a:lnTo>
                  <a:lnTo>
                    <a:pt x="50" y="160"/>
                  </a:lnTo>
                  <a:lnTo>
                    <a:pt x="50" y="156"/>
                  </a:lnTo>
                  <a:lnTo>
                    <a:pt x="54" y="156"/>
                  </a:lnTo>
                  <a:lnTo>
                    <a:pt x="54" y="152"/>
                  </a:lnTo>
                  <a:lnTo>
                    <a:pt x="54" y="148"/>
                  </a:lnTo>
                  <a:lnTo>
                    <a:pt x="54" y="144"/>
                  </a:lnTo>
                  <a:lnTo>
                    <a:pt x="50" y="140"/>
                  </a:lnTo>
                  <a:lnTo>
                    <a:pt x="54" y="140"/>
                  </a:lnTo>
                  <a:lnTo>
                    <a:pt x="50" y="140"/>
                  </a:lnTo>
                  <a:lnTo>
                    <a:pt x="50" y="136"/>
                  </a:lnTo>
                  <a:lnTo>
                    <a:pt x="54" y="134"/>
                  </a:lnTo>
                  <a:lnTo>
                    <a:pt x="54" y="130"/>
                  </a:lnTo>
                  <a:lnTo>
                    <a:pt x="54" y="126"/>
                  </a:lnTo>
                  <a:lnTo>
                    <a:pt x="54" y="122"/>
                  </a:lnTo>
                  <a:lnTo>
                    <a:pt x="56" y="122"/>
                  </a:lnTo>
                  <a:lnTo>
                    <a:pt x="56" y="118"/>
                  </a:lnTo>
                  <a:lnTo>
                    <a:pt x="60" y="114"/>
                  </a:lnTo>
                  <a:lnTo>
                    <a:pt x="60" y="110"/>
                  </a:lnTo>
                  <a:lnTo>
                    <a:pt x="64" y="110"/>
                  </a:lnTo>
                  <a:lnTo>
                    <a:pt x="64" y="106"/>
                  </a:lnTo>
                  <a:lnTo>
                    <a:pt x="64" y="104"/>
                  </a:lnTo>
                  <a:lnTo>
                    <a:pt x="68" y="100"/>
                  </a:lnTo>
                  <a:lnTo>
                    <a:pt x="68" y="96"/>
                  </a:lnTo>
                  <a:lnTo>
                    <a:pt x="72" y="96"/>
                  </a:lnTo>
                  <a:lnTo>
                    <a:pt x="76" y="96"/>
                  </a:lnTo>
                  <a:lnTo>
                    <a:pt x="76" y="92"/>
                  </a:lnTo>
                  <a:lnTo>
                    <a:pt x="72" y="88"/>
                  </a:lnTo>
                  <a:lnTo>
                    <a:pt x="72" y="84"/>
                  </a:lnTo>
                  <a:lnTo>
                    <a:pt x="72" y="82"/>
                  </a:lnTo>
                  <a:lnTo>
                    <a:pt x="72" y="78"/>
                  </a:lnTo>
                  <a:lnTo>
                    <a:pt x="72" y="74"/>
                  </a:lnTo>
                  <a:lnTo>
                    <a:pt x="72" y="70"/>
                  </a:lnTo>
                  <a:lnTo>
                    <a:pt x="72" y="66"/>
                  </a:lnTo>
                  <a:lnTo>
                    <a:pt x="72" y="64"/>
                  </a:lnTo>
                  <a:lnTo>
                    <a:pt x="76" y="60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80" y="44"/>
                  </a:lnTo>
                  <a:lnTo>
                    <a:pt x="82" y="44"/>
                  </a:lnTo>
                  <a:lnTo>
                    <a:pt x="86" y="44"/>
                  </a:lnTo>
                  <a:lnTo>
                    <a:pt x="86" y="40"/>
                  </a:lnTo>
                  <a:lnTo>
                    <a:pt x="90" y="36"/>
                  </a:lnTo>
                  <a:lnTo>
                    <a:pt x="90" y="34"/>
                  </a:lnTo>
                  <a:lnTo>
                    <a:pt x="90" y="30"/>
                  </a:lnTo>
                  <a:lnTo>
                    <a:pt x="90" y="26"/>
                  </a:lnTo>
                  <a:lnTo>
                    <a:pt x="94" y="26"/>
                  </a:lnTo>
                  <a:lnTo>
                    <a:pt x="94" y="22"/>
                  </a:lnTo>
                  <a:lnTo>
                    <a:pt x="90" y="22"/>
                  </a:lnTo>
                  <a:lnTo>
                    <a:pt x="90" y="18"/>
                  </a:lnTo>
                  <a:lnTo>
                    <a:pt x="94" y="18"/>
                  </a:lnTo>
                  <a:lnTo>
                    <a:pt x="94" y="14"/>
                  </a:lnTo>
                  <a:lnTo>
                    <a:pt x="98" y="14"/>
                  </a:lnTo>
                  <a:lnTo>
                    <a:pt x="98" y="10"/>
                  </a:lnTo>
                  <a:lnTo>
                    <a:pt x="98" y="6"/>
                  </a:lnTo>
                  <a:lnTo>
                    <a:pt x="102" y="6"/>
                  </a:lnTo>
                  <a:lnTo>
                    <a:pt x="102" y="4"/>
                  </a:lnTo>
                  <a:lnTo>
                    <a:pt x="106" y="4"/>
                  </a:lnTo>
                  <a:lnTo>
                    <a:pt x="106" y="0"/>
                  </a:lnTo>
                  <a:lnTo>
                    <a:pt x="106" y="4"/>
                  </a:lnTo>
                  <a:lnTo>
                    <a:pt x="108" y="4"/>
                  </a:lnTo>
                  <a:lnTo>
                    <a:pt x="108" y="6"/>
                  </a:lnTo>
                  <a:lnTo>
                    <a:pt x="112" y="6"/>
                  </a:lnTo>
                  <a:lnTo>
                    <a:pt x="120" y="6"/>
                  </a:lnTo>
                  <a:lnTo>
                    <a:pt x="122" y="6"/>
                  </a:lnTo>
                  <a:lnTo>
                    <a:pt x="126" y="6"/>
                  </a:lnTo>
                  <a:lnTo>
                    <a:pt x="126" y="10"/>
                  </a:lnTo>
                  <a:lnTo>
                    <a:pt x="126" y="14"/>
                  </a:lnTo>
                  <a:lnTo>
                    <a:pt x="126" y="18"/>
                  </a:lnTo>
                  <a:lnTo>
                    <a:pt x="130" y="18"/>
                  </a:lnTo>
                  <a:lnTo>
                    <a:pt x="130" y="22"/>
                  </a:lnTo>
                  <a:lnTo>
                    <a:pt x="130" y="18"/>
                  </a:lnTo>
                  <a:lnTo>
                    <a:pt x="130" y="14"/>
                  </a:lnTo>
                  <a:lnTo>
                    <a:pt x="134" y="10"/>
                  </a:lnTo>
                  <a:lnTo>
                    <a:pt x="134" y="6"/>
                  </a:lnTo>
                  <a:lnTo>
                    <a:pt x="138" y="6"/>
                  </a:lnTo>
                  <a:lnTo>
                    <a:pt x="142" y="6"/>
                  </a:lnTo>
                  <a:lnTo>
                    <a:pt x="146" y="6"/>
                  </a:lnTo>
                  <a:lnTo>
                    <a:pt x="150" y="6"/>
                  </a:lnTo>
                  <a:lnTo>
                    <a:pt x="152" y="6"/>
                  </a:lnTo>
                  <a:lnTo>
                    <a:pt x="152" y="10"/>
                  </a:lnTo>
                  <a:lnTo>
                    <a:pt x="156" y="10"/>
                  </a:lnTo>
                  <a:lnTo>
                    <a:pt x="156" y="14"/>
                  </a:lnTo>
                  <a:lnTo>
                    <a:pt x="160" y="14"/>
                  </a:lnTo>
                  <a:lnTo>
                    <a:pt x="160" y="18"/>
                  </a:lnTo>
                  <a:lnTo>
                    <a:pt x="164" y="22"/>
                  </a:lnTo>
                  <a:lnTo>
                    <a:pt x="164" y="26"/>
                  </a:lnTo>
                  <a:lnTo>
                    <a:pt x="168" y="26"/>
                  </a:lnTo>
                  <a:lnTo>
                    <a:pt x="168" y="30"/>
                  </a:lnTo>
                  <a:lnTo>
                    <a:pt x="172" y="30"/>
                  </a:lnTo>
                  <a:lnTo>
                    <a:pt x="172" y="34"/>
                  </a:lnTo>
                  <a:lnTo>
                    <a:pt x="176" y="34"/>
                  </a:lnTo>
                  <a:lnTo>
                    <a:pt x="176" y="36"/>
                  </a:lnTo>
                  <a:lnTo>
                    <a:pt x="178" y="36"/>
                  </a:lnTo>
                  <a:lnTo>
                    <a:pt x="182" y="36"/>
                  </a:lnTo>
                  <a:lnTo>
                    <a:pt x="182" y="40"/>
                  </a:lnTo>
                  <a:lnTo>
                    <a:pt x="186" y="40"/>
                  </a:lnTo>
                  <a:lnTo>
                    <a:pt x="190" y="40"/>
                  </a:lnTo>
                  <a:lnTo>
                    <a:pt x="198" y="44"/>
                  </a:lnTo>
                  <a:lnTo>
                    <a:pt x="198" y="48"/>
                  </a:lnTo>
                  <a:lnTo>
                    <a:pt x="202" y="48"/>
                  </a:lnTo>
                  <a:lnTo>
                    <a:pt x="202" y="52"/>
                  </a:lnTo>
                  <a:lnTo>
                    <a:pt x="204" y="52"/>
                  </a:lnTo>
                  <a:lnTo>
                    <a:pt x="208" y="56"/>
                  </a:lnTo>
                  <a:lnTo>
                    <a:pt x="212" y="56"/>
                  </a:lnTo>
                  <a:lnTo>
                    <a:pt x="216" y="60"/>
                  </a:lnTo>
                  <a:lnTo>
                    <a:pt x="220" y="60"/>
                  </a:lnTo>
                  <a:lnTo>
                    <a:pt x="224" y="64"/>
                  </a:lnTo>
                  <a:lnTo>
                    <a:pt x="224" y="66"/>
                  </a:lnTo>
                  <a:lnTo>
                    <a:pt x="228" y="66"/>
                  </a:lnTo>
                  <a:lnTo>
                    <a:pt x="228" y="70"/>
                  </a:lnTo>
                  <a:lnTo>
                    <a:pt x="224" y="70"/>
                  </a:lnTo>
                  <a:lnTo>
                    <a:pt x="224" y="74"/>
                  </a:lnTo>
                  <a:lnTo>
                    <a:pt x="220" y="74"/>
                  </a:lnTo>
                  <a:lnTo>
                    <a:pt x="220" y="78"/>
                  </a:lnTo>
                  <a:lnTo>
                    <a:pt x="216" y="82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16" y="92"/>
                  </a:lnTo>
                  <a:lnTo>
                    <a:pt x="212" y="92"/>
                  </a:lnTo>
                  <a:lnTo>
                    <a:pt x="212" y="96"/>
                  </a:lnTo>
                  <a:lnTo>
                    <a:pt x="208" y="96"/>
                  </a:lnTo>
                  <a:lnTo>
                    <a:pt x="212" y="100"/>
                  </a:lnTo>
                  <a:lnTo>
                    <a:pt x="216" y="100"/>
                  </a:lnTo>
                  <a:lnTo>
                    <a:pt x="220" y="100"/>
                  </a:lnTo>
                  <a:lnTo>
                    <a:pt x="224" y="100"/>
                  </a:lnTo>
                  <a:lnTo>
                    <a:pt x="228" y="104"/>
                  </a:lnTo>
                  <a:lnTo>
                    <a:pt x="230" y="104"/>
                  </a:lnTo>
                  <a:lnTo>
                    <a:pt x="234" y="104"/>
                  </a:lnTo>
                  <a:lnTo>
                    <a:pt x="238" y="104"/>
                  </a:lnTo>
                  <a:lnTo>
                    <a:pt x="242" y="104"/>
                  </a:lnTo>
                  <a:lnTo>
                    <a:pt x="242" y="100"/>
                  </a:lnTo>
                  <a:lnTo>
                    <a:pt x="246" y="100"/>
                  </a:lnTo>
                  <a:lnTo>
                    <a:pt x="250" y="100"/>
                  </a:lnTo>
                  <a:lnTo>
                    <a:pt x="250" y="104"/>
                  </a:lnTo>
                  <a:lnTo>
                    <a:pt x="254" y="104"/>
                  </a:lnTo>
                  <a:lnTo>
                    <a:pt x="254" y="100"/>
                  </a:lnTo>
                  <a:lnTo>
                    <a:pt x="254" y="96"/>
                  </a:lnTo>
                  <a:lnTo>
                    <a:pt x="258" y="92"/>
                  </a:lnTo>
                  <a:lnTo>
                    <a:pt x="260" y="92"/>
                  </a:lnTo>
                  <a:lnTo>
                    <a:pt x="260" y="88"/>
                  </a:lnTo>
                  <a:lnTo>
                    <a:pt x="264" y="88"/>
                  </a:lnTo>
                  <a:lnTo>
                    <a:pt x="264" y="84"/>
                  </a:lnTo>
                  <a:lnTo>
                    <a:pt x="268" y="82"/>
                  </a:lnTo>
                  <a:lnTo>
                    <a:pt x="268" y="78"/>
                  </a:lnTo>
                  <a:lnTo>
                    <a:pt x="268" y="74"/>
                  </a:lnTo>
                  <a:lnTo>
                    <a:pt x="268" y="70"/>
                  </a:lnTo>
                  <a:lnTo>
                    <a:pt x="272" y="70"/>
                  </a:lnTo>
                  <a:lnTo>
                    <a:pt x="272" y="66"/>
                  </a:lnTo>
                  <a:lnTo>
                    <a:pt x="276" y="66"/>
                  </a:lnTo>
                  <a:lnTo>
                    <a:pt x="280" y="70"/>
                  </a:lnTo>
                  <a:lnTo>
                    <a:pt x="280" y="74"/>
                  </a:lnTo>
                  <a:lnTo>
                    <a:pt x="280" y="78"/>
                  </a:lnTo>
                  <a:lnTo>
                    <a:pt x="280" y="82"/>
                  </a:lnTo>
                  <a:lnTo>
                    <a:pt x="280" y="84"/>
                  </a:lnTo>
                  <a:lnTo>
                    <a:pt x="280" y="88"/>
                  </a:lnTo>
                  <a:lnTo>
                    <a:pt x="280" y="92"/>
                  </a:lnTo>
                  <a:lnTo>
                    <a:pt x="280" y="96"/>
                  </a:lnTo>
                  <a:lnTo>
                    <a:pt x="276" y="96"/>
                  </a:lnTo>
                  <a:lnTo>
                    <a:pt x="276" y="100"/>
                  </a:lnTo>
                  <a:lnTo>
                    <a:pt x="272" y="100"/>
                  </a:lnTo>
                  <a:lnTo>
                    <a:pt x="272" y="104"/>
                  </a:lnTo>
                  <a:lnTo>
                    <a:pt x="268" y="104"/>
                  </a:lnTo>
                  <a:lnTo>
                    <a:pt x="264" y="104"/>
                  </a:lnTo>
                  <a:lnTo>
                    <a:pt x="264" y="106"/>
                  </a:lnTo>
                  <a:lnTo>
                    <a:pt x="260" y="110"/>
                  </a:lnTo>
                  <a:lnTo>
                    <a:pt x="258" y="110"/>
                  </a:lnTo>
                  <a:lnTo>
                    <a:pt x="258" y="114"/>
                  </a:lnTo>
                  <a:lnTo>
                    <a:pt x="254" y="114"/>
                  </a:lnTo>
                  <a:lnTo>
                    <a:pt x="250" y="114"/>
                  </a:lnTo>
                  <a:lnTo>
                    <a:pt x="250" y="118"/>
                  </a:lnTo>
                  <a:lnTo>
                    <a:pt x="254" y="118"/>
                  </a:lnTo>
                  <a:lnTo>
                    <a:pt x="250" y="118"/>
                  </a:lnTo>
                  <a:lnTo>
                    <a:pt x="250" y="122"/>
                  </a:lnTo>
                  <a:lnTo>
                    <a:pt x="246" y="122"/>
                  </a:lnTo>
                  <a:lnTo>
                    <a:pt x="246" y="126"/>
                  </a:lnTo>
                  <a:lnTo>
                    <a:pt x="242" y="126"/>
                  </a:lnTo>
                  <a:lnTo>
                    <a:pt x="242" y="130"/>
                  </a:lnTo>
                  <a:lnTo>
                    <a:pt x="242" y="134"/>
                  </a:lnTo>
                  <a:lnTo>
                    <a:pt x="238" y="134"/>
                  </a:lnTo>
                  <a:lnTo>
                    <a:pt x="238" y="136"/>
                  </a:lnTo>
                  <a:lnTo>
                    <a:pt x="234" y="140"/>
                  </a:lnTo>
                  <a:lnTo>
                    <a:pt x="234" y="144"/>
                  </a:lnTo>
                  <a:lnTo>
                    <a:pt x="230" y="144"/>
                  </a:lnTo>
                  <a:lnTo>
                    <a:pt x="228" y="148"/>
                  </a:lnTo>
                  <a:lnTo>
                    <a:pt x="228" y="152"/>
                  </a:lnTo>
                  <a:lnTo>
                    <a:pt x="224" y="152"/>
                  </a:lnTo>
                  <a:lnTo>
                    <a:pt x="224" y="156"/>
                  </a:lnTo>
                  <a:lnTo>
                    <a:pt x="220" y="160"/>
                  </a:lnTo>
                  <a:lnTo>
                    <a:pt x="224" y="162"/>
                  </a:lnTo>
                  <a:lnTo>
                    <a:pt x="220" y="166"/>
                  </a:lnTo>
                  <a:lnTo>
                    <a:pt x="220" y="170"/>
                  </a:lnTo>
                  <a:lnTo>
                    <a:pt x="220" y="174"/>
                  </a:lnTo>
                  <a:lnTo>
                    <a:pt x="220" y="178"/>
                  </a:lnTo>
                  <a:lnTo>
                    <a:pt x="220" y="182"/>
                  </a:lnTo>
                  <a:lnTo>
                    <a:pt x="216" y="182"/>
                  </a:lnTo>
                  <a:lnTo>
                    <a:pt x="216" y="186"/>
                  </a:lnTo>
                  <a:lnTo>
                    <a:pt x="216" y="190"/>
                  </a:lnTo>
                  <a:lnTo>
                    <a:pt x="220" y="190"/>
                  </a:lnTo>
                  <a:lnTo>
                    <a:pt x="220" y="192"/>
                  </a:lnTo>
                  <a:lnTo>
                    <a:pt x="216" y="192"/>
                  </a:lnTo>
                  <a:lnTo>
                    <a:pt x="216" y="196"/>
                  </a:lnTo>
                  <a:lnTo>
                    <a:pt x="216" y="200"/>
                  </a:lnTo>
                  <a:lnTo>
                    <a:pt x="216" y="204"/>
                  </a:lnTo>
                  <a:lnTo>
                    <a:pt x="212" y="204"/>
                  </a:lnTo>
                  <a:lnTo>
                    <a:pt x="212" y="208"/>
                  </a:lnTo>
                  <a:lnTo>
                    <a:pt x="212" y="212"/>
                  </a:lnTo>
                  <a:lnTo>
                    <a:pt x="212" y="216"/>
                  </a:lnTo>
                  <a:lnTo>
                    <a:pt x="212" y="218"/>
                  </a:lnTo>
                  <a:lnTo>
                    <a:pt x="212" y="222"/>
                  </a:lnTo>
                  <a:lnTo>
                    <a:pt x="212" y="226"/>
                  </a:lnTo>
                  <a:lnTo>
                    <a:pt x="212" y="230"/>
                  </a:lnTo>
                  <a:lnTo>
                    <a:pt x="212" y="234"/>
                  </a:lnTo>
                  <a:lnTo>
                    <a:pt x="216" y="234"/>
                  </a:lnTo>
                  <a:lnTo>
                    <a:pt x="216" y="238"/>
                  </a:lnTo>
                  <a:lnTo>
                    <a:pt x="220" y="238"/>
                  </a:lnTo>
                  <a:lnTo>
                    <a:pt x="224" y="238"/>
                  </a:lnTo>
                  <a:lnTo>
                    <a:pt x="228" y="242"/>
                  </a:lnTo>
                  <a:lnTo>
                    <a:pt x="228" y="246"/>
                  </a:lnTo>
                  <a:lnTo>
                    <a:pt x="230" y="246"/>
                  </a:lnTo>
                  <a:lnTo>
                    <a:pt x="230" y="248"/>
                  </a:lnTo>
                  <a:lnTo>
                    <a:pt x="230" y="252"/>
                  </a:lnTo>
                  <a:lnTo>
                    <a:pt x="228" y="256"/>
                  </a:lnTo>
                  <a:lnTo>
                    <a:pt x="228" y="260"/>
                  </a:lnTo>
                  <a:lnTo>
                    <a:pt x="230" y="264"/>
                  </a:lnTo>
                  <a:lnTo>
                    <a:pt x="230" y="268"/>
                  </a:lnTo>
                  <a:lnTo>
                    <a:pt x="234" y="268"/>
                  </a:lnTo>
                  <a:lnTo>
                    <a:pt x="238" y="268"/>
                  </a:lnTo>
                  <a:lnTo>
                    <a:pt x="238" y="272"/>
                  </a:lnTo>
                  <a:lnTo>
                    <a:pt x="238" y="274"/>
                  </a:lnTo>
                  <a:lnTo>
                    <a:pt x="238" y="278"/>
                  </a:lnTo>
                  <a:lnTo>
                    <a:pt x="234" y="282"/>
                  </a:lnTo>
                  <a:lnTo>
                    <a:pt x="234" y="286"/>
                  </a:lnTo>
                  <a:lnTo>
                    <a:pt x="230" y="286"/>
                  </a:lnTo>
                  <a:lnTo>
                    <a:pt x="230" y="290"/>
                  </a:lnTo>
                  <a:lnTo>
                    <a:pt x="228" y="294"/>
                  </a:lnTo>
                  <a:lnTo>
                    <a:pt x="228" y="298"/>
                  </a:lnTo>
                  <a:lnTo>
                    <a:pt x="228" y="302"/>
                  </a:lnTo>
                  <a:lnTo>
                    <a:pt x="224" y="302"/>
                  </a:lnTo>
                  <a:lnTo>
                    <a:pt x="224" y="304"/>
                  </a:lnTo>
                  <a:lnTo>
                    <a:pt x="216" y="304"/>
                  </a:lnTo>
                  <a:lnTo>
                    <a:pt x="216" y="308"/>
                  </a:lnTo>
                  <a:lnTo>
                    <a:pt x="208" y="308"/>
                  </a:lnTo>
                  <a:lnTo>
                    <a:pt x="204" y="312"/>
                  </a:lnTo>
                  <a:lnTo>
                    <a:pt x="202" y="312"/>
                  </a:lnTo>
                  <a:lnTo>
                    <a:pt x="198" y="312"/>
                  </a:lnTo>
                  <a:lnTo>
                    <a:pt x="194" y="316"/>
                  </a:lnTo>
                  <a:lnTo>
                    <a:pt x="190" y="316"/>
                  </a:lnTo>
                  <a:lnTo>
                    <a:pt x="186" y="316"/>
                  </a:lnTo>
                  <a:lnTo>
                    <a:pt x="182" y="316"/>
                  </a:lnTo>
                  <a:lnTo>
                    <a:pt x="178" y="316"/>
                  </a:lnTo>
                  <a:lnTo>
                    <a:pt x="176" y="316"/>
                  </a:lnTo>
                  <a:lnTo>
                    <a:pt x="172" y="316"/>
                  </a:lnTo>
                  <a:lnTo>
                    <a:pt x="168" y="316"/>
                  </a:lnTo>
                  <a:lnTo>
                    <a:pt x="164" y="316"/>
                  </a:lnTo>
                  <a:lnTo>
                    <a:pt x="160" y="316"/>
                  </a:lnTo>
                  <a:lnTo>
                    <a:pt x="160" y="312"/>
                  </a:lnTo>
                  <a:lnTo>
                    <a:pt x="156" y="312"/>
                  </a:lnTo>
                  <a:lnTo>
                    <a:pt x="156" y="316"/>
                  </a:lnTo>
                  <a:lnTo>
                    <a:pt x="160" y="316"/>
                  </a:lnTo>
                  <a:lnTo>
                    <a:pt x="160" y="320"/>
                  </a:lnTo>
                  <a:lnTo>
                    <a:pt x="156" y="320"/>
                  </a:lnTo>
                  <a:lnTo>
                    <a:pt x="156" y="324"/>
                  </a:lnTo>
                  <a:lnTo>
                    <a:pt x="160" y="324"/>
                  </a:lnTo>
                  <a:lnTo>
                    <a:pt x="164" y="324"/>
                  </a:lnTo>
                  <a:lnTo>
                    <a:pt x="164" y="328"/>
                  </a:lnTo>
                  <a:lnTo>
                    <a:pt x="160" y="324"/>
                  </a:lnTo>
                  <a:lnTo>
                    <a:pt x="160" y="328"/>
                  </a:lnTo>
                  <a:lnTo>
                    <a:pt x="160" y="330"/>
                  </a:lnTo>
                  <a:lnTo>
                    <a:pt x="160" y="334"/>
                  </a:lnTo>
                  <a:lnTo>
                    <a:pt x="156" y="338"/>
                  </a:lnTo>
                  <a:lnTo>
                    <a:pt x="156" y="342"/>
                  </a:lnTo>
                  <a:lnTo>
                    <a:pt x="156" y="346"/>
                  </a:lnTo>
                  <a:lnTo>
                    <a:pt x="160" y="346"/>
                  </a:lnTo>
                  <a:lnTo>
                    <a:pt x="160" y="350"/>
                  </a:lnTo>
                  <a:lnTo>
                    <a:pt x="156" y="350"/>
                  </a:lnTo>
                  <a:lnTo>
                    <a:pt x="160" y="350"/>
                  </a:lnTo>
                  <a:lnTo>
                    <a:pt x="160" y="354"/>
                  </a:lnTo>
                  <a:lnTo>
                    <a:pt x="156" y="354"/>
                  </a:lnTo>
                  <a:lnTo>
                    <a:pt x="152" y="358"/>
                  </a:lnTo>
                  <a:lnTo>
                    <a:pt x="150" y="358"/>
                  </a:lnTo>
                  <a:lnTo>
                    <a:pt x="150" y="360"/>
                  </a:lnTo>
                  <a:lnTo>
                    <a:pt x="146" y="360"/>
                  </a:lnTo>
                  <a:lnTo>
                    <a:pt x="142" y="360"/>
                  </a:lnTo>
                  <a:lnTo>
                    <a:pt x="138" y="360"/>
                  </a:lnTo>
                  <a:lnTo>
                    <a:pt x="138" y="358"/>
                  </a:lnTo>
                  <a:lnTo>
                    <a:pt x="134" y="358"/>
                  </a:lnTo>
                  <a:lnTo>
                    <a:pt x="130" y="358"/>
                  </a:lnTo>
                  <a:lnTo>
                    <a:pt x="126" y="354"/>
                  </a:lnTo>
                  <a:lnTo>
                    <a:pt x="122" y="354"/>
                  </a:lnTo>
                  <a:lnTo>
                    <a:pt x="122" y="350"/>
                  </a:lnTo>
                  <a:lnTo>
                    <a:pt x="120" y="350"/>
                  </a:lnTo>
                  <a:lnTo>
                    <a:pt x="120" y="354"/>
                  </a:lnTo>
                  <a:lnTo>
                    <a:pt x="120" y="358"/>
                  </a:lnTo>
                  <a:lnTo>
                    <a:pt x="120" y="360"/>
                  </a:lnTo>
                  <a:lnTo>
                    <a:pt x="120" y="364"/>
                  </a:lnTo>
                  <a:lnTo>
                    <a:pt x="120" y="368"/>
                  </a:lnTo>
                  <a:lnTo>
                    <a:pt x="120" y="372"/>
                  </a:lnTo>
                  <a:lnTo>
                    <a:pt x="120" y="376"/>
                  </a:lnTo>
                  <a:lnTo>
                    <a:pt x="120" y="380"/>
                  </a:lnTo>
                  <a:lnTo>
                    <a:pt x="122" y="380"/>
                  </a:lnTo>
                  <a:lnTo>
                    <a:pt x="126" y="380"/>
                  </a:lnTo>
                  <a:lnTo>
                    <a:pt x="126" y="384"/>
                  </a:lnTo>
                  <a:lnTo>
                    <a:pt x="134" y="384"/>
                  </a:lnTo>
                  <a:lnTo>
                    <a:pt x="134" y="380"/>
                  </a:lnTo>
                  <a:lnTo>
                    <a:pt x="130" y="380"/>
                  </a:lnTo>
                  <a:lnTo>
                    <a:pt x="134" y="380"/>
                  </a:lnTo>
                  <a:lnTo>
                    <a:pt x="138" y="380"/>
                  </a:lnTo>
                  <a:lnTo>
                    <a:pt x="138" y="376"/>
                  </a:lnTo>
                  <a:lnTo>
                    <a:pt x="138" y="380"/>
                  </a:lnTo>
                  <a:lnTo>
                    <a:pt x="142" y="380"/>
                  </a:lnTo>
                  <a:lnTo>
                    <a:pt x="142" y="384"/>
                  </a:lnTo>
                  <a:lnTo>
                    <a:pt x="142" y="386"/>
                  </a:lnTo>
                  <a:lnTo>
                    <a:pt x="142" y="390"/>
                  </a:lnTo>
                  <a:lnTo>
                    <a:pt x="138" y="390"/>
                  </a:lnTo>
                  <a:lnTo>
                    <a:pt x="134" y="394"/>
                  </a:lnTo>
                  <a:lnTo>
                    <a:pt x="130" y="390"/>
                  </a:lnTo>
                  <a:lnTo>
                    <a:pt x="130" y="386"/>
                  </a:lnTo>
                  <a:lnTo>
                    <a:pt x="126" y="386"/>
                  </a:lnTo>
                  <a:lnTo>
                    <a:pt x="122" y="386"/>
                  </a:lnTo>
                  <a:lnTo>
                    <a:pt x="120" y="390"/>
                  </a:lnTo>
                  <a:lnTo>
                    <a:pt x="122" y="390"/>
                  </a:lnTo>
                  <a:lnTo>
                    <a:pt x="122" y="394"/>
                  </a:lnTo>
                  <a:lnTo>
                    <a:pt x="126" y="394"/>
                  </a:lnTo>
                  <a:lnTo>
                    <a:pt x="130" y="394"/>
                  </a:lnTo>
                  <a:lnTo>
                    <a:pt x="130" y="398"/>
                  </a:lnTo>
                  <a:lnTo>
                    <a:pt x="126" y="398"/>
                  </a:lnTo>
                  <a:lnTo>
                    <a:pt x="122" y="398"/>
                  </a:lnTo>
                  <a:lnTo>
                    <a:pt x="122" y="402"/>
                  </a:lnTo>
                  <a:lnTo>
                    <a:pt x="120" y="402"/>
                  </a:lnTo>
                  <a:lnTo>
                    <a:pt x="120" y="406"/>
                  </a:lnTo>
                  <a:lnTo>
                    <a:pt x="116" y="406"/>
                  </a:lnTo>
                  <a:lnTo>
                    <a:pt x="116" y="410"/>
                  </a:lnTo>
                  <a:lnTo>
                    <a:pt x="116" y="414"/>
                  </a:lnTo>
                  <a:lnTo>
                    <a:pt x="120" y="414"/>
                  </a:lnTo>
                  <a:lnTo>
                    <a:pt x="116" y="416"/>
                  </a:lnTo>
                  <a:lnTo>
                    <a:pt x="116" y="420"/>
                  </a:lnTo>
                  <a:lnTo>
                    <a:pt x="116" y="424"/>
                  </a:lnTo>
                  <a:lnTo>
                    <a:pt x="112" y="428"/>
                  </a:lnTo>
                  <a:lnTo>
                    <a:pt x="112" y="432"/>
                  </a:lnTo>
                  <a:lnTo>
                    <a:pt x="112" y="436"/>
                  </a:lnTo>
                  <a:lnTo>
                    <a:pt x="108" y="436"/>
                  </a:lnTo>
                  <a:lnTo>
                    <a:pt x="106" y="436"/>
                  </a:lnTo>
                  <a:lnTo>
                    <a:pt x="102" y="436"/>
                  </a:lnTo>
                  <a:lnTo>
                    <a:pt x="102" y="440"/>
                  </a:lnTo>
                  <a:lnTo>
                    <a:pt x="98" y="440"/>
                  </a:lnTo>
                  <a:lnTo>
                    <a:pt x="94" y="440"/>
                  </a:lnTo>
                  <a:lnTo>
                    <a:pt x="94" y="442"/>
                  </a:lnTo>
                  <a:lnTo>
                    <a:pt x="90" y="442"/>
                  </a:lnTo>
                  <a:lnTo>
                    <a:pt x="90" y="446"/>
                  </a:lnTo>
                  <a:lnTo>
                    <a:pt x="86" y="446"/>
                  </a:lnTo>
                  <a:lnTo>
                    <a:pt x="86" y="450"/>
                  </a:lnTo>
                  <a:lnTo>
                    <a:pt x="86" y="454"/>
                  </a:lnTo>
                  <a:lnTo>
                    <a:pt x="82" y="458"/>
                  </a:lnTo>
                  <a:lnTo>
                    <a:pt x="86" y="462"/>
                  </a:lnTo>
                  <a:lnTo>
                    <a:pt x="86" y="466"/>
                  </a:lnTo>
                  <a:lnTo>
                    <a:pt x="86" y="470"/>
                  </a:lnTo>
                  <a:lnTo>
                    <a:pt x="90" y="470"/>
                  </a:lnTo>
                  <a:lnTo>
                    <a:pt x="94" y="472"/>
                  </a:lnTo>
                  <a:lnTo>
                    <a:pt x="94" y="476"/>
                  </a:lnTo>
                  <a:lnTo>
                    <a:pt x="98" y="476"/>
                  </a:lnTo>
                  <a:lnTo>
                    <a:pt x="102" y="476"/>
                  </a:lnTo>
                  <a:lnTo>
                    <a:pt x="106" y="476"/>
                  </a:lnTo>
                  <a:lnTo>
                    <a:pt x="108" y="476"/>
                  </a:lnTo>
                  <a:lnTo>
                    <a:pt x="108" y="480"/>
                  </a:lnTo>
                  <a:lnTo>
                    <a:pt x="112" y="484"/>
                  </a:lnTo>
                  <a:lnTo>
                    <a:pt x="108" y="488"/>
                  </a:lnTo>
                  <a:lnTo>
                    <a:pt x="108" y="490"/>
                  </a:lnTo>
                  <a:lnTo>
                    <a:pt x="106" y="490"/>
                  </a:lnTo>
                  <a:lnTo>
                    <a:pt x="108" y="490"/>
                  </a:lnTo>
                  <a:lnTo>
                    <a:pt x="108" y="494"/>
                  </a:lnTo>
                  <a:lnTo>
                    <a:pt x="108" y="498"/>
                  </a:lnTo>
                  <a:lnTo>
                    <a:pt x="106" y="498"/>
                  </a:lnTo>
                  <a:lnTo>
                    <a:pt x="102" y="502"/>
                  </a:lnTo>
                  <a:lnTo>
                    <a:pt x="98" y="502"/>
                  </a:lnTo>
                  <a:lnTo>
                    <a:pt x="98" y="506"/>
                  </a:lnTo>
                  <a:lnTo>
                    <a:pt x="94" y="506"/>
                  </a:lnTo>
                  <a:lnTo>
                    <a:pt x="94" y="510"/>
                  </a:lnTo>
                  <a:lnTo>
                    <a:pt x="90" y="510"/>
                  </a:lnTo>
                  <a:lnTo>
                    <a:pt x="90" y="512"/>
                  </a:lnTo>
                  <a:lnTo>
                    <a:pt x="86" y="512"/>
                  </a:lnTo>
                  <a:lnTo>
                    <a:pt x="86" y="516"/>
                  </a:lnTo>
                  <a:lnTo>
                    <a:pt x="82" y="516"/>
                  </a:lnTo>
                  <a:lnTo>
                    <a:pt x="82" y="520"/>
                  </a:lnTo>
                  <a:lnTo>
                    <a:pt x="82" y="524"/>
                  </a:lnTo>
                  <a:lnTo>
                    <a:pt x="82" y="520"/>
                  </a:lnTo>
                  <a:lnTo>
                    <a:pt x="82" y="524"/>
                  </a:lnTo>
                  <a:lnTo>
                    <a:pt x="82" y="528"/>
                  </a:lnTo>
                  <a:lnTo>
                    <a:pt x="82" y="532"/>
                  </a:lnTo>
                  <a:lnTo>
                    <a:pt x="82" y="536"/>
                  </a:lnTo>
                  <a:lnTo>
                    <a:pt x="80" y="536"/>
                  </a:lnTo>
                  <a:lnTo>
                    <a:pt x="80" y="540"/>
                  </a:lnTo>
                  <a:lnTo>
                    <a:pt x="76" y="540"/>
                  </a:lnTo>
                  <a:lnTo>
                    <a:pt x="72" y="540"/>
                  </a:lnTo>
                  <a:lnTo>
                    <a:pt x="72" y="536"/>
                  </a:lnTo>
                  <a:lnTo>
                    <a:pt x="68" y="536"/>
                  </a:lnTo>
                  <a:lnTo>
                    <a:pt x="64" y="536"/>
                  </a:lnTo>
                  <a:lnTo>
                    <a:pt x="68" y="536"/>
                  </a:lnTo>
                  <a:lnTo>
                    <a:pt x="72" y="536"/>
                  </a:lnTo>
                  <a:lnTo>
                    <a:pt x="72" y="540"/>
                  </a:lnTo>
                  <a:lnTo>
                    <a:pt x="76" y="540"/>
                  </a:lnTo>
                  <a:lnTo>
                    <a:pt x="72" y="540"/>
                  </a:lnTo>
                  <a:lnTo>
                    <a:pt x="72" y="542"/>
                  </a:lnTo>
                  <a:lnTo>
                    <a:pt x="68" y="542"/>
                  </a:lnTo>
                  <a:lnTo>
                    <a:pt x="64" y="542"/>
                  </a:lnTo>
                  <a:lnTo>
                    <a:pt x="64" y="546"/>
                  </a:lnTo>
                  <a:lnTo>
                    <a:pt x="64" y="550"/>
                  </a:lnTo>
                  <a:lnTo>
                    <a:pt x="64" y="554"/>
                  </a:lnTo>
                  <a:lnTo>
                    <a:pt x="60" y="558"/>
                  </a:lnTo>
                  <a:lnTo>
                    <a:pt x="64" y="558"/>
                  </a:lnTo>
                  <a:lnTo>
                    <a:pt x="64" y="562"/>
                  </a:lnTo>
                  <a:lnTo>
                    <a:pt x="64" y="566"/>
                  </a:lnTo>
                  <a:lnTo>
                    <a:pt x="64" y="568"/>
                  </a:lnTo>
                  <a:lnTo>
                    <a:pt x="60" y="568"/>
                  </a:lnTo>
                  <a:lnTo>
                    <a:pt x="56" y="568"/>
                  </a:lnTo>
                  <a:lnTo>
                    <a:pt x="60" y="568"/>
                  </a:lnTo>
                  <a:lnTo>
                    <a:pt x="64" y="568"/>
                  </a:lnTo>
                  <a:lnTo>
                    <a:pt x="64" y="572"/>
                  </a:lnTo>
                  <a:lnTo>
                    <a:pt x="68" y="572"/>
                  </a:lnTo>
                  <a:lnTo>
                    <a:pt x="68" y="576"/>
                  </a:lnTo>
                  <a:lnTo>
                    <a:pt x="68" y="580"/>
                  </a:lnTo>
                  <a:lnTo>
                    <a:pt x="72" y="580"/>
                  </a:lnTo>
                  <a:lnTo>
                    <a:pt x="72" y="584"/>
                  </a:lnTo>
                  <a:lnTo>
                    <a:pt x="72" y="588"/>
                  </a:lnTo>
                  <a:lnTo>
                    <a:pt x="72" y="584"/>
                  </a:lnTo>
                  <a:lnTo>
                    <a:pt x="68" y="584"/>
                  </a:lnTo>
                  <a:lnTo>
                    <a:pt x="64" y="584"/>
                  </a:lnTo>
                  <a:lnTo>
                    <a:pt x="60" y="580"/>
                  </a:lnTo>
                  <a:lnTo>
                    <a:pt x="56" y="580"/>
                  </a:lnTo>
                  <a:lnTo>
                    <a:pt x="54" y="580"/>
                  </a:lnTo>
                  <a:lnTo>
                    <a:pt x="50" y="580"/>
                  </a:lnTo>
                  <a:lnTo>
                    <a:pt x="46" y="580"/>
                  </a:lnTo>
                  <a:lnTo>
                    <a:pt x="42" y="580"/>
                  </a:lnTo>
                  <a:lnTo>
                    <a:pt x="34" y="580"/>
                  </a:lnTo>
                  <a:lnTo>
                    <a:pt x="28" y="580"/>
                  </a:lnTo>
                  <a:lnTo>
                    <a:pt x="24" y="576"/>
                  </a:lnTo>
                  <a:lnTo>
                    <a:pt x="20" y="572"/>
                  </a:lnTo>
                  <a:lnTo>
                    <a:pt x="16" y="568"/>
                  </a:lnTo>
                  <a:lnTo>
                    <a:pt x="20" y="566"/>
                  </a:lnTo>
                  <a:lnTo>
                    <a:pt x="20" y="562"/>
                  </a:lnTo>
                  <a:lnTo>
                    <a:pt x="16" y="562"/>
                  </a:lnTo>
                  <a:lnTo>
                    <a:pt x="16" y="558"/>
                  </a:lnTo>
                  <a:lnTo>
                    <a:pt x="20" y="558"/>
                  </a:lnTo>
                  <a:lnTo>
                    <a:pt x="20" y="554"/>
                  </a:lnTo>
                  <a:lnTo>
                    <a:pt x="16" y="550"/>
                  </a:lnTo>
                  <a:lnTo>
                    <a:pt x="20" y="550"/>
                  </a:lnTo>
                  <a:lnTo>
                    <a:pt x="16" y="550"/>
                  </a:lnTo>
                  <a:lnTo>
                    <a:pt x="12" y="550"/>
                  </a:lnTo>
                  <a:lnTo>
                    <a:pt x="8" y="550"/>
                  </a:lnTo>
                  <a:lnTo>
                    <a:pt x="8" y="554"/>
                  </a:lnTo>
                  <a:lnTo>
                    <a:pt x="4" y="554"/>
                  </a:lnTo>
                  <a:lnTo>
                    <a:pt x="4" y="550"/>
                  </a:lnTo>
                  <a:lnTo>
                    <a:pt x="4" y="546"/>
                  </a:lnTo>
                  <a:lnTo>
                    <a:pt x="4" y="542"/>
                  </a:lnTo>
                  <a:lnTo>
                    <a:pt x="0" y="540"/>
                  </a:lnTo>
                  <a:lnTo>
                    <a:pt x="0" y="536"/>
                  </a:lnTo>
                  <a:lnTo>
                    <a:pt x="0" y="532"/>
                  </a:lnTo>
                  <a:lnTo>
                    <a:pt x="0" y="528"/>
                  </a:lnTo>
                  <a:lnTo>
                    <a:pt x="0" y="524"/>
                  </a:lnTo>
                  <a:lnTo>
                    <a:pt x="0" y="520"/>
                  </a:lnTo>
                  <a:lnTo>
                    <a:pt x="4" y="520"/>
                  </a:lnTo>
                  <a:lnTo>
                    <a:pt x="8" y="520"/>
                  </a:lnTo>
                  <a:lnTo>
                    <a:pt x="4" y="520"/>
                  </a:lnTo>
                  <a:lnTo>
                    <a:pt x="8" y="516"/>
                  </a:lnTo>
                  <a:lnTo>
                    <a:pt x="8" y="512"/>
                  </a:lnTo>
                  <a:lnTo>
                    <a:pt x="12" y="512"/>
                  </a:lnTo>
                  <a:lnTo>
                    <a:pt x="16" y="512"/>
                  </a:lnTo>
                  <a:lnTo>
                    <a:pt x="16" y="510"/>
                  </a:lnTo>
                  <a:lnTo>
                    <a:pt x="16" y="506"/>
                  </a:lnTo>
                  <a:lnTo>
                    <a:pt x="12" y="506"/>
                  </a:lnTo>
                  <a:lnTo>
                    <a:pt x="16" y="506"/>
                  </a:lnTo>
                  <a:lnTo>
                    <a:pt x="16" y="502"/>
                  </a:lnTo>
                  <a:lnTo>
                    <a:pt x="20" y="502"/>
                  </a:lnTo>
                  <a:lnTo>
                    <a:pt x="20" y="498"/>
                  </a:lnTo>
                  <a:lnTo>
                    <a:pt x="16" y="494"/>
                  </a:lnTo>
                  <a:lnTo>
                    <a:pt x="16" y="490"/>
                  </a:lnTo>
                  <a:lnTo>
                    <a:pt x="16" y="488"/>
                  </a:lnTo>
                  <a:lnTo>
                    <a:pt x="20" y="488"/>
                  </a:lnTo>
                  <a:lnTo>
                    <a:pt x="16" y="484"/>
                  </a:lnTo>
                  <a:lnTo>
                    <a:pt x="20" y="484"/>
                  </a:lnTo>
                  <a:lnTo>
                    <a:pt x="24" y="480"/>
                  </a:lnTo>
                  <a:lnTo>
                    <a:pt x="24" y="476"/>
                  </a:lnTo>
                  <a:lnTo>
                    <a:pt x="24" y="472"/>
                  </a:lnTo>
                  <a:lnTo>
                    <a:pt x="28" y="470"/>
                  </a:lnTo>
                  <a:lnTo>
                    <a:pt x="28" y="466"/>
                  </a:lnTo>
                  <a:lnTo>
                    <a:pt x="28" y="462"/>
                  </a:lnTo>
                  <a:lnTo>
                    <a:pt x="28" y="458"/>
                  </a:lnTo>
                  <a:lnTo>
                    <a:pt x="24" y="458"/>
                  </a:lnTo>
                  <a:lnTo>
                    <a:pt x="28" y="458"/>
                  </a:lnTo>
                  <a:lnTo>
                    <a:pt x="28" y="454"/>
                  </a:lnTo>
                  <a:lnTo>
                    <a:pt x="28" y="450"/>
                  </a:lnTo>
                  <a:lnTo>
                    <a:pt x="28" y="446"/>
                  </a:lnTo>
                  <a:lnTo>
                    <a:pt x="30" y="442"/>
                  </a:lnTo>
                  <a:lnTo>
                    <a:pt x="30" y="440"/>
                  </a:lnTo>
                  <a:lnTo>
                    <a:pt x="30" y="436"/>
                  </a:lnTo>
                  <a:lnTo>
                    <a:pt x="28" y="436"/>
                  </a:lnTo>
                  <a:lnTo>
                    <a:pt x="24" y="436"/>
                  </a:lnTo>
                  <a:lnTo>
                    <a:pt x="24" y="432"/>
                  </a:lnTo>
                  <a:lnTo>
                    <a:pt x="20" y="432"/>
                  </a:lnTo>
                  <a:lnTo>
                    <a:pt x="24" y="432"/>
                  </a:lnTo>
                  <a:lnTo>
                    <a:pt x="28" y="432"/>
                  </a:lnTo>
                  <a:lnTo>
                    <a:pt x="30" y="432"/>
                  </a:lnTo>
                  <a:lnTo>
                    <a:pt x="34" y="432"/>
                  </a:lnTo>
                  <a:lnTo>
                    <a:pt x="34" y="428"/>
                  </a:lnTo>
                  <a:lnTo>
                    <a:pt x="34" y="424"/>
                  </a:lnTo>
                  <a:lnTo>
                    <a:pt x="30" y="424"/>
                  </a:lnTo>
                  <a:lnTo>
                    <a:pt x="28" y="424"/>
                  </a:lnTo>
                  <a:lnTo>
                    <a:pt x="24" y="424"/>
                  </a:lnTo>
                  <a:lnTo>
                    <a:pt x="24" y="420"/>
                  </a:lnTo>
                  <a:lnTo>
                    <a:pt x="28" y="420"/>
                  </a:lnTo>
                  <a:lnTo>
                    <a:pt x="24" y="416"/>
                  </a:lnTo>
                  <a:lnTo>
                    <a:pt x="28" y="416"/>
                  </a:lnTo>
                  <a:lnTo>
                    <a:pt x="28" y="414"/>
                  </a:lnTo>
                  <a:lnTo>
                    <a:pt x="28" y="410"/>
                  </a:lnTo>
                  <a:lnTo>
                    <a:pt x="28" y="406"/>
                  </a:lnTo>
                  <a:lnTo>
                    <a:pt x="24" y="406"/>
                  </a:lnTo>
                  <a:lnTo>
                    <a:pt x="24" y="402"/>
                  </a:lnTo>
                  <a:lnTo>
                    <a:pt x="28" y="402"/>
                  </a:lnTo>
                  <a:lnTo>
                    <a:pt x="28" y="398"/>
                  </a:lnTo>
                  <a:lnTo>
                    <a:pt x="24" y="398"/>
                  </a:lnTo>
                  <a:lnTo>
                    <a:pt x="20" y="398"/>
                  </a:lnTo>
                  <a:lnTo>
                    <a:pt x="20" y="394"/>
                  </a:lnTo>
                  <a:lnTo>
                    <a:pt x="20" y="390"/>
                  </a:lnTo>
                  <a:lnTo>
                    <a:pt x="20" y="386"/>
                  </a:lnTo>
                  <a:lnTo>
                    <a:pt x="24" y="384"/>
                  </a:lnTo>
                  <a:lnTo>
                    <a:pt x="20" y="384"/>
                  </a:lnTo>
                  <a:lnTo>
                    <a:pt x="24" y="380"/>
                  </a:lnTo>
                  <a:lnTo>
                    <a:pt x="28" y="380"/>
                  </a:lnTo>
                  <a:lnTo>
                    <a:pt x="28" y="376"/>
                  </a:lnTo>
                  <a:lnTo>
                    <a:pt x="28" y="372"/>
                  </a:lnTo>
                  <a:lnTo>
                    <a:pt x="24" y="372"/>
                  </a:lnTo>
                  <a:lnTo>
                    <a:pt x="24" y="368"/>
                  </a:lnTo>
                  <a:lnTo>
                    <a:pt x="24" y="364"/>
                  </a:lnTo>
                  <a:lnTo>
                    <a:pt x="24" y="360"/>
                  </a:lnTo>
                  <a:lnTo>
                    <a:pt x="24" y="358"/>
                  </a:lnTo>
                  <a:lnTo>
                    <a:pt x="24" y="358"/>
                  </a:lnTo>
                  <a:lnTo>
                    <a:pt x="24" y="358"/>
                  </a:lnTo>
                  <a:close/>
                  <a:moveTo>
                    <a:pt x="164" y="324"/>
                  </a:moveTo>
                  <a:lnTo>
                    <a:pt x="160" y="320"/>
                  </a:lnTo>
                  <a:lnTo>
                    <a:pt x="164" y="320"/>
                  </a:lnTo>
                  <a:lnTo>
                    <a:pt x="164" y="324"/>
                  </a:lnTo>
                  <a:lnTo>
                    <a:pt x="164" y="324"/>
                  </a:lnTo>
                  <a:lnTo>
                    <a:pt x="164" y="324"/>
                  </a:lnTo>
                  <a:close/>
                  <a:moveTo>
                    <a:pt x="72" y="592"/>
                  </a:moveTo>
                  <a:lnTo>
                    <a:pt x="72" y="596"/>
                  </a:lnTo>
                  <a:lnTo>
                    <a:pt x="76" y="598"/>
                  </a:lnTo>
                  <a:lnTo>
                    <a:pt x="76" y="602"/>
                  </a:lnTo>
                  <a:lnTo>
                    <a:pt x="76" y="598"/>
                  </a:lnTo>
                  <a:lnTo>
                    <a:pt x="72" y="598"/>
                  </a:lnTo>
                  <a:lnTo>
                    <a:pt x="72" y="602"/>
                  </a:lnTo>
                  <a:lnTo>
                    <a:pt x="72" y="606"/>
                  </a:lnTo>
                  <a:lnTo>
                    <a:pt x="76" y="606"/>
                  </a:lnTo>
                  <a:lnTo>
                    <a:pt x="80" y="606"/>
                  </a:lnTo>
                  <a:lnTo>
                    <a:pt x="80" y="610"/>
                  </a:lnTo>
                  <a:lnTo>
                    <a:pt x="80" y="614"/>
                  </a:lnTo>
                  <a:lnTo>
                    <a:pt x="82" y="614"/>
                  </a:lnTo>
                  <a:lnTo>
                    <a:pt x="82" y="618"/>
                  </a:lnTo>
                  <a:lnTo>
                    <a:pt x="86" y="618"/>
                  </a:lnTo>
                  <a:lnTo>
                    <a:pt x="86" y="622"/>
                  </a:lnTo>
                  <a:lnTo>
                    <a:pt x="90" y="622"/>
                  </a:lnTo>
                  <a:lnTo>
                    <a:pt x="94" y="626"/>
                  </a:lnTo>
                  <a:lnTo>
                    <a:pt x="98" y="626"/>
                  </a:lnTo>
                  <a:lnTo>
                    <a:pt x="98" y="628"/>
                  </a:lnTo>
                  <a:lnTo>
                    <a:pt x="102" y="632"/>
                  </a:lnTo>
                  <a:lnTo>
                    <a:pt x="106" y="632"/>
                  </a:lnTo>
                  <a:lnTo>
                    <a:pt x="108" y="636"/>
                  </a:lnTo>
                  <a:lnTo>
                    <a:pt x="112" y="636"/>
                  </a:lnTo>
                  <a:lnTo>
                    <a:pt x="116" y="636"/>
                  </a:lnTo>
                  <a:lnTo>
                    <a:pt x="120" y="636"/>
                  </a:lnTo>
                  <a:lnTo>
                    <a:pt x="116" y="640"/>
                  </a:lnTo>
                  <a:lnTo>
                    <a:pt x="112" y="640"/>
                  </a:lnTo>
                  <a:lnTo>
                    <a:pt x="108" y="640"/>
                  </a:lnTo>
                  <a:lnTo>
                    <a:pt x="106" y="644"/>
                  </a:lnTo>
                  <a:lnTo>
                    <a:pt x="102" y="644"/>
                  </a:lnTo>
                  <a:lnTo>
                    <a:pt x="98" y="644"/>
                  </a:lnTo>
                  <a:lnTo>
                    <a:pt x="98" y="640"/>
                  </a:lnTo>
                  <a:lnTo>
                    <a:pt x="94" y="640"/>
                  </a:lnTo>
                  <a:lnTo>
                    <a:pt x="90" y="640"/>
                  </a:lnTo>
                  <a:lnTo>
                    <a:pt x="86" y="640"/>
                  </a:lnTo>
                  <a:lnTo>
                    <a:pt x="82" y="640"/>
                  </a:lnTo>
                  <a:lnTo>
                    <a:pt x="80" y="640"/>
                  </a:lnTo>
                  <a:lnTo>
                    <a:pt x="76" y="640"/>
                  </a:lnTo>
                  <a:lnTo>
                    <a:pt x="72" y="640"/>
                  </a:lnTo>
                  <a:lnTo>
                    <a:pt x="72" y="632"/>
                  </a:lnTo>
                  <a:lnTo>
                    <a:pt x="72" y="628"/>
                  </a:lnTo>
                  <a:lnTo>
                    <a:pt x="72" y="622"/>
                  </a:lnTo>
                  <a:lnTo>
                    <a:pt x="72" y="618"/>
                  </a:lnTo>
                  <a:lnTo>
                    <a:pt x="72" y="610"/>
                  </a:lnTo>
                  <a:lnTo>
                    <a:pt x="72" y="606"/>
                  </a:lnTo>
                  <a:lnTo>
                    <a:pt x="72" y="602"/>
                  </a:lnTo>
                  <a:lnTo>
                    <a:pt x="72" y="596"/>
                  </a:lnTo>
                  <a:lnTo>
                    <a:pt x="72" y="592"/>
                  </a:lnTo>
                  <a:lnTo>
                    <a:pt x="72" y="592"/>
                  </a:lnTo>
                  <a:lnTo>
                    <a:pt x="72" y="592"/>
                  </a:lnTo>
                  <a:close/>
                  <a:moveTo>
                    <a:pt x="126" y="640"/>
                  </a:moveTo>
                  <a:lnTo>
                    <a:pt x="122" y="640"/>
                  </a:lnTo>
                  <a:lnTo>
                    <a:pt x="126" y="636"/>
                  </a:lnTo>
                  <a:lnTo>
                    <a:pt x="126" y="640"/>
                  </a:lnTo>
                  <a:lnTo>
                    <a:pt x="126" y="636"/>
                  </a:lnTo>
                  <a:lnTo>
                    <a:pt x="130" y="636"/>
                  </a:lnTo>
                  <a:lnTo>
                    <a:pt x="134" y="636"/>
                  </a:lnTo>
                  <a:lnTo>
                    <a:pt x="138" y="636"/>
                  </a:lnTo>
                  <a:lnTo>
                    <a:pt x="138" y="640"/>
                  </a:lnTo>
                  <a:lnTo>
                    <a:pt x="134" y="640"/>
                  </a:lnTo>
                  <a:lnTo>
                    <a:pt x="134" y="636"/>
                  </a:lnTo>
                  <a:lnTo>
                    <a:pt x="134" y="640"/>
                  </a:lnTo>
                  <a:lnTo>
                    <a:pt x="130" y="640"/>
                  </a:lnTo>
                  <a:lnTo>
                    <a:pt x="126" y="640"/>
                  </a:lnTo>
                  <a:lnTo>
                    <a:pt x="126" y="640"/>
                  </a:lnTo>
                  <a:lnTo>
                    <a:pt x="126" y="640"/>
                  </a:lnTo>
                  <a:close/>
                </a:path>
              </a:pathLst>
            </a:custGeom>
            <a:solidFill>
              <a:srgbClr val="008BE5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39" name="Freeform 179">
              <a:extLst>
                <a:ext uri="{FF2B5EF4-FFF2-40B4-BE49-F238E27FC236}">
                  <a16:creationId xmlns:a16="http://schemas.microsoft.com/office/drawing/2014/main" id="{D0025B9F-489C-9EAB-9FB7-0E28DC4559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6081" y="4484132"/>
              <a:ext cx="335094" cy="437438"/>
            </a:xfrm>
            <a:custGeom>
              <a:avLst/>
              <a:gdLst>
                <a:gd name="T0" fmla="*/ 104 w 172"/>
                <a:gd name="T1" fmla="*/ 198 h 232"/>
                <a:gd name="T2" fmla="*/ 96 w 172"/>
                <a:gd name="T3" fmla="*/ 216 h 232"/>
                <a:gd name="T4" fmla="*/ 90 w 172"/>
                <a:gd name="T5" fmla="*/ 216 h 232"/>
                <a:gd name="T6" fmla="*/ 78 w 172"/>
                <a:gd name="T7" fmla="*/ 220 h 232"/>
                <a:gd name="T8" fmla="*/ 74 w 172"/>
                <a:gd name="T9" fmla="*/ 228 h 232"/>
                <a:gd name="T10" fmla="*/ 70 w 172"/>
                <a:gd name="T11" fmla="*/ 216 h 232"/>
                <a:gd name="T12" fmla="*/ 52 w 172"/>
                <a:gd name="T13" fmla="*/ 216 h 232"/>
                <a:gd name="T14" fmla="*/ 50 w 172"/>
                <a:gd name="T15" fmla="*/ 212 h 232"/>
                <a:gd name="T16" fmla="*/ 42 w 172"/>
                <a:gd name="T17" fmla="*/ 220 h 232"/>
                <a:gd name="T18" fmla="*/ 34 w 172"/>
                <a:gd name="T19" fmla="*/ 228 h 232"/>
                <a:gd name="T20" fmla="*/ 26 w 172"/>
                <a:gd name="T21" fmla="*/ 224 h 232"/>
                <a:gd name="T22" fmla="*/ 24 w 172"/>
                <a:gd name="T23" fmla="*/ 212 h 232"/>
                <a:gd name="T24" fmla="*/ 16 w 172"/>
                <a:gd name="T25" fmla="*/ 194 h 232"/>
                <a:gd name="T26" fmla="*/ 12 w 172"/>
                <a:gd name="T27" fmla="*/ 190 h 232"/>
                <a:gd name="T28" fmla="*/ 16 w 172"/>
                <a:gd name="T29" fmla="*/ 180 h 232"/>
                <a:gd name="T30" fmla="*/ 16 w 172"/>
                <a:gd name="T31" fmla="*/ 168 h 232"/>
                <a:gd name="T32" fmla="*/ 8 w 172"/>
                <a:gd name="T33" fmla="*/ 156 h 232"/>
                <a:gd name="T34" fmla="*/ 4 w 172"/>
                <a:gd name="T35" fmla="*/ 146 h 232"/>
                <a:gd name="T36" fmla="*/ 0 w 172"/>
                <a:gd name="T37" fmla="*/ 134 h 232"/>
                <a:gd name="T38" fmla="*/ 4 w 172"/>
                <a:gd name="T39" fmla="*/ 124 h 232"/>
                <a:gd name="T40" fmla="*/ 12 w 172"/>
                <a:gd name="T41" fmla="*/ 116 h 232"/>
                <a:gd name="T42" fmla="*/ 4 w 172"/>
                <a:gd name="T43" fmla="*/ 100 h 232"/>
                <a:gd name="T44" fmla="*/ 4 w 172"/>
                <a:gd name="T45" fmla="*/ 94 h 232"/>
                <a:gd name="T46" fmla="*/ 8 w 172"/>
                <a:gd name="T47" fmla="*/ 78 h 232"/>
                <a:gd name="T48" fmla="*/ 8 w 172"/>
                <a:gd name="T49" fmla="*/ 72 h 232"/>
                <a:gd name="T50" fmla="*/ 8 w 172"/>
                <a:gd name="T51" fmla="*/ 56 h 232"/>
                <a:gd name="T52" fmla="*/ 12 w 172"/>
                <a:gd name="T53" fmla="*/ 46 h 232"/>
                <a:gd name="T54" fmla="*/ 4 w 172"/>
                <a:gd name="T55" fmla="*/ 34 h 232"/>
                <a:gd name="T56" fmla="*/ 4 w 172"/>
                <a:gd name="T57" fmla="*/ 22 h 232"/>
                <a:gd name="T58" fmla="*/ 16 w 172"/>
                <a:gd name="T59" fmla="*/ 26 h 232"/>
                <a:gd name="T60" fmla="*/ 24 w 172"/>
                <a:gd name="T61" fmla="*/ 18 h 232"/>
                <a:gd name="T62" fmla="*/ 26 w 172"/>
                <a:gd name="T63" fmla="*/ 16 h 232"/>
                <a:gd name="T64" fmla="*/ 38 w 172"/>
                <a:gd name="T65" fmla="*/ 12 h 232"/>
                <a:gd name="T66" fmla="*/ 50 w 172"/>
                <a:gd name="T67" fmla="*/ 0 h 232"/>
                <a:gd name="T68" fmla="*/ 56 w 172"/>
                <a:gd name="T69" fmla="*/ 0 h 232"/>
                <a:gd name="T70" fmla="*/ 60 w 172"/>
                <a:gd name="T71" fmla="*/ 12 h 232"/>
                <a:gd name="T72" fmla="*/ 60 w 172"/>
                <a:gd name="T73" fmla="*/ 26 h 232"/>
                <a:gd name="T74" fmla="*/ 64 w 172"/>
                <a:gd name="T75" fmla="*/ 34 h 232"/>
                <a:gd name="T76" fmla="*/ 70 w 172"/>
                <a:gd name="T77" fmla="*/ 46 h 232"/>
                <a:gd name="T78" fmla="*/ 86 w 172"/>
                <a:gd name="T79" fmla="*/ 48 h 232"/>
                <a:gd name="T80" fmla="*/ 94 w 172"/>
                <a:gd name="T81" fmla="*/ 56 h 232"/>
                <a:gd name="T82" fmla="*/ 104 w 172"/>
                <a:gd name="T83" fmla="*/ 64 h 232"/>
                <a:gd name="T84" fmla="*/ 116 w 172"/>
                <a:gd name="T85" fmla="*/ 68 h 232"/>
                <a:gd name="T86" fmla="*/ 130 w 172"/>
                <a:gd name="T87" fmla="*/ 72 h 232"/>
                <a:gd name="T88" fmla="*/ 130 w 172"/>
                <a:gd name="T89" fmla="*/ 82 h 232"/>
                <a:gd name="T90" fmla="*/ 126 w 172"/>
                <a:gd name="T91" fmla="*/ 94 h 232"/>
                <a:gd name="T92" fmla="*/ 134 w 172"/>
                <a:gd name="T93" fmla="*/ 116 h 232"/>
                <a:gd name="T94" fmla="*/ 160 w 172"/>
                <a:gd name="T95" fmla="*/ 116 h 232"/>
                <a:gd name="T96" fmla="*/ 156 w 172"/>
                <a:gd name="T97" fmla="*/ 128 h 232"/>
                <a:gd name="T98" fmla="*/ 164 w 172"/>
                <a:gd name="T99" fmla="*/ 134 h 232"/>
                <a:gd name="T100" fmla="*/ 172 w 172"/>
                <a:gd name="T101" fmla="*/ 150 h 232"/>
                <a:gd name="T102" fmla="*/ 164 w 172"/>
                <a:gd name="T103" fmla="*/ 164 h 232"/>
                <a:gd name="T104" fmla="*/ 164 w 172"/>
                <a:gd name="T105" fmla="*/ 176 h 232"/>
                <a:gd name="T106" fmla="*/ 160 w 172"/>
                <a:gd name="T107" fmla="*/ 176 h 232"/>
                <a:gd name="T108" fmla="*/ 142 w 172"/>
                <a:gd name="T109" fmla="*/ 168 h 232"/>
                <a:gd name="T110" fmla="*/ 126 w 172"/>
                <a:gd name="T111" fmla="*/ 172 h 232"/>
                <a:gd name="T112" fmla="*/ 112 w 172"/>
                <a:gd name="T113" fmla="*/ 176 h 232"/>
                <a:gd name="T114" fmla="*/ 104 w 172"/>
                <a:gd name="T115" fmla="*/ 186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2" h="232">
                  <a:moveTo>
                    <a:pt x="104" y="186"/>
                  </a:moveTo>
                  <a:lnTo>
                    <a:pt x="104" y="190"/>
                  </a:lnTo>
                  <a:lnTo>
                    <a:pt x="104" y="194"/>
                  </a:lnTo>
                  <a:lnTo>
                    <a:pt x="104" y="198"/>
                  </a:lnTo>
                  <a:lnTo>
                    <a:pt x="100" y="206"/>
                  </a:lnTo>
                  <a:lnTo>
                    <a:pt x="100" y="210"/>
                  </a:lnTo>
                  <a:lnTo>
                    <a:pt x="100" y="212"/>
                  </a:lnTo>
                  <a:lnTo>
                    <a:pt x="96" y="216"/>
                  </a:lnTo>
                  <a:lnTo>
                    <a:pt x="96" y="220"/>
                  </a:lnTo>
                  <a:lnTo>
                    <a:pt x="96" y="216"/>
                  </a:lnTo>
                  <a:lnTo>
                    <a:pt x="94" y="216"/>
                  </a:lnTo>
                  <a:lnTo>
                    <a:pt x="90" y="216"/>
                  </a:lnTo>
                  <a:lnTo>
                    <a:pt x="86" y="216"/>
                  </a:lnTo>
                  <a:lnTo>
                    <a:pt x="82" y="216"/>
                  </a:lnTo>
                  <a:lnTo>
                    <a:pt x="78" y="216"/>
                  </a:lnTo>
                  <a:lnTo>
                    <a:pt x="78" y="220"/>
                  </a:lnTo>
                  <a:lnTo>
                    <a:pt x="74" y="224"/>
                  </a:lnTo>
                  <a:lnTo>
                    <a:pt x="74" y="228"/>
                  </a:lnTo>
                  <a:lnTo>
                    <a:pt x="74" y="232"/>
                  </a:lnTo>
                  <a:lnTo>
                    <a:pt x="74" y="228"/>
                  </a:lnTo>
                  <a:lnTo>
                    <a:pt x="70" y="228"/>
                  </a:lnTo>
                  <a:lnTo>
                    <a:pt x="70" y="224"/>
                  </a:lnTo>
                  <a:lnTo>
                    <a:pt x="70" y="220"/>
                  </a:lnTo>
                  <a:lnTo>
                    <a:pt x="70" y="216"/>
                  </a:lnTo>
                  <a:lnTo>
                    <a:pt x="66" y="216"/>
                  </a:lnTo>
                  <a:lnTo>
                    <a:pt x="64" y="216"/>
                  </a:lnTo>
                  <a:lnTo>
                    <a:pt x="56" y="216"/>
                  </a:lnTo>
                  <a:lnTo>
                    <a:pt x="52" y="216"/>
                  </a:lnTo>
                  <a:lnTo>
                    <a:pt x="52" y="212"/>
                  </a:lnTo>
                  <a:lnTo>
                    <a:pt x="50" y="212"/>
                  </a:lnTo>
                  <a:lnTo>
                    <a:pt x="50" y="210"/>
                  </a:lnTo>
                  <a:lnTo>
                    <a:pt x="50" y="212"/>
                  </a:lnTo>
                  <a:lnTo>
                    <a:pt x="46" y="212"/>
                  </a:lnTo>
                  <a:lnTo>
                    <a:pt x="46" y="216"/>
                  </a:lnTo>
                  <a:lnTo>
                    <a:pt x="42" y="216"/>
                  </a:lnTo>
                  <a:lnTo>
                    <a:pt x="42" y="220"/>
                  </a:lnTo>
                  <a:lnTo>
                    <a:pt x="42" y="224"/>
                  </a:lnTo>
                  <a:lnTo>
                    <a:pt x="38" y="224"/>
                  </a:lnTo>
                  <a:lnTo>
                    <a:pt x="38" y="228"/>
                  </a:lnTo>
                  <a:lnTo>
                    <a:pt x="34" y="228"/>
                  </a:lnTo>
                  <a:lnTo>
                    <a:pt x="30" y="232"/>
                  </a:lnTo>
                  <a:lnTo>
                    <a:pt x="26" y="232"/>
                  </a:lnTo>
                  <a:lnTo>
                    <a:pt x="24" y="228"/>
                  </a:lnTo>
                  <a:lnTo>
                    <a:pt x="26" y="224"/>
                  </a:lnTo>
                  <a:lnTo>
                    <a:pt x="24" y="224"/>
                  </a:lnTo>
                  <a:lnTo>
                    <a:pt x="24" y="220"/>
                  </a:lnTo>
                  <a:lnTo>
                    <a:pt x="24" y="216"/>
                  </a:lnTo>
                  <a:lnTo>
                    <a:pt x="24" y="212"/>
                  </a:lnTo>
                  <a:lnTo>
                    <a:pt x="24" y="210"/>
                  </a:lnTo>
                  <a:lnTo>
                    <a:pt x="20" y="210"/>
                  </a:lnTo>
                  <a:lnTo>
                    <a:pt x="20" y="202"/>
                  </a:lnTo>
                  <a:lnTo>
                    <a:pt x="16" y="194"/>
                  </a:lnTo>
                  <a:lnTo>
                    <a:pt x="16" y="198"/>
                  </a:lnTo>
                  <a:lnTo>
                    <a:pt x="16" y="194"/>
                  </a:lnTo>
                  <a:lnTo>
                    <a:pt x="16" y="190"/>
                  </a:lnTo>
                  <a:lnTo>
                    <a:pt x="12" y="190"/>
                  </a:lnTo>
                  <a:lnTo>
                    <a:pt x="12" y="186"/>
                  </a:lnTo>
                  <a:lnTo>
                    <a:pt x="12" y="184"/>
                  </a:lnTo>
                  <a:lnTo>
                    <a:pt x="12" y="180"/>
                  </a:lnTo>
                  <a:lnTo>
                    <a:pt x="16" y="180"/>
                  </a:lnTo>
                  <a:lnTo>
                    <a:pt x="16" y="176"/>
                  </a:lnTo>
                  <a:lnTo>
                    <a:pt x="12" y="176"/>
                  </a:lnTo>
                  <a:lnTo>
                    <a:pt x="16" y="172"/>
                  </a:lnTo>
                  <a:lnTo>
                    <a:pt x="16" y="168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8" y="154"/>
                  </a:lnTo>
                  <a:lnTo>
                    <a:pt x="8" y="150"/>
                  </a:lnTo>
                  <a:lnTo>
                    <a:pt x="8" y="146"/>
                  </a:lnTo>
                  <a:lnTo>
                    <a:pt x="4" y="146"/>
                  </a:lnTo>
                  <a:lnTo>
                    <a:pt x="4" y="142"/>
                  </a:lnTo>
                  <a:lnTo>
                    <a:pt x="4" y="138"/>
                  </a:lnTo>
                  <a:lnTo>
                    <a:pt x="0" y="138"/>
                  </a:lnTo>
                  <a:lnTo>
                    <a:pt x="0" y="134"/>
                  </a:lnTo>
                  <a:lnTo>
                    <a:pt x="0" y="130"/>
                  </a:lnTo>
                  <a:lnTo>
                    <a:pt x="0" y="128"/>
                  </a:lnTo>
                  <a:lnTo>
                    <a:pt x="4" y="128"/>
                  </a:lnTo>
                  <a:lnTo>
                    <a:pt x="4" y="124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12" y="116"/>
                  </a:lnTo>
                  <a:lnTo>
                    <a:pt x="8" y="112"/>
                  </a:lnTo>
                  <a:lnTo>
                    <a:pt x="4" y="112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4" y="98"/>
                  </a:lnTo>
                  <a:lnTo>
                    <a:pt x="8" y="98"/>
                  </a:lnTo>
                  <a:lnTo>
                    <a:pt x="8" y="94"/>
                  </a:lnTo>
                  <a:lnTo>
                    <a:pt x="4" y="94"/>
                  </a:lnTo>
                  <a:lnTo>
                    <a:pt x="4" y="90"/>
                  </a:lnTo>
                  <a:lnTo>
                    <a:pt x="4" y="86"/>
                  </a:lnTo>
                  <a:lnTo>
                    <a:pt x="8" y="82"/>
                  </a:lnTo>
                  <a:lnTo>
                    <a:pt x="8" y="78"/>
                  </a:lnTo>
                  <a:lnTo>
                    <a:pt x="12" y="78"/>
                  </a:lnTo>
                  <a:lnTo>
                    <a:pt x="12" y="74"/>
                  </a:lnTo>
                  <a:lnTo>
                    <a:pt x="8" y="74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12" y="42"/>
                  </a:lnTo>
                  <a:lnTo>
                    <a:pt x="8" y="42"/>
                  </a:lnTo>
                  <a:lnTo>
                    <a:pt x="8" y="38"/>
                  </a:lnTo>
                  <a:lnTo>
                    <a:pt x="4" y="34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8" y="22"/>
                  </a:lnTo>
                  <a:lnTo>
                    <a:pt x="12" y="22"/>
                  </a:lnTo>
                  <a:lnTo>
                    <a:pt x="12" y="26"/>
                  </a:lnTo>
                  <a:lnTo>
                    <a:pt x="16" y="26"/>
                  </a:lnTo>
                  <a:lnTo>
                    <a:pt x="16" y="22"/>
                  </a:lnTo>
                  <a:lnTo>
                    <a:pt x="20" y="22"/>
                  </a:lnTo>
                  <a:lnTo>
                    <a:pt x="20" y="18"/>
                  </a:lnTo>
                  <a:lnTo>
                    <a:pt x="24" y="18"/>
                  </a:lnTo>
                  <a:lnTo>
                    <a:pt x="24" y="16"/>
                  </a:lnTo>
                  <a:lnTo>
                    <a:pt x="26" y="16"/>
                  </a:lnTo>
                  <a:lnTo>
                    <a:pt x="26" y="18"/>
                  </a:lnTo>
                  <a:lnTo>
                    <a:pt x="26" y="16"/>
                  </a:lnTo>
                  <a:lnTo>
                    <a:pt x="30" y="16"/>
                  </a:lnTo>
                  <a:lnTo>
                    <a:pt x="30" y="12"/>
                  </a:lnTo>
                  <a:lnTo>
                    <a:pt x="34" y="12"/>
                  </a:lnTo>
                  <a:lnTo>
                    <a:pt x="38" y="12"/>
                  </a:lnTo>
                  <a:lnTo>
                    <a:pt x="38" y="8"/>
                  </a:lnTo>
                  <a:lnTo>
                    <a:pt x="42" y="4"/>
                  </a:lnTo>
                  <a:lnTo>
                    <a:pt x="46" y="4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6"/>
                  </a:lnTo>
                  <a:lnTo>
                    <a:pt x="60" y="18"/>
                  </a:lnTo>
                  <a:lnTo>
                    <a:pt x="60" y="22"/>
                  </a:lnTo>
                  <a:lnTo>
                    <a:pt x="60" y="26"/>
                  </a:lnTo>
                  <a:lnTo>
                    <a:pt x="60" y="30"/>
                  </a:lnTo>
                  <a:lnTo>
                    <a:pt x="64" y="34"/>
                  </a:lnTo>
                  <a:lnTo>
                    <a:pt x="64" y="38"/>
                  </a:lnTo>
                  <a:lnTo>
                    <a:pt x="64" y="34"/>
                  </a:lnTo>
                  <a:lnTo>
                    <a:pt x="64" y="38"/>
                  </a:lnTo>
                  <a:lnTo>
                    <a:pt x="64" y="42"/>
                  </a:lnTo>
                  <a:lnTo>
                    <a:pt x="66" y="42"/>
                  </a:lnTo>
                  <a:lnTo>
                    <a:pt x="70" y="46"/>
                  </a:lnTo>
                  <a:lnTo>
                    <a:pt x="74" y="48"/>
                  </a:lnTo>
                  <a:lnTo>
                    <a:pt x="78" y="48"/>
                  </a:lnTo>
                  <a:lnTo>
                    <a:pt x="82" y="48"/>
                  </a:lnTo>
                  <a:lnTo>
                    <a:pt x="86" y="48"/>
                  </a:lnTo>
                  <a:lnTo>
                    <a:pt x="86" y="52"/>
                  </a:lnTo>
                  <a:lnTo>
                    <a:pt x="90" y="52"/>
                  </a:lnTo>
                  <a:lnTo>
                    <a:pt x="94" y="52"/>
                  </a:lnTo>
                  <a:lnTo>
                    <a:pt x="94" y="56"/>
                  </a:lnTo>
                  <a:lnTo>
                    <a:pt x="96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20" y="68"/>
                  </a:lnTo>
                  <a:lnTo>
                    <a:pt x="122" y="68"/>
                  </a:lnTo>
                  <a:lnTo>
                    <a:pt x="126" y="72"/>
                  </a:lnTo>
                  <a:lnTo>
                    <a:pt x="130" y="72"/>
                  </a:lnTo>
                  <a:lnTo>
                    <a:pt x="130" y="74"/>
                  </a:lnTo>
                  <a:lnTo>
                    <a:pt x="126" y="78"/>
                  </a:lnTo>
                  <a:lnTo>
                    <a:pt x="130" y="78"/>
                  </a:lnTo>
                  <a:lnTo>
                    <a:pt x="130" y="82"/>
                  </a:lnTo>
                  <a:lnTo>
                    <a:pt x="130" y="86"/>
                  </a:lnTo>
                  <a:lnTo>
                    <a:pt x="130" y="90"/>
                  </a:lnTo>
                  <a:lnTo>
                    <a:pt x="130" y="94"/>
                  </a:lnTo>
                  <a:lnTo>
                    <a:pt x="126" y="94"/>
                  </a:lnTo>
                  <a:lnTo>
                    <a:pt x="130" y="98"/>
                  </a:lnTo>
                  <a:lnTo>
                    <a:pt x="130" y="100"/>
                  </a:lnTo>
                  <a:lnTo>
                    <a:pt x="134" y="108"/>
                  </a:lnTo>
                  <a:lnTo>
                    <a:pt x="134" y="116"/>
                  </a:lnTo>
                  <a:lnTo>
                    <a:pt x="142" y="116"/>
                  </a:lnTo>
                  <a:lnTo>
                    <a:pt x="150" y="116"/>
                  </a:lnTo>
                  <a:lnTo>
                    <a:pt x="156" y="116"/>
                  </a:lnTo>
                  <a:lnTo>
                    <a:pt x="160" y="116"/>
                  </a:lnTo>
                  <a:lnTo>
                    <a:pt x="160" y="120"/>
                  </a:lnTo>
                  <a:lnTo>
                    <a:pt x="156" y="120"/>
                  </a:lnTo>
                  <a:lnTo>
                    <a:pt x="156" y="124"/>
                  </a:lnTo>
                  <a:lnTo>
                    <a:pt x="156" y="128"/>
                  </a:lnTo>
                  <a:lnTo>
                    <a:pt x="156" y="130"/>
                  </a:lnTo>
                  <a:lnTo>
                    <a:pt x="160" y="130"/>
                  </a:lnTo>
                  <a:lnTo>
                    <a:pt x="160" y="134"/>
                  </a:lnTo>
                  <a:lnTo>
                    <a:pt x="164" y="134"/>
                  </a:lnTo>
                  <a:lnTo>
                    <a:pt x="168" y="138"/>
                  </a:lnTo>
                  <a:lnTo>
                    <a:pt x="168" y="142"/>
                  </a:lnTo>
                  <a:lnTo>
                    <a:pt x="168" y="146"/>
                  </a:lnTo>
                  <a:lnTo>
                    <a:pt x="172" y="150"/>
                  </a:lnTo>
                  <a:lnTo>
                    <a:pt x="168" y="154"/>
                  </a:lnTo>
                  <a:lnTo>
                    <a:pt x="168" y="160"/>
                  </a:lnTo>
                  <a:lnTo>
                    <a:pt x="168" y="164"/>
                  </a:lnTo>
                  <a:lnTo>
                    <a:pt x="164" y="164"/>
                  </a:lnTo>
                  <a:lnTo>
                    <a:pt x="164" y="168"/>
                  </a:lnTo>
                  <a:lnTo>
                    <a:pt x="164" y="176"/>
                  </a:lnTo>
                  <a:lnTo>
                    <a:pt x="160" y="176"/>
                  </a:lnTo>
                  <a:lnTo>
                    <a:pt x="164" y="176"/>
                  </a:lnTo>
                  <a:lnTo>
                    <a:pt x="164" y="180"/>
                  </a:lnTo>
                  <a:lnTo>
                    <a:pt x="160" y="184"/>
                  </a:lnTo>
                  <a:lnTo>
                    <a:pt x="160" y="180"/>
                  </a:lnTo>
                  <a:lnTo>
                    <a:pt x="160" y="176"/>
                  </a:lnTo>
                  <a:lnTo>
                    <a:pt x="156" y="172"/>
                  </a:lnTo>
                  <a:lnTo>
                    <a:pt x="152" y="172"/>
                  </a:lnTo>
                  <a:lnTo>
                    <a:pt x="150" y="168"/>
                  </a:lnTo>
                  <a:lnTo>
                    <a:pt x="142" y="168"/>
                  </a:lnTo>
                  <a:lnTo>
                    <a:pt x="134" y="168"/>
                  </a:lnTo>
                  <a:lnTo>
                    <a:pt x="130" y="168"/>
                  </a:lnTo>
                  <a:lnTo>
                    <a:pt x="126" y="168"/>
                  </a:lnTo>
                  <a:lnTo>
                    <a:pt x="126" y="172"/>
                  </a:lnTo>
                  <a:lnTo>
                    <a:pt x="122" y="172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12" y="176"/>
                  </a:lnTo>
                  <a:lnTo>
                    <a:pt x="108" y="180"/>
                  </a:lnTo>
                  <a:lnTo>
                    <a:pt x="104" y="186"/>
                  </a:lnTo>
                  <a:lnTo>
                    <a:pt x="104" y="186"/>
                  </a:lnTo>
                  <a:lnTo>
                    <a:pt x="104" y="186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40" name="Freeform 180">
              <a:extLst>
                <a:ext uri="{FF2B5EF4-FFF2-40B4-BE49-F238E27FC236}">
                  <a16:creationId xmlns:a16="http://schemas.microsoft.com/office/drawing/2014/main" id="{F3D7A648-55A8-9E8F-4421-963094815C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55291" y="3997671"/>
              <a:ext cx="1079314" cy="1293458"/>
            </a:xfrm>
            <a:custGeom>
              <a:avLst/>
              <a:gdLst>
                <a:gd name="T0" fmla="*/ 424 w 554"/>
                <a:gd name="T1" fmla="*/ 140 h 686"/>
                <a:gd name="T2" fmla="*/ 460 w 554"/>
                <a:gd name="T3" fmla="*/ 142 h 686"/>
                <a:gd name="T4" fmla="*/ 520 w 554"/>
                <a:gd name="T5" fmla="*/ 172 h 686"/>
                <a:gd name="T6" fmla="*/ 554 w 554"/>
                <a:gd name="T7" fmla="*/ 224 h 686"/>
                <a:gd name="T8" fmla="*/ 520 w 554"/>
                <a:gd name="T9" fmla="*/ 280 h 686"/>
                <a:gd name="T10" fmla="*/ 498 w 554"/>
                <a:gd name="T11" fmla="*/ 310 h 686"/>
                <a:gd name="T12" fmla="*/ 494 w 554"/>
                <a:gd name="T13" fmla="*/ 358 h 686"/>
                <a:gd name="T14" fmla="*/ 484 w 554"/>
                <a:gd name="T15" fmla="*/ 418 h 686"/>
                <a:gd name="T16" fmla="*/ 454 w 554"/>
                <a:gd name="T17" fmla="*/ 482 h 686"/>
                <a:gd name="T18" fmla="*/ 420 w 554"/>
                <a:gd name="T19" fmla="*/ 490 h 686"/>
                <a:gd name="T20" fmla="*/ 384 w 554"/>
                <a:gd name="T21" fmla="*/ 512 h 686"/>
                <a:gd name="T22" fmla="*/ 358 w 554"/>
                <a:gd name="T23" fmla="*/ 546 h 686"/>
                <a:gd name="T24" fmla="*/ 350 w 554"/>
                <a:gd name="T25" fmla="*/ 594 h 686"/>
                <a:gd name="T26" fmla="*/ 316 w 554"/>
                <a:gd name="T27" fmla="*/ 650 h 686"/>
                <a:gd name="T28" fmla="*/ 330 w 554"/>
                <a:gd name="T29" fmla="*/ 622 h 686"/>
                <a:gd name="T30" fmla="*/ 312 w 554"/>
                <a:gd name="T31" fmla="*/ 646 h 686"/>
                <a:gd name="T32" fmla="*/ 294 w 554"/>
                <a:gd name="T33" fmla="*/ 664 h 686"/>
                <a:gd name="T34" fmla="*/ 256 w 554"/>
                <a:gd name="T35" fmla="*/ 630 h 686"/>
                <a:gd name="T36" fmla="*/ 248 w 554"/>
                <a:gd name="T37" fmla="*/ 600 h 686"/>
                <a:gd name="T38" fmla="*/ 286 w 554"/>
                <a:gd name="T39" fmla="*/ 564 h 686"/>
                <a:gd name="T40" fmla="*/ 272 w 554"/>
                <a:gd name="T41" fmla="*/ 508 h 686"/>
                <a:gd name="T42" fmla="*/ 230 w 554"/>
                <a:gd name="T43" fmla="*/ 474 h 686"/>
                <a:gd name="T44" fmla="*/ 230 w 554"/>
                <a:gd name="T45" fmla="*/ 404 h 686"/>
                <a:gd name="T46" fmla="*/ 192 w 554"/>
                <a:gd name="T47" fmla="*/ 348 h 686"/>
                <a:gd name="T48" fmla="*/ 148 w 554"/>
                <a:gd name="T49" fmla="*/ 310 h 686"/>
                <a:gd name="T50" fmla="*/ 118 w 554"/>
                <a:gd name="T51" fmla="*/ 258 h 686"/>
                <a:gd name="T52" fmla="*/ 74 w 554"/>
                <a:gd name="T53" fmla="*/ 284 h 686"/>
                <a:gd name="T54" fmla="*/ 30 w 554"/>
                <a:gd name="T55" fmla="*/ 262 h 686"/>
                <a:gd name="T56" fmla="*/ 4 w 554"/>
                <a:gd name="T57" fmla="*/ 216 h 686"/>
                <a:gd name="T58" fmla="*/ 36 w 554"/>
                <a:gd name="T59" fmla="*/ 168 h 686"/>
                <a:gd name="T60" fmla="*/ 66 w 554"/>
                <a:gd name="T61" fmla="*/ 110 h 686"/>
                <a:gd name="T62" fmla="*/ 66 w 554"/>
                <a:gd name="T63" fmla="*/ 64 h 686"/>
                <a:gd name="T64" fmla="*/ 108 w 554"/>
                <a:gd name="T65" fmla="*/ 80 h 686"/>
                <a:gd name="T66" fmla="*/ 152 w 554"/>
                <a:gd name="T67" fmla="*/ 54 h 686"/>
                <a:gd name="T68" fmla="*/ 140 w 554"/>
                <a:gd name="T69" fmla="*/ 28 h 686"/>
                <a:gd name="T70" fmla="*/ 186 w 554"/>
                <a:gd name="T71" fmla="*/ 16 h 686"/>
                <a:gd name="T72" fmla="*/ 196 w 554"/>
                <a:gd name="T73" fmla="*/ 46 h 686"/>
                <a:gd name="T74" fmla="*/ 234 w 554"/>
                <a:gd name="T75" fmla="*/ 60 h 686"/>
                <a:gd name="T76" fmla="*/ 282 w 554"/>
                <a:gd name="T77" fmla="*/ 56 h 686"/>
                <a:gd name="T78" fmla="*/ 320 w 554"/>
                <a:gd name="T79" fmla="*/ 24 h 686"/>
                <a:gd name="T80" fmla="*/ 338 w 554"/>
                <a:gd name="T81" fmla="*/ 72 h 686"/>
                <a:gd name="T82" fmla="*/ 302 w 554"/>
                <a:gd name="T83" fmla="*/ 120 h 686"/>
                <a:gd name="T84" fmla="*/ 316 w 554"/>
                <a:gd name="T85" fmla="*/ 128 h 686"/>
                <a:gd name="T86" fmla="*/ 346 w 554"/>
                <a:gd name="T87" fmla="*/ 120 h 686"/>
                <a:gd name="T88" fmla="*/ 364 w 554"/>
                <a:gd name="T89" fmla="*/ 116 h 686"/>
                <a:gd name="T90" fmla="*/ 390 w 554"/>
                <a:gd name="T91" fmla="*/ 114 h 686"/>
                <a:gd name="T92" fmla="*/ 414 w 554"/>
                <a:gd name="T93" fmla="*/ 124 h 686"/>
                <a:gd name="T94" fmla="*/ 328 w 554"/>
                <a:gd name="T95" fmla="*/ 110 h 686"/>
                <a:gd name="T96" fmla="*/ 360 w 554"/>
                <a:gd name="T97" fmla="*/ 110 h 686"/>
                <a:gd name="T98" fmla="*/ 338 w 554"/>
                <a:gd name="T99" fmla="*/ 76 h 686"/>
                <a:gd name="T100" fmla="*/ 330 w 554"/>
                <a:gd name="T101" fmla="*/ 86 h 686"/>
                <a:gd name="T102" fmla="*/ 330 w 554"/>
                <a:gd name="T103" fmla="*/ 90 h 686"/>
                <a:gd name="T104" fmla="*/ 328 w 554"/>
                <a:gd name="T105" fmla="*/ 90 h 686"/>
                <a:gd name="T106" fmla="*/ 324 w 554"/>
                <a:gd name="T107" fmla="*/ 98 h 686"/>
                <a:gd name="T108" fmla="*/ 324 w 554"/>
                <a:gd name="T109" fmla="*/ 110 h 686"/>
                <a:gd name="T110" fmla="*/ 386 w 554"/>
                <a:gd name="T111" fmla="*/ 110 h 686"/>
                <a:gd name="T112" fmla="*/ 410 w 554"/>
                <a:gd name="T113" fmla="*/ 116 h 686"/>
                <a:gd name="T114" fmla="*/ 354 w 554"/>
                <a:gd name="T115" fmla="*/ 120 h 686"/>
                <a:gd name="T116" fmla="*/ 416 w 554"/>
                <a:gd name="T117" fmla="*/ 142 h 686"/>
                <a:gd name="T118" fmla="*/ 360 w 554"/>
                <a:gd name="T119" fmla="*/ 546 h 686"/>
                <a:gd name="T120" fmla="*/ 324 w 554"/>
                <a:gd name="T121" fmla="*/ 102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4" h="686">
                  <a:moveTo>
                    <a:pt x="414" y="124"/>
                  </a:moveTo>
                  <a:lnTo>
                    <a:pt x="416" y="124"/>
                  </a:lnTo>
                  <a:lnTo>
                    <a:pt x="416" y="128"/>
                  </a:lnTo>
                  <a:lnTo>
                    <a:pt x="416" y="132"/>
                  </a:lnTo>
                  <a:lnTo>
                    <a:pt x="416" y="128"/>
                  </a:lnTo>
                  <a:lnTo>
                    <a:pt x="420" y="132"/>
                  </a:lnTo>
                  <a:lnTo>
                    <a:pt x="416" y="136"/>
                  </a:lnTo>
                  <a:lnTo>
                    <a:pt x="416" y="140"/>
                  </a:lnTo>
                  <a:lnTo>
                    <a:pt x="414" y="142"/>
                  </a:lnTo>
                  <a:lnTo>
                    <a:pt x="416" y="142"/>
                  </a:lnTo>
                  <a:lnTo>
                    <a:pt x="414" y="146"/>
                  </a:lnTo>
                  <a:lnTo>
                    <a:pt x="414" y="150"/>
                  </a:lnTo>
                  <a:lnTo>
                    <a:pt x="416" y="146"/>
                  </a:lnTo>
                  <a:lnTo>
                    <a:pt x="416" y="142"/>
                  </a:lnTo>
                  <a:lnTo>
                    <a:pt x="420" y="140"/>
                  </a:lnTo>
                  <a:lnTo>
                    <a:pt x="420" y="136"/>
                  </a:lnTo>
                  <a:lnTo>
                    <a:pt x="424" y="136"/>
                  </a:lnTo>
                  <a:lnTo>
                    <a:pt x="424" y="140"/>
                  </a:lnTo>
                  <a:lnTo>
                    <a:pt x="420" y="140"/>
                  </a:lnTo>
                  <a:lnTo>
                    <a:pt x="420" y="142"/>
                  </a:lnTo>
                  <a:lnTo>
                    <a:pt x="424" y="140"/>
                  </a:lnTo>
                  <a:lnTo>
                    <a:pt x="424" y="136"/>
                  </a:lnTo>
                  <a:lnTo>
                    <a:pt x="428" y="136"/>
                  </a:lnTo>
                  <a:lnTo>
                    <a:pt x="432" y="136"/>
                  </a:lnTo>
                  <a:lnTo>
                    <a:pt x="432" y="132"/>
                  </a:lnTo>
                  <a:lnTo>
                    <a:pt x="436" y="132"/>
                  </a:lnTo>
                  <a:lnTo>
                    <a:pt x="436" y="136"/>
                  </a:lnTo>
                  <a:lnTo>
                    <a:pt x="440" y="136"/>
                  </a:lnTo>
                  <a:lnTo>
                    <a:pt x="444" y="136"/>
                  </a:lnTo>
                  <a:lnTo>
                    <a:pt x="444" y="140"/>
                  </a:lnTo>
                  <a:lnTo>
                    <a:pt x="446" y="140"/>
                  </a:lnTo>
                  <a:lnTo>
                    <a:pt x="450" y="140"/>
                  </a:lnTo>
                  <a:lnTo>
                    <a:pt x="450" y="142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4" y="142"/>
                  </a:lnTo>
                  <a:lnTo>
                    <a:pt x="454" y="140"/>
                  </a:lnTo>
                  <a:lnTo>
                    <a:pt x="458" y="140"/>
                  </a:lnTo>
                  <a:lnTo>
                    <a:pt x="458" y="142"/>
                  </a:lnTo>
                  <a:lnTo>
                    <a:pt x="460" y="142"/>
                  </a:lnTo>
                  <a:lnTo>
                    <a:pt x="464" y="142"/>
                  </a:lnTo>
                  <a:lnTo>
                    <a:pt x="460" y="142"/>
                  </a:lnTo>
                  <a:lnTo>
                    <a:pt x="464" y="142"/>
                  </a:lnTo>
                  <a:lnTo>
                    <a:pt x="468" y="142"/>
                  </a:lnTo>
                  <a:lnTo>
                    <a:pt x="472" y="142"/>
                  </a:lnTo>
                  <a:lnTo>
                    <a:pt x="472" y="140"/>
                  </a:lnTo>
                  <a:lnTo>
                    <a:pt x="476" y="140"/>
                  </a:lnTo>
                  <a:lnTo>
                    <a:pt x="480" y="142"/>
                  </a:lnTo>
                  <a:lnTo>
                    <a:pt x="484" y="142"/>
                  </a:lnTo>
                  <a:lnTo>
                    <a:pt x="486" y="146"/>
                  </a:lnTo>
                  <a:lnTo>
                    <a:pt x="490" y="146"/>
                  </a:lnTo>
                  <a:lnTo>
                    <a:pt x="490" y="150"/>
                  </a:lnTo>
                  <a:lnTo>
                    <a:pt x="494" y="150"/>
                  </a:lnTo>
                  <a:lnTo>
                    <a:pt x="498" y="154"/>
                  </a:lnTo>
                  <a:lnTo>
                    <a:pt x="502" y="156"/>
                  </a:lnTo>
                  <a:lnTo>
                    <a:pt x="506" y="156"/>
                  </a:lnTo>
                  <a:lnTo>
                    <a:pt x="506" y="160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4" y="168"/>
                  </a:lnTo>
                  <a:lnTo>
                    <a:pt x="514" y="172"/>
                  </a:lnTo>
                  <a:lnTo>
                    <a:pt x="516" y="172"/>
                  </a:lnTo>
                  <a:lnTo>
                    <a:pt x="520" y="172"/>
                  </a:lnTo>
                  <a:lnTo>
                    <a:pt x="520" y="176"/>
                  </a:lnTo>
                  <a:lnTo>
                    <a:pt x="524" y="176"/>
                  </a:lnTo>
                  <a:lnTo>
                    <a:pt x="524" y="180"/>
                  </a:lnTo>
                  <a:lnTo>
                    <a:pt x="528" y="180"/>
                  </a:lnTo>
                  <a:lnTo>
                    <a:pt x="532" y="180"/>
                  </a:lnTo>
                  <a:lnTo>
                    <a:pt x="536" y="180"/>
                  </a:lnTo>
                  <a:lnTo>
                    <a:pt x="540" y="180"/>
                  </a:lnTo>
                  <a:lnTo>
                    <a:pt x="542" y="180"/>
                  </a:lnTo>
                  <a:lnTo>
                    <a:pt x="546" y="180"/>
                  </a:lnTo>
                  <a:lnTo>
                    <a:pt x="546" y="184"/>
                  </a:lnTo>
                  <a:lnTo>
                    <a:pt x="546" y="186"/>
                  </a:lnTo>
                  <a:lnTo>
                    <a:pt x="546" y="190"/>
                  </a:lnTo>
                  <a:lnTo>
                    <a:pt x="550" y="194"/>
                  </a:lnTo>
                  <a:lnTo>
                    <a:pt x="550" y="198"/>
                  </a:lnTo>
                  <a:lnTo>
                    <a:pt x="550" y="202"/>
                  </a:lnTo>
                  <a:lnTo>
                    <a:pt x="550" y="206"/>
                  </a:lnTo>
                  <a:lnTo>
                    <a:pt x="554" y="210"/>
                  </a:lnTo>
                  <a:lnTo>
                    <a:pt x="554" y="212"/>
                  </a:lnTo>
                  <a:lnTo>
                    <a:pt x="554" y="216"/>
                  </a:lnTo>
                  <a:lnTo>
                    <a:pt x="554" y="220"/>
                  </a:lnTo>
                  <a:lnTo>
                    <a:pt x="554" y="224"/>
                  </a:lnTo>
                  <a:lnTo>
                    <a:pt x="554" y="228"/>
                  </a:lnTo>
                  <a:lnTo>
                    <a:pt x="554" y="232"/>
                  </a:lnTo>
                  <a:lnTo>
                    <a:pt x="550" y="236"/>
                  </a:lnTo>
                  <a:lnTo>
                    <a:pt x="550" y="240"/>
                  </a:lnTo>
                  <a:lnTo>
                    <a:pt x="550" y="242"/>
                  </a:lnTo>
                  <a:lnTo>
                    <a:pt x="550" y="246"/>
                  </a:lnTo>
                  <a:lnTo>
                    <a:pt x="546" y="246"/>
                  </a:lnTo>
                  <a:lnTo>
                    <a:pt x="546" y="250"/>
                  </a:lnTo>
                  <a:lnTo>
                    <a:pt x="542" y="254"/>
                  </a:lnTo>
                  <a:lnTo>
                    <a:pt x="542" y="258"/>
                  </a:lnTo>
                  <a:lnTo>
                    <a:pt x="540" y="258"/>
                  </a:lnTo>
                  <a:lnTo>
                    <a:pt x="540" y="262"/>
                  </a:lnTo>
                  <a:lnTo>
                    <a:pt x="536" y="266"/>
                  </a:lnTo>
                  <a:lnTo>
                    <a:pt x="532" y="268"/>
                  </a:lnTo>
                  <a:lnTo>
                    <a:pt x="532" y="272"/>
                  </a:lnTo>
                  <a:lnTo>
                    <a:pt x="528" y="272"/>
                  </a:lnTo>
                  <a:lnTo>
                    <a:pt x="524" y="276"/>
                  </a:lnTo>
                  <a:lnTo>
                    <a:pt x="524" y="280"/>
                  </a:lnTo>
                  <a:lnTo>
                    <a:pt x="520" y="280"/>
                  </a:lnTo>
                  <a:lnTo>
                    <a:pt x="520" y="276"/>
                  </a:lnTo>
                  <a:lnTo>
                    <a:pt x="520" y="280"/>
                  </a:lnTo>
                  <a:lnTo>
                    <a:pt x="520" y="284"/>
                  </a:lnTo>
                  <a:lnTo>
                    <a:pt x="520" y="280"/>
                  </a:lnTo>
                  <a:lnTo>
                    <a:pt x="520" y="284"/>
                  </a:lnTo>
                  <a:lnTo>
                    <a:pt x="516" y="288"/>
                  </a:lnTo>
                  <a:lnTo>
                    <a:pt x="516" y="284"/>
                  </a:lnTo>
                  <a:lnTo>
                    <a:pt x="516" y="288"/>
                  </a:lnTo>
                  <a:lnTo>
                    <a:pt x="516" y="292"/>
                  </a:lnTo>
                  <a:lnTo>
                    <a:pt x="514" y="296"/>
                  </a:lnTo>
                  <a:lnTo>
                    <a:pt x="514" y="298"/>
                  </a:lnTo>
                  <a:lnTo>
                    <a:pt x="514" y="302"/>
                  </a:lnTo>
                  <a:lnTo>
                    <a:pt x="510" y="302"/>
                  </a:lnTo>
                  <a:lnTo>
                    <a:pt x="510" y="306"/>
                  </a:lnTo>
                  <a:lnTo>
                    <a:pt x="510" y="310"/>
                  </a:lnTo>
                  <a:lnTo>
                    <a:pt x="506" y="314"/>
                  </a:lnTo>
                  <a:lnTo>
                    <a:pt x="502" y="314"/>
                  </a:lnTo>
                  <a:lnTo>
                    <a:pt x="502" y="310"/>
                  </a:lnTo>
                  <a:lnTo>
                    <a:pt x="498" y="310"/>
                  </a:lnTo>
                  <a:lnTo>
                    <a:pt x="498" y="306"/>
                  </a:lnTo>
                  <a:lnTo>
                    <a:pt x="498" y="310"/>
                  </a:lnTo>
                  <a:lnTo>
                    <a:pt x="498" y="314"/>
                  </a:lnTo>
                  <a:lnTo>
                    <a:pt x="498" y="310"/>
                  </a:lnTo>
                  <a:lnTo>
                    <a:pt x="494" y="310"/>
                  </a:lnTo>
                  <a:lnTo>
                    <a:pt x="498" y="310"/>
                  </a:lnTo>
                  <a:lnTo>
                    <a:pt x="494" y="310"/>
                  </a:lnTo>
                  <a:lnTo>
                    <a:pt x="498" y="314"/>
                  </a:lnTo>
                  <a:lnTo>
                    <a:pt x="498" y="318"/>
                  </a:lnTo>
                  <a:lnTo>
                    <a:pt x="494" y="318"/>
                  </a:lnTo>
                  <a:lnTo>
                    <a:pt x="494" y="322"/>
                  </a:lnTo>
                  <a:lnTo>
                    <a:pt x="494" y="326"/>
                  </a:lnTo>
                  <a:lnTo>
                    <a:pt x="494" y="328"/>
                  </a:lnTo>
                  <a:lnTo>
                    <a:pt x="494" y="332"/>
                  </a:lnTo>
                  <a:lnTo>
                    <a:pt x="494" y="336"/>
                  </a:lnTo>
                  <a:lnTo>
                    <a:pt x="494" y="332"/>
                  </a:lnTo>
                  <a:lnTo>
                    <a:pt x="494" y="328"/>
                  </a:lnTo>
                  <a:lnTo>
                    <a:pt x="494" y="332"/>
                  </a:lnTo>
                  <a:lnTo>
                    <a:pt x="494" y="336"/>
                  </a:lnTo>
                  <a:lnTo>
                    <a:pt x="494" y="340"/>
                  </a:lnTo>
                  <a:lnTo>
                    <a:pt x="494" y="344"/>
                  </a:lnTo>
                  <a:lnTo>
                    <a:pt x="494" y="348"/>
                  </a:lnTo>
                  <a:lnTo>
                    <a:pt x="494" y="352"/>
                  </a:lnTo>
                  <a:lnTo>
                    <a:pt x="494" y="354"/>
                  </a:lnTo>
                  <a:lnTo>
                    <a:pt x="494" y="358"/>
                  </a:lnTo>
                  <a:lnTo>
                    <a:pt x="494" y="362"/>
                  </a:lnTo>
                  <a:lnTo>
                    <a:pt x="494" y="366"/>
                  </a:lnTo>
                  <a:lnTo>
                    <a:pt x="494" y="370"/>
                  </a:lnTo>
                  <a:lnTo>
                    <a:pt x="494" y="374"/>
                  </a:lnTo>
                  <a:lnTo>
                    <a:pt x="494" y="378"/>
                  </a:lnTo>
                  <a:lnTo>
                    <a:pt x="494" y="382"/>
                  </a:lnTo>
                  <a:lnTo>
                    <a:pt x="490" y="382"/>
                  </a:lnTo>
                  <a:lnTo>
                    <a:pt x="494" y="382"/>
                  </a:lnTo>
                  <a:lnTo>
                    <a:pt x="490" y="384"/>
                  </a:lnTo>
                  <a:lnTo>
                    <a:pt x="490" y="388"/>
                  </a:lnTo>
                  <a:lnTo>
                    <a:pt x="490" y="392"/>
                  </a:lnTo>
                  <a:lnTo>
                    <a:pt x="490" y="396"/>
                  </a:lnTo>
                  <a:lnTo>
                    <a:pt x="494" y="396"/>
                  </a:lnTo>
                  <a:lnTo>
                    <a:pt x="490" y="400"/>
                  </a:lnTo>
                  <a:lnTo>
                    <a:pt x="486" y="400"/>
                  </a:lnTo>
                  <a:lnTo>
                    <a:pt x="486" y="404"/>
                  </a:lnTo>
                  <a:lnTo>
                    <a:pt x="486" y="408"/>
                  </a:lnTo>
                  <a:lnTo>
                    <a:pt x="484" y="408"/>
                  </a:lnTo>
                  <a:lnTo>
                    <a:pt x="484" y="410"/>
                  </a:lnTo>
                  <a:lnTo>
                    <a:pt x="484" y="414"/>
                  </a:lnTo>
                  <a:lnTo>
                    <a:pt x="484" y="418"/>
                  </a:lnTo>
                  <a:lnTo>
                    <a:pt x="484" y="422"/>
                  </a:lnTo>
                  <a:lnTo>
                    <a:pt x="484" y="426"/>
                  </a:lnTo>
                  <a:lnTo>
                    <a:pt x="484" y="430"/>
                  </a:lnTo>
                  <a:lnTo>
                    <a:pt x="484" y="434"/>
                  </a:lnTo>
                  <a:lnTo>
                    <a:pt x="480" y="434"/>
                  </a:lnTo>
                  <a:lnTo>
                    <a:pt x="480" y="438"/>
                  </a:lnTo>
                  <a:lnTo>
                    <a:pt x="480" y="440"/>
                  </a:lnTo>
                  <a:lnTo>
                    <a:pt x="476" y="440"/>
                  </a:lnTo>
                  <a:lnTo>
                    <a:pt x="476" y="444"/>
                  </a:lnTo>
                  <a:lnTo>
                    <a:pt x="476" y="448"/>
                  </a:lnTo>
                  <a:lnTo>
                    <a:pt x="472" y="452"/>
                  </a:lnTo>
                  <a:lnTo>
                    <a:pt x="468" y="452"/>
                  </a:lnTo>
                  <a:lnTo>
                    <a:pt x="468" y="456"/>
                  </a:lnTo>
                  <a:lnTo>
                    <a:pt x="468" y="460"/>
                  </a:lnTo>
                  <a:lnTo>
                    <a:pt x="464" y="464"/>
                  </a:lnTo>
                  <a:lnTo>
                    <a:pt x="464" y="466"/>
                  </a:lnTo>
                  <a:lnTo>
                    <a:pt x="468" y="470"/>
                  </a:lnTo>
                  <a:lnTo>
                    <a:pt x="464" y="474"/>
                  </a:lnTo>
                  <a:lnTo>
                    <a:pt x="460" y="474"/>
                  </a:lnTo>
                  <a:lnTo>
                    <a:pt x="458" y="478"/>
                  </a:lnTo>
                  <a:lnTo>
                    <a:pt x="454" y="482"/>
                  </a:lnTo>
                  <a:lnTo>
                    <a:pt x="454" y="486"/>
                  </a:lnTo>
                  <a:lnTo>
                    <a:pt x="450" y="490"/>
                  </a:lnTo>
                  <a:lnTo>
                    <a:pt x="446" y="490"/>
                  </a:lnTo>
                  <a:lnTo>
                    <a:pt x="444" y="490"/>
                  </a:lnTo>
                  <a:lnTo>
                    <a:pt x="440" y="490"/>
                  </a:lnTo>
                  <a:lnTo>
                    <a:pt x="436" y="490"/>
                  </a:lnTo>
                  <a:lnTo>
                    <a:pt x="436" y="486"/>
                  </a:lnTo>
                  <a:lnTo>
                    <a:pt x="440" y="486"/>
                  </a:lnTo>
                  <a:lnTo>
                    <a:pt x="436" y="486"/>
                  </a:lnTo>
                  <a:lnTo>
                    <a:pt x="436" y="490"/>
                  </a:lnTo>
                  <a:lnTo>
                    <a:pt x="432" y="490"/>
                  </a:lnTo>
                  <a:lnTo>
                    <a:pt x="428" y="494"/>
                  </a:lnTo>
                  <a:lnTo>
                    <a:pt x="424" y="494"/>
                  </a:lnTo>
                  <a:lnTo>
                    <a:pt x="424" y="490"/>
                  </a:lnTo>
                  <a:lnTo>
                    <a:pt x="424" y="494"/>
                  </a:lnTo>
                  <a:lnTo>
                    <a:pt x="428" y="494"/>
                  </a:lnTo>
                  <a:lnTo>
                    <a:pt x="432" y="490"/>
                  </a:lnTo>
                  <a:lnTo>
                    <a:pt x="428" y="490"/>
                  </a:lnTo>
                  <a:lnTo>
                    <a:pt x="424" y="490"/>
                  </a:lnTo>
                  <a:lnTo>
                    <a:pt x="420" y="494"/>
                  </a:lnTo>
                  <a:lnTo>
                    <a:pt x="420" y="490"/>
                  </a:lnTo>
                  <a:lnTo>
                    <a:pt x="416" y="490"/>
                  </a:lnTo>
                  <a:lnTo>
                    <a:pt x="416" y="494"/>
                  </a:lnTo>
                  <a:lnTo>
                    <a:pt x="414" y="494"/>
                  </a:lnTo>
                  <a:lnTo>
                    <a:pt x="416" y="494"/>
                  </a:lnTo>
                  <a:lnTo>
                    <a:pt x="416" y="496"/>
                  </a:lnTo>
                  <a:lnTo>
                    <a:pt x="414" y="496"/>
                  </a:lnTo>
                  <a:lnTo>
                    <a:pt x="410" y="496"/>
                  </a:lnTo>
                  <a:lnTo>
                    <a:pt x="410" y="500"/>
                  </a:lnTo>
                  <a:lnTo>
                    <a:pt x="406" y="500"/>
                  </a:lnTo>
                  <a:lnTo>
                    <a:pt x="406" y="504"/>
                  </a:lnTo>
                  <a:lnTo>
                    <a:pt x="402" y="504"/>
                  </a:lnTo>
                  <a:lnTo>
                    <a:pt x="398" y="504"/>
                  </a:lnTo>
                  <a:lnTo>
                    <a:pt x="394" y="504"/>
                  </a:lnTo>
                  <a:lnTo>
                    <a:pt x="394" y="508"/>
                  </a:lnTo>
                  <a:lnTo>
                    <a:pt x="394" y="504"/>
                  </a:lnTo>
                  <a:lnTo>
                    <a:pt x="394" y="508"/>
                  </a:lnTo>
                  <a:lnTo>
                    <a:pt x="390" y="508"/>
                  </a:lnTo>
                  <a:lnTo>
                    <a:pt x="390" y="504"/>
                  </a:lnTo>
                  <a:lnTo>
                    <a:pt x="390" y="508"/>
                  </a:lnTo>
                  <a:lnTo>
                    <a:pt x="386" y="512"/>
                  </a:lnTo>
                  <a:lnTo>
                    <a:pt x="384" y="512"/>
                  </a:lnTo>
                  <a:lnTo>
                    <a:pt x="384" y="516"/>
                  </a:lnTo>
                  <a:lnTo>
                    <a:pt x="380" y="520"/>
                  </a:lnTo>
                  <a:lnTo>
                    <a:pt x="376" y="520"/>
                  </a:lnTo>
                  <a:lnTo>
                    <a:pt x="372" y="522"/>
                  </a:lnTo>
                  <a:lnTo>
                    <a:pt x="368" y="522"/>
                  </a:lnTo>
                  <a:lnTo>
                    <a:pt x="368" y="526"/>
                  </a:lnTo>
                  <a:lnTo>
                    <a:pt x="368" y="530"/>
                  </a:lnTo>
                  <a:lnTo>
                    <a:pt x="364" y="534"/>
                  </a:lnTo>
                  <a:lnTo>
                    <a:pt x="364" y="530"/>
                  </a:lnTo>
                  <a:lnTo>
                    <a:pt x="360" y="530"/>
                  </a:lnTo>
                  <a:lnTo>
                    <a:pt x="360" y="534"/>
                  </a:lnTo>
                  <a:lnTo>
                    <a:pt x="358" y="534"/>
                  </a:lnTo>
                  <a:lnTo>
                    <a:pt x="360" y="534"/>
                  </a:lnTo>
                  <a:lnTo>
                    <a:pt x="360" y="538"/>
                  </a:lnTo>
                  <a:lnTo>
                    <a:pt x="360" y="542"/>
                  </a:lnTo>
                  <a:lnTo>
                    <a:pt x="358" y="542"/>
                  </a:lnTo>
                  <a:lnTo>
                    <a:pt x="360" y="542"/>
                  </a:lnTo>
                  <a:lnTo>
                    <a:pt x="360" y="546"/>
                  </a:lnTo>
                  <a:lnTo>
                    <a:pt x="360" y="550"/>
                  </a:lnTo>
                  <a:lnTo>
                    <a:pt x="358" y="550"/>
                  </a:lnTo>
                  <a:lnTo>
                    <a:pt x="358" y="546"/>
                  </a:lnTo>
                  <a:lnTo>
                    <a:pt x="358" y="550"/>
                  </a:lnTo>
                  <a:lnTo>
                    <a:pt x="358" y="552"/>
                  </a:lnTo>
                  <a:lnTo>
                    <a:pt x="360" y="552"/>
                  </a:lnTo>
                  <a:lnTo>
                    <a:pt x="358" y="552"/>
                  </a:lnTo>
                  <a:lnTo>
                    <a:pt x="358" y="556"/>
                  </a:lnTo>
                  <a:lnTo>
                    <a:pt x="358" y="560"/>
                  </a:lnTo>
                  <a:lnTo>
                    <a:pt x="360" y="564"/>
                  </a:lnTo>
                  <a:lnTo>
                    <a:pt x="360" y="566"/>
                  </a:lnTo>
                  <a:lnTo>
                    <a:pt x="360" y="564"/>
                  </a:lnTo>
                  <a:lnTo>
                    <a:pt x="358" y="566"/>
                  </a:lnTo>
                  <a:lnTo>
                    <a:pt x="358" y="570"/>
                  </a:lnTo>
                  <a:lnTo>
                    <a:pt x="360" y="570"/>
                  </a:lnTo>
                  <a:lnTo>
                    <a:pt x="358" y="574"/>
                  </a:lnTo>
                  <a:lnTo>
                    <a:pt x="360" y="574"/>
                  </a:lnTo>
                  <a:lnTo>
                    <a:pt x="360" y="578"/>
                  </a:lnTo>
                  <a:lnTo>
                    <a:pt x="358" y="582"/>
                  </a:lnTo>
                  <a:lnTo>
                    <a:pt x="358" y="590"/>
                  </a:lnTo>
                  <a:lnTo>
                    <a:pt x="358" y="586"/>
                  </a:lnTo>
                  <a:lnTo>
                    <a:pt x="358" y="590"/>
                  </a:lnTo>
                  <a:lnTo>
                    <a:pt x="354" y="594"/>
                  </a:lnTo>
                  <a:lnTo>
                    <a:pt x="350" y="594"/>
                  </a:lnTo>
                  <a:lnTo>
                    <a:pt x="350" y="596"/>
                  </a:lnTo>
                  <a:lnTo>
                    <a:pt x="346" y="596"/>
                  </a:lnTo>
                  <a:lnTo>
                    <a:pt x="346" y="600"/>
                  </a:lnTo>
                  <a:lnTo>
                    <a:pt x="346" y="604"/>
                  </a:lnTo>
                  <a:lnTo>
                    <a:pt x="342" y="604"/>
                  </a:lnTo>
                  <a:lnTo>
                    <a:pt x="342" y="608"/>
                  </a:lnTo>
                  <a:lnTo>
                    <a:pt x="338" y="608"/>
                  </a:lnTo>
                  <a:lnTo>
                    <a:pt x="338" y="612"/>
                  </a:lnTo>
                  <a:lnTo>
                    <a:pt x="338" y="616"/>
                  </a:lnTo>
                  <a:lnTo>
                    <a:pt x="338" y="620"/>
                  </a:lnTo>
                  <a:lnTo>
                    <a:pt x="334" y="620"/>
                  </a:lnTo>
                  <a:lnTo>
                    <a:pt x="334" y="622"/>
                  </a:lnTo>
                  <a:lnTo>
                    <a:pt x="334" y="626"/>
                  </a:lnTo>
                  <a:lnTo>
                    <a:pt x="330" y="630"/>
                  </a:lnTo>
                  <a:lnTo>
                    <a:pt x="330" y="634"/>
                  </a:lnTo>
                  <a:lnTo>
                    <a:pt x="328" y="634"/>
                  </a:lnTo>
                  <a:lnTo>
                    <a:pt x="328" y="638"/>
                  </a:lnTo>
                  <a:lnTo>
                    <a:pt x="324" y="642"/>
                  </a:lnTo>
                  <a:lnTo>
                    <a:pt x="324" y="646"/>
                  </a:lnTo>
                  <a:lnTo>
                    <a:pt x="320" y="650"/>
                  </a:lnTo>
                  <a:lnTo>
                    <a:pt x="316" y="650"/>
                  </a:lnTo>
                  <a:lnTo>
                    <a:pt x="312" y="652"/>
                  </a:lnTo>
                  <a:lnTo>
                    <a:pt x="308" y="656"/>
                  </a:lnTo>
                  <a:lnTo>
                    <a:pt x="308" y="652"/>
                  </a:lnTo>
                  <a:lnTo>
                    <a:pt x="312" y="652"/>
                  </a:lnTo>
                  <a:lnTo>
                    <a:pt x="308" y="652"/>
                  </a:lnTo>
                  <a:lnTo>
                    <a:pt x="308" y="650"/>
                  </a:lnTo>
                  <a:lnTo>
                    <a:pt x="312" y="650"/>
                  </a:lnTo>
                  <a:lnTo>
                    <a:pt x="316" y="650"/>
                  </a:lnTo>
                  <a:lnTo>
                    <a:pt x="316" y="646"/>
                  </a:lnTo>
                  <a:lnTo>
                    <a:pt x="320" y="646"/>
                  </a:lnTo>
                  <a:lnTo>
                    <a:pt x="320" y="642"/>
                  </a:lnTo>
                  <a:lnTo>
                    <a:pt x="324" y="642"/>
                  </a:lnTo>
                  <a:lnTo>
                    <a:pt x="324" y="638"/>
                  </a:lnTo>
                  <a:lnTo>
                    <a:pt x="324" y="634"/>
                  </a:lnTo>
                  <a:lnTo>
                    <a:pt x="324" y="638"/>
                  </a:lnTo>
                  <a:lnTo>
                    <a:pt x="328" y="638"/>
                  </a:lnTo>
                  <a:lnTo>
                    <a:pt x="328" y="634"/>
                  </a:lnTo>
                  <a:lnTo>
                    <a:pt x="328" y="630"/>
                  </a:lnTo>
                  <a:lnTo>
                    <a:pt x="330" y="630"/>
                  </a:lnTo>
                  <a:lnTo>
                    <a:pt x="330" y="626"/>
                  </a:lnTo>
                  <a:lnTo>
                    <a:pt x="330" y="622"/>
                  </a:lnTo>
                  <a:lnTo>
                    <a:pt x="330" y="626"/>
                  </a:lnTo>
                  <a:lnTo>
                    <a:pt x="330" y="622"/>
                  </a:lnTo>
                  <a:lnTo>
                    <a:pt x="330" y="620"/>
                  </a:lnTo>
                  <a:lnTo>
                    <a:pt x="330" y="622"/>
                  </a:lnTo>
                  <a:lnTo>
                    <a:pt x="328" y="622"/>
                  </a:lnTo>
                  <a:lnTo>
                    <a:pt x="324" y="622"/>
                  </a:lnTo>
                  <a:lnTo>
                    <a:pt x="324" y="620"/>
                  </a:lnTo>
                  <a:lnTo>
                    <a:pt x="324" y="616"/>
                  </a:lnTo>
                  <a:lnTo>
                    <a:pt x="320" y="616"/>
                  </a:lnTo>
                  <a:lnTo>
                    <a:pt x="320" y="620"/>
                  </a:lnTo>
                  <a:lnTo>
                    <a:pt x="320" y="622"/>
                  </a:lnTo>
                  <a:lnTo>
                    <a:pt x="324" y="622"/>
                  </a:lnTo>
                  <a:lnTo>
                    <a:pt x="320" y="626"/>
                  </a:lnTo>
                  <a:lnTo>
                    <a:pt x="320" y="630"/>
                  </a:lnTo>
                  <a:lnTo>
                    <a:pt x="320" y="626"/>
                  </a:lnTo>
                  <a:lnTo>
                    <a:pt x="320" y="630"/>
                  </a:lnTo>
                  <a:lnTo>
                    <a:pt x="320" y="634"/>
                  </a:lnTo>
                  <a:lnTo>
                    <a:pt x="320" y="638"/>
                  </a:lnTo>
                  <a:lnTo>
                    <a:pt x="316" y="638"/>
                  </a:lnTo>
                  <a:lnTo>
                    <a:pt x="312" y="642"/>
                  </a:lnTo>
                  <a:lnTo>
                    <a:pt x="312" y="646"/>
                  </a:lnTo>
                  <a:lnTo>
                    <a:pt x="308" y="646"/>
                  </a:lnTo>
                  <a:lnTo>
                    <a:pt x="308" y="650"/>
                  </a:lnTo>
                  <a:lnTo>
                    <a:pt x="308" y="652"/>
                  </a:lnTo>
                  <a:lnTo>
                    <a:pt x="308" y="656"/>
                  </a:lnTo>
                  <a:lnTo>
                    <a:pt x="308" y="660"/>
                  </a:lnTo>
                  <a:lnTo>
                    <a:pt x="304" y="664"/>
                  </a:lnTo>
                  <a:lnTo>
                    <a:pt x="304" y="668"/>
                  </a:lnTo>
                  <a:lnTo>
                    <a:pt x="304" y="672"/>
                  </a:lnTo>
                  <a:lnTo>
                    <a:pt x="302" y="676"/>
                  </a:lnTo>
                  <a:lnTo>
                    <a:pt x="298" y="678"/>
                  </a:lnTo>
                  <a:lnTo>
                    <a:pt x="294" y="682"/>
                  </a:lnTo>
                  <a:lnTo>
                    <a:pt x="294" y="686"/>
                  </a:lnTo>
                  <a:lnTo>
                    <a:pt x="290" y="686"/>
                  </a:lnTo>
                  <a:lnTo>
                    <a:pt x="290" y="682"/>
                  </a:lnTo>
                  <a:lnTo>
                    <a:pt x="290" y="678"/>
                  </a:lnTo>
                  <a:lnTo>
                    <a:pt x="290" y="676"/>
                  </a:lnTo>
                  <a:lnTo>
                    <a:pt x="290" y="672"/>
                  </a:lnTo>
                  <a:lnTo>
                    <a:pt x="294" y="672"/>
                  </a:lnTo>
                  <a:lnTo>
                    <a:pt x="294" y="668"/>
                  </a:lnTo>
                  <a:lnTo>
                    <a:pt x="298" y="668"/>
                  </a:lnTo>
                  <a:lnTo>
                    <a:pt x="294" y="664"/>
                  </a:lnTo>
                  <a:lnTo>
                    <a:pt x="290" y="664"/>
                  </a:lnTo>
                  <a:lnTo>
                    <a:pt x="290" y="660"/>
                  </a:lnTo>
                  <a:lnTo>
                    <a:pt x="286" y="660"/>
                  </a:lnTo>
                  <a:lnTo>
                    <a:pt x="286" y="656"/>
                  </a:lnTo>
                  <a:lnTo>
                    <a:pt x="286" y="652"/>
                  </a:lnTo>
                  <a:lnTo>
                    <a:pt x="282" y="652"/>
                  </a:lnTo>
                  <a:lnTo>
                    <a:pt x="282" y="650"/>
                  </a:lnTo>
                  <a:lnTo>
                    <a:pt x="278" y="650"/>
                  </a:lnTo>
                  <a:lnTo>
                    <a:pt x="274" y="646"/>
                  </a:lnTo>
                  <a:lnTo>
                    <a:pt x="274" y="642"/>
                  </a:lnTo>
                  <a:lnTo>
                    <a:pt x="272" y="642"/>
                  </a:lnTo>
                  <a:lnTo>
                    <a:pt x="268" y="642"/>
                  </a:lnTo>
                  <a:lnTo>
                    <a:pt x="264" y="638"/>
                  </a:lnTo>
                  <a:lnTo>
                    <a:pt x="264" y="634"/>
                  </a:lnTo>
                  <a:lnTo>
                    <a:pt x="260" y="634"/>
                  </a:lnTo>
                  <a:lnTo>
                    <a:pt x="260" y="630"/>
                  </a:lnTo>
                  <a:lnTo>
                    <a:pt x="260" y="634"/>
                  </a:lnTo>
                  <a:lnTo>
                    <a:pt x="256" y="634"/>
                  </a:lnTo>
                  <a:lnTo>
                    <a:pt x="252" y="634"/>
                  </a:lnTo>
                  <a:lnTo>
                    <a:pt x="256" y="634"/>
                  </a:lnTo>
                  <a:lnTo>
                    <a:pt x="256" y="630"/>
                  </a:lnTo>
                  <a:lnTo>
                    <a:pt x="252" y="630"/>
                  </a:lnTo>
                  <a:lnTo>
                    <a:pt x="252" y="626"/>
                  </a:lnTo>
                  <a:lnTo>
                    <a:pt x="248" y="626"/>
                  </a:lnTo>
                  <a:lnTo>
                    <a:pt x="248" y="622"/>
                  </a:lnTo>
                  <a:lnTo>
                    <a:pt x="244" y="622"/>
                  </a:lnTo>
                  <a:lnTo>
                    <a:pt x="244" y="620"/>
                  </a:lnTo>
                  <a:lnTo>
                    <a:pt x="242" y="620"/>
                  </a:lnTo>
                  <a:lnTo>
                    <a:pt x="238" y="620"/>
                  </a:lnTo>
                  <a:lnTo>
                    <a:pt x="238" y="622"/>
                  </a:lnTo>
                  <a:lnTo>
                    <a:pt x="234" y="620"/>
                  </a:lnTo>
                  <a:lnTo>
                    <a:pt x="234" y="622"/>
                  </a:lnTo>
                  <a:lnTo>
                    <a:pt x="234" y="620"/>
                  </a:lnTo>
                  <a:lnTo>
                    <a:pt x="230" y="620"/>
                  </a:lnTo>
                  <a:lnTo>
                    <a:pt x="234" y="620"/>
                  </a:lnTo>
                  <a:lnTo>
                    <a:pt x="234" y="616"/>
                  </a:lnTo>
                  <a:lnTo>
                    <a:pt x="238" y="612"/>
                  </a:lnTo>
                  <a:lnTo>
                    <a:pt x="242" y="612"/>
                  </a:lnTo>
                  <a:lnTo>
                    <a:pt x="242" y="608"/>
                  </a:lnTo>
                  <a:lnTo>
                    <a:pt x="244" y="604"/>
                  </a:lnTo>
                  <a:lnTo>
                    <a:pt x="244" y="600"/>
                  </a:lnTo>
                  <a:lnTo>
                    <a:pt x="248" y="600"/>
                  </a:lnTo>
                  <a:lnTo>
                    <a:pt x="248" y="596"/>
                  </a:lnTo>
                  <a:lnTo>
                    <a:pt x="248" y="594"/>
                  </a:lnTo>
                  <a:lnTo>
                    <a:pt x="252" y="594"/>
                  </a:lnTo>
                  <a:lnTo>
                    <a:pt x="252" y="590"/>
                  </a:lnTo>
                  <a:lnTo>
                    <a:pt x="256" y="590"/>
                  </a:lnTo>
                  <a:lnTo>
                    <a:pt x="256" y="586"/>
                  </a:lnTo>
                  <a:lnTo>
                    <a:pt x="260" y="586"/>
                  </a:lnTo>
                  <a:lnTo>
                    <a:pt x="256" y="586"/>
                  </a:lnTo>
                  <a:lnTo>
                    <a:pt x="256" y="582"/>
                  </a:lnTo>
                  <a:lnTo>
                    <a:pt x="260" y="582"/>
                  </a:lnTo>
                  <a:lnTo>
                    <a:pt x="264" y="582"/>
                  </a:lnTo>
                  <a:lnTo>
                    <a:pt x="264" y="578"/>
                  </a:lnTo>
                  <a:lnTo>
                    <a:pt x="268" y="578"/>
                  </a:lnTo>
                  <a:lnTo>
                    <a:pt x="272" y="574"/>
                  </a:lnTo>
                  <a:lnTo>
                    <a:pt x="272" y="570"/>
                  </a:lnTo>
                  <a:lnTo>
                    <a:pt x="274" y="570"/>
                  </a:lnTo>
                  <a:lnTo>
                    <a:pt x="278" y="570"/>
                  </a:lnTo>
                  <a:lnTo>
                    <a:pt x="278" y="566"/>
                  </a:lnTo>
                  <a:lnTo>
                    <a:pt x="282" y="566"/>
                  </a:lnTo>
                  <a:lnTo>
                    <a:pt x="282" y="564"/>
                  </a:lnTo>
                  <a:lnTo>
                    <a:pt x="286" y="564"/>
                  </a:lnTo>
                  <a:lnTo>
                    <a:pt x="286" y="560"/>
                  </a:lnTo>
                  <a:lnTo>
                    <a:pt x="286" y="556"/>
                  </a:lnTo>
                  <a:lnTo>
                    <a:pt x="286" y="552"/>
                  </a:lnTo>
                  <a:lnTo>
                    <a:pt x="286" y="550"/>
                  </a:lnTo>
                  <a:lnTo>
                    <a:pt x="286" y="546"/>
                  </a:lnTo>
                  <a:lnTo>
                    <a:pt x="286" y="542"/>
                  </a:lnTo>
                  <a:lnTo>
                    <a:pt x="286" y="538"/>
                  </a:lnTo>
                  <a:lnTo>
                    <a:pt x="282" y="534"/>
                  </a:lnTo>
                  <a:lnTo>
                    <a:pt x="278" y="534"/>
                  </a:lnTo>
                  <a:lnTo>
                    <a:pt x="278" y="538"/>
                  </a:lnTo>
                  <a:lnTo>
                    <a:pt x="274" y="538"/>
                  </a:lnTo>
                  <a:lnTo>
                    <a:pt x="274" y="534"/>
                  </a:lnTo>
                  <a:lnTo>
                    <a:pt x="274" y="530"/>
                  </a:lnTo>
                  <a:lnTo>
                    <a:pt x="274" y="526"/>
                  </a:lnTo>
                  <a:lnTo>
                    <a:pt x="278" y="522"/>
                  </a:lnTo>
                  <a:lnTo>
                    <a:pt x="278" y="520"/>
                  </a:lnTo>
                  <a:lnTo>
                    <a:pt x="278" y="516"/>
                  </a:lnTo>
                  <a:lnTo>
                    <a:pt x="278" y="512"/>
                  </a:lnTo>
                  <a:lnTo>
                    <a:pt x="278" y="508"/>
                  </a:lnTo>
                  <a:lnTo>
                    <a:pt x="274" y="504"/>
                  </a:lnTo>
                  <a:lnTo>
                    <a:pt x="272" y="508"/>
                  </a:lnTo>
                  <a:lnTo>
                    <a:pt x="268" y="508"/>
                  </a:lnTo>
                  <a:lnTo>
                    <a:pt x="264" y="508"/>
                  </a:lnTo>
                  <a:lnTo>
                    <a:pt x="264" y="504"/>
                  </a:lnTo>
                  <a:lnTo>
                    <a:pt x="264" y="500"/>
                  </a:lnTo>
                  <a:lnTo>
                    <a:pt x="260" y="500"/>
                  </a:lnTo>
                  <a:lnTo>
                    <a:pt x="260" y="496"/>
                  </a:lnTo>
                  <a:lnTo>
                    <a:pt x="260" y="494"/>
                  </a:lnTo>
                  <a:lnTo>
                    <a:pt x="260" y="490"/>
                  </a:lnTo>
                  <a:lnTo>
                    <a:pt x="260" y="486"/>
                  </a:lnTo>
                  <a:lnTo>
                    <a:pt x="260" y="482"/>
                  </a:lnTo>
                  <a:lnTo>
                    <a:pt x="256" y="482"/>
                  </a:lnTo>
                  <a:lnTo>
                    <a:pt x="256" y="478"/>
                  </a:lnTo>
                  <a:lnTo>
                    <a:pt x="252" y="478"/>
                  </a:lnTo>
                  <a:lnTo>
                    <a:pt x="248" y="478"/>
                  </a:lnTo>
                  <a:lnTo>
                    <a:pt x="248" y="474"/>
                  </a:lnTo>
                  <a:lnTo>
                    <a:pt x="244" y="474"/>
                  </a:lnTo>
                  <a:lnTo>
                    <a:pt x="244" y="478"/>
                  </a:lnTo>
                  <a:lnTo>
                    <a:pt x="242" y="478"/>
                  </a:lnTo>
                  <a:lnTo>
                    <a:pt x="238" y="478"/>
                  </a:lnTo>
                  <a:lnTo>
                    <a:pt x="234" y="478"/>
                  </a:lnTo>
                  <a:lnTo>
                    <a:pt x="230" y="474"/>
                  </a:lnTo>
                  <a:lnTo>
                    <a:pt x="226" y="474"/>
                  </a:lnTo>
                  <a:lnTo>
                    <a:pt x="226" y="470"/>
                  </a:lnTo>
                  <a:lnTo>
                    <a:pt x="226" y="466"/>
                  </a:lnTo>
                  <a:lnTo>
                    <a:pt x="226" y="464"/>
                  </a:lnTo>
                  <a:lnTo>
                    <a:pt x="226" y="460"/>
                  </a:lnTo>
                  <a:lnTo>
                    <a:pt x="230" y="456"/>
                  </a:lnTo>
                  <a:lnTo>
                    <a:pt x="226" y="452"/>
                  </a:lnTo>
                  <a:lnTo>
                    <a:pt x="226" y="448"/>
                  </a:lnTo>
                  <a:lnTo>
                    <a:pt x="226" y="444"/>
                  </a:lnTo>
                  <a:lnTo>
                    <a:pt x="222" y="440"/>
                  </a:lnTo>
                  <a:lnTo>
                    <a:pt x="226" y="438"/>
                  </a:lnTo>
                  <a:lnTo>
                    <a:pt x="226" y="434"/>
                  </a:lnTo>
                  <a:lnTo>
                    <a:pt x="222" y="434"/>
                  </a:lnTo>
                  <a:lnTo>
                    <a:pt x="226" y="434"/>
                  </a:lnTo>
                  <a:lnTo>
                    <a:pt x="226" y="426"/>
                  </a:lnTo>
                  <a:lnTo>
                    <a:pt x="226" y="422"/>
                  </a:lnTo>
                  <a:lnTo>
                    <a:pt x="230" y="422"/>
                  </a:lnTo>
                  <a:lnTo>
                    <a:pt x="230" y="418"/>
                  </a:lnTo>
                  <a:lnTo>
                    <a:pt x="230" y="410"/>
                  </a:lnTo>
                  <a:lnTo>
                    <a:pt x="234" y="408"/>
                  </a:lnTo>
                  <a:lnTo>
                    <a:pt x="230" y="404"/>
                  </a:lnTo>
                  <a:lnTo>
                    <a:pt x="230" y="400"/>
                  </a:lnTo>
                  <a:lnTo>
                    <a:pt x="230" y="396"/>
                  </a:lnTo>
                  <a:lnTo>
                    <a:pt x="226" y="392"/>
                  </a:lnTo>
                  <a:lnTo>
                    <a:pt x="222" y="392"/>
                  </a:lnTo>
                  <a:lnTo>
                    <a:pt x="222" y="388"/>
                  </a:lnTo>
                  <a:lnTo>
                    <a:pt x="218" y="388"/>
                  </a:lnTo>
                  <a:lnTo>
                    <a:pt x="218" y="384"/>
                  </a:lnTo>
                  <a:lnTo>
                    <a:pt x="218" y="382"/>
                  </a:lnTo>
                  <a:lnTo>
                    <a:pt x="218" y="378"/>
                  </a:lnTo>
                  <a:lnTo>
                    <a:pt x="222" y="378"/>
                  </a:lnTo>
                  <a:lnTo>
                    <a:pt x="222" y="374"/>
                  </a:lnTo>
                  <a:lnTo>
                    <a:pt x="218" y="374"/>
                  </a:lnTo>
                  <a:lnTo>
                    <a:pt x="212" y="374"/>
                  </a:lnTo>
                  <a:lnTo>
                    <a:pt x="204" y="374"/>
                  </a:lnTo>
                  <a:lnTo>
                    <a:pt x="196" y="374"/>
                  </a:lnTo>
                  <a:lnTo>
                    <a:pt x="196" y="366"/>
                  </a:lnTo>
                  <a:lnTo>
                    <a:pt x="192" y="358"/>
                  </a:lnTo>
                  <a:lnTo>
                    <a:pt x="192" y="354"/>
                  </a:lnTo>
                  <a:lnTo>
                    <a:pt x="188" y="352"/>
                  </a:lnTo>
                  <a:lnTo>
                    <a:pt x="192" y="352"/>
                  </a:lnTo>
                  <a:lnTo>
                    <a:pt x="192" y="348"/>
                  </a:lnTo>
                  <a:lnTo>
                    <a:pt x="192" y="344"/>
                  </a:lnTo>
                  <a:lnTo>
                    <a:pt x="192" y="340"/>
                  </a:lnTo>
                  <a:lnTo>
                    <a:pt x="192" y="336"/>
                  </a:lnTo>
                  <a:lnTo>
                    <a:pt x="188" y="336"/>
                  </a:lnTo>
                  <a:lnTo>
                    <a:pt x="192" y="332"/>
                  </a:lnTo>
                  <a:lnTo>
                    <a:pt x="192" y="328"/>
                  </a:lnTo>
                  <a:lnTo>
                    <a:pt x="188" y="328"/>
                  </a:lnTo>
                  <a:lnTo>
                    <a:pt x="186" y="326"/>
                  </a:lnTo>
                  <a:lnTo>
                    <a:pt x="182" y="326"/>
                  </a:lnTo>
                  <a:lnTo>
                    <a:pt x="178" y="326"/>
                  </a:lnTo>
                  <a:lnTo>
                    <a:pt x="174" y="326"/>
                  </a:lnTo>
                  <a:lnTo>
                    <a:pt x="170" y="326"/>
                  </a:lnTo>
                  <a:lnTo>
                    <a:pt x="170" y="322"/>
                  </a:lnTo>
                  <a:lnTo>
                    <a:pt x="166" y="322"/>
                  </a:lnTo>
                  <a:lnTo>
                    <a:pt x="166" y="318"/>
                  </a:lnTo>
                  <a:lnTo>
                    <a:pt x="162" y="318"/>
                  </a:lnTo>
                  <a:lnTo>
                    <a:pt x="160" y="314"/>
                  </a:lnTo>
                  <a:lnTo>
                    <a:pt x="156" y="314"/>
                  </a:lnTo>
                  <a:lnTo>
                    <a:pt x="156" y="310"/>
                  </a:lnTo>
                  <a:lnTo>
                    <a:pt x="152" y="310"/>
                  </a:lnTo>
                  <a:lnTo>
                    <a:pt x="148" y="310"/>
                  </a:lnTo>
                  <a:lnTo>
                    <a:pt x="148" y="306"/>
                  </a:lnTo>
                  <a:lnTo>
                    <a:pt x="144" y="306"/>
                  </a:lnTo>
                  <a:lnTo>
                    <a:pt x="140" y="306"/>
                  </a:lnTo>
                  <a:lnTo>
                    <a:pt x="136" y="306"/>
                  </a:lnTo>
                  <a:lnTo>
                    <a:pt x="132" y="302"/>
                  </a:lnTo>
                  <a:lnTo>
                    <a:pt x="130" y="298"/>
                  </a:lnTo>
                  <a:lnTo>
                    <a:pt x="126" y="298"/>
                  </a:lnTo>
                  <a:lnTo>
                    <a:pt x="126" y="296"/>
                  </a:lnTo>
                  <a:lnTo>
                    <a:pt x="126" y="292"/>
                  </a:lnTo>
                  <a:lnTo>
                    <a:pt x="126" y="296"/>
                  </a:lnTo>
                  <a:lnTo>
                    <a:pt x="126" y="292"/>
                  </a:lnTo>
                  <a:lnTo>
                    <a:pt x="122" y="288"/>
                  </a:lnTo>
                  <a:lnTo>
                    <a:pt x="122" y="284"/>
                  </a:lnTo>
                  <a:lnTo>
                    <a:pt x="122" y="280"/>
                  </a:lnTo>
                  <a:lnTo>
                    <a:pt x="122" y="276"/>
                  </a:lnTo>
                  <a:lnTo>
                    <a:pt x="122" y="272"/>
                  </a:lnTo>
                  <a:lnTo>
                    <a:pt x="122" y="268"/>
                  </a:lnTo>
                  <a:lnTo>
                    <a:pt x="122" y="266"/>
                  </a:lnTo>
                  <a:lnTo>
                    <a:pt x="122" y="262"/>
                  </a:lnTo>
                  <a:lnTo>
                    <a:pt x="122" y="258"/>
                  </a:lnTo>
                  <a:lnTo>
                    <a:pt x="118" y="258"/>
                  </a:lnTo>
                  <a:lnTo>
                    <a:pt x="118" y="262"/>
                  </a:lnTo>
                  <a:lnTo>
                    <a:pt x="118" y="258"/>
                  </a:lnTo>
                  <a:lnTo>
                    <a:pt x="116" y="258"/>
                  </a:lnTo>
                  <a:lnTo>
                    <a:pt x="112" y="258"/>
                  </a:lnTo>
                  <a:lnTo>
                    <a:pt x="108" y="262"/>
                  </a:lnTo>
                  <a:lnTo>
                    <a:pt x="104" y="262"/>
                  </a:lnTo>
                  <a:lnTo>
                    <a:pt x="100" y="266"/>
                  </a:lnTo>
                  <a:lnTo>
                    <a:pt x="100" y="268"/>
                  </a:lnTo>
                  <a:lnTo>
                    <a:pt x="96" y="268"/>
                  </a:lnTo>
                  <a:lnTo>
                    <a:pt x="92" y="268"/>
                  </a:lnTo>
                  <a:lnTo>
                    <a:pt x="92" y="272"/>
                  </a:lnTo>
                  <a:lnTo>
                    <a:pt x="88" y="272"/>
                  </a:lnTo>
                  <a:lnTo>
                    <a:pt x="88" y="276"/>
                  </a:lnTo>
                  <a:lnTo>
                    <a:pt x="88" y="272"/>
                  </a:lnTo>
                  <a:lnTo>
                    <a:pt x="86" y="272"/>
                  </a:lnTo>
                  <a:lnTo>
                    <a:pt x="86" y="276"/>
                  </a:lnTo>
                  <a:lnTo>
                    <a:pt x="82" y="276"/>
                  </a:lnTo>
                  <a:lnTo>
                    <a:pt x="82" y="280"/>
                  </a:lnTo>
                  <a:lnTo>
                    <a:pt x="78" y="280"/>
                  </a:lnTo>
                  <a:lnTo>
                    <a:pt x="78" y="284"/>
                  </a:lnTo>
                  <a:lnTo>
                    <a:pt x="74" y="284"/>
                  </a:lnTo>
                  <a:lnTo>
                    <a:pt x="74" y="280"/>
                  </a:lnTo>
                  <a:lnTo>
                    <a:pt x="70" y="280"/>
                  </a:lnTo>
                  <a:lnTo>
                    <a:pt x="66" y="280"/>
                  </a:lnTo>
                  <a:lnTo>
                    <a:pt x="62" y="280"/>
                  </a:lnTo>
                  <a:lnTo>
                    <a:pt x="60" y="280"/>
                  </a:lnTo>
                  <a:lnTo>
                    <a:pt x="56" y="280"/>
                  </a:lnTo>
                  <a:lnTo>
                    <a:pt x="52" y="280"/>
                  </a:lnTo>
                  <a:lnTo>
                    <a:pt x="48" y="280"/>
                  </a:lnTo>
                  <a:lnTo>
                    <a:pt x="48" y="276"/>
                  </a:lnTo>
                  <a:lnTo>
                    <a:pt x="48" y="272"/>
                  </a:lnTo>
                  <a:lnTo>
                    <a:pt x="48" y="268"/>
                  </a:lnTo>
                  <a:lnTo>
                    <a:pt x="48" y="266"/>
                  </a:lnTo>
                  <a:lnTo>
                    <a:pt x="48" y="262"/>
                  </a:lnTo>
                  <a:lnTo>
                    <a:pt x="48" y="258"/>
                  </a:lnTo>
                  <a:lnTo>
                    <a:pt x="48" y="254"/>
                  </a:lnTo>
                  <a:lnTo>
                    <a:pt x="44" y="258"/>
                  </a:lnTo>
                  <a:lnTo>
                    <a:pt x="44" y="262"/>
                  </a:lnTo>
                  <a:lnTo>
                    <a:pt x="40" y="262"/>
                  </a:lnTo>
                  <a:lnTo>
                    <a:pt x="36" y="262"/>
                  </a:lnTo>
                  <a:lnTo>
                    <a:pt x="32" y="262"/>
                  </a:lnTo>
                  <a:lnTo>
                    <a:pt x="30" y="262"/>
                  </a:lnTo>
                  <a:lnTo>
                    <a:pt x="26" y="262"/>
                  </a:lnTo>
                  <a:lnTo>
                    <a:pt x="26" y="258"/>
                  </a:lnTo>
                  <a:lnTo>
                    <a:pt x="26" y="254"/>
                  </a:lnTo>
                  <a:lnTo>
                    <a:pt x="22" y="254"/>
                  </a:lnTo>
                  <a:lnTo>
                    <a:pt x="18" y="254"/>
                  </a:lnTo>
                  <a:lnTo>
                    <a:pt x="14" y="254"/>
                  </a:lnTo>
                  <a:lnTo>
                    <a:pt x="10" y="254"/>
                  </a:lnTo>
                  <a:lnTo>
                    <a:pt x="10" y="250"/>
                  </a:lnTo>
                  <a:lnTo>
                    <a:pt x="14" y="250"/>
                  </a:lnTo>
                  <a:lnTo>
                    <a:pt x="14" y="246"/>
                  </a:lnTo>
                  <a:lnTo>
                    <a:pt x="14" y="242"/>
                  </a:lnTo>
                  <a:lnTo>
                    <a:pt x="10" y="242"/>
                  </a:lnTo>
                  <a:lnTo>
                    <a:pt x="10" y="240"/>
                  </a:lnTo>
                  <a:lnTo>
                    <a:pt x="6" y="236"/>
                  </a:lnTo>
                  <a:lnTo>
                    <a:pt x="6" y="232"/>
                  </a:lnTo>
                  <a:lnTo>
                    <a:pt x="6" y="228"/>
                  </a:lnTo>
                  <a:lnTo>
                    <a:pt x="4" y="228"/>
                  </a:lnTo>
                  <a:lnTo>
                    <a:pt x="4" y="224"/>
                  </a:lnTo>
                  <a:lnTo>
                    <a:pt x="0" y="220"/>
                  </a:lnTo>
                  <a:lnTo>
                    <a:pt x="0" y="216"/>
                  </a:lnTo>
                  <a:lnTo>
                    <a:pt x="4" y="216"/>
                  </a:lnTo>
                  <a:lnTo>
                    <a:pt x="4" y="212"/>
                  </a:lnTo>
                  <a:lnTo>
                    <a:pt x="4" y="210"/>
                  </a:lnTo>
                  <a:lnTo>
                    <a:pt x="6" y="206"/>
                  </a:lnTo>
                  <a:lnTo>
                    <a:pt x="10" y="206"/>
                  </a:lnTo>
                  <a:lnTo>
                    <a:pt x="10" y="202"/>
                  </a:lnTo>
                  <a:lnTo>
                    <a:pt x="14" y="202"/>
                  </a:lnTo>
                  <a:lnTo>
                    <a:pt x="10" y="198"/>
                  </a:lnTo>
                  <a:lnTo>
                    <a:pt x="10" y="194"/>
                  </a:lnTo>
                  <a:lnTo>
                    <a:pt x="10" y="190"/>
                  </a:lnTo>
                  <a:lnTo>
                    <a:pt x="14" y="190"/>
                  </a:lnTo>
                  <a:lnTo>
                    <a:pt x="14" y="186"/>
                  </a:lnTo>
                  <a:lnTo>
                    <a:pt x="14" y="184"/>
                  </a:lnTo>
                  <a:lnTo>
                    <a:pt x="14" y="180"/>
                  </a:lnTo>
                  <a:lnTo>
                    <a:pt x="18" y="180"/>
                  </a:lnTo>
                  <a:lnTo>
                    <a:pt x="22" y="176"/>
                  </a:lnTo>
                  <a:lnTo>
                    <a:pt x="22" y="172"/>
                  </a:lnTo>
                  <a:lnTo>
                    <a:pt x="26" y="172"/>
                  </a:lnTo>
                  <a:lnTo>
                    <a:pt x="30" y="172"/>
                  </a:lnTo>
                  <a:lnTo>
                    <a:pt x="30" y="168"/>
                  </a:lnTo>
                  <a:lnTo>
                    <a:pt x="32" y="168"/>
                  </a:lnTo>
                  <a:lnTo>
                    <a:pt x="36" y="168"/>
                  </a:lnTo>
                  <a:lnTo>
                    <a:pt x="40" y="164"/>
                  </a:lnTo>
                  <a:lnTo>
                    <a:pt x="40" y="168"/>
                  </a:lnTo>
                  <a:lnTo>
                    <a:pt x="44" y="168"/>
                  </a:lnTo>
                  <a:lnTo>
                    <a:pt x="44" y="164"/>
                  </a:lnTo>
                  <a:lnTo>
                    <a:pt x="48" y="164"/>
                  </a:lnTo>
                  <a:lnTo>
                    <a:pt x="52" y="164"/>
                  </a:lnTo>
                  <a:lnTo>
                    <a:pt x="52" y="160"/>
                  </a:lnTo>
                  <a:lnTo>
                    <a:pt x="52" y="164"/>
                  </a:lnTo>
                  <a:lnTo>
                    <a:pt x="56" y="164"/>
                  </a:lnTo>
                  <a:lnTo>
                    <a:pt x="60" y="164"/>
                  </a:lnTo>
                  <a:lnTo>
                    <a:pt x="60" y="156"/>
                  </a:lnTo>
                  <a:lnTo>
                    <a:pt x="60" y="150"/>
                  </a:lnTo>
                  <a:lnTo>
                    <a:pt x="62" y="136"/>
                  </a:lnTo>
                  <a:lnTo>
                    <a:pt x="62" y="132"/>
                  </a:lnTo>
                  <a:lnTo>
                    <a:pt x="62" y="124"/>
                  </a:lnTo>
                  <a:lnTo>
                    <a:pt x="62" y="116"/>
                  </a:lnTo>
                  <a:lnTo>
                    <a:pt x="66" y="116"/>
                  </a:lnTo>
                  <a:lnTo>
                    <a:pt x="66" y="114"/>
                  </a:lnTo>
                  <a:lnTo>
                    <a:pt x="66" y="110"/>
                  </a:lnTo>
                  <a:lnTo>
                    <a:pt x="62" y="110"/>
                  </a:lnTo>
                  <a:lnTo>
                    <a:pt x="66" y="110"/>
                  </a:lnTo>
                  <a:lnTo>
                    <a:pt x="62" y="110"/>
                  </a:lnTo>
                  <a:lnTo>
                    <a:pt x="62" y="106"/>
                  </a:lnTo>
                  <a:lnTo>
                    <a:pt x="62" y="102"/>
                  </a:lnTo>
                  <a:lnTo>
                    <a:pt x="60" y="102"/>
                  </a:lnTo>
                  <a:lnTo>
                    <a:pt x="60" y="98"/>
                  </a:lnTo>
                  <a:lnTo>
                    <a:pt x="56" y="94"/>
                  </a:lnTo>
                  <a:lnTo>
                    <a:pt x="56" y="90"/>
                  </a:lnTo>
                  <a:lnTo>
                    <a:pt x="56" y="86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2" y="80"/>
                  </a:lnTo>
                  <a:lnTo>
                    <a:pt x="66" y="80"/>
                  </a:lnTo>
                  <a:lnTo>
                    <a:pt x="66" y="84"/>
                  </a:lnTo>
                  <a:lnTo>
                    <a:pt x="70" y="84"/>
                  </a:lnTo>
                  <a:lnTo>
                    <a:pt x="70" y="80"/>
                  </a:lnTo>
                  <a:lnTo>
                    <a:pt x="66" y="76"/>
                  </a:lnTo>
                  <a:lnTo>
                    <a:pt x="62" y="76"/>
                  </a:lnTo>
                  <a:lnTo>
                    <a:pt x="60" y="76"/>
                  </a:lnTo>
                  <a:lnTo>
                    <a:pt x="60" y="64"/>
                  </a:lnTo>
                  <a:lnTo>
                    <a:pt x="62" y="60"/>
                  </a:lnTo>
                  <a:lnTo>
                    <a:pt x="66" y="64"/>
                  </a:lnTo>
                  <a:lnTo>
                    <a:pt x="70" y="64"/>
                  </a:lnTo>
                  <a:lnTo>
                    <a:pt x="74" y="64"/>
                  </a:lnTo>
                  <a:lnTo>
                    <a:pt x="82" y="64"/>
                  </a:lnTo>
                  <a:lnTo>
                    <a:pt x="82" y="60"/>
                  </a:lnTo>
                  <a:lnTo>
                    <a:pt x="82" y="56"/>
                  </a:lnTo>
                  <a:lnTo>
                    <a:pt x="82" y="60"/>
                  </a:lnTo>
                  <a:lnTo>
                    <a:pt x="86" y="60"/>
                  </a:lnTo>
                  <a:lnTo>
                    <a:pt x="86" y="64"/>
                  </a:lnTo>
                  <a:lnTo>
                    <a:pt x="86" y="60"/>
                  </a:lnTo>
                  <a:lnTo>
                    <a:pt x="88" y="60"/>
                  </a:lnTo>
                  <a:lnTo>
                    <a:pt x="88" y="56"/>
                  </a:lnTo>
                  <a:lnTo>
                    <a:pt x="92" y="56"/>
                  </a:lnTo>
                  <a:lnTo>
                    <a:pt x="96" y="56"/>
                  </a:lnTo>
                  <a:lnTo>
                    <a:pt x="96" y="60"/>
                  </a:lnTo>
                  <a:lnTo>
                    <a:pt x="96" y="64"/>
                  </a:lnTo>
                  <a:lnTo>
                    <a:pt x="100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2"/>
                  </a:lnTo>
                  <a:lnTo>
                    <a:pt x="104" y="72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6" y="80"/>
                  </a:lnTo>
                  <a:lnTo>
                    <a:pt x="116" y="76"/>
                  </a:lnTo>
                  <a:lnTo>
                    <a:pt x="118" y="76"/>
                  </a:lnTo>
                  <a:lnTo>
                    <a:pt x="118" y="80"/>
                  </a:lnTo>
                  <a:lnTo>
                    <a:pt x="118" y="84"/>
                  </a:lnTo>
                  <a:lnTo>
                    <a:pt x="118" y="80"/>
                  </a:lnTo>
                  <a:lnTo>
                    <a:pt x="122" y="80"/>
                  </a:lnTo>
                  <a:lnTo>
                    <a:pt x="122" y="76"/>
                  </a:lnTo>
                  <a:lnTo>
                    <a:pt x="126" y="76"/>
                  </a:lnTo>
                  <a:lnTo>
                    <a:pt x="126" y="72"/>
                  </a:lnTo>
                  <a:lnTo>
                    <a:pt x="130" y="72"/>
                  </a:lnTo>
                  <a:lnTo>
                    <a:pt x="132" y="68"/>
                  </a:lnTo>
                  <a:lnTo>
                    <a:pt x="136" y="68"/>
                  </a:lnTo>
                  <a:lnTo>
                    <a:pt x="140" y="64"/>
                  </a:lnTo>
                  <a:lnTo>
                    <a:pt x="140" y="60"/>
                  </a:lnTo>
                  <a:lnTo>
                    <a:pt x="140" y="56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48" y="54"/>
                  </a:lnTo>
                  <a:lnTo>
                    <a:pt x="152" y="54"/>
                  </a:lnTo>
                  <a:lnTo>
                    <a:pt x="152" y="50"/>
                  </a:lnTo>
                  <a:lnTo>
                    <a:pt x="148" y="50"/>
                  </a:lnTo>
                  <a:lnTo>
                    <a:pt x="144" y="50"/>
                  </a:lnTo>
                  <a:lnTo>
                    <a:pt x="140" y="50"/>
                  </a:lnTo>
                  <a:lnTo>
                    <a:pt x="140" y="46"/>
                  </a:lnTo>
                  <a:lnTo>
                    <a:pt x="140" y="42"/>
                  </a:lnTo>
                  <a:lnTo>
                    <a:pt x="140" y="38"/>
                  </a:lnTo>
                  <a:lnTo>
                    <a:pt x="136" y="38"/>
                  </a:lnTo>
                  <a:lnTo>
                    <a:pt x="136" y="34"/>
                  </a:lnTo>
                  <a:lnTo>
                    <a:pt x="136" y="30"/>
                  </a:lnTo>
                  <a:lnTo>
                    <a:pt x="136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0" y="24"/>
                  </a:lnTo>
                  <a:lnTo>
                    <a:pt x="130" y="20"/>
                  </a:lnTo>
                  <a:lnTo>
                    <a:pt x="132" y="20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36" y="24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8" y="24"/>
                  </a:lnTo>
                  <a:lnTo>
                    <a:pt x="148" y="28"/>
                  </a:lnTo>
                  <a:lnTo>
                    <a:pt x="148" y="24"/>
                  </a:lnTo>
                  <a:lnTo>
                    <a:pt x="152" y="24"/>
                  </a:lnTo>
                  <a:lnTo>
                    <a:pt x="152" y="28"/>
                  </a:lnTo>
                  <a:lnTo>
                    <a:pt x="156" y="30"/>
                  </a:lnTo>
                  <a:lnTo>
                    <a:pt x="160" y="30"/>
                  </a:lnTo>
                  <a:lnTo>
                    <a:pt x="160" y="28"/>
                  </a:lnTo>
                  <a:lnTo>
                    <a:pt x="160" y="24"/>
                  </a:lnTo>
                  <a:lnTo>
                    <a:pt x="162" y="24"/>
                  </a:lnTo>
                  <a:lnTo>
                    <a:pt x="162" y="20"/>
                  </a:lnTo>
                  <a:lnTo>
                    <a:pt x="166" y="20"/>
                  </a:lnTo>
                  <a:lnTo>
                    <a:pt x="166" y="24"/>
                  </a:lnTo>
                  <a:lnTo>
                    <a:pt x="170" y="20"/>
                  </a:lnTo>
                  <a:lnTo>
                    <a:pt x="174" y="20"/>
                  </a:lnTo>
                  <a:lnTo>
                    <a:pt x="178" y="20"/>
                  </a:lnTo>
                  <a:lnTo>
                    <a:pt x="178" y="16"/>
                  </a:lnTo>
                  <a:lnTo>
                    <a:pt x="182" y="16"/>
                  </a:lnTo>
                  <a:lnTo>
                    <a:pt x="186" y="16"/>
                  </a:lnTo>
                  <a:lnTo>
                    <a:pt x="186" y="12"/>
                  </a:lnTo>
                  <a:lnTo>
                    <a:pt x="188" y="12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2" y="0"/>
                  </a:lnTo>
                  <a:lnTo>
                    <a:pt x="196" y="0"/>
                  </a:lnTo>
                  <a:lnTo>
                    <a:pt x="196" y="4"/>
                  </a:lnTo>
                  <a:lnTo>
                    <a:pt x="196" y="8"/>
                  </a:lnTo>
                  <a:lnTo>
                    <a:pt x="196" y="12"/>
                  </a:lnTo>
                  <a:lnTo>
                    <a:pt x="196" y="16"/>
                  </a:lnTo>
                  <a:lnTo>
                    <a:pt x="200" y="16"/>
                  </a:lnTo>
                  <a:lnTo>
                    <a:pt x="204" y="16"/>
                  </a:lnTo>
                  <a:lnTo>
                    <a:pt x="200" y="20"/>
                  </a:lnTo>
                  <a:lnTo>
                    <a:pt x="204" y="24"/>
                  </a:lnTo>
                  <a:lnTo>
                    <a:pt x="204" y="28"/>
                  </a:lnTo>
                  <a:lnTo>
                    <a:pt x="200" y="30"/>
                  </a:lnTo>
                  <a:lnTo>
                    <a:pt x="200" y="34"/>
                  </a:lnTo>
                  <a:lnTo>
                    <a:pt x="200" y="38"/>
                  </a:lnTo>
                  <a:lnTo>
                    <a:pt x="196" y="42"/>
                  </a:lnTo>
                  <a:lnTo>
                    <a:pt x="196" y="46"/>
                  </a:lnTo>
                  <a:lnTo>
                    <a:pt x="196" y="50"/>
                  </a:lnTo>
                  <a:lnTo>
                    <a:pt x="200" y="50"/>
                  </a:lnTo>
                  <a:lnTo>
                    <a:pt x="200" y="54"/>
                  </a:lnTo>
                  <a:lnTo>
                    <a:pt x="200" y="56"/>
                  </a:lnTo>
                  <a:lnTo>
                    <a:pt x="200" y="60"/>
                  </a:lnTo>
                  <a:lnTo>
                    <a:pt x="204" y="60"/>
                  </a:lnTo>
                  <a:lnTo>
                    <a:pt x="204" y="64"/>
                  </a:lnTo>
                  <a:lnTo>
                    <a:pt x="208" y="64"/>
                  </a:lnTo>
                  <a:lnTo>
                    <a:pt x="208" y="68"/>
                  </a:lnTo>
                  <a:lnTo>
                    <a:pt x="212" y="68"/>
                  </a:lnTo>
                  <a:lnTo>
                    <a:pt x="212" y="72"/>
                  </a:lnTo>
                  <a:lnTo>
                    <a:pt x="216" y="72"/>
                  </a:lnTo>
                  <a:lnTo>
                    <a:pt x="218" y="72"/>
                  </a:lnTo>
                  <a:lnTo>
                    <a:pt x="218" y="68"/>
                  </a:lnTo>
                  <a:lnTo>
                    <a:pt x="222" y="64"/>
                  </a:lnTo>
                  <a:lnTo>
                    <a:pt x="222" y="68"/>
                  </a:lnTo>
                  <a:lnTo>
                    <a:pt x="226" y="68"/>
                  </a:lnTo>
                  <a:lnTo>
                    <a:pt x="226" y="64"/>
                  </a:lnTo>
                  <a:lnTo>
                    <a:pt x="230" y="64"/>
                  </a:lnTo>
                  <a:lnTo>
                    <a:pt x="234" y="64"/>
                  </a:lnTo>
                  <a:lnTo>
                    <a:pt x="234" y="60"/>
                  </a:lnTo>
                  <a:lnTo>
                    <a:pt x="234" y="56"/>
                  </a:lnTo>
                  <a:lnTo>
                    <a:pt x="238" y="56"/>
                  </a:lnTo>
                  <a:lnTo>
                    <a:pt x="238" y="60"/>
                  </a:lnTo>
                  <a:lnTo>
                    <a:pt x="238" y="56"/>
                  </a:lnTo>
                  <a:lnTo>
                    <a:pt x="242" y="60"/>
                  </a:lnTo>
                  <a:lnTo>
                    <a:pt x="244" y="60"/>
                  </a:lnTo>
                  <a:lnTo>
                    <a:pt x="248" y="60"/>
                  </a:lnTo>
                  <a:lnTo>
                    <a:pt x="252" y="60"/>
                  </a:lnTo>
                  <a:lnTo>
                    <a:pt x="256" y="60"/>
                  </a:lnTo>
                  <a:lnTo>
                    <a:pt x="256" y="56"/>
                  </a:lnTo>
                  <a:lnTo>
                    <a:pt x="252" y="54"/>
                  </a:lnTo>
                  <a:lnTo>
                    <a:pt x="252" y="50"/>
                  </a:lnTo>
                  <a:lnTo>
                    <a:pt x="256" y="50"/>
                  </a:lnTo>
                  <a:lnTo>
                    <a:pt x="260" y="54"/>
                  </a:lnTo>
                  <a:lnTo>
                    <a:pt x="260" y="50"/>
                  </a:lnTo>
                  <a:lnTo>
                    <a:pt x="268" y="50"/>
                  </a:lnTo>
                  <a:lnTo>
                    <a:pt x="272" y="50"/>
                  </a:lnTo>
                  <a:lnTo>
                    <a:pt x="272" y="54"/>
                  </a:lnTo>
                  <a:lnTo>
                    <a:pt x="274" y="54"/>
                  </a:lnTo>
                  <a:lnTo>
                    <a:pt x="278" y="56"/>
                  </a:lnTo>
                  <a:lnTo>
                    <a:pt x="282" y="56"/>
                  </a:lnTo>
                  <a:lnTo>
                    <a:pt x="282" y="54"/>
                  </a:lnTo>
                  <a:lnTo>
                    <a:pt x="286" y="54"/>
                  </a:lnTo>
                  <a:lnTo>
                    <a:pt x="290" y="54"/>
                  </a:lnTo>
                  <a:lnTo>
                    <a:pt x="294" y="54"/>
                  </a:lnTo>
                  <a:lnTo>
                    <a:pt x="298" y="54"/>
                  </a:lnTo>
                  <a:lnTo>
                    <a:pt x="298" y="56"/>
                  </a:lnTo>
                  <a:lnTo>
                    <a:pt x="298" y="54"/>
                  </a:lnTo>
                  <a:lnTo>
                    <a:pt x="302" y="54"/>
                  </a:lnTo>
                  <a:lnTo>
                    <a:pt x="302" y="50"/>
                  </a:lnTo>
                  <a:lnTo>
                    <a:pt x="304" y="50"/>
                  </a:lnTo>
                  <a:lnTo>
                    <a:pt x="304" y="46"/>
                  </a:lnTo>
                  <a:lnTo>
                    <a:pt x="304" y="42"/>
                  </a:lnTo>
                  <a:lnTo>
                    <a:pt x="304" y="38"/>
                  </a:lnTo>
                  <a:lnTo>
                    <a:pt x="308" y="38"/>
                  </a:lnTo>
                  <a:lnTo>
                    <a:pt x="308" y="34"/>
                  </a:lnTo>
                  <a:lnTo>
                    <a:pt x="312" y="30"/>
                  </a:lnTo>
                  <a:lnTo>
                    <a:pt x="312" y="28"/>
                  </a:lnTo>
                  <a:lnTo>
                    <a:pt x="312" y="24"/>
                  </a:lnTo>
                  <a:lnTo>
                    <a:pt x="316" y="24"/>
                  </a:lnTo>
                  <a:lnTo>
                    <a:pt x="316" y="20"/>
                  </a:lnTo>
                  <a:lnTo>
                    <a:pt x="320" y="24"/>
                  </a:lnTo>
                  <a:lnTo>
                    <a:pt x="316" y="20"/>
                  </a:lnTo>
                  <a:lnTo>
                    <a:pt x="316" y="16"/>
                  </a:lnTo>
                  <a:lnTo>
                    <a:pt x="320" y="20"/>
                  </a:lnTo>
                  <a:lnTo>
                    <a:pt x="324" y="24"/>
                  </a:lnTo>
                  <a:lnTo>
                    <a:pt x="324" y="28"/>
                  </a:lnTo>
                  <a:lnTo>
                    <a:pt x="324" y="30"/>
                  </a:lnTo>
                  <a:lnTo>
                    <a:pt x="324" y="34"/>
                  </a:lnTo>
                  <a:lnTo>
                    <a:pt x="324" y="38"/>
                  </a:lnTo>
                  <a:lnTo>
                    <a:pt x="324" y="42"/>
                  </a:lnTo>
                  <a:lnTo>
                    <a:pt x="328" y="42"/>
                  </a:lnTo>
                  <a:lnTo>
                    <a:pt x="328" y="46"/>
                  </a:lnTo>
                  <a:lnTo>
                    <a:pt x="328" y="50"/>
                  </a:lnTo>
                  <a:lnTo>
                    <a:pt x="330" y="56"/>
                  </a:lnTo>
                  <a:lnTo>
                    <a:pt x="330" y="60"/>
                  </a:lnTo>
                  <a:lnTo>
                    <a:pt x="334" y="60"/>
                  </a:lnTo>
                  <a:lnTo>
                    <a:pt x="338" y="60"/>
                  </a:lnTo>
                  <a:lnTo>
                    <a:pt x="342" y="64"/>
                  </a:lnTo>
                  <a:lnTo>
                    <a:pt x="342" y="68"/>
                  </a:lnTo>
                  <a:lnTo>
                    <a:pt x="338" y="72"/>
                  </a:lnTo>
                  <a:lnTo>
                    <a:pt x="342" y="72"/>
                  </a:lnTo>
                  <a:lnTo>
                    <a:pt x="338" y="72"/>
                  </a:lnTo>
                  <a:lnTo>
                    <a:pt x="338" y="76"/>
                  </a:lnTo>
                  <a:lnTo>
                    <a:pt x="334" y="76"/>
                  </a:lnTo>
                  <a:lnTo>
                    <a:pt x="334" y="80"/>
                  </a:lnTo>
                  <a:lnTo>
                    <a:pt x="330" y="84"/>
                  </a:lnTo>
                  <a:lnTo>
                    <a:pt x="330" y="86"/>
                  </a:lnTo>
                  <a:lnTo>
                    <a:pt x="328" y="90"/>
                  </a:lnTo>
                  <a:lnTo>
                    <a:pt x="324" y="90"/>
                  </a:lnTo>
                  <a:lnTo>
                    <a:pt x="324" y="94"/>
                  </a:lnTo>
                  <a:lnTo>
                    <a:pt x="320" y="94"/>
                  </a:lnTo>
                  <a:lnTo>
                    <a:pt x="320" y="98"/>
                  </a:lnTo>
                  <a:lnTo>
                    <a:pt x="320" y="102"/>
                  </a:lnTo>
                  <a:lnTo>
                    <a:pt x="316" y="102"/>
                  </a:lnTo>
                  <a:lnTo>
                    <a:pt x="316" y="106"/>
                  </a:lnTo>
                  <a:lnTo>
                    <a:pt x="316" y="110"/>
                  </a:lnTo>
                  <a:lnTo>
                    <a:pt x="312" y="114"/>
                  </a:lnTo>
                  <a:lnTo>
                    <a:pt x="312" y="116"/>
                  </a:lnTo>
                  <a:lnTo>
                    <a:pt x="308" y="116"/>
                  </a:lnTo>
                  <a:lnTo>
                    <a:pt x="304" y="116"/>
                  </a:lnTo>
                  <a:lnTo>
                    <a:pt x="304" y="120"/>
                  </a:lnTo>
                  <a:lnTo>
                    <a:pt x="302" y="116"/>
                  </a:lnTo>
                  <a:lnTo>
                    <a:pt x="302" y="120"/>
                  </a:lnTo>
                  <a:lnTo>
                    <a:pt x="304" y="120"/>
                  </a:lnTo>
                  <a:lnTo>
                    <a:pt x="308" y="120"/>
                  </a:lnTo>
                  <a:lnTo>
                    <a:pt x="312" y="120"/>
                  </a:lnTo>
                  <a:lnTo>
                    <a:pt x="312" y="116"/>
                  </a:lnTo>
                  <a:lnTo>
                    <a:pt x="316" y="116"/>
                  </a:lnTo>
                  <a:lnTo>
                    <a:pt x="320" y="116"/>
                  </a:lnTo>
                  <a:lnTo>
                    <a:pt x="324" y="114"/>
                  </a:lnTo>
                  <a:lnTo>
                    <a:pt x="324" y="110"/>
                  </a:lnTo>
                  <a:lnTo>
                    <a:pt x="328" y="110"/>
                  </a:lnTo>
                  <a:lnTo>
                    <a:pt x="328" y="114"/>
                  </a:lnTo>
                  <a:lnTo>
                    <a:pt x="328" y="116"/>
                  </a:lnTo>
                  <a:lnTo>
                    <a:pt x="328" y="120"/>
                  </a:lnTo>
                  <a:lnTo>
                    <a:pt x="330" y="120"/>
                  </a:lnTo>
                  <a:lnTo>
                    <a:pt x="330" y="124"/>
                  </a:lnTo>
                  <a:lnTo>
                    <a:pt x="328" y="124"/>
                  </a:lnTo>
                  <a:lnTo>
                    <a:pt x="324" y="124"/>
                  </a:lnTo>
                  <a:lnTo>
                    <a:pt x="320" y="124"/>
                  </a:lnTo>
                  <a:lnTo>
                    <a:pt x="320" y="120"/>
                  </a:lnTo>
                  <a:lnTo>
                    <a:pt x="320" y="124"/>
                  </a:lnTo>
                  <a:lnTo>
                    <a:pt x="320" y="128"/>
                  </a:lnTo>
                  <a:lnTo>
                    <a:pt x="316" y="128"/>
                  </a:lnTo>
                  <a:lnTo>
                    <a:pt x="320" y="132"/>
                  </a:lnTo>
                  <a:lnTo>
                    <a:pt x="320" y="128"/>
                  </a:lnTo>
                  <a:lnTo>
                    <a:pt x="320" y="124"/>
                  </a:lnTo>
                  <a:lnTo>
                    <a:pt x="324" y="124"/>
                  </a:lnTo>
                  <a:lnTo>
                    <a:pt x="324" y="128"/>
                  </a:lnTo>
                  <a:lnTo>
                    <a:pt x="324" y="132"/>
                  </a:lnTo>
                  <a:lnTo>
                    <a:pt x="324" y="136"/>
                  </a:lnTo>
                  <a:lnTo>
                    <a:pt x="328" y="136"/>
                  </a:lnTo>
                  <a:lnTo>
                    <a:pt x="324" y="132"/>
                  </a:lnTo>
                  <a:lnTo>
                    <a:pt x="328" y="128"/>
                  </a:lnTo>
                  <a:lnTo>
                    <a:pt x="330" y="132"/>
                  </a:lnTo>
                  <a:lnTo>
                    <a:pt x="328" y="128"/>
                  </a:lnTo>
                  <a:lnTo>
                    <a:pt x="328" y="124"/>
                  </a:lnTo>
                  <a:lnTo>
                    <a:pt x="330" y="124"/>
                  </a:lnTo>
                  <a:lnTo>
                    <a:pt x="334" y="124"/>
                  </a:lnTo>
                  <a:lnTo>
                    <a:pt x="330" y="124"/>
                  </a:lnTo>
                  <a:lnTo>
                    <a:pt x="334" y="124"/>
                  </a:lnTo>
                  <a:lnTo>
                    <a:pt x="338" y="124"/>
                  </a:lnTo>
                  <a:lnTo>
                    <a:pt x="342" y="124"/>
                  </a:lnTo>
                  <a:lnTo>
                    <a:pt x="346" y="124"/>
                  </a:lnTo>
                  <a:lnTo>
                    <a:pt x="346" y="120"/>
                  </a:lnTo>
                  <a:lnTo>
                    <a:pt x="350" y="120"/>
                  </a:lnTo>
                  <a:lnTo>
                    <a:pt x="350" y="124"/>
                  </a:lnTo>
                  <a:lnTo>
                    <a:pt x="350" y="128"/>
                  </a:lnTo>
                  <a:lnTo>
                    <a:pt x="346" y="128"/>
                  </a:lnTo>
                  <a:lnTo>
                    <a:pt x="346" y="132"/>
                  </a:lnTo>
                  <a:lnTo>
                    <a:pt x="346" y="136"/>
                  </a:lnTo>
                  <a:lnTo>
                    <a:pt x="346" y="132"/>
                  </a:lnTo>
                  <a:lnTo>
                    <a:pt x="350" y="132"/>
                  </a:lnTo>
                  <a:lnTo>
                    <a:pt x="350" y="128"/>
                  </a:lnTo>
                  <a:lnTo>
                    <a:pt x="350" y="124"/>
                  </a:lnTo>
                  <a:lnTo>
                    <a:pt x="354" y="124"/>
                  </a:lnTo>
                  <a:lnTo>
                    <a:pt x="358" y="120"/>
                  </a:lnTo>
                  <a:lnTo>
                    <a:pt x="358" y="116"/>
                  </a:lnTo>
                  <a:lnTo>
                    <a:pt x="360" y="116"/>
                  </a:lnTo>
                  <a:lnTo>
                    <a:pt x="360" y="120"/>
                  </a:lnTo>
                  <a:lnTo>
                    <a:pt x="360" y="116"/>
                  </a:lnTo>
                  <a:lnTo>
                    <a:pt x="364" y="116"/>
                  </a:lnTo>
                  <a:lnTo>
                    <a:pt x="360" y="116"/>
                  </a:lnTo>
                  <a:lnTo>
                    <a:pt x="360" y="114"/>
                  </a:lnTo>
                  <a:lnTo>
                    <a:pt x="360" y="116"/>
                  </a:lnTo>
                  <a:lnTo>
                    <a:pt x="364" y="116"/>
                  </a:lnTo>
                  <a:lnTo>
                    <a:pt x="364" y="114"/>
                  </a:lnTo>
                  <a:lnTo>
                    <a:pt x="364" y="110"/>
                  </a:lnTo>
                  <a:lnTo>
                    <a:pt x="364" y="106"/>
                  </a:lnTo>
                  <a:lnTo>
                    <a:pt x="368" y="106"/>
                  </a:lnTo>
                  <a:lnTo>
                    <a:pt x="372" y="102"/>
                  </a:lnTo>
                  <a:lnTo>
                    <a:pt x="372" y="106"/>
                  </a:lnTo>
                  <a:lnTo>
                    <a:pt x="372" y="102"/>
                  </a:lnTo>
                  <a:lnTo>
                    <a:pt x="376" y="102"/>
                  </a:lnTo>
                  <a:lnTo>
                    <a:pt x="376" y="106"/>
                  </a:lnTo>
                  <a:lnTo>
                    <a:pt x="376" y="102"/>
                  </a:lnTo>
                  <a:lnTo>
                    <a:pt x="380" y="102"/>
                  </a:lnTo>
                  <a:lnTo>
                    <a:pt x="380" y="106"/>
                  </a:lnTo>
                  <a:lnTo>
                    <a:pt x="384" y="106"/>
                  </a:lnTo>
                  <a:lnTo>
                    <a:pt x="384" y="110"/>
                  </a:lnTo>
                  <a:lnTo>
                    <a:pt x="384" y="106"/>
                  </a:lnTo>
                  <a:lnTo>
                    <a:pt x="386" y="106"/>
                  </a:lnTo>
                  <a:lnTo>
                    <a:pt x="386" y="110"/>
                  </a:lnTo>
                  <a:lnTo>
                    <a:pt x="390" y="110"/>
                  </a:lnTo>
                  <a:lnTo>
                    <a:pt x="394" y="110"/>
                  </a:lnTo>
                  <a:lnTo>
                    <a:pt x="394" y="114"/>
                  </a:lnTo>
                  <a:lnTo>
                    <a:pt x="390" y="114"/>
                  </a:lnTo>
                  <a:lnTo>
                    <a:pt x="394" y="114"/>
                  </a:lnTo>
                  <a:lnTo>
                    <a:pt x="398" y="110"/>
                  </a:lnTo>
                  <a:lnTo>
                    <a:pt x="398" y="114"/>
                  </a:lnTo>
                  <a:lnTo>
                    <a:pt x="402" y="114"/>
                  </a:lnTo>
                  <a:lnTo>
                    <a:pt x="402" y="116"/>
                  </a:lnTo>
                  <a:lnTo>
                    <a:pt x="402" y="114"/>
                  </a:lnTo>
                  <a:lnTo>
                    <a:pt x="406" y="116"/>
                  </a:lnTo>
                  <a:lnTo>
                    <a:pt x="402" y="116"/>
                  </a:lnTo>
                  <a:lnTo>
                    <a:pt x="402" y="120"/>
                  </a:lnTo>
                  <a:lnTo>
                    <a:pt x="406" y="120"/>
                  </a:lnTo>
                  <a:lnTo>
                    <a:pt x="406" y="116"/>
                  </a:lnTo>
                  <a:lnTo>
                    <a:pt x="406" y="120"/>
                  </a:lnTo>
                  <a:lnTo>
                    <a:pt x="406" y="116"/>
                  </a:lnTo>
                  <a:lnTo>
                    <a:pt x="410" y="116"/>
                  </a:lnTo>
                  <a:lnTo>
                    <a:pt x="414" y="116"/>
                  </a:lnTo>
                  <a:lnTo>
                    <a:pt x="414" y="120"/>
                  </a:lnTo>
                  <a:lnTo>
                    <a:pt x="410" y="120"/>
                  </a:lnTo>
                  <a:lnTo>
                    <a:pt x="414" y="120"/>
                  </a:lnTo>
                  <a:lnTo>
                    <a:pt x="414" y="124"/>
                  </a:lnTo>
                  <a:lnTo>
                    <a:pt x="414" y="124"/>
                  </a:lnTo>
                  <a:lnTo>
                    <a:pt x="414" y="124"/>
                  </a:lnTo>
                  <a:close/>
                  <a:moveTo>
                    <a:pt x="358" y="116"/>
                  </a:moveTo>
                  <a:lnTo>
                    <a:pt x="354" y="116"/>
                  </a:lnTo>
                  <a:lnTo>
                    <a:pt x="350" y="120"/>
                  </a:lnTo>
                  <a:lnTo>
                    <a:pt x="346" y="120"/>
                  </a:lnTo>
                  <a:lnTo>
                    <a:pt x="346" y="124"/>
                  </a:lnTo>
                  <a:lnTo>
                    <a:pt x="342" y="120"/>
                  </a:lnTo>
                  <a:lnTo>
                    <a:pt x="342" y="124"/>
                  </a:lnTo>
                  <a:lnTo>
                    <a:pt x="338" y="124"/>
                  </a:lnTo>
                  <a:lnTo>
                    <a:pt x="338" y="120"/>
                  </a:lnTo>
                  <a:lnTo>
                    <a:pt x="338" y="124"/>
                  </a:lnTo>
                  <a:lnTo>
                    <a:pt x="334" y="124"/>
                  </a:lnTo>
                  <a:lnTo>
                    <a:pt x="330" y="124"/>
                  </a:lnTo>
                  <a:lnTo>
                    <a:pt x="330" y="120"/>
                  </a:lnTo>
                  <a:lnTo>
                    <a:pt x="328" y="120"/>
                  </a:lnTo>
                  <a:lnTo>
                    <a:pt x="328" y="116"/>
                  </a:lnTo>
                  <a:lnTo>
                    <a:pt x="328" y="114"/>
                  </a:lnTo>
                  <a:lnTo>
                    <a:pt x="330" y="114"/>
                  </a:lnTo>
                  <a:lnTo>
                    <a:pt x="330" y="110"/>
                  </a:lnTo>
                  <a:lnTo>
                    <a:pt x="330" y="114"/>
                  </a:lnTo>
                  <a:lnTo>
                    <a:pt x="330" y="110"/>
                  </a:lnTo>
                  <a:lnTo>
                    <a:pt x="328" y="110"/>
                  </a:lnTo>
                  <a:lnTo>
                    <a:pt x="328" y="106"/>
                  </a:lnTo>
                  <a:lnTo>
                    <a:pt x="328" y="102"/>
                  </a:lnTo>
                  <a:lnTo>
                    <a:pt x="330" y="102"/>
                  </a:lnTo>
                  <a:lnTo>
                    <a:pt x="330" y="106"/>
                  </a:lnTo>
                  <a:lnTo>
                    <a:pt x="330" y="102"/>
                  </a:lnTo>
                  <a:lnTo>
                    <a:pt x="330" y="98"/>
                  </a:lnTo>
                  <a:lnTo>
                    <a:pt x="330" y="94"/>
                  </a:lnTo>
                  <a:lnTo>
                    <a:pt x="334" y="94"/>
                  </a:lnTo>
                  <a:lnTo>
                    <a:pt x="338" y="94"/>
                  </a:lnTo>
                  <a:lnTo>
                    <a:pt x="342" y="94"/>
                  </a:lnTo>
                  <a:lnTo>
                    <a:pt x="342" y="98"/>
                  </a:lnTo>
                  <a:lnTo>
                    <a:pt x="346" y="98"/>
                  </a:lnTo>
                  <a:lnTo>
                    <a:pt x="350" y="98"/>
                  </a:lnTo>
                  <a:lnTo>
                    <a:pt x="350" y="94"/>
                  </a:lnTo>
                  <a:lnTo>
                    <a:pt x="354" y="94"/>
                  </a:lnTo>
                  <a:lnTo>
                    <a:pt x="358" y="94"/>
                  </a:lnTo>
                  <a:lnTo>
                    <a:pt x="358" y="98"/>
                  </a:lnTo>
                  <a:lnTo>
                    <a:pt x="360" y="98"/>
                  </a:lnTo>
                  <a:lnTo>
                    <a:pt x="360" y="102"/>
                  </a:lnTo>
                  <a:lnTo>
                    <a:pt x="360" y="106"/>
                  </a:lnTo>
                  <a:lnTo>
                    <a:pt x="360" y="110"/>
                  </a:lnTo>
                  <a:lnTo>
                    <a:pt x="358" y="110"/>
                  </a:lnTo>
                  <a:lnTo>
                    <a:pt x="358" y="114"/>
                  </a:lnTo>
                  <a:lnTo>
                    <a:pt x="358" y="116"/>
                  </a:lnTo>
                  <a:lnTo>
                    <a:pt x="358" y="116"/>
                  </a:lnTo>
                  <a:lnTo>
                    <a:pt x="358" y="116"/>
                  </a:lnTo>
                  <a:close/>
                  <a:moveTo>
                    <a:pt x="330" y="56"/>
                  </a:moveTo>
                  <a:lnTo>
                    <a:pt x="330" y="54"/>
                  </a:lnTo>
                  <a:lnTo>
                    <a:pt x="334" y="54"/>
                  </a:lnTo>
                  <a:lnTo>
                    <a:pt x="334" y="56"/>
                  </a:lnTo>
                  <a:lnTo>
                    <a:pt x="330" y="56"/>
                  </a:lnTo>
                  <a:lnTo>
                    <a:pt x="330" y="56"/>
                  </a:lnTo>
                  <a:lnTo>
                    <a:pt x="330" y="56"/>
                  </a:lnTo>
                  <a:close/>
                  <a:moveTo>
                    <a:pt x="334" y="60"/>
                  </a:moveTo>
                  <a:lnTo>
                    <a:pt x="330" y="56"/>
                  </a:lnTo>
                  <a:lnTo>
                    <a:pt x="334" y="56"/>
                  </a:lnTo>
                  <a:lnTo>
                    <a:pt x="334" y="60"/>
                  </a:lnTo>
                  <a:lnTo>
                    <a:pt x="334" y="60"/>
                  </a:lnTo>
                  <a:lnTo>
                    <a:pt x="334" y="60"/>
                  </a:lnTo>
                  <a:close/>
                  <a:moveTo>
                    <a:pt x="338" y="76"/>
                  </a:moveTo>
                  <a:lnTo>
                    <a:pt x="342" y="76"/>
                  </a:lnTo>
                  <a:lnTo>
                    <a:pt x="338" y="76"/>
                  </a:lnTo>
                  <a:lnTo>
                    <a:pt x="338" y="76"/>
                  </a:lnTo>
                  <a:lnTo>
                    <a:pt x="338" y="76"/>
                  </a:lnTo>
                  <a:close/>
                  <a:moveTo>
                    <a:pt x="334" y="80"/>
                  </a:moveTo>
                  <a:lnTo>
                    <a:pt x="334" y="76"/>
                  </a:lnTo>
                  <a:lnTo>
                    <a:pt x="338" y="76"/>
                  </a:lnTo>
                  <a:lnTo>
                    <a:pt x="338" y="80"/>
                  </a:lnTo>
                  <a:lnTo>
                    <a:pt x="338" y="76"/>
                  </a:lnTo>
                  <a:lnTo>
                    <a:pt x="338" y="80"/>
                  </a:lnTo>
                  <a:lnTo>
                    <a:pt x="334" y="80"/>
                  </a:lnTo>
                  <a:lnTo>
                    <a:pt x="334" y="80"/>
                  </a:lnTo>
                  <a:lnTo>
                    <a:pt x="334" y="80"/>
                  </a:lnTo>
                  <a:close/>
                  <a:moveTo>
                    <a:pt x="334" y="86"/>
                  </a:moveTo>
                  <a:lnTo>
                    <a:pt x="334" y="84"/>
                  </a:lnTo>
                  <a:lnTo>
                    <a:pt x="338" y="84"/>
                  </a:lnTo>
                  <a:lnTo>
                    <a:pt x="338" y="86"/>
                  </a:lnTo>
                  <a:lnTo>
                    <a:pt x="334" y="86"/>
                  </a:lnTo>
                  <a:lnTo>
                    <a:pt x="334" y="86"/>
                  </a:lnTo>
                  <a:lnTo>
                    <a:pt x="334" y="86"/>
                  </a:lnTo>
                  <a:close/>
                  <a:moveTo>
                    <a:pt x="334" y="90"/>
                  </a:moveTo>
                  <a:lnTo>
                    <a:pt x="330" y="90"/>
                  </a:lnTo>
                  <a:lnTo>
                    <a:pt x="330" y="86"/>
                  </a:lnTo>
                  <a:lnTo>
                    <a:pt x="334" y="86"/>
                  </a:lnTo>
                  <a:lnTo>
                    <a:pt x="334" y="84"/>
                  </a:lnTo>
                  <a:lnTo>
                    <a:pt x="334" y="86"/>
                  </a:lnTo>
                  <a:lnTo>
                    <a:pt x="334" y="90"/>
                  </a:lnTo>
                  <a:lnTo>
                    <a:pt x="334" y="90"/>
                  </a:lnTo>
                  <a:lnTo>
                    <a:pt x="334" y="90"/>
                  </a:lnTo>
                  <a:close/>
                  <a:moveTo>
                    <a:pt x="338" y="90"/>
                  </a:moveTo>
                  <a:lnTo>
                    <a:pt x="334" y="90"/>
                  </a:lnTo>
                  <a:lnTo>
                    <a:pt x="338" y="90"/>
                  </a:lnTo>
                  <a:lnTo>
                    <a:pt x="338" y="86"/>
                  </a:lnTo>
                  <a:lnTo>
                    <a:pt x="342" y="86"/>
                  </a:lnTo>
                  <a:lnTo>
                    <a:pt x="346" y="86"/>
                  </a:lnTo>
                  <a:lnTo>
                    <a:pt x="346" y="90"/>
                  </a:lnTo>
                  <a:lnTo>
                    <a:pt x="342" y="90"/>
                  </a:lnTo>
                  <a:lnTo>
                    <a:pt x="342" y="94"/>
                  </a:lnTo>
                  <a:lnTo>
                    <a:pt x="338" y="94"/>
                  </a:lnTo>
                  <a:lnTo>
                    <a:pt x="338" y="90"/>
                  </a:lnTo>
                  <a:lnTo>
                    <a:pt x="338" y="90"/>
                  </a:lnTo>
                  <a:lnTo>
                    <a:pt x="338" y="90"/>
                  </a:lnTo>
                  <a:close/>
                  <a:moveTo>
                    <a:pt x="330" y="94"/>
                  </a:moveTo>
                  <a:lnTo>
                    <a:pt x="330" y="90"/>
                  </a:lnTo>
                  <a:lnTo>
                    <a:pt x="334" y="90"/>
                  </a:lnTo>
                  <a:lnTo>
                    <a:pt x="334" y="94"/>
                  </a:lnTo>
                  <a:lnTo>
                    <a:pt x="330" y="94"/>
                  </a:lnTo>
                  <a:lnTo>
                    <a:pt x="330" y="94"/>
                  </a:lnTo>
                  <a:lnTo>
                    <a:pt x="330" y="94"/>
                  </a:lnTo>
                  <a:close/>
                  <a:moveTo>
                    <a:pt x="342" y="90"/>
                  </a:moveTo>
                  <a:lnTo>
                    <a:pt x="346" y="90"/>
                  </a:lnTo>
                  <a:lnTo>
                    <a:pt x="350" y="90"/>
                  </a:lnTo>
                  <a:lnTo>
                    <a:pt x="350" y="94"/>
                  </a:lnTo>
                  <a:lnTo>
                    <a:pt x="346" y="94"/>
                  </a:lnTo>
                  <a:lnTo>
                    <a:pt x="342" y="94"/>
                  </a:lnTo>
                  <a:lnTo>
                    <a:pt x="342" y="90"/>
                  </a:lnTo>
                  <a:lnTo>
                    <a:pt x="342" y="90"/>
                  </a:lnTo>
                  <a:lnTo>
                    <a:pt x="342" y="90"/>
                  </a:lnTo>
                  <a:close/>
                  <a:moveTo>
                    <a:pt x="328" y="90"/>
                  </a:moveTo>
                  <a:lnTo>
                    <a:pt x="330" y="90"/>
                  </a:lnTo>
                  <a:lnTo>
                    <a:pt x="328" y="90"/>
                  </a:lnTo>
                  <a:lnTo>
                    <a:pt x="328" y="94"/>
                  </a:lnTo>
                  <a:lnTo>
                    <a:pt x="328" y="90"/>
                  </a:lnTo>
                  <a:lnTo>
                    <a:pt x="328" y="90"/>
                  </a:lnTo>
                  <a:lnTo>
                    <a:pt x="328" y="90"/>
                  </a:lnTo>
                  <a:close/>
                  <a:moveTo>
                    <a:pt x="328" y="98"/>
                  </a:moveTo>
                  <a:lnTo>
                    <a:pt x="324" y="98"/>
                  </a:lnTo>
                  <a:lnTo>
                    <a:pt x="324" y="94"/>
                  </a:lnTo>
                  <a:lnTo>
                    <a:pt x="328" y="94"/>
                  </a:lnTo>
                  <a:lnTo>
                    <a:pt x="330" y="94"/>
                  </a:lnTo>
                  <a:lnTo>
                    <a:pt x="328" y="94"/>
                  </a:lnTo>
                  <a:lnTo>
                    <a:pt x="328" y="98"/>
                  </a:lnTo>
                  <a:lnTo>
                    <a:pt x="328" y="98"/>
                  </a:lnTo>
                  <a:lnTo>
                    <a:pt x="328" y="98"/>
                  </a:lnTo>
                  <a:close/>
                  <a:moveTo>
                    <a:pt x="320" y="102"/>
                  </a:moveTo>
                  <a:lnTo>
                    <a:pt x="320" y="98"/>
                  </a:lnTo>
                  <a:lnTo>
                    <a:pt x="324" y="98"/>
                  </a:lnTo>
                  <a:lnTo>
                    <a:pt x="324" y="94"/>
                  </a:lnTo>
                  <a:lnTo>
                    <a:pt x="324" y="98"/>
                  </a:lnTo>
                  <a:lnTo>
                    <a:pt x="320" y="102"/>
                  </a:lnTo>
                  <a:lnTo>
                    <a:pt x="320" y="102"/>
                  </a:lnTo>
                  <a:lnTo>
                    <a:pt x="320" y="102"/>
                  </a:lnTo>
                  <a:close/>
                  <a:moveTo>
                    <a:pt x="324" y="102"/>
                  </a:moveTo>
                  <a:lnTo>
                    <a:pt x="324" y="98"/>
                  </a:lnTo>
                  <a:lnTo>
                    <a:pt x="328" y="98"/>
                  </a:lnTo>
                  <a:lnTo>
                    <a:pt x="324" y="98"/>
                  </a:lnTo>
                  <a:lnTo>
                    <a:pt x="324" y="102"/>
                  </a:lnTo>
                  <a:lnTo>
                    <a:pt x="324" y="102"/>
                  </a:lnTo>
                  <a:lnTo>
                    <a:pt x="324" y="102"/>
                  </a:lnTo>
                  <a:close/>
                  <a:moveTo>
                    <a:pt x="328" y="102"/>
                  </a:moveTo>
                  <a:lnTo>
                    <a:pt x="328" y="98"/>
                  </a:lnTo>
                  <a:lnTo>
                    <a:pt x="328" y="102"/>
                  </a:lnTo>
                  <a:lnTo>
                    <a:pt x="328" y="102"/>
                  </a:lnTo>
                  <a:lnTo>
                    <a:pt x="328" y="102"/>
                  </a:lnTo>
                  <a:close/>
                  <a:moveTo>
                    <a:pt x="324" y="102"/>
                  </a:moveTo>
                  <a:lnTo>
                    <a:pt x="324" y="98"/>
                  </a:lnTo>
                  <a:lnTo>
                    <a:pt x="328" y="98"/>
                  </a:lnTo>
                  <a:lnTo>
                    <a:pt x="328" y="102"/>
                  </a:lnTo>
                  <a:lnTo>
                    <a:pt x="324" y="102"/>
                  </a:lnTo>
                  <a:lnTo>
                    <a:pt x="324" y="102"/>
                  </a:lnTo>
                  <a:lnTo>
                    <a:pt x="324" y="102"/>
                  </a:lnTo>
                  <a:close/>
                  <a:moveTo>
                    <a:pt x="324" y="110"/>
                  </a:moveTo>
                  <a:lnTo>
                    <a:pt x="324" y="106"/>
                  </a:lnTo>
                  <a:lnTo>
                    <a:pt x="328" y="102"/>
                  </a:lnTo>
                  <a:lnTo>
                    <a:pt x="328" y="106"/>
                  </a:lnTo>
                  <a:lnTo>
                    <a:pt x="324" y="106"/>
                  </a:lnTo>
                  <a:lnTo>
                    <a:pt x="324" y="110"/>
                  </a:lnTo>
                  <a:lnTo>
                    <a:pt x="324" y="110"/>
                  </a:lnTo>
                  <a:lnTo>
                    <a:pt x="324" y="110"/>
                  </a:lnTo>
                  <a:close/>
                  <a:moveTo>
                    <a:pt x="320" y="114"/>
                  </a:moveTo>
                  <a:lnTo>
                    <a:pt x="320" y="110"/>
                  </a:lnTo>
                  <a:lnTo>
                    <a:pt x="324" y="110"/>
                  </a:lnTo>
                  <a:lnTo>
                    <a:pt x="324" y="106"/>
                  </a:lnTo>
                  <a:lnTo>
                    <a:pt x="324" y="110"/>
                  </a:lnTo>
                  <a:lnTo>
                    <a:pt x="324" y="114"/>
                  </a:lnTo>
                  <a:lnTo>
                    <a:pt x="320" y="114"/>
                  </a:lnTo>
                  <a:lnTo>
                    <a:pt x="320" y="114"/>
                  </a:lnTo>
                  <a:lnTo>
                    <a:pt x="320" y="114"/>
                  </a:lnTo>
                  <a:close/>
                  <a:moveTo>
                    <a:pt x="328" y="106"/>
                  </a:moveTo>
                  <a:lnTo>
                    <a:pt x="328" y="110"/>
                  </a:lnTo>
                  <a:lnTo>
                    <a:pt x="324" y="110"/>
                  </a:lnTo>
                  <a:lnTo>
                    <a:pt x="324" y="114"/>
                  </a:lnTo>
                  <a:lnTo>
                    <a:pt x="324" y="110"/>
                  </a:lnTo>
                  <a:lnTo>
                    <a:pt x="324" y="106"/>
                  </a:lnTo>
                  <a:lnTo>
                    <a:pt x="328" y="106"/>
                  </a:lnTo>
                  <a:lnTo>
                    <a:pt x="328" y="106"/>
                  </a:lnTo>
                  <a:lnTo>
                    <a:pt x="328" y="106"/>
                  </a:lnTo>
                  <a:close/>
                  <a:moveTo>
                    <a:pt x="386" y="110"/>
                  </a:moveTo>
                  <a:lnTo>
                    <a:pt x="390" y="110"/>
                  </a:lnTo>
                  <a:lnTo>
                    <a:pt x="386" y="110"/>
                  </a:lnTo>
                  <a:lnTo>
                    <a:pt x="386" y="110"/>
                  </a:lnTo>
                  <a:lnTo>
                    <a:pt x="386" y="110"/>
                  </a:lnTo>
                  <a:close/>
                  <a:moveTo>
                    <a:pt x="364" y="114"/>
                  </a:moveTo>
                  <a:lnTo>
                    <a:pt x="360" y="114"/>
                  </a:lnTo>
                  <a:lnTo>
                    <a:pt x="360" y="110"/>
                  </a:lnTo>
                  <a:lnTo>
                    <a:pt x="364" y="110"/>
                  </a:lnTo>
                  <a:lnTo>
                    <a:pt x="364" y="114"/>
                  </a:lnTo>
                  <a:lnTo>
                    <a:pt x="364" y="114"/>
                  </a:lnTo>
                  <a:lnTo>
                    <a:pt x="364" y="114"/>
                  </a:lnTo>
                  <a:close/>
                  <a:moveTo>
                    <a:pt x="402" y="116"/>
                  </a:moveTo>
                  <a:lnTo>
                    <a:pt x="402" y="114"/>
                  </a:lnTo>
                  <a:lnTo>
                    <a:pt x="402" y="116"/>
                  </a:lnTo>
                  <a:lnTo>
                    <a:pt x="402" y="116"/>
                  </a:lnTo>
                  <a:lnTo>
                    <a:pt x="402" y="116"/>
                  </a:lnTo>
                  <a:close/>
                  <a:moveTo>
                    <a:pt x="410" y="116"/>
                  </a:moveTo>
                  <a:lnTo>
                    <a:pt x="410" y="114"/>
                  </a:lnTo>
                  <a:lnTo>
                    <a:pt x="414" y="114"/>
                  </a:lnTo>
                  <a:lnTo>
                    <a:pt x="414" y="116"/>
                  </a:lnTo>
                  <a:lnTo>
                    <a:pt x="410" y="116"/>
                  </a:lnTo>
                  <a:lnTo>
                    <a:pt x="410" y="116"/>
                  </a:lnTo>
                  <a:lnTo>
                    <a:pt x="410" y="116"/>
                  </a:lnTo>
                  <a:close/>
                  <a:moveTo>
                    <a:pt x="304" y="116"/>
                  </a:moveTo>
                  <a:lnTo>
                    <a:pt x="308" y="116"/>
                  </a:lnTo>
                  <a:lnTo>
                    <a:pt x="304" y="116"/>
                  </a:lnTo>
                  <a:lnTo>
                    <a:pt x="304" y="116"/>
                  </a:lnTo>
                  <a:lnTo>
                    <a:pt x="304" y="116"/>
                  </a:lnTo>
                  <a:close/>
                  <a:moveTo>
                    <a:pt x="308" y="120"/>
                  </a:moveTo>
                  <a:lnTo>
                    <a:pt x="308" y="116"/>
                  </a:lnTo>
                  <a:lnTo>
                    <a:pt x="312" y="116"/>
                  </a:lnTo>
                  <a:lnTo>
                    <a:pt x="312" y="120"/>
                  </a:lnTo>
                  <a:lnTo>
                    <a:pt x="308" y="120"/>
                  </a:lnTo>
                  <a:lnTo>
                    <a:pt x="308" y="120"/>
                  </a:lnTo>
                  <a:lnTo>
                    <a:pt x="308" y="120"/>
                  </a:lnTo>
                  <a:close/>
                  <a:moveTo>
                    <a:pt x="414" y="120"/>
                  </a:moveTo>
                  <a:lnTo>
                    <a:pt x="416" y="120"/>
                  </a:lnTo>
                  <a:lnTo>
                    <a:pt x="414" y="120"/>
                  </a:lnTo>
                  <a:lnTo>
                    <a:pt x="414" y="120"/>
                  </a:lnTo>
                  <a:lnTo>
                    <a:pt x="414" y="120"/>
                  </a:lnTo>
                  <a:close/>
                  <a:moveTo>
                    <a:pt x="354" y="124"/>
                  </a:moveTo>
                  <a:lnTo>
                    <a:pt x="354" y="120"/>
                  </a:lnTo>
                  <a:lnTo>
                    <a:pt x="354" y="124"/>
                  </a:lnTo>
                  <a:lnTo>
                    <a:pt x="354" y="124"/>
                  </a:lnTo>
                  <a:lnTo>
                    <a:pt x="354" y="124"/>
                  </a:lnTo>
                  <a:close/>
                  <a:moveTo>
                    <a:pt x="354" y="124"/>
                  </a:moveTo>
                  <a:lnTo>
                    <a:pt x="350" y="124"/>
                  </a:lnTo>
                  <a:lnTo>
                    <a:pt x="354" y="124"/>
                  </a:lnTo>
                  <a:lnTo>
                    <a:pt x="354" y="120"/>
                  </a:lnTo>
                  <a:lnTo>
                    <a:pt x="354" y="124"/>
                  </a:lnTo>
                  <a:lnTo>
                    <a:pt x="354" y="124"/>
                  </a:lnTo>
                  <a:lnTo>
                    <a:pt x="354" y="124"/>
                  </a:lnTo>
                  <a:close/>
                  <a:moveTo>
                    <a:pt x="328" y="128"/>
                  </a:moveTo>
                  <a:lnTo>
                    <a:pt x="328" y="124"/>
                  </a:lnTo>
                  <a:lnTo>
                    <a:pt x="328" y="128"/>
                  </a:lnTo>
                  <a:lnTo>
                    <a:pt x="324" y="128"/>
                  </a:lnTo>
                  <a:lnTo>
                    <a:pt x="324" y="124"/>
                  </a:lnTo>
                  <a:lnTo>
                    <a:pt x="328" y="124"/>
                  </a:lnTo>
                  <a:lnTo>
                    <a:pt x="328" y="128"/>
                  </a:lnTo>
                  <a:lnTo>
                    <a:pt x="328" y="128"/>
                  </a:lnTo>
                  <a:lnTo>
                    <a:pt x="328" y="128"/>
                  </a:lnTo>
                  <a:close/>
                  <a:moveTo>
                    <a:pt x="416" y="146"/>
                  </a:moveTo>
                  <a:lnTo>
                    <a:pt x="416" y="142"/>
                  </a:lnTo>
                  <a:lnTo>
                    <a:pt x="416" y="140"/>
                  </a:lnTo>
                  <a:lnTo>
                    <a:pt x="416" y="142"/>
                  </a:lnTo>
                  <a:lnTo>
                    <a:pt x="416" y="146"/>
                  </a:lnTo>
                  <a:lnTo>
                    <a:pt x="416" y="146"/>
                  </a:lnTo>
                  <a:lnTo>
                    <a:pt x="416" y="146"/>
                  </a:lnTo>
                  <a:close/>
                  <a:moveTo>
                    <a:pt x="498" y="318"/>
                  </a:moveTo>
                  <a:lnTo>
                    <a:pt x="498" y="314"/>
                  </a:lnTo>
                  <a:lnTo>
                    <a:pt x="502" y="314"/>
                  </a:lnTo>
                  <a:lnTo>
                    <a:pt x="498" y="314"/>
                  </a:lnTo>
                  <a:lnTo>
                    <a:pt x="498" y="318"/>
                  </a:lnTo>
                  <a:lnTo>
                    <a:pt x="498" y="318"/>
                  </a:lnTo>
                  <a:lnTo>
                    <a:pt x="498" y="318"/>
                  </a:lnTo>
                  <a:close/>
                  <a:moveTo>
                    <a:pt x="494" y="326"/>
                  </a:moveTo>
                  <a:lnTo>
                    <a:pt x="494" y="322"/>
                  </a:lnTo>
                  <a:lnTo>
                    <a:pt x="494" y="326"/>
                  </a:lnTo>
                  <a:lnTo>
                    <a:pt x="494" y="326"/>
                  </a:lnTo>
                  <a:lnTo>
                    <a:pt x="494" y="326"/>
                  </a:lnTo>
                  <a:close/>
                  <a:moveTo>
                    <a:pt x="360" y="552"/>
                  </a:moveTo>
                  <a:lnTo>
                    <a:pt x="358" y="552"/>
                  </a:lnTo>
                  <a:lnTo>
                    <a:pt x="358" y="550"/>
                  </a:lnTo>
                  <a:lnTo>
                    <a:pt x="360" y="546"/>
                  </a:lnTo>
                  <a:lnTo>
                    <a:pt x="360" y="550"/>
                  </a:lnTo>
                  <a:lnTo>
                    <a:pt x="360" y="552"/>
                  </a:lnTo>
                  <a:lnTo>
                    <a:pt x="360" y="552"/>
                  </a:lnTo>
                  <a:lnTo>
                    <a:pt x="360" y="552"/>
                  </a:lnTo>
                  <a:close/>
                  <a:moveTo>
                    <a:pt x="360" y="578"/>
                  </a:moveTo>
                  <a:lnTo>
                    <a:pt x="360" y="574"/>
                  </a:lnTo>
                  <a:lnTo>
                    <a:pt x="360" y="570"/>
                  </a:lnTo>
                  <a:lnTo>
                    <a:pt x="360" y="566"/>
                  </a:lnTo>
                  <a:lnTo>
                    <a:pt x="360" y="570"/>
                  </a:lnTo>
                  <a:lnTo>
                    <a:pt x="360" y="574"/>
                  </a:lnTo>
                  <a:lnTo>
                    <a:pt x="360" y="578"/>
                  </a:lnTo>
                  <a:lnTo>
                    <a:pt x="360" y="578"/>
                  </a:lnTo>
                  <a:lnTo>
                    <a:pt x="360" y="578"/>
                  </a:lnTo>
                  <a:close/>
                  <a:moveTo>
                    <a:pt x="312" y="116"/>
                  </a:moveTo>
                  <a:lnTo>
                    <a:pt x="312" y="114"/>
                  </a:lnTo>
                  <a:lnTo>
                    <a:pt x="316" y="114"/>
                  </a:lnTo>
                  <a:lnTo>
                    <a:pt x="316" y="110"/>
                  </a:lnTo>
                  <a:lnTo>
                    <a:pt x="316" y="106"/>
                  </a:lnTo>
                  <a:lnTo>
                    <a:pt x="316" y="102"/>
                  </a:lnTo>
                  <a:lnTo>
                    <a:pt x="320" y="102"/>
                  </a:lnTo>
                  <a:lnTo>
                    <a:pt x="324" y="102"/>
                  </a:lnTo>
                  <a:lnTo>
                    <a:pt x="324" y="106"/>
                  </a:lnTo>
                  <a:lnTo>
                    <a:pt x="324" y="110"/>
                  </a:lnTo>
                  <a:lnTo>
                    <a:pt x="320" y="110"/>
                  </a:lnTo>
                  <a:lnTo>
                    <a:pt x="320" y="114"/>
                  </a:lnTo>
                  <a:lnTo>
                    <a:pt x="316" y="114"/>
                  </a:lnTo>
                  <a:lnTo>
                    <a:pt x="316" y="116"/>
                  </a:lnTo>
                  <a:lnTo>
                    <a:pt x="312" y="116"/>
                  </a:lnTo>
                  <a:lnTo>
                    <a:pt x="312" y="116"/>
                  </a:lnTo>
                  <a:lnTo>
                    <a:pt x="312" y="116"/>
                  </a:lnTo>
                  <a:close/>
                  <a:moveTo>
                    <a:pt x="420" y="494"/>
                  </a:moveTo>
                  <a:lnTo>
                    <a:pt x="424" y="494"/>
                  </a:lnTo>
                  <a:lnTo>
                    <a:pt x="420" y="494"/>
                  </a:lnTo>
                  <a:lnTo>
                    <a:pt x="420" y="494"/>
                  </a:lnTo>
                  <a:lnTo>
                    <a:pt x="420" y="494"/>
                  </a:lnTo>
                  <a:close/>
                  <a:moveTo>
                    <a:pt x="406" y="508"/>
                  </a:moveTo>
                  <a:lnTo>
                    <a:pt x="406" y="504"/>
                  </a:lnTo>
                  <a:lnTo>
                    <a:pt x="406" y="508"/>
                  </a:lnTo>
                  <a:lnTo>
                    <a:pt x="406" y="508"/>
                  </a:lnTo>
                  <a:lnTo>
                    <a:pt x="406" y="50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41" name="Freeform 181">
              <a:extLst>
                <a:ext uri="{FF2B5EF4-FFF2-40B4-BE49-F238E27FC236}">
                  <a16:creationId xmlns:a16="http://schemas.microsoft.com/office/drawing/2014/main" id="{95ECA979-BA6C-8530-AD6B-51B6BFFD59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5020" y="3767639"/>
              <a:ext cx="335094" cy="539255"/>
            </a:xfrm>
            <a:custGeom>
              <a:avLst/>
              <a:gdLst>
                <a:gd name="T0" fmla="*/ 68 w 172"/>
                <a:gd name="T1" fmla="*/ 30 h 286"/>
                <a:gd name="T2" fmla="*/ 82 w 172"/>
                <a:gd name="T3" fmla="*/ 22 h 286"/>
                <a:gd name="T4" fmla="*/ 98 w 172"/>
                <a:gd name="T5" fmla="*/ 8 h 286"/>
                <a:gd name="T6" fmla="*/ 104 w 172"/>
                <a:gd name="T7" fmla="*/ 0 h 286"/>
                <a:gd name="T8" fmla="*/ 104 w 172"/>
                <a:gd name="T9" fmla="*/ 12 h 286"/>
                <a:gd name="T10" fmla="*/ 94 w 172"/>
                <a:gd name="T11" fmla="*/ 26 h 286"/>
                <a:gd name="T12" fmla="*/ 86 w 172"/>
                <a:gd name="T13" fmla="*/ 44 h 286"/>
                <a:gd name="T14" fmla="*/ 86 w 172"/>
                <a:gd name="T15" fmla="*/ 60 h 286"/>
                <a:gd name="T16" fmla="*/ 98 w 172"/>
                <a:gd name="T17" fmla="*/ 74 h 286"/>
                <a:gd name="T18" fmla="*/ 98 w 172"/>
                <a:gd name="T19" fmla="*/ 90 h 286"/>
                <a:gd name="T20" fmla="*/ 112 w 172"/>
                <a:gd name="T21" fmla="*/ 96 h 286"/>
                <a:gd name="T22" fmla="*/ 128 w 172"/>
                <a:gd name="T23" fmla="*/ 96 h 286"/>
                <a:gd name="T24" fmla="*/ 142 w 172"/>
                <a:gd name="T25" fmla="*/ 108 h 286"/>
                <a:gd name="T26" fmla="*/ 164 w 172"/>
                <a:gd name="T27" fmla="*/ 108 h 286"/>
                <a:gd name="T28" fmla="*/ 160 w 172"/>
                <a:gd name="T29" fmla="*/ 130 h 286"/>
                <a:gd name="T30" fmla="*/ 164 w 172"/>
                <a:gd name="T31" fmla="*/ 150 h 286"/>
                <a:gd name="T32" fmla="*/ 160 w 172"/>
                <a:gd name="T33" fmla="*/ 164 h 286"/>
                <a:gd name="T34" fmla="*/ 172 w 172"/>
                <a:gd name="T35" fmla="*/ 186 h 286"/>
                <a:gd name="T36" fmla="*/ 168 w 172"/>
                <a:gd name="T37" fmla="*/ 186 h 286"/>
                <a:gd name="T38" fmla="*/ 158 w 172"/>
                <a:gd name="T39" fmla="*/ 182 h 286"/>
                <a:gd name="T40" fmla="*/ 154 w 172"/>
                <a:gd name="T41" fmla="*/ 186 h 286"/>
                <a:gd name="T42" fmla="*/ 132 w 172"/>
                <a:gd name="T43" fmla="*/ 198 h 286"/>
                <a:gd name="T44" fmla="*/ 138 w 172"/>
                <a:gd name="T45" fmla="*/ 202 h 286"/>
                <a:gd name="T46" fmla="*/ 128 w 172"/>
                <a:gd name="T47" fmla="*/ 216 h 286"/>
                <a:gd name="T48" fmla="*/ 138 w 172"/>
                <a:gd name="T49" fmla="*/ 232 h 286"/>
                <a:gd name="T50" fmla="*/ 134 w 172"/>
                <a:gd name="T51" fmla="*/ 246 h 286"/>
                <a:gd name="T52" fmla="*/ 128 w 172"/>
                <a:gd name="T53" fmla="*/ 286 h 286"/>
                <a:gd name="T54" fmla="*/ 128 w 172"/>
                <a:gd name="T55" fmla="*/ 260 h 286"/>
                <a:gd name="T56" fmla="*/ 112 w 172"/>
                <a:gd name="T57" fmla="*/ 254 h 286"/>
                <a:gd name="T58" fmla="*/ 98 w 172"/>
                <a:gd name="T59" fmla="*/ 258 h 286"/>
                <a:gd name="T60" fmla="*/ 86 w 172"/>
                <a:gd name="T61" fmla="*/ 254 h 286"/>
                <a:gd name="T62" fmla="*/ 78 w 172"/>
                <a:gd name="T63" fmla="*/ 246 h 286"/>
                <a:gd name="T64" fmla="*/ 68 w 172"/>
                <a:gd name="T65" fmla="*/ 228 h 286"/>
                <a:gd name="T66" fmla="*/ 60 w 172"/>
                <a:gd name="T67" fmla="*/ 216 h 286"/>
                <a:gd name="T68" fmla="*/ 46 w 172"/>
                <a:gd name="T69" fmla="*/ 208 h 286"/>
                <a:gd name="T70" fmla="*/ 22 w 172"/>
                <a:gd name="T71" fmla="*/ 208 h 286"/>
                <a:gd name="T72" fmla="*/ 12 w 172"/>
                <a:gd name="T73" fmla="*/ 198 h 286"/>
                <a:gd name="T74" fmla="*/ 0 w 172"/>
                <a:gd name="T75" fmla="*/ 182 h 286"/>
                <a:gd name="T76" fmla="*/ 8 w 172"/>
                <a:gd name="T77" fmla="*/ 176 h 286"/>
                <a:gd name="T78" fmla="*/ 16 w 172"/>
                <a:gd name="T79" fmla="*/ 168 h 286"/>
                <a:gd name="T80" fmla="*/ 22 w 172"/>
                <a:gd name="T81" fmla="*/ 160 h 286"/>
                <a:gd name="T82" fmla="*/ 26 w 172"/>
                <a:gd name="T83" fmla="*/ 146 h 286"/>
                <a:gd name="T84" fmla="*/ 22 w 172"/>
                <a:gd name="T85" fmla="*/ 142 h 286"/>
                <a:gd name="T86" fmla="*/ 22 w 172"/>
                <a:gd name="T87" fmla="*/ 126 h 286"/>
                <a:gd name="T88" fmla="*/ 22 w 172"/>
                <a:gd name="T89" fmla="*/ 112 h 286"/>
                <a:gd name="T90" fmla="*/ 18 w 172"/>
                <a:gd name="T91" fmla="*/ 94 h 286"/>
                <a:gd name="T92" fmla="*/ 26 w 172"/>
                <a:gd name="T93" fmla="*/ 82 h 286"/>
                <a:gd name="T94" fmla="*/ 22 w 172"/>
                <a:gd name="T95" fmla="*/ 68 h 286"/>
                <a:gd name="T96" fmla="*/ 34 w 172"/>
                <a:gd name="T97" fmla="*/ 74 h 286"/>
                <a:gd name="T98" fmla="*/ 38 w 172"/>
                <a:gd name="T99" fmla="*/ 60 h 286"/>
                <a:gd name="T100" fmla="*/ 48 w 172"/>
                <a:gd name="T101" fmla="*/ 44 h 286"/>
                <a:gd name="T102" fmla="*/ 52 w 172"/>
                <a:gd name="T103" fmla="*/ 34 h 286"/>
                <a:gd name="T104" fmla="*/ 60 w 172"/>
                <a:gd name="T105" fmla="*/ 26 h 286"/>
                <a:gd name="T106" fmla="*/ 22 w 172"/>
                <a:gd name="T107" fmla="*/ 142 h 286"/>
                <a:gd name="T108" fmla="*/ 16 w 172"/>
                <a:gd name="T109" fmla="*/ 172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" h="286">
                  <a:moveTo>
                    <a:pt x="60" y="22"/>
                  </a:moveTo>
                  <a:lnTo>
                    <a:pt x="64" y="26"/>
                  </a:lnTo>
                  <a:lnTo>
                    <a:pt x="68" y="26"/>
                  </a:lnTo>
                  <a:lnTo>
                    <a:pt x="64" y="26"/>
                  </a:lnTo>
                  <a:lnTo>
                    <a:pt x="64" y="30"/>
                  </a:lnTo>
                  <a:lnTo>
                    <a:pt x="68" y="30"/>
                  </a:lnTo>
                  <a:lnTo>
                    <a:pt x="68" y="26"/>
                  </a:lnTo>
                  <a:lnTo>
                    <a:pt x="68" y="22"/>
                  </a:lnTo>
                  <a:lnTo>
                    <a:pt x="72" y="18"/>
                  </a:lnTo>
                  <a:lnTo>
                    <a:pt x="74" y="22"/>
                  </a:lnTo>
                  <a:lnTo>
                    <a:pt x="78" y="22"/>
                  </a:lnTo>
                  <a:lnTo>
                    <a:pt x="82" y="22"/>
                  </a:lnTo>
                  <a:lnTo>
                    <a:pt x="82" y="18"/>
                  </a:lnTo>
                  <a:lnTo>
                    <a:pt x="86" y="18"/>
                  </a:lnTo>
                  <a:lnTo>
                    <a:pt x="90" y="14"/>
                  </a:lnTo>
                  <a:lnTo>
                    <a:pt x="94" y="12"/>
                  </a:lnTo>
                  <a:lnTo>
                    <a:pt x="98" y="12"/>
                  </a:lnTo>
                  <a:lnTo>
                    <a:pt x="98" y="8"/>
                  </a:lnTo>
                  <a:lnTo>
                    <a:pt x="98" y="4"/>
                  </a:lnTo>
                  <a:lnTo>
                    <a:pt x="102" y="4"/>
                  </a:lnTo>
                  <a:lnTo>
                    <a:pt x="102" y="8"/>
                  </a:lnTo>
                  <a:lnTo>
                    <a:pt x="102" y="4"/>
                  </a:lnTo>
                  <a:lnTo>
                    <a:pt x="104" y="4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12" y="4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08" y="12"/>
                  </a:lnTo>
                  <a:lnTo>
                    <a:pt x="104" y="12"/>
                  </a:lnTo>
                  <a:lnTo>
                    <a:pt x="104" y="14"/>
                  </a:lnTo>
                  <a:lnTo>
                    <a:pt x="102" y="14"/>
                  </a:lnTo>
                  <a:lnTo>
                    <a:pt x="98" y="18"/>
                  </a:lnTo>
                  <a:lnTo>
                    <a:pt x="98" y="22"/>
                  </a:lnTo>
                  <a:lnTo>
                    <a:pt x="94" y="22"/>
                  </a:lnTo>
                  <a:lnTo>
                    <a:pt x="94" y="26"/>
                  </a:lnTo>
                  <a:lnTo>
                    <a:pt x="90" y="26"/>
                  </a:lnTo>
                  <a:lnTo>
                    <a:pt x="90" y="30"/>
                  </a:lnTo>
                  <a:lnTo>
                    <a:pt x="90" y="34"/>
                  </a:lnTo>
                  <a:lnTo>
                    <a:pt x="86" y="38"/>
                  </a:lnTo>
                  <a:lnTo>
                    <a:pt x="86" y="42"/>
                  </a:lnTo>
                  <a:lnTo>
                    <a:pt x="86" y="44"/>
                  </a:lnTo>
                  <a:lnTo>
                    <a:pt x="86" y="48"/>
                  </a:lnTo>
                  <a:lnTo>
                    <a:pt x="86" y="52"/>
                  </a:lnTo>
                  <a:lnTo>
                    <a:pt x="82" y="52"/>
                  </a:lnTo>
                  <a:lnTo>
                    <a:pt x="82" y="56"/>
                  </a:lnTo>
                  <a:lnTo>
                    <a:pt x="86" y="56"/>
                  </a:lnTo>
                  <a:lnTo>
                    <a:pt x="86" y="60"/>
                  </a:lnTo>
                  <a:lnTo>
                    <a:pt x="90" y="60"/>
                  </a:lnTo>
                  <a:lnTo>
                    <a:pt x="90" y="64"/>
                  </a:lnTo>
                  <a:lnTo>
                    <a:pt x="90" y="68"/>
                  </a:lnTo>
                  <a:lnTo>
                    <a:pt x="94" y="70"/>
                  </a:lnTo>
                  <a:lnTo>
                    <a:pt x="94" y="74"/>
                  </a:lnTo>
                  <a:lnTo>
                    <a:pt x="98" y="74"/>
                  </a:lnTo>
                  <a:lnTo>
                    <a:pt x="98" y="78"/>
                  </a:lnTo>
                  <a:lnTo>
                    <a:pt x="94" y="78"/>
                  </a:lnTo>
                  <a:lnTo>
                    <a:pt x="94" y="82"/>
                  </a:lnTo>
                  <a:lnTo>
                    <a:pt x="94" y="86"/>
                  </a:lnTo>
                  <a:lnTo>
                    <a:pt x="94" y="90"/>
                  </a:lnTo>
                  <a:lnTo>
                    <a:pt x="98" y="90"/>
                  </a:lnTo>
                  <a:lnTo>
                    <a:pt x="98" y="94"/>
                  </a:lnTo>
                  <a:lnTo>
                    <a:pt x="102" y="94"/>
                  </a:lnTo>
                  <a:lnTo>
                    <a:pt x="104" y="94"/>
                  </a:lnTo>
                  <a:lnTo>
                    <a:pt x="108" y="94"/>
                  </a:lnTo>
                  <a:lnTo>
                    <a:pt x="112" y="94"/>
                  </a:lnTo>
                  <a:lnTo>
                    <a:pt x="112" y="96"/>
                  </a:lnTo>
                  <a:lnTo>
                    <a:pt x="112" y="94"/>
                  </a:lnTo>
                  <a:lnTo>
                    <a:pt x="116" y="94"/>
                  </a:lnTo>
                  <a:lnTo>
                    <a:pt x="120" y="94"/>
                  </a:lnTo>
                  <a:lnTo>
                    <a:pt x="124" y="94"/>
                  </a:lnTo>
                  <a:lnTo>
                    <a:pt x="124" y="96"/>
                  </a:lnTo>
                  <a:lnTo>
                    <a:pt x="128" y="96"/>
                  </a:lnTo>
                  <a:lnTo>
                    <a:pt x="128" y="94"/>
                  </a:lnTo>
                  <a:lnTo>
                    <a:pt x="128" y="96"/>
                  </a:lnTo>
                  <a:lnTo>
                    <a:pt x="132" y="104"/>
                  </a:lnTo>
                  <a:lnTo>
                    <a:pt x="138" y="108"/>
                  </a:lnTo>
                  <a:lnTo>
                    <a:pt x="138" y="112"/>
                  </a:lnTo>
                  <a:lnTo>
                    <a:pt x="142" y="108"/>
                  </a:lnTo>
                  <a:lnTo>
                    <a:pt x="146" y="108"/>
                  </a:lnTo>
                  <a:lnTo>
                    <a:pt x="150" y="108"/>
                  </a:lnTo>
                  <a:lnTo>
                    <a:pt x="154" y="108"/>
                  </a:lnTo>
                  <a:lnTo>
                    <a:pt x="158" y="108"/>
                  </a:lnTo>
                  <a:lnTo>
                    <a:pt x="160" y="108"/>
                  </a:lnTo>
                  <a:lnTo>
                    <a:pt x="164" y="108"/>
                  </a:lnTo>
                  <a:lnTo>
                    <a:pt x="164" y="112"/>
                  </a:lnTo>
                  <a:lnTo>
                    <a:pt x="160" y="116"/>
                  </a:lnTo>
                  <a:lnTo>
                    <a:pt x="160" y="120"/>
                  </a:lnTo>
                  <a:lnTo>
                    <a:pt x="160" y="124"/>
                  </a:lnTo>
                  <a:lnTo>
                    <a:pt x="160" y="126"/>
                  </a:lnTo>
                  <a:lnTo>
                    <a:pt x="160" y="130"/>
                  </a:lnTo>
                  <a:lnTo>
                    <a:pt x="160" y="134"/>
                  </a:lnTo>
                  <a:lnTo>
                    <a:pt x="158" y="138"/>
                  </a:lnTo>
                  <a:lnTo>
                    <a:pt x="160" y="142"/>
                  </a:lnTo>
                  <a:lnTo>
                    <a:pt x="160" y="146"/>
                  </a:lnTo>
                  <a:lnTo>
                    <a:pt x="160" y="150"/>
                  </a:lnTo>
                  <a:lnTo>
                    <a:pt x="164" y="150"/>
                  </a:lnTo>
                  <a:lnTo>
                    <a:pt x="164" y="152"/>
                  </a:lnTo>
                  <a:lnTo>
                    <a:pt x="164" y="156"/>
                  </a:lnTo>
                  <a:lnTo>
                    <a:pt x="168" y="156"/>
                  </a:lnTo>
                  <a:lnTo>
                    <a:pt x="164" y="156"/>
                  </a:lnTo>
                  <a:lnTo>
                    <a:pt x="164" y="160"/>
                  </a:lnTo>
                  <a:lnTo>
                    <a:pt x="160" y="164"/>
                  </a:lnTo>
                  <a:lnTo>
                    <a:pt x="160" y="168"/>
                  </a:lnTo>
                  <a:lnTo>
                    <a:pt x="164" y="168"/>
                  </a:lnTo>
                  <a:lnTo>
                    <a:pt x="168" y="172"/>
                  </a:lnTo>
                  <a:lnTo>
                    <a:pt x="168" y="176"/>
                  </a:lnTo>
                  <a:lnTo>
                    <a:pt x="168" y="178"/>
                  </a:lnTo>
                  <a:lnTo>
                    <a:pt x="172" y="186"/>
                  </a:lnTo>
                  <a:lnTo>
                    <a:pt x="172" y="190"/>
                  </a:lnTo>
                  <a:lnTo>
                    <a:pt x="172" y="194"/>
                  </a:lnTo>
                  <a:lnTo>
                    <a:pt x="168" y="194"/>
                  </a:lnTo>
                  <a:lnTo>
                    <a:pt x="168" y="190"/>
                  </a:lnTo>
                  <a:lnTo>
                    <a:pt x="172" y="190"/>
                  </a:lnTo>
                  <a:lnTo>
                    <a:pt x="168" y="186"/>
                  </a:lnTo>
                  <a:lnTo>
                    <a:pt x="168" y="182"/>
                  </a:lnTo>
                  <a:lnTo>
                    <a:pt x="168" y="178"/>
                  </a:lnTo>
                  <a:lnTo>
                    <a:pt x="164" y="178"/>
                  </a:lnTo>
                  <a:lnTo>
                    <a:pt x="160" y="178"/>
                  </a:lnTo>
                  <a:lnTo>
                    <a:pt x="160" y="182"/>
                  </a:lnTo>
                  <a:lnTo>
                    <a:pt x="158" y="182"/>
                  </a:lnTo>
                  <a:lnTo>
                    <a:pt x="158" y="186"/>
                  </a:lnTo>
                  <a:lnTo>
                    <a:pt x="158" y="182"/>
                  </a:lnTo>
                  <a:lnTo>
                    <a:pt x="154" y="182"/>
                  </a:lnTo>
                  <a:lnTo>
                    <a:pt x="154" y="178"/>
                  </a:lnTo>
                  <a:lnTo>
                    <a:pt x="154" y="182"/>
                  </a:lnTo>
                  <a:lnTo>
                    <a:pt x="154" y="186"/>
                  </a:lnTo>
                  <a:lnTo>
                    <a:pt x="146" y="186"/>
                  </a:lnTo>
                  <a:lnTo>
                    <a:pt x="142" y="186"/>
                  </a:lnTo>
                  <a:lnTo>
                    <a:pt x="138" y="186"/>
                  </a:lnTo>
                  <a:lnTo>
                    <a:pt x="134" y="182"/>
                  </a:lnTo>
                  <a:lnTo>
                    <a:pt x="132" y="186"/>
                  </a:lnTo>
                  <a:lnTo>
                    <a:pt x="132" y="198"/>
                  </a:lnTo>
                  <a:lnTo>
                    <a:pt x="134" y="198"/>
                  </a:lnTo>
                  <a:lnTo>
                    <a:pt x="138" y="198"/>
                  </a:lnTo>
                  <a:lnTo>
                    <a:pt x="142" y="202"/>
                  </a:lnTo>
                  <a:lnTo>
                    <a:pt x="142" y="206"/>
                  </a:lnTo>
                  <a:lnTo>
                    <a:pt x="138" y="206"/>
                  </a:lnTo>
                  <a:lnTo>
                    <a:pt x="138" y="202"/>
                  </a:lnTo>
                  <a:lnTo>
                    <a:pt x="134" y="202"/>
                  </a:lnTo>
                  <a:lnTo>
                    <a:pt x="132" y="206"/>
                  </a:lnTo>
                  <a:lnTo>
                    <a:pt x="128" y="206"/>
                  </a:lnTo>
                  <a:lnTo>
                    <a:pt x="128" y="208"/>
                  </a:lnTo>
                  <a:lnTo>
                    <a:pt x="128" y="212"/>
                  </a:lnTo>
                  <a:lnTo>
                    <a:pt x="128" y="216"/>
                  </a:lnTo>
                  <a:lnTo>
                    <a:pt x="132" y="220"/>
                  </a:lnTo>
                  <a:lnTo>
                    <a:pt x="132" y="224"/>
                  </a:lnTo>
                  <a:lnTo>
                    <a:pt x="134" y="224"/>
                  </a:lnTo>
                  <a:lnTo>
                    <a:pt x="134" y="228"/>
                  </a:lnTo>
                  <a:lnTo>
                    <a:pt x="134" y="232"/>
                  </a:lnTo>
                  <a:lnTo>
                    <a:pt x="138" y="232"/>
                  </a:lnTo>
                  <a:lnTo>
                    <a:pt x="134" y="232"/>
                  </a:lnTo>
                  <a:lnTo>
                    <a:pt x="138" y="232"/>
                  </a:lnTo>
                  <a:lnTo>
                    <a:pt x="138" y="234"/>
                  </a:lnTo>
                  <a:lnTo>
                    <a:pt x="138" y="238"/>
                  </a:lnTo>
                  <a:lnTo>
                    <a:pt x="134" y="238"/>
                  </a:lnTo>
                  <a:lnTo>
                    <a:pt x="134" y="246"/>
                  </a:lnTo>
                  <a:lnTo>
                    <a:pt x="134" y="254"/>
                  </a:lnTo>
                  <a:lnTo>
                    <a:pt x="134" y="258"/>
                  </a:lnTo>
                  <a:lnTo>
                    <a:pt x="132" y="272"/>
                  </a:lnTo>
                  <a:lnTo>
                    <a:pt x="132" y="278"/>
                  </a:lnTo>
                  <a:lnTo>
                    <a:pt x="132" y="286"/>
                  </a:lnTo>
                  <a:lnTo>
                    <a:pt x="128" y="286"/>
                  </a:lnTo>
                  <a:lnTo>
                    <a:pt x="128" y="282"/>
                  </a:lnTo>
                  <a:lnTo>
                    <a:pt x="124" y="278"/>
                  </a:lnTo>
                  <a:lnTo>
                    <a:pt x="120" y="278"/>
                  </a:lnTo>
                  <a:lnTo>
                    <a:pt x="120" y="274"/>
                  </a:lnTo>
                  <a:lnTo>
                    <a:pt x="124" y="272"/>
                  </a:lnTo>
                  <a:lnTo>
                    <a:pt x="128" y="260"/>
                  </a:lnTo>
                  <a:lnTo>
                    <a:pt x="128" y="258"/>
                  </a:lnTo>
                  <a:lnTo>
                    <a:pt x="124" y="258"/>
                  </a:lnTo>
                  <a:lnTo>
                    <a:pt x="120" y="258"/>
                  </a:lnTo>
                  <a:lnTo>
                    <a:pt x="120" y="254"/>
                  </a:lnTo>
                  <a:lnTo>
                    <a:pt x="116" y="254"/>
                  </a:lnTo>
                  <a:lnTo>
                    <a:pt x="112" y="254"/>
                  </a:lnTo>
                  <a:lnTo>
                    <a:pt x="108" y="254"/>
                  </a:lnTo>
                  <a:lnTo>
                    <a:pt x="104" y="254"/>
                  </a:lnTo>
                  <a:lnTo>
                    <a:pt x="104" y="250"/>
                  </a:lnTo>
                  <a:lnTo>
                    <a:pt x="102" y="254"/>
                  </a:lnTo>
                  <a:lnTo>
                    <a:pt x="102" y="258"/>
                  </a:lnTo>
                  <a:lnTo>
                    <a:pt x="98" y="258"/>
                  </a:lnTo>
                  <a:lnTo>
                    <a:pt x="94" y="258"/>
                  </a:lnTo>
                  <a:lnTo>
                    <a:pt x="90" y="258"/>
                  </a:lnTo>
                  <a:lnTo>
                    <a:pt x="86" y="258"/>
                  </a:lnTo>
                  <a:lnTo>
                    <a:pt x="86" y="254"/>
                  </a:lnTo>
                  <a:lnTo>
                    <a:pt x="86" y="258"/>
                  </a:lnTo>
                  <a:lnTo>
                    <a:pt x="86" y="254"/>
                  </a:lnTo>
                  <a:lnTo>
                    <a:pt x="82" y="254"/>
                  </a:lnTo>
                  <a:lnTo>
                    <a:pt x="86" y="254"/>
                  </a:lnTo>
                  <a:lnTo>
                    <a:pt x="86" y="250"/>
                  </a:lnTo>
                  <a:lnTo>
                    <a:pt x="86" y="246"/>
                  </a:lnTo>
                  <a:lnTo>
                    <a:pt x="82" y="246"/>
                  </a:lnTo>
                  <a:lnTo>
                    <a:pt x="78" y="246"/>
                  </a:lnTo>
                  <a:lnTo>
                    <a:pt x="78" y="242"/>
                  </a:lnTo>
                  <a:lnTo>
                    <a:pt x="78" y="238"/>
                  </a:lnTo>
                  <a:lnTo>
                    <a:pt x="74" y="234"/>
                  </a:lnTo>
                  <a:lnTo>
                    <a:pt x="72" y="232"/>
                  </a:lnTo>
                  <a:lnTo>
                    <a:pt x="68" y="232"/>
                  </a:lnTo>
                  <a:lnTo>
                    <a:pt x="68" y="228"/>
                  </a:lnTo>
                  <a:lnTo>
                    <a:pt x="68" y="224"/>
                  </a:lnTo>
                  <a:lnTo>
                    <a:pt x="64" y="220"/>
                  </a:lnTo>
                  <a:lnTo>
                    <a:pt x="60" y="220"/>
                  </a:lnTo>
                  <a:lnTo>
                    <a:pt x="60" y="216"/>
                  </a:lnTo>
                  <a:lnTo>
                    <a:pt x="60" y="220"/>
                  </a:lnTo>
                  <a:lnTo>
                    <a:pt x="60" y="216"/>
                  </a:lnTo>
                  <a:lnTo>
                    <a:pt x="56" y="216"/>
                  </a:lnTo>
                  <a:lnTo>
                    <a:pt x="52" y="216"/>
                  </a:lnTo>
                  <a:lnTo>
                    <a:pt x="48" y="216"/>
                  </a:lnTo>
                  <a:lnTo>
                    <a:pt x="48" y="212"/>
                  </a:lnTo>
                  <a:lnTo>
                    <a:pt x="46" y="212"/>
                  </a:lnTo>
                  <a:lnTo>
                    <a:pt x="46" y="208"/>
                  </a:lnTo>
                  <a:lnTo>
                    <a:pt x="42" y="208"/>
                  </a:lnTo>
                  <a:lnTo>
                    <a:pt x="38" y="208"/>
                  </a:lnTo>
                  <a:lnTo>
                    <a:pt x="34" y="208"/>
                  </a:lnTo>
                  <a:lnTo>
                    <a:pt x="30" y="208"/>
                  </a:lnTo>
                  <a:lnTo>
                    <a:pt x="26" y="208"/>
                  </a:lnTo>
                  <a:lnTo>
                    <a:pt x="22" y="208"/>
                  </a:lnTo>
                  <a:lnTo>
                    <a:pt x="22" y="206"/>
                  </a:lnTo>
                  <a:lnTo>
                    <a:pt x="22" y="202"/>
                  </a:lnTo>
                  <a:lnTo>
                    <a:pt x="18" y="202"/>
                  </a:lnTo>
                  <a:lnTo>
                    <a:pt x="16" y="202"/>
                  </a:lnTo>
                  <a:lnTo>
                    <a:pt x="16" y="198"/>
                  </a:lnTo>
                  <a:lnTo>
                    <a:pt x="12" y="198"/>
                  </a:lnTo>
                  <a:lnTo>
                    <a:pt x="8" y="194"/>
                  </a:lnTo>
                  <a:lnTo>
                    <a:pt x="4" y="194"/>
                  </a:lnTo>
                  <a:lnTo>
                    <a:pt x="4" y="190"/>
                  </a:lnTo>
                  <a:lnTo>
                    <a:pt x="4" y="186"/>
                  </a:lnTo>
                  <a:lnTo>
                    <a:pt x="0" y="186"/>
                  </a:lnTo>
                  <a:lnTo>
                    <a:pt x="0" y="182"/>
                  </a:lnTo>
                  <a:lnTo>
                    <a:pt x="4" y="182"/>
                  </a:lnTo>
                  <a:lnTo>
                    <a:pt x="8" y="182"/>
                  </a:lnTo>
                  <a:lnTo>
                    <a:pt x="8" y="178"/>
                  </a:lnTo>
                  <a:lnTo>
                    <a:pt x="4" y="178"/>
                  </a:lnTo>
                  <a:lnTo>
                    <a:pt x="4" y="176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72"/>
                  </a:lnTo>
                  <a:lnTo>
                    <a:pt x="16" y="172"/>
                  </a:lnTo>
                  <a:lnTo>
                    <a:pt x="16" y="168"/>
                  </a:lnTo>
                  <a:lnTo>
                    <a:pt x="16" y="172"/>
                  </a:lnTo>
                  <a:lnTo>
                    <a:pt x="18" y="172"/>
                  </a:lnTo>
                  <a:lnTo>
                    <a:pt x="18" y="168"/>
                  </a:lnTo>
                  <a:lnTo>
                    <a:pt x="18" y="164"/>
                  </a:lnTo>
                  <a:lnTo>
                    <a:pt x="22" y="164"/>
                  </a:lnTo>
                  <a:lnTo>
                    <a:pt x="22" y="160"/>
                  </a:lnTo>
                  <a:lnTo>
                    <a:pt x="22" y="156"/>
                  </a:lnTo>
                  <a:lnTo>
                    <a:pt x="26" y="152"/>
                  </a:lnTo>
                  <a:lnTo>
                    <a:pt x="26" y="150"/>
                  </a:lnTo>
                  <a:lnTo>
                    <a:pt x="30" y="150"/>
                  </a:lnTo>
                  <a:lnTo>
                    <a:pt x="26" y="150"/>
                  </a:lnTo>
                  <a:lnTo>
                    <a:pt x="26" y="146"/>
                  </a:lnTo>
                  <a:lnTo>
                    <a:pt x="22" y="146"/>
                  </a:lnTo>
                  <a:lnTo>
                    <a:pt x="22" y="150"/>
                  </a:lnTo>
                  <a:lnTo>
                    <a:pt x="22" y="146"/>
                  </a:lnTo>
                  <a:lnTo>
                    <a:pt x="22" y="142"/>
                  </a:lnTo>
                  <a:lnTo>
                    <a:pt x="26" y="142"/>
                  </a:lnTo>
                  <a:lnTo>
                    <a:pt x="22" y="142"/>
                  </a:lnTo>
                  <a:lnTo>
                    <a:pt x="22" y="138"/>
                  </a:lnTo>
                  <a:lnTo>
                    <a:pt x="26" y="138"/>
                  </a:lnTo>
                  <a:lnTo>
                    <a:pt x="26" y="134"/>
                  </a:lnTo>
                  <a:lnTo>
                    <a:pt x="26" y="130"/>
                  </a:lnTo>
                  <a:lnTo>
                    <a:pt x="22" y="130"/>
                  </a:lnTo>
                  <a:lnTo>
                    <a:pt x="22" y="126"/>
                  </a:lnTo>
                  <a:lnTo>
                    <a:pt x="22" y="124"/>
                  </a:lnTo>
                  <a:lnTo>
                    <a:pt x="22" y="120"/>
                  </a:lnTo>
                  <a:lnTo>
                    <a:pt x="26" y="120"/>
                  </a:lnTo>
                  <a:lnTo>
                    <a:pt x="26" y="116"/>
                  </a:lnTo>
                  <a:lnTo>
                    <a:pt x="26" y="112"/>
                  </a:lnTo>
                  <a:lnTo>
                    <a:pt x="22" y="112"/>
                  </a:lnTo>
                  <a:lnTo>
                    <a:pt x="22" y="108"/>
                  </a:lnTo>
                  <a:lnTo>
                    <a:pt x="22" y="104"/>
                  </a:lnTo>
                  <a:lnTo>
                    <a:pt x="26" y="100"/>
                  </a:lnTo>
                  <a:lnTo>
                    <a:pt x="22" y="100"/>
                  </a:lnTo>
                  <a:lnTo>
                    <a:pt x="18" y="96"/>
                  </a:lnTo>
                  <a:lnTo>
                    <a:pt x="18" y="94"/>
                  </a:lnTo>
                  <a:lnTo>
                    <a:pt x="16" y="90"/>
                  </a:lnTo>
                  <a:lnTo>
                    <a:pt x="18" y="86"/>
                  </a:lnTo>
                  <a:lnTo>
                    <a:pt x="18" y="82"/>
                  </a:lnTo>
                  <a:lnTo>
                    <a:pt x="18" y="86"/>
                  </a:lnTo>
                  <a:lnTo>
                    <a:pt x="22" y="86"/>
                  </a:lnTo>
                  <a:lnTo>
                    <a:pt x="26" y="82"/>
                  </a:lnTo>
                  <a:lnTo>
                    <a:pt x="22" y="82"/>
                  </a:lnTo>
                  <a:lnTo>
                    <a:pt x="26" y="78"/>
                  </a:lnTo>
                  <a:lnTo>
                    <a:pt x="26" y="74"/>
                  </a:lnTo>
                  <a:lnTo>
                    <a:pt x="22" y="74"/>
                  </a:lnTo>
                  <a:lnTo>
                    <a:pt x="22" y="70"/>
                  </a:lnTo>
                  <a:lnTo>
                    <a:pt x="22" y="68"/>
                  </a:lnTo>
                  <a:lnTo>
                    <a:pt x="26" y="68"/>
                  </a:lnTo>
                  <a:lnTo>
                    <a:pt x="26" y="70"/>
                  </a:lnTo>
                  <a:lnTo>
                    <a:pt x="30" y="74"/>
                  </a:lnTo>
                  <a:lnTo>
                    <a:pt x="30" y="78"/>
                  </a:lnTo>
                  <a:lnTo>
                    <a:pt x="34" y="78"/>
                  </a:lnTo>
                  <a:lnTo>
                    <a:pt x="34" y="74"/>
                  </a:lnTo>
                  <a:lnTo>
                    <a:pt x="34" y="70"/>
                  </a:lnTo>
                  <a:lnTo>
                    <a:pt x="30" y="70"/>
                  </a:lnTo>
                  <a:lnTo>
                    <a:pt x="30" y="68"/>
                  </a:lnTo>
                  <a:lnTo>
                    <a:pt x="34" y="68"/>
                  </a:lnTo>
                  <a:lnTo>
                    <a:pt x="38" y="64"/>
                  </a:lnTo>
                  <a:lnTo>
                    <a:pt x="38" y="60"/>
                  </a:lnTo>
                  <a:lnTo>
                    <a:pt x="42" y="60"/>
                  </a:lnTo>
                  <a:lnTo>
                    <a:pt x="42" y="56"/>
                  </a:lnTo>
                  <a:lnTo>
                    <a:pt x="46" y="52"/>
                  </a:lnTo>
                  <a:lnTo>
                    <a:pt x="48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8" y="42"/>
                  </a:lnTo>
                  <a:lnTo>
                    <a:pt x="48" y="38"/>
                  </a:lnTo>
                  <a:lnTo>
                    <a:pt x="52" y="38"/>
                  </a:lnTo>
                  <a:lnTo>
                    <a:pt x="52" y="34"/>
                  </a:lnTo>
                  <a:lnTo>
                    <a:pt x="48" y="34"/>
                  </a:lnTo>
                  <a:lnTo>
                    <a:pt x="52" y="34"/>
                  </a:lnTo>
                  <a:lnTo>
                    <a:pt x="52" y="30"/>
                  </a:lnTo>
                  <a:lnTo>
                    <a:pt x="56" y="30"/>
                  </a:lnTo>
                  <a:lnTo>
                    <a:pt x="52" y="30"/>
                  </a:lnTo>
                  <a:lnTo>
                    <a:pt x="56" y="30"/>
                  </a:lnTo>
                  <a:lnTo>
                    <a:pt x="56" y="26"/>
                  </a:lnTo>
                  <a:lnTo>
                    <a:pt x="60" y="26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0" y="22"/>
                  </a:lnTo>
                  <a:close/>
                  <a:moveTo>
                    <a:pt x="22" y="142"/>
                  </a:moveTo>
                  <a:lnTo>
                    <a:pt x="26" y="142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2"/>
                  </a:lnTo>
                  <a:close/>
                  <a:moveTo>
                    <a:pt x="16" y="172"/>
                  </a:moveTo>
                  <a:lnTo>
                    <a:pt x="12" y="172"/>
                  </a:lnTo>
                  <a:lnTo>
                    <a:pt x="12" y="168"/>
                  </a:lnTo>
                  <a:lnTo>
                    <a:pt x="16" y="172"/>
                  </a:lnTo>
                  <a:lnTo>
                    <a:pt x="16" y="172"/>
                  </a:lnTo>
                  <a:lnTo>
                    <a:pt x="16" y="172"/>
                  </a:lnTo>
                  <a:close/>
                </a:path>
              </a:pathLst>
            </a:custGeom>
            <a:solidFill>
              <a:srgbClr val="FFFF00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42" name="Freeform 182">
              <a:extLst>
                <a:ext uri="{FF2B5EF4-FFF2-40B4-BE49-F238E27FC236}">
                  <a16:creationId xmlns:a16="http://schemas.microsoft.com/office/drawing/2014/main" id="{BDE5DD72-F7C8-7D3D-C560-3D78D1E2E9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8236" y="4125886"/>
              <a:ext cx="455884" cy="203635"/>
            </a:xfrm>
            <a:custGeom>
              <a:avLst/>
              <a:gdLst>
                <a:gd name="T0" fmla="*/ 166 w 234"/>
                <a:gd name="T1" fmla="*/ 100 h 108"/>
                <a:gd name="T2" fmla="*/ 164 w 234"/>
                <a:gd name="T3" fmla="*/ 100 h 108"/>
                <a:gd name="T4" fmla="*/ 160 w 234"/>
                <a:gd name="T5" fmla="*/ 92 h 108"/>
                <a:gd name="T6" fmla="*/ 160 w 234"/>
                <a:gd name="T7" fmla="*/ 82 h 108"/>
                <a:gd name="T8" fmla="*/ 166 w 234"/>
                <a:gd name="T9" fmla="*/ 78 h 108"/>
                <a:gd name="T10" fmla="*/ 166 w 234"/>
                <a:gd name="T11" fmla="*/ 68 h 108"/>
                <a:gd name="T12" fmla="*/ 166 w 234"/>
                <a:gd name="T13" fmla="*/ 64 h 108"/>
                <a:gd name="T14" fmla="*/ 164 w 234"/>
                <a:gd name="T15" fmla="*/ 64 h 108"/>
                <a:gd name="T16" fmla="*/ 164 w 234"/>
                <a:gd name="T17" fmla="*/ 68 h 108"/>
                <a:gd name="T18" fmla="*/ 156 w 234"/>
                <a:gd name="T19" fmla="*/ 68 h 108"/>
                <a:gd name="T20" fmla="*/ 152 w 234"/>
                <a:gd name="T21" fmla="*/ 60 h 108"/>
                <a:gd name="T22" fmla="*/ 152 w 234"/>
                <a:gd name="T23" fmla="*/ 56 h 108"/>
                <a:gd name="T24" fmla="*/ 156 w 234"/>
                <a:gd name="T25" fmla="*/ 48 h 108"/>
                <a:gd name="T26" fmla="*/ 156 w 234"/>
                <a:gd name="T27" fmla="*/ 42 h 108"/>
                <a:gd name="T28" fmla="*/ 160 w 234"/>
                <a:gd name="T29" fmla="*/ 34 h 108"/>
                <a:gd name="T30" fmla="*/ 164 w 234"/>
                <a:gd name="T31" fmla="*/ 26 h 108"/>
                <a:gd name="T32" fmla="*/ 164 w 234"/>
                <a:gd name="T33" fmla="*/ 16 h 108"/>
                <a:gd name="T34" fmla="*/ 166 w 234"/>
                <a:gd name="T35" fmla="*/ 8 h 108"/>
                <a:gd name="T36" fmla="*/ 178 w 234"/>
                <a:gd name="T37" fmla="*/ 4 h 108"/>
                <a:gd name="T38" fmla="*/ 182 w 234"/>
                <a:gd name="T39" fmla="*/ 4 h 108"/>
                <a:gd name="T40" fmla="*/ 192 w 234"/>
                <a:gd name="T41" fmla="*/ 8 h 108"/>
                <a:gd name="T42" fmla="*/ 200 w 234"/>
                <a:gd name="T43" fmla="*/ 12 h 108"/>
                <a:gd name="T44" fmla="*/ 204 w 234"/>
                <a:gd name="T45" fmla="*/ 18 h 108"/>
                <a:gd name="T46" fmla="*/ 216 w 234"/>
                <a:gd name="T47" fmla="*/ 18 h 108"/>
                <a:gd name="T48" fmla="*/ 222 w 234"/>
                <a:gd name="T49" fmla="*/ 22 h 108"/>
                <a:gd name="T50" fmla="*/ 230 w 234"/>
                <a:gd name="T51" fmla="*/ 26 h 108"/>
                <a:gd name="T52" fmla="*/ 230 w 234"/>
                <a:gd name="T53" fmla="*/ 34 h 108"/>
                <a:gd name="T54" fmla="*/ 230 w 234"/>
                <a:gd name="T55" fmla="*/ 42 h 108"/>
                <a:gd name="T56" fmla="*/ 226 w 234"/>
                <a:gd name="T57" fmla="*/ 52 h 108"/>
                <a:gd name="T58" fmla="*/ 220 w 234"/>
                <a:gd name="T59" fmla="*/ 60 h 108"/>
                <a:gd name="T60" fmla="*/ 208 w 234"/>
                <a:gd name="T61" fmla="*/ 72 h 108"/>
                <a:gd name="T62" fmla="*/ 196 w 234"/>
                <a:gd name="T63" fmla="*/ 74 h 108"/>
                <a:gd name="T64" fmla="*/ 192 w 234"/>
                <a:gd name="T65" fmla="*/ 82 h 108"/>
                <a:gd name="T66" fmla="*/ 190 w 234"/>
                <a:gd name="T67" fmla="*/ 82 h 108"/>
                <a:gd name="T68" fmla="*/ 186 w 234"/>
                <a:gd name="T69" fmla="*/ 88 h 108"/>
                <a:gd name="T70" fmla="*/ 182 w 234"/>
                <a:gd name="T71" fmla="*/ 96 h 108"/>
                <a:gd name="T72" fmla="*/ 182 w 234"/>
                <a:gd name="T73" fmla="*/ 100 h 108"/>
                <a:gd name="T74" fmla="*/ 174 w 234"/>
                <a:gd name="T75" fmla="*/ 108 h 108"/>
                <a:gd name="T76" fmla="*/ 170 w 234"/>
                <a:gd name="T77" fmla="*/ 104 h 108"/>
                <a:gd name="T78" fmla="*/ 14 w 234"/>
                <a:gd name="T79" fmla="*/ 38 h 108"/>
                <a:gd name="T80" fmla="*/ 22 w 234"/>
                <a:gd name="T81" fmla="*/ 34 h 108"/>
                <a:gd name="T82" fmla="*/ 18 w 234"/>
                <a:gd name="T83" fmla="*/ 38 h 108"/>
                <a:gd name="T84" fmla="*/ 4 w 234"/>
                <a:gd name="T85" fmla="*/ 42 h 108"/>
                <a:gd name="T86" fmla="*/ 8 w 234"/>
                <a:gd name="T87" fmla="*/ 34 h 108"/>
                <a:gd name="T88" fmla="*/ 0 w 234"/>
                <a:gd name="T89" fmla="*/ 26 h 108"/>
                <a:gd name="T90" fmla="*/ 8 w 234"/>
                <a:gd name="T91" fmla="*/ 22 h 108"/>
                <a:gd name="T92" fmla="*/ 10 w 234"/>
                <a:gd name="T93" fmla="*/ 30 h 108"/>
                <a:gd name="T94" fmla="*/ 10 w 234"/>
                <a:gd name="T95" fmla="*/ 42 h 108"/>
                <a:gd name="T96" fmla="*/ 8 w 234"/>
                <a:gd name="T97" fmla="*/ 42 h 108"/>
                <a:gd name="T98" fmla="*/ 10 w 234"/>
                <a:gd name="T99" fmla="*/ 26 h 108"/>
                <a:gd name="T100" fmla="*/ 14 w 234"/>
                <a:gd name="T101" fmla="*/ 30 h 108"/>
                <a:gd name="T102" fmla="*/ 0 w 234"/>
                <a:gd name="T103" fmla="*/ 34 h 108"/>
                <a:gd name="T104" fmla="*/ 4 w 234"/>
                <a:gd name="T105" fmla="*/ 34 h 108"/>
                <a:gd name="T106" fmla="*/ 30 w 234"/>
                <a:gd name="T107" fmla="*/ 42 h 108"/>
                <a:gd name="T108" fmla="*/ 34 w 234"/>
                <a:gd name="T109" fmla="*/ 42 h 108"/>
                <a:gd name="T110" fmla="*/ 30 w 234"/>
                <a:gd name="T111" fmla="*/ 42 h 108"/>
                <a:gd name="T112" fmla="*/ 18 w 234"/>
                <a:gd name="T113" fmla="*/ 46 h 108"/>
                <a:gd name="T114" fmla="*/ 18 w 234"/>
                <a:gd name="T115" fmla="*/ 48 h 108"/>
                <a:gd name="T116" fmla="*/ 160 w 234"/>
                <a:gd name="T117" fmla="*/ 72 h 108"/>
                <a:gd name="T118" fmla="*/ 164 w 234"/>
                <a:gd name="T119" fmla="*/ 74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4" h="108">
                  <a:moveTo>
                    <a:pt x="170" y="104"/>
                  </a:moveTo>
                  <a:lnTo>
                    <a:pt x="170" y="100"/>
                  </a:lnTo>
                  <a:lnTo>
                    <a:pt x="166" y="100"/>
                  </a:lnTo>
                  <a:lnTo>
                    <a:pt x="164" y="100"/>
                  </a:lnTo>
                  <a:lnTo>
                    <a:pt x="164" y="96"/>
                  </a:lnTo>
                  <a:lnTo>
                    <a:pt x="164" y="100"/>
                  </a:lnTo>
                  <a:lnTo>
                    <a:pt x="160" y="100"/>
                  </a:lnTo>
                  <a:lnTo>
                    <a:pt x="160" y="96"/>
                  </a:lnTo>
                  <a:lnTo>
                    <a:pt x="160" y="92"/>
                  </a:lnTo>
                  <a:lnTo>
                    <a:pt x="164" y="88"/>
                  </a:lnTo>
                  <a:lnTo>
                    <a:pt x="164" y="86"/>
                  </a:lnTo>
                  <a:lnTo>
                    <a:pt x="160" y="82"/>
                  </a:lnTo>
                  <a:lnTo>
                    <a:pt x="164" y="82"/>
                  </a:lnTo>
                  <a:lnTo>
                    <a:pt x="164" y="78"/>
                  </a:lnTo>
                  <a:lnTo>
                    <a:pt x="166" y="78"/>
                  </a:lnTo>
                  <a:lnTo>
                    <a:pt x="166" y="74"/>
                  </a:lnTo>
                  <a:lnTo>
                    <a:pt x="166" y="72"/>
                  </a:lnTo>
                  <a:lnTo>
                    <a:pt x="166" y="68"/>
                  </a:lnTo>
                  <a:lnTo>
                    <a:pt x="166" y="64"/>
                  </a:lnTo>
                  <a:lnTo>
                    <a:pt x="166" y="60"/>
                  </a:lnTo>
                  <a:lnTo>
                    <a:pt x="166" y="64"/>
                  </a:lnTo>
                  <a:lnTo>
                    <a:pt x="166" y="68"/>
                  </a:lnTo>
                  <a:lnTo>
                    <a:pt x="164" y="68"/>
                  </a:lnTo>
                  <a:lnTo>
                    <a:pt x="164" y="64"/>
                  </a:lnTo>
                  <a:lnTo>
                    <a:pt x="166" y="64"/>
                  </a:lnTo>
                  <a:lnTo>
                    <a:pt x="164" y="64"/>
                  </a:lnTo>
                  <a:lnTo>
                    <a:pt x="164" y="68"/>
                  </a:lnTo>
                  <a:lnTo>
                    <a:pt x="164" y="72"/>
                  </a:lnTo>
                  <a:lnTo>
                    <a:pt x="160" y="72"/>
                  </a:lnTo>
                  <a:lnTo>
                    <a:pt x="156" y="68"/>
                  </a:lnTo>
                  <a:lnTo>
                    <a:pt x="156" y="64"/>
                  </a:lnTo>
                  <a:lnTo>
                    <a:pt x="152" y="64"/>
                  </a:lnTo>
                  <a:lnTo>
                    <a:pt x="152" y="60"/>
                  </a:lnTo>
                  <a:lnTo>
                    <a:pt x="156" y="60"/>
                  </a:lnTo>
                  <a:lnTo>
                    <a:pt x="156" y="56"/>
                  </a:lnTo>
                  <a:lnTo>
                    <a:pt x="152" y="56"/>
                  </a:lnTo>
                  <a:lnTo>
                    <a:pt x="152" y="52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2" y="46"/>
                  </a:lnTo>
                  <a:lnTo>
                    <a:pt x="152" y="42"/>
                  </a:lnTo>
                  <a:lnTo>
                    <a:pt x="156" y="42"/>
                  </a:lnTo>
                  <a:lnTo>
                    <a:pt x="156" y="38"/>
                  </a:lnTo>
                  <a:lnTo>
                    <a:pt x="160" y="38"/>
                  </a:lnTo>
                  <a:lnTo>
                    <a:pt x="160" y="34"/>
                  </a:lnTo>
                  <a:lnTo>
                    <a:pt x="160" y="30"/>
                  </a:lnTo>
                  <a:lnTo>
                    <a:pt x="160" y="26"/>
                  </a:lnTo>
                  <a:lnTo>
                    <a:pt x="164" y="26"/>
                  </a:lnTo>
                  <a:lnTo>
                    <a:pt x="164" y="22"/>
                  </a:lnTo>
                  <a:lnTo>
                    <a:pt x="164" y="18"/>
                  </a:lnTo>
                  <a:lnTo>
                    <a:pt x="164" y="16"/>
                  </a:lnTo>
                  <a:lnTo>
                    <a:pt x="164" y="12"/>
                  </a:lnTo>
                  <a:lnTo>
                    <a:pt x="166" y="12"/>
                  </a:lnTo>
                  <a:lnTo>
                    <a:pt x="166" y="8"/>
                  </a:lnTo>
                  <a:lnTo>
                    <a:pt x="170" y="8"/>
                  </a:lnTo>
                  <a:lnTo>
                    <a:pt x="174" y="8"/>
                  </a:lnTo>
                  <a:lnTo>
                    <a:pt x="178" y="4"/>
                  </a:lnTo>
                  <a:lnTo>
                    <a:pt x="182" y="4"/>
                  </a:lnTo>
                  <a:lnTo>
                    <a:pt x="182" y="0"/>
                  </a:lnTo>
                  <a:lnTo>
                    <a:pt x="182" y="4"/>
                  </a:lnTo>
                  <a:lnTo>
                    <a:pt x="186" y="4"/>
                  </a:lnTo>
                  <a:lnTo>
                    <a:pt x="190" y="8"/>
                  </a:lnTo>
                  <a:lnTo>
                    <a:pt x="192" y="8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200" y="12"/>
                  </a:lnTo>
                  <a:lnTo>
                    <a:pt x="200" y="16"/>
                  </a:lnTo>
                  <a:lnTo>
                    <a:pt x="200" y="18"/>
                  </a:lnTo>
                  <a:lnTo>
                    <a:pt x="204" y="18"/>
                  </a:lnTo>
                  <a:lnTo>
                    <a:pt x="208" y="18"/>
                  </a:lnTo>
                  <a:lnTo>
                    <a:pt x="212" y="18"/>
                  </a:lnTo>
                  <a:lnTo>
                    <a:pt x="216" y="18"/>
                  </a:lnTo>
                  <a:lnTo>
                    <a:pt x="220" y="18"/>
                  </a:lnTo>
                  <a:lnTo>
                    <a:pt x="222" y="18"/>
                  </a:lnTo>
                  <a:lnTo>
                    <a:pt x="222" y="22"/>
                  </a:lnTo>
                  <a:lnTo>
                    <a:pt x="226" y="22"/>
                  </a:lnTo>
                  <a:lnTo>
                    <a:pt x="226" y="26"/>
                  </a:lnTo>
                  <a:lnTo>
                    <a:pt x="230" y="26"/>
                  </a:lnTo>
                  <a:lnTo>
                    <a:pt x="226" y="26"/>
                  </a:lnTo>
                  <a:lnTo>
                    <a:pt x="230" y="30"/>
                  </a:lnTo>
                  <a:lnTo>
                    <a:pt x="230" y="34"/>
                  </a:lnTo>
                  <a:lnTo>
                    <a:pt x="230" y="38"/>
                  </a:lnTo>
                  <a:lnTo>
                    <a:pt x="234" y="42"/>
                  </a:lnTo>
                  <a:lnTo>
                    <a:pt x="230" y="42"/>
                  </a:lnTo>
                  <a:lnTo>
                    <a:pt x="230" y="46"/>
                  </a:lnTo>
                  <a:lnTo>
                    <a:pt x="226" y="48"/>
                  </a:lnTo>
                  <a:lnTo>
                    <a:pt x="226" y="52"/>
                  </a:lnTo>
                  <a:lnTo>
                    <a:pt x="222" y="56"/>
                  </a:lnTo>
                  <a:lnTo>
                    <a:pt x="222" y="60"/>
                  </a:lnTo>
                  <a:lnTo>
                    <a:pt x="220" y="60"/>
                  </a:lnTo>
                  <a:lnTo>
                    <a:pt x="216" y="64"/>
                  </a:lnTo>
                  <a:lnTo>
                    <a:pt x="212" y="68"/>
                  </a:lnTo>
                  <a:lnTo>
                    <a:pt x="208" y="72"/>
                  </a:lnTo>
                  <a:lnTo>
                    <a:pt x="204" y="72"/>
                  </a:lnTo>
                  <a:lnTo>
                    <a:pt x="200" y="74"/>
                  </a:lnTo>
                  <a:lnTo>
                    <a:pt x="196" y="74"/>
                  </a:lnTo>
                  <a:lnTo>
                    <a:pt x="192" y="74"/>
                  </a:lnTo>
                  <a:lnTo>
                    <a:pt x="192" y="78"/>
                  </a:lnTo>
                  <a:lnTo>
                    <a:pt x="192" y="82"/>
                  </a:lnTo>
                  <a:lnTo>
                    <a:pt x="190" y="82"/>
                  </a:lnTo>
                  <a:lnTo>
                    <a:pt x="190" y="86"/>
                  </a:lnTo>
                  <a:lnTo>
                    <a:pt x="190" y="82"/>
                  </a:lnTo>
                  <a:lnTo>
                    <a:pt x="190" y="86"/>
                  </a:lnTo>
                  <a:lnTo>
                    <a:pt x="190" y="88"/>
                  </a:lnTo>
                  <a:lnTo>
                    <a:pt x="186" y="88"/>
                  </a:lnTo>
                  <a:lnTo>
                    <a:pt x="186" y="92"/>
                  </a:lnTo>
                  <a:lnTo>
                    <a:pt x="186" y="96"/>
                  </a:lnTo>
                  <a:lnTo>
                    <a:pt x="182" y="96"/>
                  </a:lnTo>
                  <a:lnTo>
                    <a:pt x="182" y="100"/>
                  </a:lnTo>
                  <a:lnTo>
                    <a:pt x="186" y="100"/>
                  </a:lnTo>
                  <a:lnTo>
                    <a:pt x="182" y="100"/>
                  </a:lnTo>
                  <a:lnTo>
                    <a:pt x="182" y="104"/>
                  </a:lnTo>
                  <a:lnTo>
                    <a:pt x="178" y="108"/>
                  </a:lnTo>
                  <a:lnTo>
                    <a:pt x="174" y="108"/>
                  </a:lnTo>
                  <a:lnTo>
                    <a:pt x="174" y="104"/>
                  </a:lnTo>
                  <a:lnTo>
                    <a:pt x="170" y="104"/>
                  </a:lnTo>
                  <a:lnTo>
                    <a:pt x="170" y="104"/>
                  </a:lnTo>
                  <a:lnTo>
                    <a:pt x="170" y="104"/>
                  </a:lnTo>
                  <a:close/>
                  <a:moveTo>
                    <a:pt x="18" y="38"/>
                  </a:moveTo>
                  <a:lnTo>
                    <a:pt x="14" y="38"/>
                  </a:lnTo>
                  <a:lnTo>
                    <a:pt x="14" y="34"/>
                  </a:lnTo>
                  <a:lnTo>
                    <a:pt x="18" y="34"/>
                  </a:lnTo>
                  <a:lnTo>
                    <a:pt x="22" y="34"/>
                  </a:lnTo>
                  <a:lnTo>
                    <a:pt x="22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close/>
                  <a:moveTo>
                    <a:pt x="8" y="42"/>
                  </a:moveTo>
                  <a:lnTo>
                    <a:pt x="4" y="42"/>
                  </a:lnTo>
                  <a:lnTo>
                    <a:pt x="4" y="38"/>
                  </a:lnTo>
                  <a:lnTo>
                    <a:pt x="8" y="38"/>
                  </a:lnTo>
                  <a:lnTo>
                    <a:pt x="8" y="34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8" y="22"/>
                  </a:lnTo>
                  <a:lnTo>
                    <a:pt x="8" y="26"/>
                  </a:lnTo>
                  <a:lnTo>
                    <a:pt x="8" y="30"/>
                  </a:lnTo>
                  <a:lnTo>
                    <a:pt x="10" y="30"/>
                  </a:lnTo>
                  <a:lnTo>
                    <a:pt x="10" y="34"/>
                  </a:lnTo>
                  <a:lnTo>
                    <a:pt x="10" y="38"/>
                  </a:lnTo>
                  <a:lnTo>
                    <a:pt x="10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close/>
                  <a:moveTo>
                    <a:pt x="14" y="30"/>
                  </a:moveTo>
                  <a:lnTo>
                    <a:pt x="10" y="30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close/>
                  <a:moveTo>
                    <a:pt x="4" y="34"/>
                  </a:moveTo>
                  <a:lnTo>
                    <a:pt x="0" y="34"/>
                  </a:lnTo>
                  <a:lnTo>
                    <a:pt x="0" y="30"/>
                  </a:lnTo>
                  <a:lnTo>
                    <a:pt x="4" y="30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close/>
                  <a:moveTo>
                    <a:pt x="30" y="42"/>
                  </a:moveTo>
                  <a:lnTo>
                    <a:pt x="30" y="38"/>
                  </a:lnTo>
                  <a:lnTo>
                    <a:pt x="34" y="38"/>
                  </a:lnTo>
                  <a:lnTo>
                    <a:pt x="34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close/>
                  <a:moveTo>
                    <a:pt x="18" y="48"/>
                  </a:moveTo>
                  <a:lnTo>
                    <a:pt x="14" y="46"/>
                  </a:lnTo>
                  <a:lnTo>
                    <a:pt x="18" y="46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close/>
                  <a:moveTo>
                    <a:pt x="164" y="74"/>
                  </a:moveTo>
                  <a:lnTo>
                    <a:pt x="160" y="74"/>
                  </a:lnTo>
                  <a:lnTo>
                    <a:pt x="160" y="72"/>
                  </a:lnTo>
                  <a:lnTo>
                    <a:pt x="164" y="72"/>
                  </a:lnTo>
                  <a:lnTo>
                    <a:pt x="166" y="72"/>
                  </a:lnTo>
                  <a:lnTo>
                    <a:pt x="164" y="74"/>
                  </a:lnTo>
                  <a:lnTo>
                    <a:pt x="164" y="74"/>
                  </a:lnTo>
                  <a:lnTo>
                    <a:pt x="164" y="74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43" name="Freeform 183">
              <a:extLst>
                <a:ext uri="{FF2B5EF4-FFF2-40B4-BE49-F238E27FC236}">
                  <a16:creationId xmlns:a16="http://schemas.microsoft.com/office/drawing/2014/main" id="{3EFF1B23-7272-34A3-D0FD-753DBB864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104" y="3986358"/>
              <a:ext cx="81825" cy="116901"/>
            </a:xfrm>
            <a:custGeom>
              <a:avLst/>
              <a:gdLst>
                <a:gd name="T0" fmla="*/ 4 w 42"/>
                <a:gd name="T1" fmla="*/ 56 h 62"/>
                <a:gd name="T2" fmla="*/ 4 w 42"/>
                <a:gd name="T3" fmla="*/ 52 h 62"/>
                <a:gd name="T4" fmla="*/ 4 w 42"/>
                <a:gd name="T5" fmla="*/ 48 h 62"/>
                <a:gd name="T6" fmla="*/ 4 w 42"/>
                <a:gd name="T7" fmla="*/ 44 h 62"/>
                <a:gd name="T8" fmla="*/ 8 w 42"/>
                <a:gd name="T9" fmla="*/ 40 h 62"/>
                <a:gd name="T10" fmla="*/ 8 w 42"/>
                <a:gd name="T11" fmla="*/ 32 h 62"/>
                <a:gd name="T12" fmla="*/ 4 w 42"/>
                <a:gd name="T13" fmla="*/ 30 h 62"/>
                <a:gd name="T14" fmla="*/ 0 w 42"/>
                <a:gd name="T15" fmla="*/ 22 h 62"/>
                <a:gd name="T16" fmla="*/ 0 w 42"/>
                <a:gd name="T17" fmla="*/ 18 h 62"/>
                <a:gd name="T18" fmla="*/ 0 w 42"/>
                <a:gd name="T19" fmla="*/ 14 h 62"/>
                <a:gd name="T20" fmla="*/ 4 w 42"/>
                <a:gd name="T21" fmla="*/ 10 h 62"/>
                <a:gd name="T22" fmla="*/ 4 w 42"/>
                <a:gd name="T23" fmla="*/ 6 h 62"/>
                <a:gd name="T24" fmla="*/ 8 w 42"/>
                <a:gd name="T25" fmla="*/ 6 h 62"/>
                <a:gd name="T26" fmla="*/ 8 w 42"/>
                <a:gd name="T27" fmla="*/ 4 h 62"/>
                <a:gd name="T28" fmla="*/ 8 w 42"/>
                <a:gd name="T29" fmla="*/ 0 h 62"/>
                <a:gd name="T30" fmla="*/ 12 w 42"/>
                <a:gd name="T31" fmla="*/ 0 h 62"/>
                <a:gd name="T32" fmla="*/ 16 w 42"/>
                <a:gd name="T33" fmla="*/ 4 h 62"/>
                <a:gd name="T34" fmla="*/ 20 w 42"/>
                <a:gd name="T35" fmla="*/ 4 h 62"/>
                <a:gd name="T36" fmla="*/ 24 w 42"/>
                <a:gd name="T37" fmla="*/ 4 h 62"/>
                <a:gd name="T38" fmla="*/ 28 w 42"/>
                <a:gd name="T39" fmla="*/ 6 h 62"/>
                <a:gd name="T40" fmla="*/ 30 w 42"/>
                <a:gd name="T41" fmla="*/ 14 h 62"/>
                <a:gd name="T42" fmla="*/ 38 w 42"/>
                <a:gd name="T43" fmla="*/ 18 h 62"/>
                <a:gd name="T44" fmla="*/ 38 w 42"/>
                <a:gd name="T45" fmla="*/ 22 h 62"/>
                <a:gd name="T46" fmla="*/ 38 w 42"/>
                <a:gd name="T47" fmla="*/ 26 h 62"/>
                <a:gd name="T48" fmla="*/ 38 w 42"/>
                <a:gd name="T49" fmla="*/ 22 h 62"/>
                <a:gd name="T50" fmla="*/ 38 w 42"/>
                <a:gd name="T51" fmla="*/ 22 h 62"/>
                <a:gd name="T52" fmla="*/ 38 w 42"/>
                <a:gd name="T53" fmla="*/ 18 h 62"/>
                <a:gd name="T54" fmla="*/ 42 w 42"/>
                <a:gd name="T55" fmla="*/ 22 h 62"/>
                <a:gd name="T56" fmla="*/ 42 w 42"/>
                <a:gd name="T57" fmla="*/ 26 h 62"/>
                <a:gd name="T58" fmla="*/ 42 w 42"/>
                <a:gd name="T59" fmla="*/ 26 h 62"/>
                <a:gd name="T60" fmla="*/ 42 w 42"/>
                <a:gd name="T61" fmla="*/ 30 h 62"/>
                <a:gd name="T62" fmla="*/ 42 w 42"/>
                <a:gd name="T63" fmla="*/ 30 h 62"/>
                <a:gd name="T64" fmla="*/ 38 w 42"/>
                <a:gd name="T65" fmla="*/ 32 h 62"/>
                <a:gd name="T66" fmla="*/ 38 w 42"/>
                <a:gd name="T67" fmla="*/ 36 h 62"/>
                <a:gd name="T68" fmla="*/ 34 w 42"/>
                <a:gd name="T69" fmla="*/ 44 h 62"/>
                <a:gd name="T70" fmla="*/ 30 w 42"/>
                <a:gd name="T71" fmla="*/ 44 h 62"/>
                <a:gd name="T72" fmla="*/ 30 w 42"/>
                <a:gd name="T73" fmla="*/ 48 h 62"/>
                <a:gd name="T74" fmla="*/ 30 w 42"/>
                <a:gd name="T75" fmla="*/ 56 h 62"/>
                <a:gd name="T76" fmla="*/ 28 w 42"/>
                <a:gd name="T77" fmla="*/ 58 h 62"/>
                <a:gd name="T78" fmla="*/ 24 w 42"/>
                <a:gd name="T79" fmla="*/ 62 h 62"/>
                <a:gd name="T80" fmla="*/ 24 w 42"/>
                <a:gd name="T81" fmla="*/ 58 h 62"/>
                <a:gd name="T82" fmla="*/ 20 w 42"/>
                <a:gd name="T83" fmla="*/ 58 h 62"/>
                <a:gd name="T84" fmla="*/ 20 w 42"/>
                <a:gd name="T85" fmla="*/ 58 h 62"/>
                <a:gd name="T86" fmla="*/ 12 w 42"/>
                <a:gd name="T87" fmla="*/ 58 h 62"/>
                <a:gd name="T88" fmla="*/ 8 w 42"/>
                <a:gd name="T89" fmla="*/ 58 h 62"/>
                <a:gd name="T90" fmla="*/ 4 w 42"/>
                <a:gd name="T91" fmla="*/ 62 h 62"/>
                <a:gd name="T92" fmla="*/ 0 w 42"/>
                <a:gd name="T93" fmla="*/ 58 h 62"/>
                <a:gd name="T94" fmla="*/ 0 w 42"/>
                <a:gd name="T95" fmla="*/ 5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" h="62">
                  <a:moveTo>
                    <a:pt x="0" y="58"/>
                  </a:moveTo>
                  <a:lnTo>
                    <a:pt x="0" y="58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10"/>
                  </a:lnTo>
                  <a:lnTo>
                    <a:pt x="30" y="10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4" y="14"/>
                  </a:lnTo>
                  <a:lnTo>
                    <a:pt x="34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38" y="30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28" y="56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62"/>
                  </a:lnTo>
                  <a:lnTo>
                    <a:pt x="4" y="62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44" name="Freeform 184">
              <a:extLst>
                <a:ext uri="{FF2B5EF4-FFF2-40B4-BE49-F238E27FC236}">
                  <a16:creationId xmlns:a16="http://schemas.microsoft.com/office/drawing/2014/main" id="{5CAC46F9-BD67-428D-8F32-24502910719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2075" y="3895854"/>
              <a:ext cx="136375" cy="237574"/>
            </a:xfrm>
            <a:custGeom>
              <a:avLst/>
              <a:gdLst>
                <a:gd name="T0" fmla="*/ 48 w 70"/>
                <a:gd name="T1" fmla="*/ 32 h 126"/>
                <a:gd name="T2" fmla="*/ 52 w 70"/>
                <a:gd name="T3" fmla="*/ 36 h 126"/>
                <a:gd name="T4" fmla="*/ 56 w 70"/>
                <a:gd name="T5" fmla="*/ 40 h 126"/>
                <a:gd name="T6" fmla="*/ 60 w 70"/>
                <a:gd name="T7" fmla="*/ 44 h 126"/>
                <a:gd name="T8" fmla="*/ 60 w 70"/>
                <a:gd name="T9" fmla="*/ 56 h 126"/>
                <a:gd name="T10" fmla="*/ 60 w 70"/>
                <a:gd name="T11" fmla="*/ 58 h 126"/>
                <a:gd name="T12" fmla="*/ 56 w 70"/>
                <a:gd name="T13" fmla="*/ 58 h 126"/>
                <a:gd name="T14" fmla="*/ 52 w 70"/>
                <a:gd name="T15" fmla="*/ 62 h 126"/>
                <a:gd name="T16" fmla="*/ 48 w 70"/>
                <a:gd name="T17" fmla="*/ 66 h 126"/>
                <a:gd name="T18" fmla="*/ 48 w 70"/>
                <a:gd name="T19" fmla="*/ 74 h 126"/>
                <a:gd name="T20" fmla="*/ 48 w 70"/>
                <a:gd name="T21" fmla="*/ 78 h 126"/>
                <a:gd name="T22" fmla="*/ 48 w 70"/>
                <a:gd name="T23" fmla="*/ 82 h 126"/>
                <a:gd name="T24" fmla="*/ 52 w 70"/>
                <a:gd name="T25" fmla="*/ 86 h 126"/>
                <a:gd name="T26" fmla="*/ 52 w 70"/>
                <a:gd name="T27" fmla="*/ 88 h 126"/>
                <a:gd name="T28" fmla="*/ 60 w 70"/>
                <a:gd name="T29" fmla="*/ 92 h 126"/>
                <a:gd name="T30" fmla="*/ 60 w 70"/>
                <a:gd name="T31" fmla="*/ 96 h 126"/>
                <a:gd name="T32" fmla="*/ 64 w 70"/>
                <a:gd name="T33" fmla="*/ 108 h 126"/>
                <a:gd name="T34" fmla="*/ 70 w 70"/>
                <a:gd name="T35" fmla="*/ 114 h 126"/>
                <a:gd name="T36" fmla="*/ 68 w 70"/>
                <a:gd name="T37" fmla="*/ 114 h 126"/>
                <a:gd name="T38" fmla="*/ 60 w 70"/>
                <a:gd name="T39" fmla="*/ 112 h 126"/>
                <a:gd name="T40" fmla="*/ 60 w 70"/>
                <a:gd name="T41" fmla="*/ 112 h 126"/>
                <a:gd name="T42" fmla="*/ 56 w 70"/>
                <a:gd name="T43" fmla="*/ 118 h 126"/>
                <a:gd name="T44" fmla="*/ 52 w 70"/>
                <a:gd name="T45" fmla="*/ 118 h 126"/>
                <a:gd name="T46" fmla="*/ 44 w 70"/>
                <a:gd name="T47" fmla="*/ 122 h 126"/>
                <a:gd name="T48" fmla="*/ 40 w 70"/>
                <a:gd name="T49" fmla="*/ 122 h 126"/>
                <a:gd name="T50" fmla="*/ 38 w 70"/>
                <a:gd name="T51" fmla="*/ 126 h 126"/>
                <a:gd name="T52" fmla="*/ 34 w 70"/>
                <a:gd name="T53" fmla="*/ 126 h 126"/>
                <a:gd name="T54" fmla="*/ 30 w 70"/>
                <a:gd name="T55" fmla="*/ 118 h 126"/>
                <a:gd name="T56" fmla="*/ 26 w 70"/>
                <a:gd name="T57" fmla="*/ 114 h 126"/>
                <a:gd name="T58" fmla="*/ 22 w 70"/>
                <a:gd name="T59" fmla="*/ 108 h 126"/>
                <a:gd name="T60" fmla="*/ 22 w 70"/>
                <a:gd name="T61" fmla="*/ 104 h 126"/>
                <a:gd name="T62" fmla="*/ 18 w 70"/>
                <a:gd name="T63" fmla="*/ 96 h 126"/>
                <a:gd name="T64" fmla="*/ 22 w 70"/>
                <a:gd name="T65" fmla="*/ 88 h 126"/>
                <a:gd name="T66" fmla="*/ 26 w 70"/>
                <a:gd name="T67" fmla="*/ 82 h 126"/>
                <a:gd name="T68" fmla="*/ 26 w 70"/>
                <a:gd name="T69" fmla="*/ 70 h 126"/>
                <a:gd name="T70" fmla="*/ 18 w 70"/>
                <a:gd name="T71" fmla="*/ 70 h 126"/>
                <a:gd name="T72" fmla="*/ 18 w 70"/>
                <a:gd name="T73" fmla="*/ 66 h 126"/>
                <a:gd name="T74" fmla="*/ 18 w 70"/>
                <a:gd name="T75" fmla="*/ 58 h 126"/>
                <a:gd name="T76" fmla="*/ 14 w 70"/>
                <a:gd name="T77" fmla="*/ 58 h 126"/>
                <a:gd name="T78" fmla="*/ 12 w 70"/>
                <a:gd name="T79" fmla="*/ 58 h 126"/>
                <a:gd name="T80" fmla="*/ 0 w 70"/>
                <a:gd name="T81" fmla="*/ 44 h 126"/>
                <a:gd name="T82" fmla="*/ 4 w 70"/>
                <a:gd name="T83" fmla="*/ 40 h 126"/>
                <a:gd name="T84" fmla="*/ 4 w 70"/>
                <a:gd name="T85" fmla="*/ 32 h 126"/>
                <a:gd name="T86" fmla="*/ 12 w 70"/>
                <a:gd name="T87" fmla="*/ 32 h 126"/>
                <a:gd name="T88" fmla="*/ 12 w 70"/>
                <a:gd name="T89" fmla="*/ 30 h 126"/>
                <a:gd name="T90" fmla="*/ 14 w 70"/>
                <a:gd name="T91" fmla="*/ 26 h 126"/>
                <a:gd name="T92" fmla="*/ 12 w 70"/>
                <a:gd name="T93" fmla="*/ 26 h 126"/>
                <a:gd name="T94" fmla="*/ 12 w 70"/>
                <a:gd name="T95" fmla="*/ 22 h 126"/>
                <a:gd name="T96" fmla="*/ 12 w 70"/>
                <a:gd name="T97" fmla="*/ 18 h 126"/>
                <a:gd name="T98" fmla="*/ 12 w 70"/>
                <a:gd name="T99" fmla="*/ 14 h 126"/>
                <a:gd name="T100" fmla="*/ 18 w 70"/>
                <a:gd name="T101" fmla="*/ 10 h 126"/>
                <a:gd name="T102" fmla="*/ 22 w 70"/>
                <a:gd name="T103" fmla="*/ 6 h 126"/>
                <a:gd name="T104" fmla="*/ 18 w 70"/>
                <a:gd name="T105" fmla="*/ 0 h 126"/>
                <a:gd name="T106" fmla="*/ 22 w 70"/>
                <a:gd name="T107" fmla="*/ 4 h 126"/>
                <a:gd name="T108" fmla="*/ 26 w 70"/>
                <a:gd name="T109" fmla="*/ 4 h 126"/>
                <a:gd name="T110" fmla="*/ 34 w 70"/>
                <a:gd name="T111" fmla="*/ 10 h 126"/>
                <a:gd name="T112" fmla="*/ 38 w 70"/>
                <a:gd name="T113" fmla="*/ 18 h 126"/>
                <a:gd name="T114" fmla="*/ 40 w 70"/>
                <a:gd name="T115" fmla="*/ 26 h 126"/>
                <a:gd name="T116" fmla="*/ 40 w 70"/>
                <a:gd name="T117" fmla="*/ 30 h 126"/>
                <a:gd name="T118" fmla="*/ 40 w 70"/>
                <a:gd name="T119" fmla="*/ 36 h 126"/>
                <a:gd name="T120" fmla="*/ 40 w 70"/>
                <a:gd name="T121" fmla="*/ 32 h 126"/>
                <a:gd name="T122" fmla="*/ 44 w 70"/>
                <a:gd name="T123" fmla="*/ 3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" h="126">
                  <a:moveTo>
                    <a:pt x="44" y="30"/>
                  </a:moveTo>
                  <a:lnTo>
                    <a:pt x="44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0" y="56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62"/>
                  </a:lnTo>
                  <a:lnTo>
                    <a:pt x="56" y="62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52" y="66"/>
                  </a:lnTo>
                  <a:lnTo>
                    <a:pt x="48" y="66"/>
                  </a:lnTo>
                  <a:lnTo>
                    <a:pt x="48" y="70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82"/>
                  </a:lnTo>
                  <a:lnTo>
                    <a:pt x="48" y="82"/>
                  </a:lnTo>
                  <a:lnTo>
                    <a:pt x="48" y="82"/>
                  </a:lnTo>
                  <a:lnTo>
                    <a:pt x="48" y="82"/>
                  </a:lnTo>
                  <a:lnTo>
                    <a:pt x="48" y="82"/>
                  </a:lnTo>
                  <a:lnTo>
                    <a:pt x="48" y="82"/>
                  </a:lnTo>
                  <a:lnTo>
                    <a:pt x="48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70" y="114"/>
                  </a:lnTo>
                  <a:lnTo>
                    <a:pt x="70" y="114"/>
                  </a:lnTo>
                  <a:lnTo>
                    <a:pt x="68" y="114"/>
                  </a:lnTo>
                  <a:lnTo>
                    <a:pt x="68" y="114"/>
                  </a:lnTo>
                  <a:lnTo>
                    <a:pt x="68" y="114"/>
                  </a:lnTo>
                  <a:lnTo>
                    <a:pt x="68" y="114"/>
                  </a:lnTo>
                  <a:lnTo>
                    <a:pt x="68" y="114"/>
                  </a:lnTo>
                  <a:lnTo>
                    <a:pt x="68" y="114"/>
                  </a:lnTo>
                  <a:lnTo>
                    <a:pt x="68" y="114"/>
                  </a:lnTo>
                  <a:lnTo>
                    <a:pt x="64" y="114"/>
                  </a:lnTo>
                  <a:lnTo>
                    <a:pt x="64" y="114"/>
                  </a:lnTo>
                  <a:lnTo>
                    <a:pt x="64" y="114"/>
                  </a:lnTo>
                  <a:lnTo>
                    <a:pt x="60" y="112"/>
                  </a:lnTo>
                  <a:lnTo>
                    <a:pt x="60" y="112"/>
                  </a:lnTo>
                  <a:lnTo>
                    <a:pt x="60" y="112"/>
                  </a:lnTo>
                  <a:lnTo>
                    <a:pt x="60" y="112"/>
                  </a:lnTo>
                  <a:lnTo>
                    <a:pt x="60" y="112"/>
                  </a:lnTo>
                  <a:lnTo>
                    <a:pt x="60" y="114"/>
                  </a:lnTo>
                  <a:lnTo>
                    <a:pt x="60" y="112"/>
                  </a:lnTo>
                  <a:lnTo>
                    <a:pt x="60" y="112"/>
                  </a:lnTo>
                  <a:lnTo>
                    <a:pt x="56" y="112"/>
                  </a:lnTo>
                  <a:lnTo>
                    <a:pt x="56" y="114"/>
                  </a:lnTo>
                  <a:lnTo>
                    <a:pt x="56" y="114"/>
                  </a:lnTo>
                  <a:lnTo>
                    <a:pt x="56" y="114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2" y="118"/>
                  </a:lnTo>
                  <a:lnTo>
                    <a:pt x="52" y="118"/>
                  </a:lnTo>
                  <a:lnTo>
                    <a:pt x="52" y="118"/>
                  </a:lnTo>
                  <a:lnTo>
                    <a:pt x="52" y="118"/>
                  </a:lnTo>
                  <a:lnTo>
                    <a:pt x="52" y="118"/>
                  </a:lnTo>
                  <a:lnTo>
                    <a:pt x="48" y="118"/>
                  </a:lnTo>
                  <a:lnTo>
                    <a:pt x="48" y="118"/>
                  </a:lnTo>
                  <a:lnTo>
                    <a:pt x="48" y="118"/>
                  </a:lnTo>
                  <a:lnTo>
                    <a:pt x="48" y="122"/>
                  </a:lnTo>
                  <a:lnTo>
                    <a:pt x="44" y="122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0" y="122"/>
                  </a:lnTo>
                  <a:lnTo>
                    <a:pt x="40" y="122"/>
                  </a:lnTo>
                  <a:lnTo>
                    <a:pt x="40" y="122"/>
                  </a:lnTo>
                  <a:lnTo>
                    <a:pt x="40" y="122"/>
                  </a:lnTo>
                  <a:lnTo>
                    <a:pt x="40" y="122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38" y="126"/>
                  </a:lnTo>
                  <a:lnTo>
                    <a:pt x="38" y="126"/>
                  </a:lnTo>
                  <a:lnTo>
                    <a:pt x="38" y="126"/>
                  </a:lnTo>
                  <a:lnTo>
                    <a:pt x="38" y="126"/>
                  </a:lnTo>
                  <a:lnTo>
                    <a:pt x="38" y="126"/>
                  </a:lnTo>
                  <a:lnTo>
                    <a:pt x="38" y="126"/>
                  </a:lnTo>
                  <a:lnTo>
                    <a:pt x="38" y="126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118"/>
                  </a:lnTo>
                  <a:lnTo>
                    <a:pt x="26" y="118"/>
                  </a:lnTo>
                  <a:lnTo>
                    <a:pt x="26" y="118"/>
                  </a:lnTo>
                  <a:lnTo>
                    <a:pt x="26" y="118"/>
                  </a:lnTo>
                  <a:lnTo>
                    <a:pt x="26" y="118"/>
                  </a:lnTo>
                  <a:lnTo>
                    <a:pt x="26" y="114"/>
                  </a:lnTo>
                  <a:lnTo>
                    <a:pt x="26" y="114"/>
                  </a:lnTo>
                  <a:lnTo>
                    <a:pt x="26" y="114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2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18" y="104"/>
                  </a:lnTo>
                  <a:lnTo>
                    <a:pt x="18" y="100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6" y="78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2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4" y="56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8" y="58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2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30" y="6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45" name="Freeform 185">
              <a:extLst>
                <a:ext uri="{FF2B5EF4-FFF2-40B4-BE49-F238E27FC236}">
                  <a16:creationId xmlns:a16="http://schemas.microsoft.com/office/drawing/2014/main" id="{51EC74B8-5504-0139-BB5C-7E1ADEB005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3110" y="4800897"/>
              <a:ext cx="233786" cy="275284"/>
            </a:xfrm>
            <a:custGeom>
              <a:avLst/>
              <a:gdLst>
                <a:gd name="T0" fmla="*/ 68 w 120"/>
                <a:gd name="T1" fmla="*/ 102 h 146"/>
                <a:gd name="T2" fmla="*/ 64 w 120"/>
                <a:gd name="T3" fmla="*/ 102 h 146"/>
                <a:gd name="T4" fmla="*/ 56 w 120"/>
                <a:gd name="T5" fmla="*/ 98 h 146"/>
                <a:gd name="T6" fmla="*/ 50 w 120"/>
                <a:gd name="T7" fmla="*/ 90 h 146"/>
                <a:gd name="T8" fmla="*/ 38 w 120"/>
                <a:gd name="T9" fmla="*/ 82 h 146"/>
                <a:gd name="T10" fmla="*/ 34 w 120"/>
                <a:gd name="T11" fmla="*/ 82 h 146"/>
                <a:gd name="T12" fmla="*/ 26 w 120"/>
                <a:gd name="T13" fmla="*/ 78 h 146"/>
                <a:gd name="T14" fmla="*/ 20 w 120"/>
                <a:gd name="T15" fmla="*/ 72 h 146"/>
                <a:gd name="T16" fmla="*/ 16 w 120"/>
                <a:gd name="T17" fmla="*/ 68 h 146"/>
                <a:gd name="T18" fmla="*/ 12 w 120"/>
                <a:gd name="T19" fmla="*/ 64 h 146"/>
                <a:gd name="T20" fmla="*/ 8 w 120"/>
                <a:gd name="T21" fmla="*/ 56 h 146"/>
                <a:gd name="T22" fmla="*/ 0 w 120"/>
                <a:gd name="T23" fmla="*/ 52 h 146"/>
                <a:gd name="T24" fmla="*/ 4 w 120"/>
                <a:gd name="T25" fmla="*/ 38 h 146"/>
                <a:gd name="T26" fmla="*/ 8 w 120"/>
                <a:gd name="T27" fmla="*/ 18 h 146"/>
                <a:gd name="T28" fmla="*/ 20 w 120"/>
                <a:gd name="T29" fmla="*/ 4 h 146"/>
                <a:gd name="T30" fmla="*/ 38 w 120"/>
                <a:gd name="T31" fmla="*/ 0 h 146"/>
                <a:gd name="T32" fmla="*/ 64 w 120"/>
                <a:gd name="T33" fmla="*/ 8 h 146"/>
                <a:gd name="T34" fmla="*/ 64 w 120"/>
                <a:gd name="T35" fmla="*/ 16 h 146"/>
                <a:gd name="T36" fmla="*/ 68 w 120"/>
                <a:gd name="T37" fmla="*/ 22 h 146"/>
                <a:gd name="T38" fmla="*/ 68 w 120"/>
                <a:gd name="T39" fmla="*/ 38 h 146"/>
                <a:gd name="T40" fmla="*/ 68 w 120"/>
                <a:gd name="T41" fmla="*/ 48 h 146"/>
                <a:gd name="T42" fmla="*/ 72 w 120"/>
                <a:gd name="T43" fmla="*/ 48 h 146"/>
                <a:gd name="T44" fmla="*/ 80 w 120"/>
                <a:gd name="T45" fmla="*/ 52 h 146"/>
                <a:gd name="T46" fmla="*/ 86 w 120"/>
                <a:gd name="T47" fmla="*/ 52 h 146"/>
                <a:gd name="T48" fmla="*/ 90 w 120"/>
                <a:gd name="T49" fmla="*/ 48 h 146"/>
                <a:gd name="T50" fmla="*/ 94 w 120"/>
                <a:gd name="T51" fmla="*/ 52 h 146"/>
                <a:gd name="T52" fmla="*/ 98 w 120"/>
                <a:gd name="T53" fmla="*/ 56 h 146"/>
                <a:gd name="T54" fmla="*/ 102 w 120"/>
                <a:gd name="T55" fmla="*/ 56 h 146"/>
                <a:gd name="T56" fmla="*/ 102 w 120"/>
                <a:gd name="T57" fmla="*/ 68 h 146"/>
                <a:gd name="T58" fmla="*/ 102 w 120"/>
                <a:gd name="T59" fmla="*/ 76 h 146"/>
                <a:gd name="T60" fmla="*/ 106 w 120"/>
                <a:gd name="T61" fmla="*/ 82 h 146"/>
                <a:gd name="T62" fmla="*/ 110 w 120"/>
                <a:gd name="T63" fmla="*/ 82 h 146"/>
                <a:gd name="T64" fmla="*/ 120 w 120"/>
                <a:gd name="T65" fmla="*/ 82 h 146"/>
                <a:gd name="T66" fmla="*/ 120 w 120"/>
                <a:gd name="T67" fmla="*/ 86 h 146"/>
                <a:gd name="T68" fmla="*/ 120 w 120"/>
                <a:gd name="T69" fmla="*/ 90 h 146"/>
                <a:gd name="T70" fmla="*/ 120 w 120"/>
                <a:gd name="T71" fmla="*/ 94 h 146"/>
                <a:gd name="T72" fmla="*/ 116 w 120"/>
                <a:gd name="T73" fmla="*/ 104 h 146"/>
                <a:gd name="T74" fmla="*/ 116 w 120"/>
                <a:gd name="T75" fmla="*/ 108 h 146"/>
                <a:gd name="T76" fmla="*/ 116 w 120"/>
                <a:gd name="T77" fmla="*/ 124 h 146"/>
                <a:gd name="T78" fmla="*/ 114 w 120"/>
                <a:gd name="T79" fmla="*/ 130 h 146"/>
                <a:gd name="T80" fmla="*/ 110 w 120"/>
                <a:gd name="T81" fmla="*/ 134 h 146"/>
                <a:gd name="T82" fmla="*/ 102 w 120"/>
                <a:gd name="T83" fmla="*/ 138 h 146"/>
                <a:gd name="T84" fmla="*/ 102 w 120"/>
                <a:gd name="T85" fmla="*/ 146 h 146"/>
                <a:gd name="T86" fmla="*/ 98 w 120"/>
                <a:gd name="T87" fmla="*/ 142 h 146"/>
                <a:gd name="T88" fmla="*/ 90 w 120"/>
                <a:gd name="T89" fmla="*/ 146 h 146"/>
                <a:gd name="T90" fmla="*/ 90 w 120"/>
                <a:gd name="T91" fmla="*/ 146 h 146"/>
                <a:gd name="T92" fmla="*/ 86 w 120"/>
                <a:gd name="T93" fmla="*/ 146 h 146"/>
                <a:gd name="T94" fmla="*/ 84 w 120"/>
                <a:gd name="T95" fmla="*/ 146 h 146"/>
                <a:gd name="T96" fmla="*/ 80 w 120"/>
                <a:gd name="T97" fmla="*/ 146 h 146"/>
                <a:gd name="T98" fmla="*/ 76 w 120"/>
                <a:gd name="T99" fmla="*/ 146 h 146"/>
                <a:gd name="T100" fmla="*/ 72 w 120"/>
                <a:gd name="T101" fmla="*/ 142 h 146"/>
                <a:gd name="T102" fmla="*/ 60 w 120"/>
                <a:gd name="T103" fmla="*/ 142 h 146"/>
                <a:gd name="T104" fmla="*/ 56 w 120"/>
                <a:gd name="T105" fmla="*/ 138 h 146"/>
                <a:gd name="T106" fmla="*/ 64 w 120"/>
                <a:gd name="T107" fmla="*/ 134 h 146"/>
                <a:gd name="T108" fmla="*/ 64 w 120"/>
                <a:gd name="T109" fmla="*/ 124 h 146"/>
                <a:gd name="T110" fmla="*/ 68 w 120"/>
                <a:gd name="T111" fmla="*/ 116 h 146"/>
                <a:gd name="T112" fmla="*/ 76 w 120"/>
                <a:gd name="T113" fmla="*/ 10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0" h="146">
                  <a:moveTo>
                    <a:pt x="72" y="104"/>
                  </a:moveTo>
                  <a:lnTo>
                    <a:pt x="72" y="104"/>
                  </a:lnTo>
                  <a:lnTo>
                    <a:pt x="72" y="104"/>
                  </a:lnTo>
                  <a:lnTo>
                    <a:pt x="72" y="104"/>
                  </a:lnTo>
                  <a:lnTo>
                    <a:pt x="72" y="104"/>
                  </a:lnTo>
                  <a:lnTo>
                    <a:pt x="68" y="102"/>
                  </a:lnTo>
                  <a:lnTo>
                    <a:pt x="68" y="102"/>
                  </a:lnTo>
                  <a:lnTo>
                    <a:pt x="68" y="102"/>
                  </a:lnTo>
                  <a:lnTo>
                    <a:pt x="68" y="102"/>
                  </a:lnTo>
                  <a:lnTo>
                    <a:pt x="68" y="102"/>
                  </a:lnTo>
                  <a:lnTo>
                    <a:pt x="64" y="102"/>
                  </a:lnTo>
                  <a:lnTo>
                    <a:pt x="64" y="102"/>
                  </a:lnTo>
                  <a:lnTo>
                    <a:pt x="64" y="102"/>
                  </a:lnTo>
                  <a:lnTo>
                    <a:pt x="64" y="102"/>
                  </a:lnTo>
                  <a:lnTo>
                    <a:pt x="60" y="98"/>
                  </a:lnTo>
                  <a:lnTo>
                    <a:pt x="60" y="98"/>
                  </a:lnTo>
                  <a:lnTo>
                    <a:pt x="60" y="98"/>
                  </a:lnTo>
                  <a:lnTo>
                    <a:pt x="60" y="98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0" y="94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6" y="86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8" y="82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0" y="82"/>
                  </a:lnTo>
                  <a:lnTo>
                    <a:pt x="30" y="82"/>
                  </a:lnTo>
                  <a:lnTo>
                    <a:pt x="30" y="82"/>
                  </a:lnTo>
                  <a:lnTo>
                    <a:pt x="30" y="78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4" y="46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38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0" y="0"/>
                  </a:lnTo>
                  <a:lnTo>
                    <a:pt x="34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72" y="30"/>
                  </a:lnTo>
                  <a:lnTo>
                    <a:pt x="68" y="34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68" y="46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6" y="52"/>
                  </a:lnTo>
                  <a:lnTo>
                    <a:pt x="86" y="52"/>
                  </a:lnTo>
                  <a:lnTo>
                    <a:pt x="86" y="52"/>
                  </a:lnTo>
                  <a:lnTo>
                    <a:pt x="86" y="52"/>
                  </a:lnTo>
                  <a:lnTo>
                    <a:pt x="86" y="52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8" y="52"/>
                  </a:lnTo>
                  <a:lnTo>
                    <a:pt x="98" y="52"/>
                  </a:lnTo>
                  <a:lnTo>
                    <a:pt x="98" y="52"/>
                  </a:lnTo>
                  <a:lnTo>
                    <a:pt x="98" y="56"/>
                  </a:lnTo>
                  <a:lnTo>
                    <a:pt x="98" y="56"/>
                  </a:lnTo>
                  <a:lnTo>
                    <a:pt x="98" y="56"/>
                  </a:lnTo>
                  <a:lnTo>
                    <a:pt x="98" y="56"/>
                  </a:lnTo>
                  <a:lnTo>
                    <a:pt x="102" y="56"/>
                  </a:lnTo>
                  <a:lnTo>
                    <a:pt x="102" y="56"/>
                  </a:lnTo>
                  <a:lnTo>
                    <a:pt x="102" y="56"/>
                  </a:lnTo>
                  <a:lnTo>
                    <a:pt x="102" y="56"/>
                  </a:lnTo>
                  <a:lnTo>
                    <a:pt x="102" y="56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2" y="64"/>
                  </a:lnTo>
                  <a:lnTo>
                    <a:pt x="102" y="64"/>
                  </a:lnTo>
                  <a:lnTo>
                    <a:pt x="102" y="68"/>
                  </a:lnTo>
                  <a:lnTo>
                    <a:pt x="102" y="68"/>
                  </a:lnTo>
                  <a:lnTo>
                    <a:pt x="102" y="72"/>
                  </a:lnTo>
                  <a:lnTo>
                    <a:pt x="102" y="72"/>
                  </a:lnTo>
                  <a:lnTo>
                    <a:pt x="102" y="72"/>
                  </a:lnTo>
                  <a:lnTo>
                    <a:pt x="102" y="72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6" y="76"/>
                  </a:lnTo>
                  <a:lnTo>
                    <a:pt x="106" y="78"/>
                  </a:lnTo>
                  <a:lnTo>
                    <a:pt x="106" y="78"/>
                  </a:lnTo>
                  <a:lnTo>
                    <a:pt x="106" y="78"/>
                  </a:lnTo>
                  <a:lnTo>
                    <a:pt x="106" y="78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10" y="82"/>
                  </a:lnTo>
                  <a:lnTo>
                    <a:pt x="110" y="82"/>
                  </a:lnTo>
                  <a:lnTo>
                    <a:pt x="110" y="82"/>
                  </a:lnTo>
                  <a:lnTo>
                    <a:pt x="110" y="82"/>
                  </a:lnTo>
                  <a:lnTo>
                    <a:pt x="114" y="82"/>
                  </a:lnTo>
                  <a:lnTo>
                    <a:pt x="114" y="82"/>
                  </a:lnTo>
                  <a:lnTo>
                    <a:pt x="114" y="82"/>
                  </a:lnTo>
                  <a:lnTo>
                    <a:pt x="116" y="78"/>
                  </a:lnTo>
                  <a:lnTo>
                    <a:pt x="116" y="78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20" y="86"/>
                  </a:lnTo>
                  <a:lnTo>
                    <a:pt x="120" y="86"/>
                  </a:lnTo>
                  <a:lnTo>
                    <a:pt x="120" y="86"/>
                  </a:lnTo>
                  <a:lnTo>
                    <a:pt x="120" y="86"/>
                  </a:lnTo>
                  <a:lnTo>
                    <a:pt x="120" y="86"/>
                  </a:lnTo>
                  <a:lnTo>
                    <a:pt x="120" y="86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0"/>
                  </a:lnTo>
                  <a:lnTo>
                    <a:pt x="120" y="94"/>
                  </a:lnTo>
                  <a:lnTo>
                    <a:pt x="120" y="94"/>
                  </a:lnTo>
                  <a:lnTo>
                    <a:pt x="120" y="94"/>
                  </a:lnTo>
                  <a:lnTo>
                    <a:pt x="120" y="94"/>
                  </a:lnTo>
                  <a:lnTo>
                    <a:pt x="120" y="94"/>
                  </a:lnTo>
                  <a:lnTo>
                    <a:pt x="120" y="94"/>
                  </a:lnTo>
                  <a:lnTo>
                    <a:pt x="120" y="98"/>
                  </a:lnTo>
                  <a:lnTo>
                    <a:pt x="120" y="98"/>
                  </a:lnTo>
                  <a:lnTo>
                    <a:pt x="116" y="102"/>
                  </a:lnTo>
                  <a:lnTo>
                    <a:pt x="116" y="102"/>
                  </a:lnTo>
                  <a:lnTo>
                    <a:pt x="116" y="102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8"/>
                  </a:lnTo>
                  <a:lnTo>
                    <a:pt x="116" y="108"/>
                  </a:lnTo>
                  <a:lnTo>
                    <a:pt x="116" y="108"/>
                  </a:lnTo>
                  <a:lnTo>
                    <a:pt x="116" y="112"/>
                  </a:lnTo>
                  <a:lnTo>
                    <a:pt x="116" y="112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6" y="124"/>
                  </a:lnTo>
                  <a:lnTo>
                    <a:pt x="116" y="124"/>
                  </a:lnTo>
                  <a:lnTo>
                    <a:pt x="116" y="124"/>
                  </a:lnTo>
                  <a:lnTo>
                    <a:pt x="116" y="124"/>
                  </a:lnTo>
                  <a:lnTo>
                    <a:pt x="114" y="126"/>
                  </a:lnTo>
                  <a:lnTo>
                    <a:pt x="114" y="130"/>
                  </a:lnTo>
                  <a:lnTo>
                    <a:pt x="114" y="130"/>
                  </a:lnTo>
                  <a:lnTo>
                    <a:pt x="114" y="130"/>
                  </a:lnTo>
                  <a:lnTo>
                    <a:pt x="114" y="130"/>
                  </a:lnTo>
                  <a:lnTo>
                    <a:pt x="114" y="130"/>
                  </a:lnTo>
                  <a:lnTo>
                    <a:pt x="110" y="130"/>
                  </a:lnTo>
                  <a:lnTo>
                    <a:pt x="110" y="130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06" y="134"/>
                  </a:lnTo>
                  <a:lnTo>
                    <a:pt x="106" y="134"/>
                  </a:lnTo>
                  <a:lnTo>
                    <a:pt x="106" y="134"/>
                  </a:lnTo>
                  <a:lnTo>
                    <a:pt x="106" y="134"/>
                  </a:lnTo>
                  <a:lnTo>
                    <a:pt x="106" y="134"/>
                  </a:lnTo>
                  <a:lnTo>
                    <a:pt x="102" y="138"/>
                  </a:lnTo>
                  <a:lnTo>
                    <a:pt x="102" y="138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102" y="146"/>
                  </a:lnTo>
                  <a:lnTo>
                    <a:pt x="98" y="146"/>
                  </a:lnTo>
                  <a:lnTo>
                    <a:pt x="98" y="142"/>
                  </a:lnTo>
                  <a:lnTo>
                    <a:pt x="98" y="142"/>
                  </a:lnTo>
                  <a:lnTo>
                    <a:pt x="98" y="142"/>
                  </a:lnTo>
                  <a:lnTo>
                    <a:pt x="98" y="142"/>
                  </a:lnTo>
                  <a:lnTo>
                    <a:pt x="98" y="142"/>
                  </a:lnTo>
                  <a:lnTo>
                    <a:pt x="98" y="142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0" y="142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86" y="146"/>
                  </a:lnTo>
                  <a:lnTo>
                    <a:pt x="86" y="146"/>
                  </a:lnTo>
                  <a:lnTo>
                    <a:pt x="86" y="146"/>
                  </a:lnTo>
                  <a:lnTo>
                    <a:pt x="86" y="146"/>
                  </a:lnTo>
                  <a:lnTo>
                    <a:pt x="86" y="146"/>
                  </a:lnTo>
                  <a:lnTo>
                    <a:pt x="86" y="146"/>
                  </a:lnTo>
                  <a:lnTo>
                    <a:pt x="86" y="146"/>
                  </a:lnTo>
                  <a:lnTo>
                    <a:pt x="86" y="146"/>
                  </a:lnTo>
                  <a:lnTo>
                    <a:pt x="86" y="146"/>
                  </a:lnTo>
                  <a:lnTo>
                    <a:pt x="84" y="146"/>
                  </a:lnTo>
                  <a:lnTo>
                    <a:pt x="84" y="146"/>
                  </a:lnTo>
                  <a:lnTo>
                    <a:pt x="84" y="146"/>
                  </a:lnTo>
                  <a:lnTo>
                    <a:pt x="84" y="146"/>
                  </a:lnTo>
                  <a:lnTo>
                    <a:pt x="84" y="146"/>
                  </a:lnTo>
                  <a:lnTo>
                    <a:pt x="84" y="146"/>
                  </a:lnTo>
                  <a:lnTo>
                    <a:pt x="84" y="146"/>
                  </a:lnTo>
                  <a:lnTo>
                    <a:pt x="84" y="146"/>
                  </a:lnTo>
                  <a:lnTo>
                    <a:pt x="84" y="146"/>
                  </a:lnTo>
                  <a:lnTo>
                    <a:pt x="80" y="146"/>
                  </a:lnTo>
                  <a:lnTo>
                    <a:pt x="80" y="146"/>
                  </a:lnTo>
                  <a:lnTo>
                    <a:pt x="80" y="146"/>
                  </a:lnTo>
                  <a:lnTo>
                    <a:pt x="80" y="146"/>
                  </a:lnTo>
                  <a:lnTo>
                    <a:pt x="80" y="146"/>
                  </a:lnTo>
                  <a:lnTo>
                    <a:pt x="80" y="146"/>
                  </a:lnTo>
                  <a:lnTo>
                    <a:pt x="80" y="146"/>
                  </a:lnTo>
                  <a:lnTo>
                    <a:pt x="76" y="146"/>
                  </a:lnTo>
                  <a:lnTo>
                    <a:pt x="76" y="146"/>
                  </a:lnTo>
                  <a:lnTo>
                    <a:pt x="76" y="146"/>
                  </a:lnTo>
                  <a:lnTo>
                    <a:pt x="72" y="142"/>
                  </a:lnTo>
                  <a:lnTo>
                    <a:pt x="72" y="142"/>
                  </a:lnTo>
                  <a:lnTo>
                    <a:pt x="72" y="142"/>
                  </a:lnTo>
                  <a:lnTo>
                    <a:pt x="72" y="142"/>
                  </a:lnTo>
                  <a:lnTo>
                    <a:pt x="72" y="142"/>
                  </a:lnTo>
                  <a:lnTo>
                    <a:pt x="72" y="142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4" y="142"/>
                  </a:lnTo>
                  <a:lnTo>
                    <a:pt x="64" y="142"/>
                  </a:lnTo>
                  <a:lnTo>
                    <a:pt x="60" y="142"/>
                  </a:lnTo>
                  <a:lnTo>
                    <a:pt x="60" y="142"/>
                  </a:lnTo>
                  <a:lnTo>
                    <a:pt x="60" y="142"/>
                  </a:lnTo>
                  <a:lnTo>
                    <a:pt x="60" y="142"/>
                  </a:lnTo>
                  <a:lnTo>
                    <a:pt x="60" y="142"/>
                  </a:lnTo>
                  <a:lnTo>
                    <a:pt x="60" y="142"/>
                  </a:lnTo>
                  <a:lnTo>
                    <a:pt x="60" y="142"/>
                  </a:lnTo>
                  <a:lnTo>
                    <a:pt x="56" y="138"/>
                  </a:lnTo>
                  <a:lnTo>
                    <a:pt x="56" y="138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60" y="134"/>
                  </a:lnTo>
                  <a:lnTo>
                    <a:pt x="60" y="134"/>
                  </a:lnTo>
                  <a:lnTo>
                    <a:pt x="64" y="134"/>
                  </a:lnTo>
                  <a:lnTo>
                    <a:pt x="64" y="134"/>
                  </a:lnTo>
                  <a:lnTo>
                    <a:pt x="64" y="130"/>
                  </a:lnTo>
                  <a:lnTo>
                    <a:pt x="64" y="130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4" y="124"/>
                  </a:lnTo>
                  <a:lnTo>
                    <a:pt x="64" y="124"/>
                  </a:lnTo>
                  <a:lnTo>
                    <a:pt x="64" y="124"/>
                  </a:lnTo>
                  <a:lnTo>
                    <a:pt x="68" y="120"/>
                  </a:lnTo>
                  <a:lnTo>
                    <a:pt x="68" y="120"/>
                  </a:lnTo>
                  <a:lnTo>
                    <a:pt x="68" y="120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72" y="116"/>
                  </a:lnTo>
                  <a:lnTo>
                    <a:pt x="72" y="116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76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4"/>
                  </a:lnTo>
                  <a:lnTo>
                    <a:pt x="72" y="104"/>
                  </a:lnTo>
                  <a:lnTo>
                    <a:pt x="72" y="104"/>
                  </a:lnTo>
                  <a:lnTo>
                    <a:pt x="72" y="104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46" name="Freeform 186">
              <a:extLst>
                <a:ext uri="{FF2B5EF4-FFF2-40B4-BE49-F238E27FC236}">
                  <a16:creationId xmlns:a16="http://schemas.microsoft.com/office/drawing/2014/main" id="{804020B3-120C-263A-FE81-7D9602477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8780" y="4174909"/>
              <a:ext cx="350680" cy="592049"/>
            </a:xfrm>
            <a:custGeom>
              <a:avLst/>
              <a:gdLst>
                <a:gd name="T0" fmla="*/ 166 w 180"/>
                <a:gd name="T1" fmla="*/ 310 h 314"/>
                <a:gd name="T2" fmla="*/ 154 w 180"/>
                <a:gd name="T3" fmla="*/ 310 h 314"/>
                <a:gd name="T4" fmla="*/ 142 w 180"/>
                <a:gd name="T5" fmla="*/ 298 h 314"/>
                <a:gd name="T6" fmla="*/ 132 w 180"/>
                <a:gd name="T7" fmla="*/ 290 h 314"/>
                <a:gd name="T8" fmla="*/ 120 w 180"/>
                <a:gd name="T9" fmla="*/ 284 h 314"/>
                <a:gd name="T10" fmla="*/ 106 w 180"/>
                <a:gd name="T11" fmla="*/ 276 h 314"/>
                <a:gd name="T12" fmla="*/ 94 w 180"/>
                <a:gd name="T13" fmla="*/ 264 h 314"/>
                <a:gd name="T14" fmla="*/ 82 w 180"/>
                <a:gd name="T15" fmla="*/ 254 h 314"/>
                <a:gd name="T16" fmla="*/ 76 w 180"/>
                <a:gd name="T17" fmla="*/ 238 h 314"/>
                <a:gd name="T18" fmla="*/ 76 w 180"/>
                <a:gd name="T19" fmla="*/ 230 h 314"/>
                <a:gd name="T20" fmla="*/ 68 w 180"/>
                <a:gd name="T21" fmla="*/ 212 h 314"/>
                <a:gd name="T22" fmla="*/ 60 w 180"/>
                <a:gd name="T23" fmla="*/ 200 h 314"/>
                <a:gd name="T24" fmla="*/ 54 w 180"/>
                <a:gd name="T25" fmla="*/ 186 h 314"/>
                <a:gd name="T26" fmla="*/ 46 w 180"/>
                <a:gd name="T27" fmla="*/ 168 h 314"/>
                <a:gd name="T28" fmla="*/ 38 w 180"/>
                <a:gd name="T29" fmla="*/ 152 h 314"/>
                <a:gd name="T30" fmla="*/ 34 w 180"/>
                <a:gd name="T31" fmla="*/ 138 h 314"/>
                <a:gd name="T32" fmla="*/ 26 w 180"/>
                <a:gd name="T33" fmla="*/ 126 h 314"/>
                <a:gd name="T34" fmla="*/ 20 w 180"/>
                <a:gd name="T35" fmla="*/ 114 h 314"/>
                <a:gd name="T36" fmla="*/ 12 w 180"/>
                <a:gd name="T37" fmla="*/ 104 h 314"/>
                <a:gd name="T38" fmla="*/ 8 w 180"/>
                <a:gd name="T39" fmla="*/ 96 h 314"/>
                <a:gd name="T40" fmla="*/ 4 w 180"/>
                <a:gd name="T41" fmla="*/ 82 h 314"/>
                <a:gd name="T42" fmla="*/ 4 w 180"/>
                <a:gd name="T43" fmla="*/ 66 h 314"/>
                <a:gd name="T44" fmla="*/ 16 w 180"/>
                <a:gd name="T45" fmla="*/ 56 h 314"/>
                <a:gd name="T46" fmla="*/ 16 w 180"/>
                <a:gd name="T47" fmla="*/ 74 h 314"/>
                <a:gd name="T48" fmla="*/ 26 w 180"/>
                <a:gd name="T49" fmla="*/ 74 h 314"/>
                <a:gd name="T50" fmla="*/ 38 w 180"/>
                <a:gd name="T51" fmla="*/ 78 h 314"/>
                <a:gd name="T52" fmla="*/ 42 w 180"/>
                <a:gd name="T53" fmla="*/ 70 h 314"/>
                <a:gd name="T54" fmla="*/ 46 w 180"/>
                <a:gd name="T55" fmla="*/ 56 h 314"/>
                <a:gd name="T56" fmla="*/ 50 w 180"/>
                <a:gd name="T57" fmla="*/ 48 h 314"/>
                <a:gd name="T58" fmla="*/ 68 w 180"/>
                <a:gd name="T59" fmla="*/ 42 h 314"/>
                <a:gd name="T60" fmla="*/ 82 w 180"/>
                <a:gd name="T61" fmla="*/ 26 h 314"/>
                <a:gd name="T62" fmla="*/ 86 w 180"/>
                <a:gd name="T63" fmla="*/ 12 h 314"/>
                <a:gd name="T64" fmla="*/ 90 w 180"/>
                <a:gd name="T65" fmla="*/ 0 h 314"/>
                <a:gd name="T66" fmla="*/ 98 w 180"/>
                <a:gd name="T67" fmla="*/ 4 h 314"/>
                <a:gd name="T68" fmla="*/ 110 w 180"/>
                <a:gd name="T69" fmla="*/ 18 h 314"/>
                <a:gd name="T70" fmla="*/ 120 w 180"/>
                <a:gd name="T71" fmla="*/ 30 h 314"/>
                <a:gd name="T72" fmla="*/ 120 w 180"/>
                <a:gd name="T73" fmla="*/ 42 h 314"/>
                <a:gd name="T74" fmla="*/ 132 w 180"/>
                <a:gd name="T75" fmla="*/ 42 h 314"/>
                <a:gd name="T76" fmla="*/ 142 w 180"/>
                <a:gd name="T77" fmla="*/ 38 h 314"/>
                <a:gd name="T78" fmla="*/ 158 w 180"/>
                <a:gd name="T79" fmla="*/ 42 h 314"/>
                <a:gd name="T80" fmla="*/ 154 w 180"/>
                <a:gd name="T81" fmla="*/ 62 h 314"/>
                <a:gd name="T82" fmla="*/ 162 w 180"/>
                <a:gd name="T83" fmla="*/ 70 h 314"/>
                <a:gd name="T84" fmla="*/ 150 w 180"/>
                <a:gd name="T85" fmla="*/ 70 h 314"/>
                <a:gd name="T86" fmla="*/ 140 w 180"/>
                <a:gd name="T87" fmla="*/ 74 h 314"/>
                <a:gd name="T88" fmla="*/ 128 w 180"/>
                <a:gd name="T89" fmla="*/ 82 h 314"/>
                <a:gd name="T90" fmla="*/ 120 w 180"/>
                <a:gd name="T91" fmla="*/ 96 h 314"/>
                <a:gd name="T92" fmla="*/ 116 w 180"/>
                <a:gd name="T93" fmla="*/ 108 h 314"/>
                <a:gd name="T94" fmla="*/ 110 w 180"/>
                <a:gd name="T95" fmla="*/ 122 h 314"/>
                <a:gd name="T96" fmla="*/ 112 w 180"/>
                <a:gd name="T97" fmla="*/ 134 h 314"/>
                <a:gd name="T98" fmla="*/ 120 w 180"/>
                <a:gd name="T99" fmla="*/ 148 h 314"/>
                <a:gd name="T100" fmla="*/ 120 w 180"/>
                <a:gd name="T101" fmla="*/ 160 h 314"/>
                <a:gd name="T102" fmla="*/ 132 w 180"/>
                <a:gd name="T103" fmla="*/ 168 h 314"/>
                <a:gd name="T104" fmla="*/ 150 w 180"/>
                <a:gd name="T105" fmla="*/ 168 h 314"/>
                <a:gd name="T106" fmla="*/ 154 w 180"/>
                <a:gd name="T107" fmla="*/ 172 h 314"/>
                <a:gd name="T108" fmla="*/ 158 w 180"/>
                <a:gd name="T109" fmla="*/ 186 h 314"/>
                <a:gd name="T110" fmla="*/ 172 w 180"/>
                <a:gd name="T111" fmla="*/ 194 h 314"/>
                <a:gd name="T112" fmla="*/ 180 w 180"/>
                <a:gd name="T113" fmla="*/ 208 h 314"/>
                <a:gd name="T114" fmla="*/ 176 w 180"/>
                <a:gd name="T115" fmla="*/ 224 h 314"/>
                <a:gd name="T116" fmla="*/ 180 w 180"/>
                <a:gd name="T117" fmla="*/ 238 h 314"/>
                <a:gd name="T118" fmla="*/ 172 w 180"/>
                <a:gd name="T119" fmla="*/ 254 h 314"/>
                <a:gd name="T120" fmla="*/ 172 w 180"/>
                <a:gd name="T121" fmla="*/ 264 h 314"/>
                <a:gd name="T122" fmla="*/ 176 w 180"/>
                <a:gd name="T123" fmla="*/ 280 h 314"/>
                <a:gd name="T124" fmla="*/ 168 w 180"/>
                <a:gd name="T125" fmla="*/ 29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0" h="314">
                  <a:moveTo>
                    <a:pt x="168" y="298"/>
                  </a:moveTo>
                  <a:lnTo>
                    <a:pt x="168" y="302"/>
                  </a:lnTo>
                  <a:lnTo>
                    <a:pt x="166" y="302"/>
                  </a:lnTo>
                  <a:lnTo>
                    <a:pt x="166" y="306"/>
                  </a:lnTo>
                  <a:lnTo>
                    <a:pt x="166" y="310"/>
                  </a:lnTo>
                  <a:lnTo>
                    <a:pt x="166" y="314"/>
                  </a:lnTo>
                  <a:lnTo>
                    <a:pt x="162" y="314"/>
                  </a:lnTo>
                  <a:lnTo>
                    <a:pt x="158" y="314"/>
                  </a:lnTo>
                  <a:lnTo>
                    <a:pt x="154" y="314"/>
                  </a:lnTo>
                  <a:lnTo>
                    <a:pt x="154" y="310"/>
                  </a:lnTo>
                  <a:lnTo>
                    <a:pt x="150" y="310"/>
                  </a:lnTo>
                  <a:lnTo>
                    <a:pt x="150" y="306"/>
                  </a:lnTo>
                  <a:lnTo>
                    <a:pt x="146" y="306"/>
                  </a:lnTo>
                  <a:lnTo>
                    <a:pt x="142" y="302"/>
                  </a:lnTo>
                  <a:lnTo>
                    <a:pt x="142" y="298"/>
                  </a:lnTo>
                  <a:lnTo>
                    <a:pt x="142" y="294"/>
                  </a:lnTo>
                  <a:lnTo>
                    <a:pt x="140" y="294"/>
                  </a:lnTo>
                  <a:lnTo>
                    <a:pt x="136" y="294"/>
                  </a:lnTo>
                  <a:lnTo>
                    <a:pt x="136" y="290"/>
                  </a:lnTo>
                  <a:lnTo>
                    <a:pt x="132" y="290"/>
                  </a:lnTo>
                  <a:lnTo>
                    <a:pt x="132" y="286"/>
                  </a:lnTo>
                  <a:lnTo>
                    <a:pt x="128" y="286"/>
                  </a:lnTo>
                  <a:lnTo>
                    <a:pt x="128" y="284"/>
                  </a:lnTo>
                  <a:lnTo>
                    <a:pt x="124" y="284"/>
                  </a:lnTo>
                  <a:lnTo>
                    <a:pt x="120" y="284"/>
                  </a:lnTo>
                  <a:lnTo>
                    <a:pt x="116" y="280"/>
                  </a:lnTo>
                  <a:lnTo>
                    <a:pt x="112" y="280"/>
                  </a:lnTo>
                  <a:lnTo>
                    <a:pt x="112" y="276"/>
                  </a:lnTo>
                  <a:lnTo>
                    <a:pt x="110" y="276"/>
                  </a:lnTo>
                  <a:lnTo>
                    <a:pt x="106" y="276"/>
                  </a:lnTo>
                  <a:lnTo>
                    <a:pt x="106" y="272"/>
                  </a:lnTo>
                  <a:lnTo>
                    <a:pt x="102" y="272"/>
                  </a:lnTo>
                  <a:lnTo>
                    <a:pt x="102" y="268"/>
                  </a:lnTo>
                  <a:lnTo>
                    <a:pt x="98" y="268"/>
                  </a:lnTo>
                  <a:lnTo>
                    <a:pt x="94" y="264"/>
                  </a:lnTo>
                  <a:lnTo>
                    <a:pt x="90" y="264"/>
                  </a:lnTo>
                  <a:lnTo>
                    <a:pt x="90" y="260"/>
                  </a:lnTo>
                  <a:lnTo>
                    <a:pt x="86" y="260"/>
                  </a:lnTo>
                  <a:lnTo>
                    <a:pt x="86" y="256"/>
                  </a:lnTo>
                  <a:lnTo>
                    <a:pt x="82" y="254"/>
                  </a:lnTo>
                  <a:lnTo>
                    <a:pt x="80" y="250"/>
                  </a:lnTo>
                  <a:lnTo>
                    <a:pt x="80" y="246"/>
                  </a:lnTo>
                  <a:lnTo>
                    <a:pt x="76" y="246"/>
                  </a:lnTo>
                  <a:lnTo>
                    <a:pt x="76" y="242"/>
                  </a:lnTo>
                  <a:lnTo>
                    <a:pt x="76" y="238"/>
                  </a:lnTo>
                  <a:lnTo>
                    <a:pt x="72" y="234"/>
                  </a:lnTo>
                  <a:lnTo>
                    <a:pt x="72" y="238"/>
                  </a:lnTo>
                  <a:lnTo>
                    <a:pt x="72" y="234"/>
                  </a:lnTo>
                  <a:lnTo>
                    <a:pt x="76" y="234"/>
                  </a:lnTo>
                  <a:lnTo>
                    <a:pt x="76" y="230"/>
                  </a:lnTo>
                  <a:lnTo>
                    <a:pt x="76" y="228"/>
                  </a:lnTo>
                  <a:lnTo>
                    <a:pt x="72" y="224"/>
                  </a:lnTo>
                  <a:lnTo>
                    <a:pt x="72" y="220"/>
                  </a:lnTo>
                  <a:lnTo>
                    <a:pt x="68" y="216"/>
                  </a:lnTo>
                  <a:lnTo>
                    <a:pt x="68" y="212"/>
                  </a:lnTo>
                  <a:lnTo>
                    <a:pt x="68" y="208"/>
                  </a:lnTo>
                  <a:lnTo>
                    <a:pt x="64" y="208"/>
                  </a:lnTo>
                  <a:lnTo>
                    <a:pt x="64" y="204"/>
                  </a:lnTo>
                  <a:lnTo>
                    <a:pt x="60" y="204"/>
                  </a:lnTo>
                  <a:lnTo>
                    <a:pt x="60" y="200"/>
                  </a:lnTo>
                  <a:lnTo>
                    <a:pt x="60" y="198"/>
                  </a:lnTo>
                  <a:lnTo>
                    <a:pt x="60" y="194"/>
                  </a:lnTo>
                  <a:lnTo>
                    <a:pt x="56" y="194"/>
                  </a:lnTo>
                  <a:lnTo>
                    <a:pt x="54" y="190"/>
                  </a:lnTo>
                  <a:lnTo>
                    <a:pt x="54" y="186"/>
                  </a:lnTo>
                  <a:lnTo>
                    <a:pt x="54" y="182"/>
                  </a:lnTo>
                  <a:lnTo>
                    <a:pt x="50" y="178"/>
                  </a:lnTo>
                  <a:lnTo>
                    <a:pt x="50" y="174"/>
                  </a:lnTo>
                  <a:lnTo>
                    <a:pt x="46" y="172"/>
                  </a:lnTo>
                  <a:lnTo>
                    <a:pt x="46" y="168"/>
                  </a:lnTo>
                  <a:lnTo>
                    <a:pt x="46" y="164"/>
                  </a:lnTo>
                  <a:lnTo>
                    <a:pt x="42" y="160"/>
                  </a:lnTo>
                  <a:lnTo>
                    <a:pt x="42" y="156"/>
                  </a:lnTo>
                  <a:lnTo>
                    <a:pt x="42" y="152"/>
                  </a:lnTo>
                  <a:lnTo>
                    <a:pt x="38" y="152"/>
                  </a:lnTo>
                  <a:lnTo>
                    <a:pt x="38" y="148"/>
                  </a:lnTo>
                  <a:lnTo>
                    <a:pt x="38" y="144"/>
                  </a:lnTo>
                  <a:lnTo>
                    <a:pt x="34" y="142"/>
                  </a:lnTo>
                  <a:lnTo>
                    <a:pt x="38" y="142"/>
                  </a:lnTo>
                  <a:lnTo>
                    <a:pt x="34" y="138"/>
                  </a:lnTo>
                  <a:lnTo>
                    <a:pt x="34" y="134"/>
                  </a:lnTo>
                  <a:lnTo>
                    <a:pt x="30" y="134"/>
                  </a:lnTo>
                  <a:lnTo>
                    <a:pt x="30" y="130"/>
                  </a:lnTo>
                  <a:lnTo>
                    <a:pt x="26" y="130"/>
                  </a:lnTo>
                  <a:lnTo>
                    <a:pt x="26" y="126"/>
                  </a:lnTo>
                  <a:lnTo>
                    <a:pt x="26" y="122"/>
                  </a:lnTo>
                  <a:lnTo>
                    <a:pt x="26" y="118"/>
                  </a:lnTo>
                  <a:lnTo>
                    <a:pt x="24" y="118"/>
                  </a:lnTo>
                  <a:lnTo>
                    <a:pt x="24" y="114"/>
                  </a:lnTo>
                  <a:lnTo>
                    <a:pt x="20" y="114"/>
                  </a:lnTo>
                  <a:lnTo>
                    <a:pt x="20" y="112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4" y="88"/>
                  </a:lnTo>
                  <a:lnTo>
                    <a:pt x="4" y="86"/>
                  </a:lnTo>
                  <a:lnTo>
                    <a:pt x="4" y="82"/>
                  </a:lnTo>
                  <a:lnTo>
                    <a:pt x="0" y="78"/>
                  </a:lnTo>
                  <a:lnTo>
                    <a:pt x="0" y="74"/>
                  </a:lnTo>
                  <a:lnTo>
                    <a:pt x="4" y="74"/>
                  </a:lnTo>
                  <a:lnTo>
                    <a:pt x="4" y="70"/>
                  </a:lnTo>
                  <a:lnTo>
                    <a:pt x="4" y="66"/>
                  </a:lnTo>
                  <a:lnTo>
                    <a:pt x="8" y="66"/>
                  </a:lnTo>
                  <a:lnTo>
                    <a:pt x="8" y="62"/>
                  </a:lnTo>
                  <a:lnTo>
                    <a:pt x="12" y="58"/>
                  </a:lnTo>
                  <a:lnTo>
                    <a:pt x="16" y="58"/>
                  </a:lnTo>
                  <a:lnTo>
                    <a:pt x="16" y="56"/>
                  </a:lnTo>
                  <a:lnTo>
                    <a:pt x="20" y="58"/>
                  </a:lnTo>
                  <a:lnTo>
                    <a:pt x="20" y="62"/>
                  </a:lnTo>
                  <a:lnTo>
                    <a:pt x="16" y="66"/>
                  </a:lnTo>
                  <a:lnTo>
                    <a:pt x="16" y="70"/>
                  </a:lnTo>
                  <a:lnTo>
                    <a:pt x="16" y="74"/>
                  </a:lnTo>
                  <a:lnTo>
                    <a:pt x="20" y="74"/>
                  </a:lnTo>
                  <a:lnTo>
                    <a:pt x="20" y="70"/>
                  </a:lnTo>
                  <a:lnTo>
                    <a:pt x="20" y="74"/>
                  </a:lnTo>
                  <a:lnTo>
                    <a:pt x="24" y="74"/>
                  </a:lnTo>
                  <a:lnTo>
                    <a:pt x="26" y="74"/>
                  </a:lnTo>
                  <a:lnTo>
                    <a:pt x="26" y="78"/>
                  </a:lnTo>
                  <a:lnTo>
                    <a:pt x="30" y="78"/>
                  </a:lnTo>
                  <a:lnTo>
                    <a:pt x="30" y="82"/>
                  </a:lnTo>
                  <a:lnTo>
                    <a:pt x="34" y="82"/>
                  </a:lnTo>
                  <a:lnTo>
                    <a:pt x="38" y="78"/>
                  </a:lnTo>
                  <a:lnTo>
                    <a:pt x="38" y="74"/>
                  </a:lnTo>
                  <a:lnTo>
                    <a:pt x="42" y="74"/>
                  </a:lnTo>
                  <a:lnTo>
                    <a:pt x="38" y="74"/>
                  </a:lnTo>
                  <a:lnTo>
                    <a:pt x="38" y="70"/>
                  </a:lnTo>
                  <a:lnTo>
                    <a:pt x="42" y="70"/>
                  </a:lnTo>
                  <a:lnTo>
                    <a:pt x="42" y="66"/>
                  </a:lnTo>
                  <a:lnTo>
                    <a:pt x="42" y="62"/>
                  </a:lnTo>
                  <a:lnTo>
                    <a:pt x="46" y="62"/>
                  </a:lnTo>
                  <a:lnTo>
                    <a:pt x="46" y="58"/>
                  </a:lnTo>
                  <a:lnTo>
                    <a:pt x="46" y="56"/>
                  </a:lnTo>
                  <a:lnTo>
                    <a:pt x="46" y="58"/>
                  </a:lnTo>
                  <a:lnTo>
                    <a:pt x="46" y="56"/>
                  </a:lnTo>
                  <a:lnTo>
                    <a:pt x="50" y="56"/>
                  </a:lnTo>
                  <a:lnTo>
                    <a:pt x="50" y="52"/>
                  </a:lnTo>
                  <a:lnTo>
                    <a:pt x="50" y="48"/>
                  </a:lnTo>
                  <a:lnTo>
                    <a:pt x="54" y="48"/>
                  </a:lnTo>
                  <a:lnTo>
                    <a:pt x="56" y="48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8" y="42"/>
                  </a:lnTo>
                  <a:lnTo>
                    <a:pt x="72" y="38"/>
                  </a:lnTo>
                  <a:lnTo>
                    <a:pt x="76" y="34"/>
                  </a:lnTo>
                  <a:lnTo>
                    <a:pt x="80" y="34"/>
                  </a:lnTo>
                  <a:lnTo>
                    <a:pt x="80" y="30"/>
                  </a:lnTo>
                  <a:lnTo>
                    <a:pt x="82" y="26"/>
                  </a:lnTo>
                  <a:lnTo>
                    <a:pt x="82" y="22"/>
                  </a:lnTo>
                  <a:lnTo>
                    <a:pt x="86" y="18"/>
                  </a:lnTo>
                  <a:lnTo>
                    <a:pt x="86" y="16"/>
                  </a:lnTo>
                  <a:lnTo>
                    <a:pt x="90" y="16"/>
                  </a:lnTo>
                  <a:lnTo>
                    <a:pt x="86" y="12"/>
                  </a:lnTo>
                  <a:lnTo>
                    <a:pt x="86" y="8"/>
                  </a:lnTo>
                  <a:lnTo>
                    <a:pt x="86" y="4"/>
                  </a:lnTo>
                  <a:lnTo>
                    <a:pt x="82" y="0"/>
                  </a:lnTo>
                  <a:lnTo>
                    <a:pt x="86" y="0"/>
                  </a:lnTo>
                  <a:lnTo>
                    <a:pt x="90" y="0"/>
                  </a:lnTo>
                  <a:lnTo>
                    <a:pt x="94" y="0"/>
                  </a:lnTo>
                  <a:lnTo>
                    <a:pt x="94" y="4"/>
                  </a:lnTo>
                  <a:lnTo>
                    <a:pt x="94" y="0"/>
                  </a:lnTo>
                  <a:lnTo>
                    <a:pt x="94" y="4"/>
                  </a:lnTo>
                  <a:lnTo>
                    <a:pt x="98" y="4"/>
                  </a:lnTo>
                  <a:lnTo>
                    <a:pt x="102" y="8"/>
                  </a:lnTo>
                  <a:lnTo>
                    <a:pt x="102" y="12"/>
                  </a:lnTo>
                  <a:lnTo>
                    <a:pt x="102" y="16"/>
                  </a:lnTo>
                  <a:lnTo>
                    <a:pt x="106" y="16"/>
                  </a:lnTo>
                  <a:lnTo>
                    <a:pt x="110" y="18"/>
                  </a:lnTo>
                  <a:lnTo>
                    <a:pt x="112" y="22"/>
                  </a:lnTo>
                  <a:lnTo>
                    <a:pt x="112" y="26"/>
                  </a:lnTo>
                  <a:lnTo>
                    <a:pt x="112" y="30"/>
                  </a:lnTo>
                  <a:lnTo>
                    <a:pt x="116" y="30"/>
                  </a:lnTo>
                  <a:lnTo>
                    <a:pt x="120" y="30"/>
                  </a:lnTo>
                  <a:lnTo>
                    <a:pt x="120" y="34"/>
                  </a:lnTo>
                  <a:lnTo>
                    <a:pt x="120" y="38"/>
                  </a:lnTo>
                  <a:lnTo>
                    <a:pt x="116" y="38"/>
                  </a:lnTo>
                  <a:lnTo>
                    <a:pt x="120" y="38"/>
                  </a:lnTo>
                  <a:lnTo>
                    <a:pt x="120" y="42"/>
                  </a:lnTo>
                  <a:lnTo>
                    <a:pt x="120" y="38"/>
                  </a:lnTo>
                  <a:lnTo>
                    <a:pt x="120" y="42"/>
                  </a:lnTo>
                  <a:lnTo>
                    <a:pt x="124" y="42"/>
                  </a:lnTo>
                  <a:lnTo>
                    <a:pt x="128" y="42"/>
                  </a:lnTo>
                  <a:lnTo>
                    <a:pt x="132" y="42"/>
                  </a:lnTo>
                  <a:lnTo>
                    <a:pt x="136" y="42"/>
                  </a:lnTo>
                  <a:lnTo>
                    <a:pt x="136" y="38"/>
                  </a:lnTo>
                  <a:lnTo>
                    <a:pt x="140" y="34"/>
                  </a:lnTo>
                  <a:lnTo>
                    <a:pt x="140" y="38"/>
                  </a:lnTo>
                  <a:lnTo>
                    <a:pt x="142" y="38"/>
                  </a:lnTo>
                  <a:lnTo>
                    <a:pt x="146" y="38"/>
                  </a:lnTo>
                  <a:lnTo>
                    <a:pt x="150" y="38"/>
                  </a:lnTo>
                  <a:lnTo>
                    <a:pt x="154" y="38"/>
                  </a:lnTo>
                  <a:lnTo>
                    <a:pt x="154" y="42"/>
                  </a:lnTo>
                  <a:lnTo>
                    <a:pt x="158" y="42"/>
                  </a:lnTo>
                  <a:lnTo>
                    <a:pt x="162" y="42"/>
                  </a:lnTo>
                  <a:lnTo>
                    <a:pt x="162" y="44"/>
                  </a:lnTo>
                  <a:lnTo>
                    <a:pt x="158" y="56"/>
                  </a:lnTo>
                  <a:lnTo>
                    <a:pt x="154" y="58"/>
                  </a:lnTo>
                  <a:lnTo>
                    <a:pt x="154" y="62"/>
                  </a:lnTo>
                  <a:lnTo>
                    <a:pt x="158" y="62"/>
                  </a:lnTo>
                  <a:lnTo>
                    <a:pt x="162" y="66"/>
                  </a:lnTo>
                  <a:lnTo>
                    <a:pt x="162" y="70"/>
                  </a:lnTo>
                  <a:lnTo>
                    <a:pt x="166" y="70"/>
                  </a:lnTo>
                  <a:lnTo>
                    <a:pt x="162" y="70"/>
                  </a:lnTo>
                  <a:lnTo>
                    <a:pt x="158" y="70"/>
                  </a:lnTo>
                  <a:lnTo>
                    <a:pt x="158" y="66"/>
                  </a:lnTo>
                  <a:lnTo>
                    <a:pt x="158" y="70"/>
                  </a:lnTo>
                  <a:lnTo>
                    <a:pt x="154" y="70"/>
                  </a:lnTo>
                  <a:lnTo>
                    <a:pt x="150" y="70"/>
                  </a:lnTo>
                  <a:lnTo>
                    <a:pt x="150" y="74"/>
                  </a:lnTo>
                  <a:lnTo>
                    <a:pt x="146" y="74"/>
                  </a:lnTo>
                  <a:lnTo>
                    <a:pt x="146" y="70"/>
                  </a:lnTo>
                  <a:lnTo>
                    <a:pt x="142" y="74"/>
                  </a:lnTo>
                  <a:lnTo>
                    <a:pt x="140" y="74"/>
                  </a:lnTo>
                  <a:lnTo>
                    <a:pt x="136" y="74"/>
                  </a:lnTo>
                  <a:lnTo>
                    <a:pt x="136" y="78"/>
                  </a:lnTo>
                  <a:lnTo>
                    <a:pt x="132" y="78"/>
                  </a:lnTo>
                  <a:lnTo>
                    <a:pt x="128" y="78"/>
                  </a:lnTo>
                  <a:lnTo>
                    <a:pt x="128" y="82"/>
                  </a:lnTo>
                  <a:lnTo>
                    <a:pt x="124" y="86"/>
                  </a:lnTo>
                  <a:lnTo>
                    <a:pt x="120" y="86"/>
                  </a:lnTo>
                  <a:lnTo>
                    <a:pt x="120" y="88"/>
                  </a:lnTo>
                  <a:lnTo>
                    <a:pt x="120" y="92"/>
                  </a:lnTo>
                  <a:lnTo>
                    <a:pt x="120" y="96"/>
                  </a:lnTo>
                  <a:lnTo>
                    <a:pt x="116" y="96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20" y="108"/>
                  </a:lnTo>
                  <a:lnTo>
                    <a:pt x="116" y="108"/>
                  </a:lnTo>
                  <a:lnTo>
                    <a:pt x="116" y="112"/>
                  </a:lnTo>
                  <a:lnTo>
                    <a:pt x="112" y="112"/>
                  </a:lnTo>
                  <a:lnTo>
                    <a:pt x="110" y="114"/>
                  </a:lnTo>
                  <a:lnTo>
                    <a:pt x="110" y="118"/>
                  </a:lnTo>
                  <a:lnTo>
                    <a:pt x="110" y="122"/>
                  </a:lnTo>
                  <a:lnTo>
                    <a:pt x="106" y="122"/>
                  </a:lnTo>
                  <a:lnTo>
                    <a:pt x="106" y="126"/>
                  </a:lnTo>
                  <a:lnTo>
                    <a:pt x="110" y="130"/>
                  </a:lnTo>
                  <a:lnTo>
                    <a:pt x="110" y="134"/>
                  </a:lnTo>
                  <a:lnTo>
                    <a:pt x="112" y="134"/>
                  </a:lnTo>
                  <a:lnTo>
                    <a:pt x="112" y="138"/>
                  </a:lnTo>
                  <a:lnTo>
                    <a:pt x="112" y="142"/>
                  </a:lnTo>
                  <a:lnTo>
                    <a:pt x="116" y="144"/>
                  </a:lnTo>
                  <a:lnTo>
                    <a:pt x="116" y="148"/>
                  </a:lnTo>
                  <a:lnTo>
                    <a:pt x="120" y="148"/>
                  </a:lnTo>
                  <a:lnTo>
                    <a:pt x="120" y="152"/>
                  </a:lnTo>
                  <a:lnTo>
                    <a:pt x="120" y="156"/>
                  </a:lnTo>
                  <a:lnTo>
                    <a:pt x="116" y="156"/>
                  </a:lnTo>
                  <a:lnTo>
                    <a:pt x="116" y="160"/>
                  </a:lnTo>
                  <a:lnTo>
                    <a:pt x="120" y="160"/>
                  </a:lnTo>
                  <a:lnTo>
                    <a:pt x="124" y="160"/>
                  </a:lnTo>
                  <a:lnTo>
                    <a:pt x="128" y="160"/>
                  </a:lnTo>
                  <a:lnTo>
                    <a:pt x="132" y="160"/>
                  </a:lnTo>
                  <a:lnTo>
                    <a:pt x="132" y="164"/>
                  </a:lnTo>
                  <a:lnTo>
                    <a:pt x="132" y="168"/>
                  </a:lnTo>
                  <a:lnTo>
                    <a:pt x="136" y="168"/>
                  </a:lnTo>
                  <a:lnTo>
                    <a:pt x="140" y="168"/>
                  </a:lnTo>
                  <a:lnTo>
                    <a:pt x="142" y="168"/>
                  </a:lnTo>
                  <a:lnTo>
                    <a:pt x="146" y="168"/>
                  </a:lnTo>
                  <a:lnTo>
                    <a:pt x="150" y="168"/>
                  </a:lnTo>
                  <a:lnTo>
                    <a:pt x="150" y="164"/>
                  </a:lnTo>
                  <a:lnTo>
                    <a:pt x="154" y="160"/>
                  </a:lnTo>
                  <a:lnTo>
                    <a:pt x="154" y="164"/>
                  </a:lnTo>
                  <a:lnTo>
                    <a:pt x="154" y="168"/>
                  </a:lnTo>
                  <a:lnTo>
                    <a:pt x="154" y="172"/>
                  </a:lnTo>
                  <a:lnTo>
                    <a:pt x="154" y="174"/>
                  </a:lnTo>
                  <a:lnTo>
                    <a:pt x="154" y="178"/>
                  </a:lnTo>
                  <a:lnTo>
                    <a:pt x="154" y="182"/>
                  </a:lnTo>
                  <a:lnTo>
                    <a:pt x="154" y="186"/>
                  </a:lnTo>
                  <a:lnTo>
                    <a:pt x="158" y="186"/>
                  </a:lnTo>
                  <a:lnTo>
                    <a:pt x="162" y="186"/>
                  </a:lnTo>
                  <a:lnTo>
                    <a:pt x="166" y="186"/>
                  </a:lnTo>
                  <a:lnTo>
                    <a:pt x="168" y="186"/>
                  </a:lnTo>
                  <a:lnTo>
                    <a:pt x="172" y="190"/>
                  </a:lnTo>
                  <a:lnTo>
                    <a:pt x="172" y="194"/>
                  </a:lnTo>
                  <a:lnTo>
                    <a:pt x="172" y="198"/>
                  </a:lnTo>
                  <a:lnTo>
                    <a:pt x="176" y="200"/>
                  </a:lnTo>
                  <a:lnTo>
                    <a:pt x="176" y="204"/>
                  </a:lnTo>
                  <a:lnTo>
                    <a:pt x="180" y="204"/>
                  </a:lnTo>
                  <a:lnTo>
                    <a:pt x="180" y="208"/>
                  </a:lnTo>
                  <a:lnTo>
                    <a:pt x="180" y="212"/>
                  </a:lnTo>
                  <a:lnTo>
                    <a:pt x="180" y="216"/>
                  </a:lnTo>
                  <a:lnTo>
                    <a:pt x="176" y="216"/>
                  </a:lnTo>
                  <a:lnTo>
                    <a:pt x="176" y="220"/>
                  </a:lnTo>
                  <a:lnTo>
                    <a:pt x="176" y="224"/>
                  </a:lnTo>
                  <a:lnTo>
                    <a:pt x="176" y="228"/>
                  </a:lnTo>
                  <a:lnTo>
                    <a:pt x="176" y="230"/>
                  </a:lnTo>
                  <a:lnTo>
                    <a:pt x="176" y="234"/>
                  </a:lnTo>
                  <a:lnTo>
                    <a:pt x="176" y="238"/>
                  </a:lnTo>
                  <a:lnTo>
                    <a:pt x="180" y="238"/>
                  </a:lnTo>
                  <a:lnTo>
                    <a:pt x="180" y="242"/>
                  </a:lnTo>
                  <a:lnTo>
                    <a:pt x="176" y="242"/>
                  </a:lnTo>
                  <a:lnTo>
                    <a:pt x="176" y="246"/>
                  </a:lnTo>
                  <a:lnTo>
                    <a:pt x="172" y="250"/>
                  </a:lnTo>
                  <a:lnTo>
                    <a:pt x="172" y="254"/>
                  </a:lnTo>
                  <a:lnTo>
                    <a:pt x="172" y="256"/>
                  </a:lnTo>
                  <a:lnTo>
                    <a:pt x="176" y="256"/>
                  </a:lnTo>
                  <a:lnTo>
                    <a:pt x="176" y="260"/>
                  </a:lnTo>
                  <a:lnTo>
                    <a:pt x="172" y="260"/>
                  </a:lnTo>
                  <a:lnTo>
                    <a:pt x="172" y="264"/>
                  </a:lnTo>
                  <a:lnTo>
                    <a:pt x="172" y="268"/>
                  </a:lnTo>
                  <a:lnTo>
                    <a:pt x="172" y="276"/>
                  </a:lnTo>
                  <a:lnTo>
                    <a:pt x="176" y="276"/>
                  </a:lnTo>
                  <a:lnTo>
                    <a:pt x="180" y="280"/>
                  </a:lnTo>
                  <a:lnTo>
                    <a:pt x="176" y="280"/>
                  </a:lnTo>
                  <a:lnTo>
                    <a:pt x="176" y="284"/>
                  </a:lnTo>
                  <a:lnTo>
                    <a:pt x="176" y="286"/>
                  </a:lnTo>
                  <a:lnTo>
                    <a:pt x="172" y="286"/>
                  </a:lnTo>
                  <a:lnTo>
                    <a:pt x="172" y="290"/>
                  </a:lnTo>
                  <a:lnTo>
                    <a:pt x="168" y="290"/>
                  </a:lnTo>
                  <a:lnTo>
                    <a:pt x="168" y="294"/>
                  </a:lnTo>
                  <a:lnTo>
                    <a:pt x="168" y="298"/>
                  </a:lnTo>
                  <a:lnTo>
                    <a:pt x="168" y="298"/>
                  </a:lnTo>
                  <a:lnTo>
                    <a:pt x="168" y="298"/>
                  </a:lnTo>
                  <a:close/>
                </a:path>
              </a:pathLst>
            </a:custGeom>
            <a:solidFill>
              <a:srgbClr val="FFFF00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47" name="Freeform 187">
              <a:extLst>
                <a:ext uri="{FF2B5EF4-FFF2-40B4-BE49-F238E27FC236}">
                  <a16:creationId xmlns:a16="http://schemas.microsoft.com/office/drawing/2014/main" id="{679D0452-D03F-47D7-D12C-5493ABE25F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5589" y="3978816"/>
              <a:ext cx="109100" cy="131985"/>
            </a:xfrm>
            <a:custGeom>
              <a:avLst/>
              <a:gdLst>
                <a:gd name="T0" fmla="*/ 42 w 56"/>
                <a:gd name="T1" fmla="*/ 4 h 70"/>
                <a:gd name="T2" fmla="*/ 42 w 56"/>
                <a:gd name="T3" fmla="*/ 4 h 70"/>
                <a:gd name="T4" fmla="*/ 42 w 56"/>
                <a:gd name="T5" fmla="*/ 0 h 70"/>
                <a:gd name="T6" fmla="*/ 46 w 56"/>
                <a:gd name="T7" fmla="*/ 0 h 70"/>
                <a:gd name="T8" fmla="*/ 52 w 56"/>
                <a:gd name="T9" fmla="*/ 4 h 70"/>
                <a:gd name="T10" fmla="*/ 56 w 56"/>
                <a:gd name="T11" fmla="*/ 4 h 70"/>
                <a:gd name="T12" fmla="*/ 56 w 56"/>
                <a:gd name="T13" fmla="*/ 6 h 70"/>
                <a:gd name="T14" fmla="*/ 52 w 56"/>
                <a:gd name="T15" fmla="*/ 10 h 70"/>
                <a:gd name="T16" fmla="*/ 52 w 56"/>
                <a:gd name="T17" fmla="*/ 10 h 70"/>
                <a:gd name="T18" fmla="*/ 52 w 56"/>
                <a:gd name="T19" fmla="*/ 14 h 70"/>
                <a:gd name="T20" fmla="*/ 48 w 56"/>
                <a:gd name="T21" fmla="*/ 22 h 70"/>
                <a:gd name="T22" fmla="*/ 48 w 56"/>
                <a:gd name="T23" fmla="*/ 26 h 70"/>
                <a:gd name="T24" fmla="*/ 48 w 56"/>
                <a:gd name="T25" fmla="*/ 26 h 70"/>
                <a:gd name="T26" fmla="*/ 52 w 56"/>
                <a:gd name="T27" fmla="*/ 34 h 70"/>
                <a:gd name="T28" fmla="*/ 56 w 56"/>
                <a:gd name="T29" fmla="*/ 40 h 70"/>
                <a:gd name="T30" fmla="*/ 56 w 56"/>
                <a:gd name="T31" fmla="*/ 44 h 70"/>
                <a:gd name="T32" fmla="*/ 52 w 56"/>
                <a:gd name="T33" fmla="*/ 48 h 70"/>
                <a:gd name="T34" fmla="*/ 52 w 56"/>
                <a:gd name="T35" fmla="*/ 56 h 70"/>
                <a:gd name="T36" fmla="*/ 52 w 56"/>
                <a:gd name="T37" fmla="*/ 56 h 70"/>
                <a:gd name="T38" fmla="*/ 48 w 56"/>
                <a:gd name="T39" fmla="*/ 60 h 70"/>
                <a:gd name="T40" fmla="*/ 46 w 56"/>
                <a:gd name="T41" fmla="*/ 64 h 70"/>
                <a:gd name="T42" fmla="*/ 46 w 56"/>
                <a:gd name="T43" fmla="*/ 60 h 70"/>
                <a:gd name="T44" fmla="*/ 46 w 56"/>
                <a:gd name="T45" fmla="*/ 60 h 70"/>
                <a:gd name="T46" fmla="*/ 34 w 56"/>
                <a:gd name="T47" fmla="*/ 60 h 70"/>
                <a:gd name="T48" fmla="*/ 30 w 56"/>
                <a:gd name="T49" fmla="*/ 60 h 70"/>
                <a:gd name="T50" fmla="*/ 26 w 56"/>
                <a:gd name="T51" fmla="*/ 60 h 70"/>
                <a:gd name="T52" fmla="*/ 30 w 56"/>
                <a:gd name="T53" fmla="*/ 66 h 70"/>
                <a:gd name="T54" fmla="*/ 30 w 56"/>
                <a:gd name="T55" fmla="*/ 70 h 70"/>
                <a:gd name="T56" fmla="*/ 26 w 56"/>
                <a:gd name="T57" fmla="*/ 70 h 70"/>
                <a:gd name="T58" fmla="*/ 22 w 56"/>
                <a:gd name="T59" fmla="*/ 70 h 70"/>
                <a:gd name="T60" fmla="*/ 18 w 56"/>
                <a:gd name="T61" fmla="*/ 66 h 70"/>
                <a:gd name="T62" fmla="*/ 14 w 56"/>
                <a:gd name="T63" fmla="*/ 60 h 70"/>
                <a:gd name="T64" fmla="*/ 12 w 56"/>
                <a:gd name="T65" fmla="*/ 52 h 70"/>
                <a:gd name="T66" fmla="*/ 12 w 56"/>
                <a:gd name="T67" fmla="*/ 48 h 70"/>
                <a:gd name="T68" fmla="*/ 12 w 56"/>
                <a:gd name="T69" fmla="*/ 44 h 70"/>
                <a:gd name="T70" fmla="*/ 4 w 56"/>
                <a:gd name="T71" fmla="*/ 44 h 70"/>
                <a:gd name="T72" fmla="*/ 4 w 56"/>
                <a:gd name="T73" fmla="*/ 40 h 70"/>
                <a:gd name="T74" fmla="*/ 4 w 56"/>
                <a:gd name="T75" fmla="*/ 40 h 70"/>
                <a:gd name="T76" fmla="*/ 0 w 56"/>
                <a:gd name="T77" fmla="*/ 36 h 70"/>
                <a:gd name="T78" fmla="*/ 0 w 56"/>
                <a:gd name="T79" fmla="*/ 36 h 70"/>
                <a:gd name="T80" fmla="*/ 0 w 56"/>
                <a:gd name="T81" fmla="*/ 30 h 70"/>
                <a:gd name="T82" fmla="*/ 0 w 56"/>
                <a:gd name="T83" fmla="*/ 30 h 70"/>
                <a:gd name="T84" fmla="*/ 0 w 56"/>
                <a:gd name="T85" fmla="*/ 22 h 70"/>
                <a:gd name="T86" fmla="*/ 0 w 56"/>
                <a:gd name="T87" fmla="*/ 22 h 70"/>
                <a:gd name="T88" fmla="*/ 4 w 56"/>
                <a:gd name="T89" fmla="*/ 18 h 70"/>
                <a:gd name="T90" fmla="*/ 8 w 56"/>
                <a:gd name="T91" fmla="*/ 18 h 70"/>
                <a:gd name="T92" fmla="*/ 12 w 56"/>
                <a:gd name="T93" fmla="*/ 14 h 70"/>
                <a:gd name="T94" fmla="*/ 12 w 56"/>
                <a:gd name="T95" fmla="*/ 14 h 70"/>
                <a:gd name="T96" fmla="*/ 8 w 56"/>
                <a:gd name="T97" fmla="*/ 10 h 70"/>
                <a:gd name="T98" fmla="*/ 12 w 56"/>
                <a:gd name="T99" fmla="*/ 6 h 70"/>
                <a:gd name="T100" fmla="*/ 12 w 56"/>
                <a:gd name="T101" fmla="*/ 4 h 70"/>
                <a:gd name="T102" fmla="*/ 18 w 56"/>
                <a:gd name="T103" fmla="*/ 0 h 70"/>
                <a:gd name="T104" fmla="*/ 26 w 56"/>
                <a:gd name="T105" fmla="*/ 0 h 70"/>
                <a:gd name="T106" fmla="*/ 30 w 56"/>
                <a:gd name="T107" fmla="*/ 4 h 70"/>
                <a:gd name="T108" fmla="*/ 30 w 56"/>
                <a:gd name="T109" fmla="*/ 4 h 70"/>
                <a:gd name="T110" fmla="*/ 30 w 56"/>
                <a:gd name="T111" fmla="*/ 0 h 70"/>
                <a:gd name="T112" fmla="*/ 38 w 56"/>
                <a:gd name="T113" fmla="*/ 0 h 70"/>
                <a:gd name="T114" fmla="*/ 38 w 56"/>
                <a:gd name="T115" fmla="*/ 0 h 70"/>
                <a:gd name="T116" fmla="*/ 42 w 56"/>
                <a:gd name="T117" fmla="*/ 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" h="70">
                  <a:moveTo>
                    <a:pt x="42" y="4"/>
                  </a:move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48" y="14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0"/>
                  </a:lnTo>
                  <a:lnTo>
                    <a:pt x="46" y="60"/>
                  </a:lnTo>
                  <a:lnTo>
                    <a:pt x="46" y="60"/>
                  </a:lnTo>
                  <a:lnTo>
                    <a:pt x="46" y="60"/>
                  </a:lnTo>
                  <a:lnTo>
                    <a:pt x="46" y="60"/>
                  </a:lnTo>
                  <a:lnTo>
                    <a:pt x="46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34" y="60"/>
                  </a:lnTo>
                  <a:lnTo>
                    <a:pt x="34" y="64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26" y="60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30" y="66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0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8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48" name="Freeform 188">
              <a:extLst>
                <a:ext uri="{FF2B5EF4-FFF2-40B4-BE49-F238E27FC236}">
                  <a16:creationId xmlns:a16="http://schemas.microsoft.com/office/drawing/2014/main" id="{6E372FEA-D50C-B811-CDA6-EE0C6AEE7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0003" y="5166686"/>
              <a:ext cx="151961" cy="169696"/>
            </a:xfrm>
            <a:custGeom>
              <a:avLst/>
              <a:gdLst>
                <a:gd name="T0" fmla="*/ 4 w 78"/>
                <a:gd name="T1" fmla="*/ 60 h 90"/>
                <a:gd name="T2" fmla="*/ 4 w 78"/>
                <a:gd name="T3" fmla="*/ 56 h 90"/>
                <a:gd name="T4" fmla="*/ 4 w 78"/>
                <a:gd name="T5" fmla="*/ 56 h 90"/>
                <a:gd name="T6" fmla="*/ 8 w 78"/>
                <a:gd name="T7" fmla="*/ 48 h 90"/>
                <a:gd name="T8" fmla="*/ 4 w 78"/>
                <a:gd name="T9" fmla="*/ 48 h 90"/>
                <a:gd name="T10" fmla="*/ 4 w 78"/>
                <a:gd name="T11" fmla="*/ 40 h 90"/>
                <a:gd name="T12" fmla="*/ 4 w 78"/>
                <a:gd name="T13" fmla="*/ 40 h 90"/>
                <a:gd name="T14" fmla="*/ 4 w 78"/>
                <a:gd name="T15" fmla="*/ 36 h 90"/>
                <a:gd name="T16" fmla="*/ 4 w 78"/>
                <a:gd name="T17" fmla="*/ 34 h 90"/>
                <a:gd name="T18" fmla="*/ 4 w 78"/>
                <a:gd name="T19" fmla="*/ 30 h 90"/>
                <a:gd name="T20" fmla="*/ 8 w 78"/>
                <a:gd name="T21" fmla="*/ 26 h 90"/>
                <a:gd name="T22" fmla="*/ 8 w 78"/>
                <a:gd name="T23" fmla="*/ 22 h 90"/>
                <a:gd name="T24" fmla="*/ 8 w 78"/>
                <a:gd name="T25" fmla="*/ 14 h 90"/>
                <a:gd name="T26" fmla="*/ 12 w 78"/>
                <a:gd name="T27" fmla="*/ 10 h 90"/>
                <a:gd name="T28" fmla="*/ 8 w 78"/>
                <a:gd name="T29" fmla="*/ 6 h 90"/>
                <a:gd name="T30" fmla="*/ 12 w 78"/>
                <a:gd name="T31" fmla="*/ 2 h 90"/>
                <a:gd name="T32" fmla="*/ 16 w 78"/>
                <a:gd name="T33" fmla="*/ 0 h 90"/>
                <a:gd name="T34" fmla="*/ 16 w 78"/>
                <a:gd name="T35" fmla="*/ 2 h 90"/>
                <a:gd name="T36" fmla="*/ 18 w 78"/>
                <a:gd name="T37" fmla="*/ 2 h 90"/>
                <a:gd name="T38" fmla="*/ 18 w 78"/>
                <a:gd name="T39" fmla="*/ 0 h 90"/>
                <a:gd name="T40" fmla="*/ 22 w 78"/>
                <a:gd name="T41" fmla="*/ 0 h 90"/>
                <a:gd name="T42" fmla="*/ 26 w 78"/>
                <a:gd name="T43" fmla="*/ 2 h 90"/>
                <a:gd name="T44" fmla="*/ 34 w 78"/>
                <a:gd name="T45" fmla="*/ 6 h 90"/>
                <a:gd name="T46" fmla="*/ 38 w 78"/>
                <a:gd name="T47" fmla="*/ 14 h 90"/>
                <a:gd name="T48" fmla="*/ 38 w 78"/>
                <a:gd name="T49" fmla="*/ 14 h 90"/>
                <a:gd name="T50" fmla="*/ 42 w 78"/>
                <a:gd name="T51" fmla="*/ 14 h 90"/>
                <a:gd name="T52" fmla="*/ 46 w 78"/>
                <a:gd name="T53" fmla="*/ 14 h 90"/>
                <a:gd name="T54" fmla="*/ 48 w 78"/>
                <a:gd name="T55" fmla="*/ 22 h 90"/>
                <a:gd name="T56" fmla="*/ 52 w 78"/>
                <a:gd name="T57" fmla="*/ 22 h 90"/>
                <a:gd name="T58" fmla="*/ 52 w 78"/>
                <a:gd name="T59" fmla="*/ 22 h 90"/>
                <a:gd name="T60" fmla="*/ 60 w 78"/>
                <a:gd name="T61" fmla="*/ 30 h 90"/>
                <a:gd name="T62" fmla="*/ 64 w 78"/>
                <a:gd name="T63" fmla="*/ 30 h 90"/>
                <a:gd name="T64" fmla="*/ 68 w 78"/>
                <a:gd name="T65" fmla="*/ 36 h 90"/>
                <a:gd name="T66" fmla="*/ 72 w 78"/>
                <a:gd name="T67" fmla="*/ 40 h 90"/>
                <a:gd name="T68" fmla="*/ 76 w 78"/>
                <a:gd name="T69" fmla="*/ 44 h 90"/>
                <a:gd name="T70" fmla="*/ 76 w 78"/>
                <a:gd name="T71" fmla="*/ 48 h 90"/>
                <a:gd name="T72" fmla="*/ 72 w 78"/>
                <a:gd name="T73" fmla="*/ 52 h 90"/>
                <a:gd name="T74" fmla="*/ 72 w 78"/>
                <a:gd name="T75" fmla="*/ 56 h 90"/>
                <a:gd name="T76" fmla="*/ 72 w 78"/>
                <a:gd name="T77" fmla="*/ 60 h 90"/>
                <a:gd name="T78" fmla="*/ 72 w 78"/>
                <a:gd name="T79" fmla="*/ 64 h 90"/>
                <a:gd name="T80" fmla="*/ 72 w 78"/>
                <a:gd name="T81" fmla="*/ 66 h 90"/>
                <a:gd name="T82" fmla="*/ 72 w 78"/>
                <a:gd name="T83" fmla="*/ 66 h 90"/>
                <a:gd name="T84" fmla="*/ 72 w 78"/>
                <a:gd name="T85" fmla="*/ 70 h 90"/>
                <a:gd name="T86" fmla="*/ 68 w 78"/>
                <a:gd name="T87" fmla="*/ 78 h 90"/>
                <a:gd name="T88" fmla="*/ 64 w 78"/>
                <a:gd name="T89" fmla="*/ 82 h 90"/>
                <a:gd name="T90" fmla="*/ 60 w 78"/>
                <a:gd name="T91" fmla="*/ 82 h 90"/>
                <a:gd name="T92" fmla="*/ 60 w 78"/>
                <a:gd name="T93" fmla="*/ 82 h 90"/>
                <a:gd name="T94" fmla="*/ 52 w 78"/>
                <a:gd name="T95" fmla="*/ 86 h 90"/>
                <a:gd name="T96" fmla="*/ 48 w 78"/>
                <a:gd name="T97" fmla="*/ 86 h 90"/>
                <a:gd name="T98" fmla="*/ 46 w 78"/>
                <a:gd name="T99" fmla="*/ 90 h 90"/>
                <a:gd name="T100" fmla="*/ 46 w 78"/>
                <a:gd name="T101" fmla="*/ 86 h 90"/>
                <a:gd name="T102" fmla="*/ 38 w 78"/>
                <a:gd name="T103" fmla="*/ 86 h 90"/>
                <a:gd name="T104" fmla="*/ 34 w 78"/>
                <a:gd name="T105" fmla="*/ 86 h 90"/>
                <a:gd name="T106" fmla="*/ 30 w 78"/>
                <a:gd name="T107" fmla="*/ 86 h 90"/>
                <a:gd name="T108" fmla="*/ 22 w 78"/>
                <a:gd name="T109" fmla="*/ 82 h 90"/>
                <a:gd name="T110" fmla="*/ 16 w 78"/>
                <a:gd name="T111" fmla="*/ 78 h 90"/>
                <a:gd name="T112" fmla="*/ 8 w 78"/>
                <a:gd name="T113" fmla="*/ 78 h 90"/>
                <a:gd name="T114" fmla="*/ 4 w 78"/>
                <a:gd name="T115" fmla="*/ 74 h 90"/>
                <a:gd name="T116" fmla="*/ 4 w 78"/>
                <a:gd name="T117" fmla="*/ 70 h 90"/>
                <a:gd name="T118" fmla="*/ 0 w 78"/>
                <a:gd name="T119" fmla="*/ 64 h 90"/>
                <a:gd name="T120" fmla="*/ 0 w 78"/>
                <a:gd name="T121" fmla="*/ 6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8" h="90">
                  <a:moveTo>
                    <a:pt x="0" y="60"/>
                  </a:move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18"/>
                  </a:lnTo>
                  <a:lnTo>
                    <a:pt x="8" y="14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42" y="14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6" y="22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4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8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4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48" y="90"/>
                  </a:lnTo>
                  <a:lnTo>
                    <a:pt x="48" y="86"/>
                  </a:lnTo>
                  <a:lnTo>
                    <a:pt x="48" y="86"/>
                  </a:lnTo>
                  <a:lnTo>
                    <a:pt x="48" y="86"/>
                  </a:lnTo>
                  <a:lnTo>
                    <a:pt x="48" y="86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90"/>
                  </a:lnTo>
                  <a:lnTo>
                    <a:pt x="30" y="90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26" y="86"/>
                  </a:lnTo>
                  <a:lnTo>
                    <a:pt x="22" y="82"/>
                  </a:lnTo>
                  <a:lnTo>
                    <a:pt x="22" y="82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0" y="70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49" name="Freeform 189">
              <a:extLst>
                <a:ext uri="{FF2B5EF4-FFF2-40B4-BE49-F238E27FC236}">
                  <a16:creationId xmlns:a16="http://schemas.microsoft.com/office/drawing/2014/main" id="{B9E9E660-2E65-313B-8FF2-9D85E68976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74774" y="3771410"/>
              <a:ext cx="370162" cy="384643"/>
            </a:xfrm>
            <a:custGeom>
              <a:avLst/>
              <a:gdLst>
                <a:gd name="T0" fmla="*/ 108 w 190"/>
                <a:gd name="T1" fmla="*/ 38 h 204"/>
                <a:gd name="T2" fmla="*/ 126 w 190"/>
                <a:gd name="T3" fmla="*/ 30 h 204"/>
                <a:gd name="T4" fmla="*/ 126 w 190"/>
                <a:gd name="T5" fmla="*/ 30 h 204"/>
                <a:gd name="T6" fmla="*/ 148 w 190"/>
                <a:gd name="T7" fmla="*/ 28 h 204"/>
                <a:gd name="T8" fmla="*/ 152 w 190"/>
                <a:gd name="T9" fmla="*/ 30 h 204"/>
                <a:gd name="T10" fmla="*/ 148 w 190"/>
                <a:gd name="T11" fmla="*/ 34 h 204"/>
                <a:gd name="T12" fmla="*/ 152 w 190"/>
                <a:gd name="T13" fmla="*/ 42 h 204"/>
                <a:gd name="T14" fmla="*/ 156 w 190"/>
                <a:gd name="T15" fmla="*/ 42 h 204"/>
                <a:gd name="T16" fmla="*/ 160 w 190"/>
                <a:gd name="T17" fmla="*/ 42 h 204"/>
                <a:gd name="T18" fmla="*/ 172 w 190"/>
                <a:gd name="T19" fmla="*/ 46 h 204"/>
                <a:gd name="T20" fmla="*/ 172 w 190"/>
                <a:gd name="T21" fmla="*/ 58 h 204"/>
                <a:gd name="T22" fmla="*/ 168 w 190"/>
                <a:gd name="T23" fmla="*/ 68 h 204"/>
                <a:gd name="T24" fmla="*/ 190 w 190"/>
                <a:gd name="T25" fmla="*/ 68 h 204"/>
                <a:gd name="T26" fmla="*/ 178 w 190"/>
                <a:gd name="T27" fmla="*/ 84 h 204"/>
                <a:gd name="T28" fmla="*/ 178 w 190"/>
                <a:gd name="T29" fmla="*/ 94 h 204"/>
                <a:gd name="T30" fmla="*/ 172 w 190"/>
                <a:gd name="T31" fmla="*/ 106 h 204"/>
                <a:gd name="T32" fmla="*/ 178 w 190"/>
                <a:gd name="T33" fmla="*/ 128 h 204"/>
                <a:gd name="T34" fmla="*/ 168 w 190"/>
                <a:gd name="T35" fmla="*/ 140 h 204"/>
                <a:gd name="T36" fmla="*/ 152 w 190"/>
                <a:gd name="T37" fmla="*/ 144 h 204"/>
                <a:gd name="T38" fmla="*/ 142 w 190"/>
                <a:gd name="T39" fmla="*/ 144 h 204"/>
                <a:gd name="T40" fmla="*/ 130 w 190"/>
                <a:gd name="T41" fmla="*/ 148 h 204"/>
                <a:gd name="T42" fmla="*/ 118 w 190"/>
                <a:gd name="T43" fmla="*/ 140 h 204"/>
                <a:gd name="T44" fmla="*/ 126 w 190"/>
                <a:gd name="T45" fmla="*/ 154 h 204"/>
                <a:gd name="T46" fmla="*/ 134 w 190"/>
                <a:gd name="T47" fmla="*/ 170 h 204"/>
                <a:gd name="T48" fmla="*/ 134 w 190"/>
                <a:gd name="T49" fmla="*/ 178 h 204"/>
                <a:gd name="T50" fmla="*/ 118 w 190"/>
                <a:gd name="T51" fmla="*/ 192 h 204"/>
                <a:gd name="T52" fmla="*/ 108 w 190"/>
                <a:gd name="T53" fmla="*/ 204 h 204"/>
                <a:gd name="T54" fmla="*/ 98 w 190"/>
                <a:gd name="T55" fmla="*/ 200 h 204"/>
                <a:gd name="T56" fmla="*/ 86 w 190"/>
                <a:gd name="T57" fmla="*/ 174 h 204"/>
                <a:gd name="T58" fmla="*/ 82 w 190"/>
                <a:gd name="T59" fmla="*/ 154 h 204"/>
                <a:gd name="T60" fmla="*/ 78 w 190"/>
                <a:gd name="T61" fmla="*/ 144 h 204"/>
                <a:gd name="T62" fmla="*/ 78 w 190"/>
                <a:gd name="T63" fmla="*/ 120 h 204"/>
                <a:gd name="T64" fmla="*/ 74 w 190"/>
                <a:gd name="T65" fmla="*/ 106 h 204"/>
                <a:gd name="T66" fmla="*/ 56 w 190"/>
                <a:gd name="T67" fmla="*/ 106 h 204"/>
                <a:gd name="T68" fmla="*/ 42 w 190"/>
                <a:gd name="T69" fmla="*/ 90 h 204"/>
                <a:gd name="T70" fmla="*/ 26 w 190"/>
                <a:gd name="T71" fmla="*/ 90 h 204"/>
                <a:gd name="T72" fmla="*/ 12 w 190"/>
                <a:gd name="T73" fmla="*/ 84 h 204"/>
                <a:gd name="T74" fmla="*/ 12 w 190"/>
                <a:gd name="T75" fmla="*/ 68 h 204"/>
                <a:gd name="T76" fmla="*/ 0 w 190"/>
                <a:gd name="T77" fmla="*/ 54 h 204"/>
                <a:gd name="T78" fmla="*/ 4 w 190"/>
                <a:gd name="T79" fmla="*/ 34 h 204"/>
                <a:gd name="T80" fmla="*/ 14 w 190"/>
                <a:gd name="T81" fmla="*/ 20 h 204"/>
                <a:gd name="T82" fmla="*/ 26 w 190"/>
                <a:gd name="T83" fmla="*/ 12 h 204"/>
                <a:gd name="T84" fmla="*/ 22 w 190"/>
                <a:gd name="T85" fmla="*/ 24 h 204"/>
                <a:gd name="T86" fmla="*/ 14 w 190"/>
                <a:gd name="T87" fmla="*/ 42 h 204"/>
                <a:gd name="T88" fmla="*/ 22 w 190"/>
                <a:gd name="T89" fmla="*/ 58 h 204"/>
                <a:gd name="T90" fmla="*/ 30 w 190"/>
                <a:gd name="T91" fmla="*/ 38 h 204"/>
                <a:gd name="T92" fmla="*/ 26 w 190"/>
                <a:gd name="T93" fmla="*/ 24 h 204"/>
                <a:gd name="T94" fmla="*/ 42 w 190"/>
                <a:gd name="T95" fmla="*/ 16 h 204"/>
                <a:gd name="T96" fmla="*/ 44 w 190"/>
                <a:gd name="T97" fmla="*/ 12 h 204"/>
                <a:gd name="T98" fmla="*/ 48 w 190"/>
                <a:gd name="T99" fmla="*/ 8 h 204"/>
                <a:gd name="T100" fmla="*/ 64 w 190"/>
                <a:gd name="T101" fmla="*/ 16 h 204"/>
                <a:gd name="T102" fmla="*/ 78 w 190"/>
                <a:gd name="T103" fmla="*/ 30 h 204"/>
                <a:gd name="T104" fmla="*/ 98 w 190"/>
                <a:gd name="T105" fmla="*/ 30 h 204"/>
                <a:gd name="T106" fmla="*/ 174 w 190"/>
                <a:gd name="T107" fmla="*/ 58 h 204"/>
                <a:gd name="T108" fmla="*/ 174 w 190"/>
                <a:gd name="T109" fmla="*/ 60 h 204"/>
                <a:gd name="T110" fmla="*/ 172 w 190"/>
                <a:gd name="T111" fmla="*/ 64 h 204"/>
                <a:gd name="T112" fmla="*/ 172 w 190"/>
                <a:gd name="T113" fmla="*/ 64 h 204"/>
                <a:gd name="T114" fmla="*/ 172 w 190"/>
                <a:gd name="T115" fmla="*/ 64 h 204"/>
                <a:gd name="T116" fmla="*/ 168 w 190"/>
                <a:gd name="T117" fmla="*/ 68 h 204"/>
                <a:gd name="T118" fmla="*/ 172 w 190"/>
                <a:gd name="T119" fmla="*/ 64 h 204"/>
                <a:gd name="T120" fmla="*/ 126 w 190"/>
                <a:gd name="T121" fmla="*/ 24 h 204"/>
                <a:gd name="T122" fmla="*/ 130 w 190"/>
                <a:gd name="T123" fmla="*/ 28 h 204"/>
                <a:gd name="T124" fmla="*/ 112 w 190"/>
                <a:gd name="T125" fmla="*/ 2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0" h="204">
                  <a:moveTo>
                    <a:pt x="98" y="30"/>
                  </a:moveTo>
                  <a:lnTo>
                    <a:pt x="100" y="30"/>
                  </a:lnTo>
                  <a:lnTo>
                    <a:pt x="100" y="34"/>
                  </a:lnTo>
                  <a:lnTo>
                    <a:pt x="104" y="34"/>
                  </a:lnTo>
                  <a:lnTo>
                    <a:pt x="104" y="38"/>
                  </a:lnTo>
                  <a:lnTo>
                    <a:pt x="108" y="38"/>
                  </a:lnTo>
                  <a:lnTo>
                    <a:pt x="112" y="38"/>
                  </a:lnTo>
                  <a:lnTo>
                    <a:pt x="116" y="38"/>
                  </a:lnTo>
                  <a:lnTo>
                    <a:pt x="118" y="38"/>
                  </a:lnTo>
                  <a:lnTo>
                    <a:pt x="122" y="34"/>
                  </a:lnTo>
                  <a:lnTo>
                    <a:pt x="126" y="34"/>
                  </a:lnTo>
                  <a:lnTo>
                    <a:pt x="126" y="30"/>
                  </a:lnTo>
                  <a:lnTo>
                    <a:pt x="130" y="30"/>
                  </a:lnTo>
                  <a:lnTo>
                    <a:pt x="130" y="34"/>
                  </a:lnTo>
                  <a:lnTo>
                    <a:pt x="134" y="34"/>
                  </a:lnTo>
                  <a:lnTo>
                    <a:pt x="134" y="30"/>
                  </a:lnTo>
                  <a:lnTo>
                    <a:pt x="130" y="30"/>
                  </a:lnTo>
                  <a:lnTo>
                    <a:pt x="126" y="30"/>
                  </a:lnTo>
                  <a:lnTo>
                    <a:pt x="130" y="30"/>
                  </a:lnTo>
                  <a:lnTo>
                    <a:pt x="134" y="30"/>
                  </a:lnTo>
                  <a:lnTo>
                    <a:pt x="138" y="30"/>
                  </a:lnTo>
                  <a:lnTo>
                    <a:pt x="142" y="28"/>
                  </a:lnTo>
                  <a:lnTo>
                    <a:pt x="144" y="28"/>
                  </a:lnTo>
                  <a:lnTo>
                    <a:pt x="148" y="28"/>
                  </a:lnTo>
                  <a:lnTo>
                    <a:pt x="152" y="28"/>
                  </a:lnTo>
                  <a:lnTo>
                    <a:pt x="156" y="28"/>
                  </a:lnTo>
                  <a:lnTo>
                    <a:pt x="160" y="28"/>
                  </a:lnTo>
                  <a:lnTo>
                    <a:pt x="160" y="30"/>
                  </a:lnTo>
                  <a:lnTo>
                    <a:pt x="156" y="30"/>
                  </a:lnTo>
                  <a:lnTo>
                    <a:pt x="152" y="30"/>
                  </a:lnTo>
                  <a:lnTo>
                    <a:pt x="148" y="30"/>
                  </a:lnTo>
                  <a:lnTo>
                    <a:pt x="144" y="30"/>
                  </a:lnTo>
                  <a:lnTo>
                    <a:pt x="148" y="30"/>
                  </a:lnTo>
                  <a:lnTo>
                    <a:pt x="148" y="34"/>
                  </a:lnTo>
                  <a:lnTo>
                    <a:pt x="144" y="34"/>
                  </a:lnTo>
                  <a:lnTo>
                    <a:pt x="148" y="34"/>
                  </a:lnTo>
                  <a:lnTo>
                    <a:pt x="148" y="38"/>
                  </a:lnTo>
                  <a:lnTo>
                    <a:pt x="144" y="38"/>
                  </a:lnTo>
                  <a:lnTo>
                    <a:pt x="148" y="42"/>
                  </a:lnTo>
                  <a:lnTo>
                    <a:pt x="148" y="38"/>
                  </a:lnTo>
                  <a:lnTo>
                    <a:pt x="152" y="38"/>
                  </a:lnTo>
                  <a:lnTo>
                    <a:pt x="152" y="42"/>
                  </a:lnTo>
                  <a:lnTo>
                    <a:pt x="156" y="46"/>
                  </a:lnTo>
                  <a:lnTo>
                    <a:pt x="152" y="46"/>
                  </a:lnTo>
                  <a:lnTo>
                    <a:pt x="156" y="46"/>
                  </a:lnTo>
                  <a:lnTo>
                    <a:pt x="156" y="42"/>
                  </a:lnTo>
                  <a:lnTo>
                    <a:pt x="156" y="46"/>
                  </a:lnTo>
                  <a:lnTo>
                    <a:pt x="156" y="42"/>
                  </a:lnTo>
                  <a:lnTo>
                    <a:pt x="160" y="42"/>
                  </a:lnTo>
                  <a:lnTo>
                    <a:pt x="156" y="42"/>
                  </a:lnTo>
                  <a:lnTo>
                    <a:pt x="160" y="42"/>
                  </a:lnTo>
                  <a:lnTo>
                    <a:pt x="160" y="46"/>
                  </a:lnTo>
                  <a:lnTo>
                    <a:pt x="164" y="46"/>
                  </a:lnTo>
                  <a:lnTo>
                    <a:pt x="160" y="42"/>
                  </a:lnTo>
                  <a:lnTo>
                    <a:pt x="164" y="42"/>
                  </a:lnTo>
                  <a:lnTo>
                    <a:pt x="164" y="46"/>
                  </a:lnTo>
                  <a:lnTo>
                    <a:pt x="164" y="42"/>
                  </a:lnTo>
                  <a:lnTo>
                    <a:pt x="168" y="42"/>
                  </a:lnTo>
                  <a:lnTo>
                    <a:pt x="168" y="46"/>
                  </a:lnTo>
                  <a:lnTo>
                    <a:pt x="172" y="46"/>
                  </a:lnTo>
                  <a:lnTo>
                    <a:pt x="172" y="50"/>
                  </a:lnTo>
                  <a:lnTo>
                    <a:pt x="174" y="50"/>
                  </a:lnTo>
                  <a:lnTo>
                    <a:pt x="174" y="54"/>
                  </a:lnTo>
                  <a:lnTo>
                    <a:pt x="172" y="58"/>
                  </a:lnTo>
                  <a:lnTo>
                    <a:pt x="174" y="54"/>
                  </a:lnTo>
                  <a:lnTo>
                    <a:pt x="172" y="58"/>
                  </a:lnTo>
                  <a:lnTo>
                    <a:pt x="172" y="60"/>
                  </a:lnTo>
                  <a:lnTo>
                    <a:pt x="172" y="64"/>
                  </a:lnTo>
                  <a:lnTo>
                    <a:pt x="168" y="64"/>
                  </a:lnTo>
                  <a:lnTo>
                    <a:pt x="164" y="64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72" y="68"/>
                  </a:lnTo>
                  <a:lnTo>
                    <a:pt x="174" y="64"/>
                  </a:lnTo>
                  <a:lnTo>
                    <a:pt x="178" y="64"/>
                  </a:lnTo>
                  <a:lnTo>
                    <a:pt x="182" y="64"/>
                  </a:lnTo>
                  <a:lnTo>
                    <a:pt x="186" y="64"/>
                  </a:lnTo>
                  <a:lnTo>
                    <a:pt x="190" y="68"/>
                  </a:lnTo>
                  <a:lnTo>
                    <a:pt x="190" y="72"/>
                  </a:lnTo>
                  <a:lnTo>
                    <a:pt x="186" y="72"/>
                  </a:lnTo>
                  <a:lnTo>
                    <a:pt x="186" y="76"/>
                  </a:lnTo>
                  <a:lnTo>
                    <a:pt x="182" y="76"/>
                  </a:lnTo>
                  <a:lnTo>
                    <a:pt x="178" y="80"/>
                  </a:lnTo>
                  <a:lnTo>
                    <a:pt x="178" y="84"/>
                  </a:lnTo>
                  <a:lnTo>
                    <a:pt x="178" y="88"/>
                  </a:lnTo>
                  <a:lnTo>
                    <a:pt x="178" y="90"/>
                  </a:lnTo>
                  <a:lnTo>
                    <a:pt x="182" y="88"/>
                  </a:lnTo>
                  <a:lnTo>
                    <a:pt x="182" y="90"/>
                  </a:lnTo>
                  <a:lnTo>
                    <a:pt x="182" y="94"/>
                  </a:lnTo>
                  <a:lnTo>
                    <a:pt x="178" y="94"/>
                  </a:lnTo>
                  <a:lnTo>
                    <a:pt x="178" y="98"/>
                  </a:lnTo>
                  <a:lnTo>
                    <a:pt x="174" y="94"/>
                  </a:lnTo>
                  <a:lnTo>
                    <a:pt x="174" y="98"/>
                  </a:lnTo>
                  <a:lnTo>
                    <a:pt x="172" y="98"/>
                  </a:lnTo>
                  <a:lnTo>
                    <a:pt x="172" y="102"/>
                  </a:lnTo>
                  <a:lnTo>
                    <a:pt x="172" y="106"/>
                  </a:lnTo>
                  <a:lnTo>
                    <a:pt x="168" y="110"/>
                  </a:lnTo>
                  <a:lnTo>
                    <a:pt x="172" y="118"/>
                  </a:lnTo>
                  <a:lnTo>
                    <a:pt x="174" y="120"/>
                  </a:lnTo>
                  <a:lnTo>
                    <a:pt x="174" y="124"/>
                  </a:lnTo>
                  <a:lnTo>
                    <a:pt x="178" y="124"/>
                  </a:lnTo>
                  <a:lnTo>
                    <a:pt x="178" y="128"/>
                  </a:lnTo>
                  <a:lnTo>
                    <a:pt x="178" y="132"/>
                  </a:lnTo>
                  <a:lnTo>
                    <a:pt x="174" y="132"/>
                  </a:lnTo>
                  <a:lnTo>
                    <a:pt x="174" y="136"/>
                  </a:lnTo>
                  <a:lnTo>
                    <a:pt x="172" y="136"/>
                  </a:lnTo>
                  <a:lnTo>
                    <a:pt x="168" y="136"/>
                  </a:lnTo>
                  <a:lnTo>
                    <a:pt x="168" y="140"/>
                  </a:lnTo>
                  <a:lnTo>
                    <a:pt x="164" y="140"/>
                  </a:lnTo>
                  <a:lnTo>
                    <a:pt x="160" y="140"/>
                  </a:lnTo>
                  <a:lnTo>
                    <a:pt x="156" y="144"/>
                  </a:lnTo>
                  <a:lnTo>
                    <a:pt x="156" y="140"/>
                  </a:lnTo>
                  <a:lnTo>
                    <a:pt x="152" y="140"/>
                  </a:lnTo>
                  <a:lnTo>
                    <a:pt x="152" y="144"/>
                  </a:lnTo>
                  <a:lnTo>
                    <a:pt x="148" y="144"/>
                  </a:lnTo>
                  <a:lnTo>
                    <a:pt x="148" y="148"/>
                  </a:lnTo>
                  <a:lnTo>
                    <a:pt x="148" y="152"/>
                  </a:lnTo>
                  <a:lnTo>
                    <a:pt x="144" y="152"/>
                  </a:lnTo>
                  <a:lnTo>
                    <a:pt x="142" y="148"/>
                  </a:lnTo>
                  <a:lnTo>
                    <a:pt x="142" y="144"/>
                  </a:lnTo>
                  <a:lnTo>
                    <a:pt x="138" y="144"/>
                  </a:lnTo>
                  <a:lnTo>
                    <a:pt x="138" y="148"/>
                  </a:lnTo>
                  <a:lnTo>
                    <a:pt x="138" y="144"/>
                  </a:lnTo>
                  <a:lnTo>
                    <a:pt x="134" y="144"/>
                  </a:lnTo>
                  <a:lnTo>
                    <a:pt x="130" y="144"/>
                  </a:lnTo>
                  <a:lnTo>
                    <a:pt x="130" y="148"/>
                  </a:lnTo>
                  <a:lnTo>
                    <a:pt x="130" y="144"/>
                  </a:lnTo>
                  <a:lnTo>
                    <a:pt x="126" y="144"/>
                  </a:lnTo>
                  <a:lnTo>
                    <a:pt x="126" y="140"/>
                  </a:lnTo>
                  <a:lnTo>
                    <a:pt x="122" y="144"/>
                  </a:lnTo>
                  <a:lnTo>
                    <a:pt x="122" y="140"/>
                  </a:lnTo>
                  <a:lnTo>
                    <a:pt x="118" y="140"/>
                  </a:lnTo>
                  <a:lnTo>
                    <a:pt x="118" y="144"/>
                  </a:lnTo>
                  <a:lnTo>
                    <a:pt x="122" y="144"/>
                  </a:lnTo>
                  <a:lnTo>
                    <a:pt x="122" y="148"/>
                  </a:lnTo>
                  <a:lnTo>
                    <a:pt x="126" y="148"/>
                  </a:lnTo>
                  <a:lnTo>
                    <a:pt x="126" y="152"/>
                  </a:lnTo>
                  <a:lnTo>
                    <a:pt x="126" y="154"/>
                  </a:lnTo>
                  <a:lnTo>
                    <a:pt x="126" y="158"/>
                  </a:lnTo>
                  <a:lnTo>
                    <a:pt x="130" y="158"/>
                  </a:lnTo>
                  <a:lnTo>
                    <a:pt x="130" y="162"/>
                  </a:lnTo>
                  <a:lnTo>
                    <a:pt x="130" y="166"/>
                  </a:lnTo>
                  <a:lnTo>
                    <a:pt x="130" y="170"/>
                  </a:lnTo>
                  <a:lnTo>
                    <a:pt x="134" y="170"/>
                  </a:lnTo>
                  <a:lnTo>
                    <a:pt x="138" y="170"/>
                  </a:lnTo>
                  <a:lnTo>
                    <a:pt x="142" y="170"/>
                  </a:lnTo>
                  <a:lnTo>
                    <a:pt x="142" y="174"/>
                  </a:lnTo>
                  <a:lnTo>
                    <a:pt x="138" y="174"/>
                  </a:lnTo>
                  <a:lnTo>
                    <a:pt x="138" y="178"/>
                  </a:lnTo>
                  <a:lnTo>
                    <a:pt x="134" y="178"/>
                  </a:lnTo>
                  <a:lnTo>
                    <a:pt x="130" y="178"/>
                  </a:lnTo>
                  <a:lnTo>
                    <a:pt x="130" y="182"/>
                  </a:lnTo>
                  <a:lnTo>
                    <a:pt x="130" y="184"/>
                  </a:lnTo>
                  <a:lnTo>
                    <a:pt x="126" y="188"/>
                  </a:lnTo>
                  <a:lnTo>
                    <a:pt x="122" y="188"/>
                  </a:lnTo>
                  <a:lnTo>
                    <a:pt x="118" y="192"/>
                  </a:lnTo>
                  <a:lnTo>
                    <a:pt x="116" y="192"/>
                  </a:lnTo>
                  <a:lnTo>
                    <a:pt x="116" y="196"/>
                  </a:lnTo>
                  <a:lnTo>
                    <a:pt x="112" y="196"/>
                  </a:lnTo>
                  <a:lnTo>
                    <a:pt x="112" y="200"/>
                  </a:lnTo>
                  <a:lnTo>
                    <a:pt x="108" y="200"/>
                  </a:lnTo>
                  <a:lnTo>
                    <a:pt x="108" y="204"/>
                  </a:lnTo>
                  <a:lnTo>
                    <a:pt x="108" y="200"/>
                  </a:lnTo>
                  <a:lnTo>
                    <a:pt x="108" y="196"/>
                  </a:lnTo>
                  <a:lnTo>
                    <a:pt x="104" y="196"/>
                  </a:lnTo>
                  <a:lnTo>
                    <a:pt x="104" y="200"/>
                  </a:lnTo>
                  <a:lnTo>
                    <a:pt x="100" y="200"/>
                  </a:lnTo>
                  <a:lnTo>
                    <a:pt x="98" y="200"/>
                  </a:lnTo>
                  <a:lnTo>
                    <a:pt x="94" y="192"/>
                  </a:lnTo>
                  <a:lnTo>
                    <a:pt x="90" y="192"/>
                  </a:lnTo>
                  <a:lnTo>
                    <a:pt x="90" y="188"/>
                  </a:lnTo>
                  <a:lnTo>
                    <a:pt x="90" y="184"/>
                  </a:lnTo>
                  <a:lnTo>
                    <a:pt x="86" y="178"/>
                  </a:lnTo>
                  <a:lnTo>
                    <a:pt x="86" y="174"/>
                  </a:lnTo>
                  <a:lnTo>
                    <a:pt x="86" y="170"/>
                  </a:lnTo>
                  <a:lnTo>
                    <a:pt x="82" y="166"/>
                  </a:lnTo>
                  <a:lnTo>
                    <a:pt x="78" y="166"/>
                  </a:lnTo>
                  <a:lnTo>
                    <a:pt x="78" y="162"/>
                  </a:lnTo>
                  <a:lnTo>
                    <a:pt x="82" y="158"/>
                  </a:lnTo>
                  <a:lnTo>
                    <a:pt x="82" y="154"/>
                  </a:lnTo>
                  <a:lnTo>
                    <a:pt x="86" y="154"/>
                  </a:lnTo>
                  <a:lnTo>
                    <a:pt x="82" y="154"/>
                  </a:lnTo>
                  <a:lnTo>
                    <a:pt x="82" y="152"/>
                  </a:lnTo>
                  <a:lnTo>
                    <a:pt x="82" y="148"/>
                  </a:lnTo>
                  <a:lnTo>
                    <a:pt x="78" y="148"/>
                  </a:lnTo>
                  <a:lnTo>
                    <a:pt x="78" y="144"/>
                  </a:lnTo>
                  <a:lnTo>
                    <a:pt x="78" y="140"/>
                  </a:lnTo>
                  <a:lnTo>
                    <a:pt x="74" y="136"/>
                  </a:lnTo>
                  <a:lnTo>
                    <a:pt x="78" y="132"/>
                  </a:lnTo>
                  <a:lnTo>
                    <a:pt x="78" y="128"/>
                  </a:lnTo>
                  <a:lnTo>
                    <a:pt x="78" y="124"/>
                  </a:lnTo>
                  <a:lnTo>
                    <a:pt x="78" y="120"/>
                  </a:lnTo>
                  <a:lnTo>
                    <a:pt x="78" y="118"/>
                  </a:lnTo>
                  <a:lnTo>
                    <a:pt x="78" y="114"/>
                  </a:lnTo>
                  <a:lnTo>
                    <a:pt x="82" y="110"/>
                  </a:lnTo>
                  <a:lnTo>
                    <a:pt x="82" y="106"/>
                  </a:lnTo>
                  <a:lnTo>
                    <a:pt x="78" y="106"/>
                  </a:lnTo>
                  <a:lnTo>
                    <a:pt x="74" y="106"/>
                  </a:lnTo>
                  <a:lnTo>
                    <a:pt x="72" y="106"/>
                  </a:lnTo>
                  <a:lnTo>
                    <a:pt x="68" y="106"/>
                  </a:lnTo>
                  <a:lnTo>
                    <a:pt x="64" y="106"/>
                  </a:lnTo>
                  <a:lnTo>
                    <a:pt x="60" y="106"/>
                  </a:lnTo>
                  <a:lnTo>
                    <a:pt x="56" y="110"/>
                  </a:lnTo>
                  <a:lnTo>
                    <a:pt x="56" y="106"/>
                  </a:lnTo>
                  <a:lnTo>
                    <a:pt x="48" y="102"/>
                  </a:lnTo>
                  <a:lnTo>
                    <a:pt x="44" y="94"/>
                  </a:lnTo>
                  <a:lnTo>
                    <a:pt x="44" y="90"/>
                  </a:lnTo>
                  <a:lnTo>
                    <a:pt x="44" y="94"/>
                  </a:lnTo>
                  <a:lnTo>
                    <a:pt x="42" y="94"/>
                  </a:lnTo>
                  <a:lnTo>
                    <a:pt x="42" y="90"/>
                  </a:lnTo>
                  <a:lnTo>
                    <a:pt x="38" y="90"/>
                  </a:lnTo>
                  <a:lnTo>
                    <a:pt x="34" y="90"/>
                  </a:lnTo>
                  <a:lnTo>
                    <a:pt x="30" y="90"/>
                  </a:lnTo>
                  <a:lnTo>
                    <a:pt x="30" y="94"/>
                  </a:lnTo>
                  <a:lnTo>
                    <a:pt x="30" y="90"/>
                  </a:lnTo>
                  <a:lnTo>
                    <a:pt x="26" y="90"/>
                  </a:lnTo>
                  <a:lnTo>
                    <a:pt x="22" y="90"/>
                  </a:lnTo>
                  <a:lnTo>
                    <a:pt x="18" y="90"/>
                  </a:lnTo>
                  <a:lnTo>
                    <a:pt x="14" y="90"/>
                  </a:lnTo>
                  <a:lnTo>
                    <a:pt x="14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4" y="76"/>
                  </a:lnTo>
                  <a:lnTo>
                    <a:pt x="14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8"/>
                  </a:lnTo>
                  <a:lnTo>
                    <a:pt x="4" y="58"/>
                  </a:lnTo>
                  <a:lnTo>
                    <a:pt x="4" y="54"/>
                  </a:lnTo>
                  <a:lnTo>
                    <a:pt x="0" y="54"/>
                  </a:lnTo>
                  <a:lnTo>
                    <a:pt x="0" y="50"/>
                  </a:lnTo>
                  <a:lnTo>
                    <a:pt x="4" y="50"/>
                  </a:lnTo>
                  <a:lnTo>
                    <a:pt x="4" y="46"/>
                  </a:lnTo>
                  <a:lnTo>
                    <a:pt x="4" y="42"/>
                  </a:lnTo>
                  <a:lnTo>
                    <a:pt x="4" y="38"/>
                  </a:lnTo>
                  <a:lnTo>
                    <a:pt x="4" y="34"/>
                  </a:lnTo>
                  <a:lnTo>
                    <a:pt x="8" y="30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4" y="16"/>
                  </a:lnTo>
                  <a:lnTo>
                    <a:pt x="18" y="12"/>
                  </a:lnTo>
                  <a:lnTo>
                    <a:pt x="22" y="12"/>
                  </a:lnTo>
                  <a:lnTo>
                    <a:pt x="22" y="8"/>
                  </a:lnTo>
                  <a:lnTo>
                    <a:pt x="26" y="8"/>
                  </a:lnTo>
                  <a:lnTo>
                    <a:pt x="26" y="12"/>
                  </a:lnTo>
                  <a:lnTo>
                    <a:pt x="22" y="12"/>
                  </a:lnTo>
                  <a:lnTo>
                    <a:pt x="18" y="12"/>
                  </a:lnTo>
                  <a:lnTo>
                    <a:pt x="18" y="16"/>
                  </a:lnTo>
                  <a:lnTo>
                    <a:pt x="18" y="20"/>
                  </a:lnTo>
                  <a:lnTo>
                    <a:pt x="22" y="20"/>
                  </a:lnTo>
                  <a:lnTo>
                    <a:pt x="22" y="24"/>
                  </a:lnTo>
                  <a:lnTo>
                    <a:pt x="22" y="28"/>
                  </a:lnTo>
                  <a:lnTo>
                    <a:pt x="22" y="30"/>
                  </a:lnTo>
                  <a:lnTo>
                    <a:pt x="22" y="34"/>
                  </a:lnTo>
                  <a:lnTo>
                    <a:pt x="18" y="34"/>
                  </a:lnTo>
                  <a:lnTo>
                    <a:pt x="18" y="38"/>
                  </a:lnTo>
                  <a:lnTo>
                    <a:pt x="14" y="42"/>
                  </a:lnTo>
                  <a:lnTo>
                    <a:pt x="14" y="46"/>
                  </a:lnTo>
                  <a:lnTo>
                    <a:pt x="18" y="46"/>
                  </a:lnTo>
                  <a:lnTo>
                    <a:pt x="18" y="50"/>
                  </a:lnTo>
                  <a:lnTo>
                    <a:pt x="22" y="50"/>
                  </a:lnTo>
                  <a:lnTo>
                    <a:pt x="22" y="54"/>
                  </a:lnTo>
                  <a:lnTo>
                    <a:pt x="22" y="58"/>
                  </a:lnTo>
                  <a:lnTo>
                    <a:pt x="26" y="58"/>
                  </a:lnTo>
                  <a:lnTo>
                    <a:pt x="30" y="54"/>
                  </a:lnTo>
                  <a:lnTo>
                    <a:pt x="30" y="50"/>
                  </a:lnTo>
                  <a:lnTo>
                    <a:pt x="30" y="46"/>
                  </a:lnTo>
                  <a:lnTo>
                    <a:pt x="30" y="42"/>
                  </a:lnTo>
                  <a:lnTo>
                    <a:pt x="30" y="38"/>
                  </a:lnTo>
                  <a:lnTo>
                    <a:pt x="26" y="38"/>
                  </a:lnTo>
                  <a:lnTo>
                    <a:pt x="26" y="34"/>
                  </a:lnTo>
                  <a:lnTo>
                    <a:pt x="26" y="30"/>
                  </a:lnTo>
                  <a:lnTo>
                    <a:pt x="22" y="30"/>
                  </a:lnTo>
                  <a:lnTo>
                    <a:pt x="26" y="28"/>
                  </a:lnTo>
                  <a:lnTo>
                    <a:pt x="26" y="24"/>
                  </a:lnTo>
                  <a:lnTo>
                    <a:pt x="30" y="24"/>
                  </a:lnTo>
                  <a:lnTo>
                    <a:pt x="30" y="20"/>
                  </a:lnTo>
                  <a:lnTo>
                    <a:pt x="34" y="20"/>
                  </a:lnTo>
                  <a:lnTo>
                    <a:pt x="38" y="20"/>
                  </a:lnTo>
                  <a:lnTo>
                    <a:pt x="42" y="20"/>
                  </a:lnTo>
                  <a:lnTo>
                    <a:pt x="42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2" y="12"/>
                  </a:lnTo>
                  <a:lnTo>
                    <a:pt x="44" y="12"/>
                  </a:lnTo>
                  <a:lnTo>
                    <a:pt x="42" y="8"/>
                  </a:lnTo>
                  <a:lnTo>
                    <a:pt x="42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60" y="16"/>
                  </a:lnTo>
                  <a:lnTo>
                    <a:pt x="64" y="16"/>
                  </a:lnTo>
                  <a:lnTo>
                    <a:pt x="68" y="20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0"/>
                  </a:lnTo>
                  <a:lnTo>
                    <a:pt x="74" y="30"/>
                  </a:lnTo>
                  <a:lnTo>
                    <a:pt x="78" y="30"/>
                  </a:lnTo>
                  <a:lnTo>
                    <a:pt x="82" y="30"/>
                  </a:lnTo>
                  <a:lnTo>
                    <a:pt x="86" y="30"/>
                  </a:lnTo>
                  <a:lnTo>
                    <a:pt x="90" y="30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8" y="30"/>
                  </a:lnTo>
                  <a:close/>
                  <a:moveTo>
                    <a:pt x="174" y="58"/>
                  </a:moveTo>
                  <a:lnTo>
                    <a:pt x="172" y="60"/>
                  </a:lnTo>
                  <a:lnTo>
                    <a:pt x="172" y="58"/>
                  </a:lnTo>
                  <a:lnTo>
                    <a:pt x="174" y="58"/>
                  </a:lnTo>
                  <a:lnTo>
                    <a:pt x="174" y="58"/>
                  </a:lnTo>
                  <a:lnTo>
                    <a:pt x="174" y="58"/>
                  </a:lnTo>
                  <a:close/>
                  <a:moveTo>
                    <a:pt x="174" y="60"/>
                  </a:moveTo>
                  <a:lnTo>
                    <a:pt x="172" y="60"/>
                  </a:lnTo>
                  <a:lnTo>
                    <a:pt x="174" y="58"/>
                  </a:lnTo>
                  <a:lnTo>
                    <a:pt x="174" y="60"/>
                  </a:lnTo>
                  <a:lnTo>
                    <a:pt x="174" y="60"/>
                  </a:lnTo>
                  <a:lnTo>
                    <a:pt x="174" y="60"/>
                  </a:lnTo>
                  <a:close/>
                  <a:moveTo>
                    <a:pt x="172" y="64"/>
                  </a:moveTo>
                  <a:lnTo>
                    <a:pt x="172" y="60"/>
                  </a:lnTo>
                  <a:lnTo>
                    <a:pt x="174" y="60"/>
                  </a:lnTo>
                  <a:lnTo>
                    <a:pt x="172" y="64"/>
                  </a:lnTo>
                  <a:lnTo>
                    <a:pt x="172" y="64"/>
                  </a:lnTo>
                  <a:lnTo>
                    <a:pt x="172" y="64"/>
                  </a:lnTo>
                  <a:close/>
                  <a:moveTo>
                    <a:pt x="174" y="64"/>
                  </a:moveTo>
                  <a:lnTo>
                    <a:pt x="174" y="60"/>
                  </a:lnTo>
                  <a:lnTo>
                    <a:pt x="174" y="64"/>
                  </a:lnTo>
                  <a:lnTo>
                    <a:pt x="174" y="64"/>
                  </a:lnTo>
                  <a:lnTo>
                    <a:pt x="174" y="64"/>
                  </a:lnTo>
                  <a:close/>
                  <a:moveTo>
                    <a:pt x="172" y="64"/>
                  </a:moveTo>
                  <a:lnTo>
                    <a:pt x="174" y="60"/>
                  </a:lnTo>
                  <a:lnTo>
                    <a:pt x="174" y="64"/>
                  </a:lnTo>
                  <a:lnTo>
                    <a:pt x="172" y="64"/>
                  </a:lnTo>
                  <a:lnTo>
                    <a:pt x="172" y="64"/>
                  </a:lnTo>
                  <a:lnTo>
                    <a:pt x="172" y="64"/>
                  </a:lnTo>
                  <a:close/>
                  <a:moveTo>
                    <a:pt x="172" y="64"/>
                  </a:moveTo>
                  <a:lnTo>
                    <a:pt x="174" y="64"/>
                  </a:lnTo>
                  <a:lnTo>
                    <a:pt x="172" y="64"/>
                  </a:lnTo>
                  <a:lnTo>
                    <a:pt x="172" y="64"/>
                  </a:lnTo>
                  <a:lnTo>
                    <a:pt x="172" y="64"/>
                  </a:lnTo>
                  <a:close/>
                  <a:moveTo>
                    <a:pt x="172" y="68"/>
                  </a:moveTo>
                  <a:lnTo>
                    <a:pt x="168" y="68"/>
                  </a:lnTo>
                  <a:lnTo>
                    <a:pt x="168" y="64"/>
                  </a:lnTo>
                  <a:lnTo>
                    <a:pt x="164" y="64"/>
                  </a:lnTo>
                  <a:lnTo>
                    <a:pt x="168" y="64"/>
                  </a:lnTo>
                  <a:lnTo>
                    <a:pt x="172" y="64"/>
                  </a:lnTo>
                  <a:lnTo>
                    <a:pt x="168" y="64"/>
                  </a:lnTo>
                  <a:lnTo>
                    <a:pt x="172" y="64"/>
                  </a:lnTo>
                  <a:lnTo>
                    <a:pt x="172" y="68"/>
                  </a:lnTo>
                  <a:lnTo>
                    <a:pt x="172" y="68"/>
                  </a:lnTo>
                  <a:lnTo>
                    <a:pt x="172" y="68"/>
                  </a:lnTo>
                  <a:close/>
                  <a:moveTo>
                    <a:pt x="130" y="28"/>
                  </a:moveTo>
                  <a:lnTo>
                    <a:pt x="130" y="24"/>
                  </a:lnTo>
                  <a:lnTo>
                    <a:pt x="126" y="24"/>
                  </a:lnTo>
                  <a:lnTo>
                    <a:pt x="130" y="24"/>
                  </a:lnTo>
                  <a:lnTo>
                    <a:pt x="130" y="20"/>
                  </a:lnTo>
                  <a:lnTo>
                    <a:pt x="134" y="20"/>
                  </a:lnTo>
                  <a:lnTo>
                    <a:pt x="134" y="24"/>
                  </a:lnTo>
                  <a:lnTo>
                    <a:pt x="130" y="24"/>
                  </a:lnTo>
                  <a:lnTo>
                    <a:pt x="130" y="28"/>
                  </a:lnTo>
                  <a:lnTo>
                    <a:pt x="130" y="28"/>
                  </a:lnTo>
                  <a:lnTo>
                    <a:pt x="130" y="28"/>
                  </a:lnTo>
                  <a:close/>
                  <a:moveTo>
                    <a:pt x="112" y="28"/>
                  </a:moveTo>
                  <a:lnTo>
                    <a:pt x="112" y="24"/>
                  </a:lnTo>
                  <a:lnTo>
                    <a:pt x="116" y="24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28"/>
                  </a:lnTo>
                  <a:close/>
                </a:path>
              </a:pathLst>
            </a:custGeom>
            <a:solidFill>
              <a:srgbClr val="008BE5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50" name="Freeform 190">
              <a:extLst>
                <a:ext uri="{FF2B5EF4-FFF2-40B4-BE49-F238E27FC236}">
                  <a16:creationId xmlns:a16="http://schemas.microsoft.com/office/drawing/2014/main" id="{2BFDB051-9B6E-C2AC-E6C9-AE02977632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98592" y="4495445"/>
              <a:ext cx="1270240" cy="1583826"/>
            </a:xfrm>
            <a:custGeom>
              <a:avLst/>
              <a:gdLst>
                <a:gd name="T0" fmla="*/ 570 w 652"/>
                <a:gd name="T1" fmla="*/ 288 h 840"/>
                <a:gd name="T2" fmla="*/ 570 w 652"/>
                <a:gd name="T3" fmla="*/ 362 h 840"/>
                <a:gd name="T4" fmla="*/ 540 w 652"/>
                <a:gd name="T5" fmla="*/ 426 h 840"/>
                <a:gd name="T6" fmla="*/ 526 w 652"/>
                <a:gd name="T7" fmla="*/ 482 h 840"/>
                <a:gd name="T8" fmla="*/ 472 w 652"/>
                <a:gd name="T9" fmla="*/ 516 h 840"/>
                <a:gd name="T10" fmla="*/ 454 w 652"/>
                <a:gd name="T11" fmla="*/ 500 h 840"/>
                <a:gd name="T12" fmla="*/ 410 w 652"/>
                <a:gd name="T13" fmla="*/ 508 h 840"/>
                <a:gd name="T14" fmla="*/ 372 w 652"/>
                <a:gd name="T15" fmla="*/ 456 h 840"/>
                <a:gd name="T16" fmla="*/ 362 w 652"/>
                <a:gd name="T17" fmla="*/ 448 h 840"/>
                <a:gd name="T18" fmla="*/ 350 w 652"/>
                <a:gd name="T19" fmla="*/ 442 h 840"/>
                <a:gd name="T20" fmla="*/ 342 w 652"/>
                <a:gd name="T21" fmla="*/ 418 h 840"/>
                <a:gd name="T22" fmla="*/ 320 w 652"/>
                <a:gd name="T23" fmla="*/ 438 h 840"/>
                <a:gd name="T24" fmla="*/ 294 w 652"/>
                <a:gd name="T25" fmla="*/ 392 h 840"/>
                <a:gd name="T26" fmla="*/ 228 w 652"/>
                <a:gd name="T27" fmla="*/ 384 h 840"/>
                <a:gd name="T28" fmla="*/ 160 w 652"/>
                <a:gd name="T29" fmla="*/ 408 h 840"/>
                <a:gd name="T30" fmla="*/ 120 w 652"/>
                <a:gd name="T31" fmla="*/ 422 h 840"/>
                <a:gd name="T32" fmla="*/ 74 w 652"/>
                <a:gd name="T33" fmla="*/ 448 h 840"/>
                <a:gd name="T34" fmla="*/ 30 w 652"/>
                <a:gd name="T35" fmla="*/ 422 h 840"/>
                <a:gd name="T36" fmla="*/ 34 w 652"/>
                <a:gd name="T37" fmla="*/ 366 h 840"/>
                <a:gd name="T38" fmla="*/ 16 w 652"/>
                <a:gd name="T39" fmla="*/ 296 h 840"/>
                <a:gd name="T40" fmla="*/ 12 w 652"/>
                <a:gd name="T41" fmla="*/ 278 h 840"/>
                <a:gd name="T42" fmla="*/ 12 w 652"/>
                <a:gd name="T43" fmla="*/ 244 h 840"/>
                <a:gd name="T44" fmla="*/ 26 w 652"/>
                <a:gd name="T45" fmla="*/ 210 h 840"/>
                <a:gd name="T46" fmla="*/ 78 w 652"/>
                <a:gd name="T47" fmla="*/ 180 h 840"/>
                <a:gd name="T48" fmla="*/ 134 w 652"/>
                <a:gd name="T49" fmla="*/ 132 h 840"/>
                <a:gd name="T50" fmla="*/ 152 w 652"/>
                <a:gd name="T51" fmla="*/ 120 h 840"/>
                <a:gd name="T52" fmla="*/ 164 w 652"/>
                <a:gd name="T53" fmla="*/ 106 h 840"/>
                <a:gd name="T54" fmla="*/ 174 w 652"/>
                <a:gd name="T55" fmla="*/ 86 h 840"/>
                <a:gd name="T56" fmla="*/ 194 w 652"/>
                <a:gd name="T57" fmla="*/ 72 h 840"/>
                <a:gd name="T58" fmla="*/ 216 w 652"/>
                <a:gd name="T59" fmla="*/ 86 h 840"/>
                <a:gd name="T60" fmla="*/ 238 w 652"/>
                <a:gd name="T61" fmla="*/ 80 h 840"/>
                <a:gd name="T62" fmla="*/ 258 w 652"/>
                <a:gd name="T63" fmla="*/ 46 h 840"/>
                <a:gd name="T64" fmla="*/ 280 w 652"/>
                <a:gd name="T65" fmla="*/ 24 h 840"/>
                <a:gd name="T66" fmla="*/ 298 w 652"/>
                <a:gd name="T67" fmla="*/ 30 h 840"/>
                <a:gd name="T68" fmla="*/ 332 w 652"/>
                <a:gd name="T69" fmla="*/ 34 h 840"/>
                <a:gd name="T70" fmla="*/ 324 w 652"/>
                <a:gd name="T71" fmla="*/ 76 h 840"/>
                <a:gd name="T72" fmla="*/ 362 w 652"/>
                <a:gd name="T73" fmla="*/ 116 h 840"/>
                <a:gd name="T74" fmla="*/ 402 w 652"/>
                <a:gd name="T75" fmla="*/ 110 h 840"/>
                <a:gd name="T76" fmla="*/ 410 w 652"/>
                <a:gd name="T77" fmla="*/ 46 h 840"/>
                <a:gd name="T78" fmla="*/ 426 w 652"/>
                <a:gd name="T79" fmla="*/ 20 h 840"/>
                <a:gd name="T80" fmla="*/ 452 w 652"/>
                <a:gd name="T81" fmla="*/ 72 h 840"/>
                <a:gd name="T82" fmla="*/ 470 w 652"/>
                <a:gd name="T83" fmla="*/ 132 h 840"/>
                <a:gd name="T84" fmla="*/ 502 w 652"/>
                <a:gd name="T85" fmla="*/ 172 h 840"/>
                <a:gd name="T86" fmla="*/ 522 w 652"/>
                <a:gd name="T87" fmla="*/ 218 h 840"/>
                <a:gd name="T88" fmla="*/ 548 w 652"/>
                <a:gd name="T89" fmla="*/ 244 h 840"/>
                <a:gd name="T90" fmla="*/ 574 w 652"/>
                <a:gd name="T91" fmla="*/ 266 h 840"/>
                <a:gd name="T92" fmla="*/ 498 w 652"/>
                <a:gd name="T93" fmla="*/ 594 h 840"/>
                <a:gd name="T94" fmla="*/ 652 w 652"/>
                <a:gd name="T95" fmla="*/ 840 h 840"/>
                <a:gd name="T96" fmla="*/ 336 w 652"/>
                <a:gd name="T97" fmla="*/ 24 h 840"/>
                <a:gd name="T98" fmla="*/ 260 w 652"/>
                <a:gd name="T99" fmla="*/ 24 h 840"/>
                <a:gd name="T100" fmla="*/ 250 w 652"/>
                <a:gd name="T101" fmla="*/ 30 h 840"/>
                <a:gd name="T102" fmla="*/ 332 w 652"/>
                <a:gd name="T103" fmla="*/ 64 h 840"/>
                <a:gd name="T104" fmla="*/ 372 w 652"/>
                <a:gd name="T105" fmla="*/ 114 h 840"/>
                <a:gd name="T106" fmla="*/ 0 w 652"/>
                <a:gd name="T107" fmla="*/ 274 h 840"/>
                <a:gd name="T108" fmla="*/ 574 w 652"/>
                <a:gd name="T109" fmla="*/ 310 h 840"/>
                <a:gd name="T110" fmla="*/ 462 w 652"/>
                <a:gd name="T111" fmla="*/ 508 h 840"/>
                <a:gd name="T112" fmla="*/ 502 w 652"/>
                <a:gd name="T113" fmla="*/ 550 h 840"/>
                <a:gd name="T114" fmla="*/ 458 w 652"/>
                <a:gd name="T115" fmla="*/ 586 h 840"/>
                <a:gd name="T116" fmla="*/ 480 w 652"/>
                <a:gd name="T117" fmla="*/ 560 h 840"/>
                <a:gd name="T118" fmla="*/ 498 w 652"/>
                <a:gd name="T119" fmla="*/ 580 h 840"/>
                <a:gd name="T120" fmla="*/ 488 w 652"/>
                <a:gd name="T121" fmla="*/ 598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52" h="840">
                  <a:moveTo>
                    <a:pt x="548" y="244"/>
                  </a:moveTo>
                  <a:lnTo>
                    <a:pt x="548" y="248"/>
                  </a:lnTo>
                  <a:lnTo>
                    <a:pt x="548" y="244"/>
                  </a:lnTo>
                  <a:lnTo>
                    <a:pt x="552" y="244"/>
                  </a:lnTo>
                  <a:lnTo>
                    <a:pt x="552" y="248"/>
                  </a:lnTo>
                  <a:lnTo>
                    <a:pt x="554" y="248"/>
                  </a:lnTo>
                  <a:lnTo>
                    <a:pt x="554" y="252"/>
                  </a:lnTo>
                  <a:lnTo>
                    <a:pt x="554" y="256"/>
                  </a:lnTo>
                  <a:lnTo>
                    <a:pt x="558" y="256"/>
                  </a:lnTo>
                  <a:lnTo>
                    <a:pt x="558" y="258"/>
                  </a:lnTo>
                  <a:lnTo>
                    <a:pt x="562" y="258"/>
                  </a:lnTo>
                  <a:lnTo>
                    <a:pt x="562" y="262"/>
                  </a:lnTo>
                  <a:lnTo>
                    <a:pt x="562" y="266"/>
                  </a:lnTo>
                  <a:lnTo>
                    <a:pt x="566" y="266"/>
                  </a:lnTo>
                  <a:lnTo>
                    <a:pt x="566" y="270"/>
                  </a:lnTo>
                  <a:lnTo>
                    <a:pt x="566" y="274"/>
                  </a:lnTo>
                  <a:lnTo>
                    <a:pt x="566" y="278"/>
                  </a:lnTo>
                  <a:lnTo>
                    <a:pt x="570" y="278"/>
                  </a:lnTo>
                  <a:lnTo>
                    <a:pt x="570" y="282"/>
                  </a:lnTo>
                  <a:lnTo>
                    <a:pt x="570" y="286"/>
                  </a:lnTo>
                  <a:lnTo>
                    <a:pt x="570" y="288"/>
                  </a:lnTo>
                  <a:lnTo>
                    <a:pt x="570" y="292"/>
                  </a:lnTo>
                  <a:lnTo>
                    <a:pt x="570" y="296"/>
                  </a:lnTo>
                  <a:lnTo>
                    <a:pt x="570" y="300"/>
                  </a:lnTo>
                  <a:lnTo>
                    <a:pt x="570" y="302"/>
                  </a:lnTo>
                  <a:lnTo>
                    <a:pt x="574" y="306"/>
                  </a:lnTo>
                  <a:lnTo>
                    <a:pt x="574" y="310"/>
                  </a:lnTo>
                  <a:lnTo>
                    <a:pt x="574" y="314"/>
                  </a:lnTo>
                  <a:lnTo>
                    <a:pt x="574" y="318"/>
                  </a:lnTo>
                  <a:lnTo>
                    <a:pt x="578" y="318"/>
                  </a:lnTo>
                  <a:lnTo>
                    <a:pt x="578" y="322"/>
                  </a:lnTo>
                  <a:lnTo>
                    <a:pt x="578" y="326"/>
                  </a:lnTo>
                  <a:lnTo>
                    <a:pt x="578" y="328"/>
                  </a:lnTo>
                  <a:lnTo>
                    <a:pt x="578" y="332"/>
                  </a:lnTo>
                  <a:lnTo>
                    <a:pt x="574" y="332"/>
                  </a:lnTo>
                  <a:lnTo>
                    <a:pt x="574" y="336"/>
                  </a:lnTo>
                  <a:lnTo>
                    <a:pt x="574" y="340"/>
                  </a:lnTo>
                  <a:lnTo>
                    <a:pt x="574" y="344"/>
                  </a:lnTo>
                  <a:lnTo>
                    <a:pt x="574" y="348"/>
                  </a:lnTo>
                  <a:lnTo>
                    <a:pt x="574" y="352"/>
                  </a:lnTo>
                  <a:lnTo>
                    <a:pt x="570" y="356"/>
                  </a:lnTo>
                  <a:lnTo>
                    <a:pt x="570" y="362"/>
                  </a:lnTo>
                  <a:lnTo>
                    <a:pt x="570" y="366"/>
                  </a:lnTo>
                  <a:lnTo>
                    <a:pt x="570" y="370"/>
                  </a:lnTo>
                  <a:lnTo>
                    <a:pt x="570" y="374"/>
                  </a:lnTo>
                  <a:lnTo>
                    <a:pt x="566" y="378"/>
                  </a:lnTo>
                  <a:lnTo>
                    <a:pt x="566" y="382"/>
                  </a:lnTo>
                  <a:lnTo>
                    <a:pt x="566" y="384"/>
                  </a:lnTo>
                  <a:lnTo>
                    <a:pt x="562" y="384"/>
                  </a:lnTo>
                  <a:lnTo>
                    <a:pt x="562" y="388"/>
                  </a:lnTo>
                  <a:lnTo>
                    <a:pt x="562" y="392"/>
                  </a:lnTo>
                  <a:lnTo>
                    <a:pt x="562" y="396"/>
                  </a:lnTo>
                  <a:lnTo>
                    <a:pt x="558" y="400"/>
                  </a:lnTo>
                  <a:lnTo>
                    <a:pt x="554" y="400"/>
                  </a:lnTo>
                  <a:lnTo>
                    <a:pt x="554" y="404"/>
                  </a:lnTo>
                  <a:lnTo>
                    <a:pt x="552" y="404"/>
                  </a:lnTo>
                  <a:lnTo>
                    <a:pt x="552" y="408"/>
                  </a:lnTo>
                  <a:lnTo>
                    <a:pt x="548" y="412"/>
                  </a:lnTo>
                  <a:lnTo>
                    <a:pt x="548" y="414"/>
                  </a:lnTo>
                  <a:lnTo>
                    <a:pt x="544" y="418"/>
                  </a:lnTo>
                  <a:lnTo>
                    <a:pt x="544" y="422"/>
                  </a:lnTo>
                  <a:lnTo>
                    <a:pt x="544" y="426"/>
                  </a:lnTo>
                  <a:lnTo>
                    <a:pt x="540" y="426"/>
                  </a:lnTo>
                  <a:lnTo>
                    <a:pt x="544" y="426"/>
                  </a:lnTo>
                  <a:lnTo>
                    <a:pt x="540" y="430"/>
                  </a:lnTo>
                  <a:lnTo>
                    <a:pt x="540" y="434"/>
                  </a:lnTo>
                  <a:lnTo>
                    <a:pt x="536" y="438"/>
                  </a:lnTo>
                  <a:lnTo>
                    <a:pt x="540" y="438"/>
                  </a:lnTo>
                  <a:lnTo>
                    <a:pt x="536" y="442"/>
                  </a:lnTo>
                  <a:lnTo>
                    <a:pt x="536" y="444"/>
                  </a:lnTo>
                  <a:lnTo>
                    <a:pt x="536" y="448"/>
                  </a:lnTo>
                  <a:lnTo>
                    <a:pt x="536" y="444"/>
                  </a:lnTo>
                  <a:lnTo>
                    <a:pt x="536" y="448"/>
                  </a:lnTo>
                  <a:lnTo>
                    <a:pt x="532" y="448"/>
                  </a:lnTo>
                  <a:lnTo>
                    <a:pt x="532" y="452"/>
                  </a:lnTo>
                  <a:lnTo>
                    <a:pt x="532" y="456"/>
                  </a:lnTo>
                  <a:lnTo>
                    <a:pt x="528" y="460"/>
                  </a:lnTo>
                  <a:lnTo>
                    <a:pt x="528" y="464"/>
                  </a:lnTo>
                  <a:lnTo>
                    <a:pt x="528" y="468"/>
                  </a:lnTo>
                  <a:lnTo>
                    <a:pt x="528" y="470"/>
                  </a:lnTo>
                  <a:lnTo>
                    <a:pt x="526" y="470"/>
                  </a:lnTo>
                  <a:lnTo>
                    <a:pt x="526" y="474"/>
                  </a:lnTo>
                  <a:lnTo>
                    <a:pt x="526" y="478"/>
                  </a:lnTo>
                  <a:lnTo>
                    <a:pt x="526" y="482"/>
                  </a:lnTo>
                  <a:lnTo>
                    <a:pt x="526" y="486"/>
                  </a:lnTo>
                  <a:lnTo>
                    <a:pt x="526" y="490"/>
                  </a:lnTo>
                  <a:lnTo>
                    <a:pt x="526" y="494"/>
                  </a:lnTo>
                  <a:lnTo>
                    <a:pt x="522" y="494"/>
                  </a:lnTo>
                  <a:lnTo>
                    <a:pt x="522" y="498"/>
                  </a:lnTo>
                  <a:lnTo>
                    <a:pt x="518" y="498"/>
                  </a:lnTo>
                  <a:lnTo>
                    <a:pt x="514" y="498"/>
                  </a:lnTo>
                  <a:lnTo>
                    <a:pt x="510" y="498"/>
                  </a:lnTo>
                  <a:lnTo>
                    <a:pt x="506" y="498"/>
                  </a:lnTo>
                  <a:lnTo>
                    <a:pt x="502" y="498"/>
                  </a:lnTo>
                  <a:lnTo>
                    <a:pt x="498" y="498"/>
                  </a:lnTo>
                  <a:lnTo>
                    <a:pt x="498" y="500"/>
                  </a:lnTo>
                  <a:lnTo>
                    <a:pt x="496" y="500"/>
                  </a:lnTo>
                  <a:lnTo>
                    <a:pt x="492" y="500"/>
                  </a:lnTo>
                  <a:lnTo>
                    <a:pt x="492" y="504"/>
                  </a:lnTo>
                  <a:lnTo>
                    <a:pt x="488" y="504"/>
                  </a:lnTo>
                  <a:lnTo>
                    <a:pt x="488" y="508"/>
                  </a:lnTo>
                  <a:lnTo>
                    <a:pt x="484" y="512"/>
                  </a:lnTo>
                  <a:lnTo>
                    <a:pt x="480" y="516"/>
                  </a:lnTo>
                  <a:lnTo>
                    <a:pt x="476" y="516"/>
                  </a:lnTo>
                  <a:lnTo>
                    <a:pt x="472" y="516"/>
                  </a:lnTo>
                  <a:lnTo>
                    <a:pt x="472" y="520"/>
                  </a:lnTo>
                  <a:lnTo>
                    <a:pt x="476" y="520"/>
                  </a:lnTo>
                  <a:lnTo>
                    <a:pt x="476" y="516"/>
                  </a:lnTo>
                  <a:lnTo>
                    <a:pt x="476" y="524"/>
                  </a:lnTo>
                  <a:lnTo>
                    <a:pt x="472" y="524"/>
                  </a:lnTo>
                  <a:lnTo>
                    <a:pt x="472" y="520"/>
                  </a:lnTo>
                  <a:lnTo>
                    <a:pt x="470" y="516"/>
                  </a:lnTo>
                  <a:lnTo>
                    <a:pt x="470" y="520"/>
                  </a:lnTo>
                  <a:lnTo>
                    <a:pt x="466" y="516"/>
                  </a:lnTo>
                  <a:lnTo>
                    <a:pt x="462" y="516"/>
                  </a:lnTo>
                  <a:lnTo>
                    <a:pt x="462" y="512"/>
                  </a:lnTo>
                  <a:lnTo>
                    <a:pt x="462" y="508"/>
                  </a:lnTo>
                  <a:lnTo>
                    <a:pt x="462" y="504"/>
                  </a:lnTo>
                  <a:lnTo>
                    <a:pt x="458" y="504"/>
                  </a:lnTo>
                  <a:lnTo>
                    <a:pt x="458" y="508"/>
                  </a:lnTo>
                  <a:lnTo>
                    <a:pt x="454" y="512"/>
                  </a:lnTo>
                  <a:lnTo>
                    <a:pt x="452" y="508"/>
                  </a:lnTo>
                  <a:lnTo>
                    <a:pt x="454" y="508"/>
                  </a:lnTo>
                  <a:lnTo>
                    <a:pt x="458" y="504"/>
                  </a:lnTo>
                  <a:lnTo>
                    <a:pt x="458" y="500"/>
                  </a:lnTo>
                  <a:lnTo>
                    <a:pt x="454" y="500"/>
                  </a:lnTo>
                  <a:lnTo>
                    <a:pt x="452" y="500"/>
                  </a:lnTo>
                  <a:lnTo>
                    <a:pt x="448" y="504"/>
                  </a:lnTo>
                  <a:lnTo>
                    <a:pt x="452" y="504"/>
                  </a:lnTo>
                  <a:lnTo>
                    <a:pt x="452" y="508"/>
                  </a:lnTo>
                  <a:lnTo>
                    <a:pt x="448" y="508"/>
                  </a:lnTo>
                  <a:lnTo>
                    <a:pt x="444" y="512"/>
                  </a:lnTo>
                  <a:lnTo>
                    <a:pt x="440" y="512"/>
                  </a:lnTo>
                  <a:lnTo>
                    <a:pt x="440" y="516"/>
                  </a:lnTo>
                  <a:lnTo>
                    <a:pt x="436" y="516"/>
                  </a:lnTo>
                  <a:lnTo>
                    <a:pt x="436" y="520"/>
                  </a:lnTo>
                  <a:lnTo>
                    <a:pt x="432" y="516"/>
                  </a:lnTo>
                  <a:lnTo>
                    <a:pt x="428" y="516"/>
                  </a:lnTo>
                  <a:lnTo>
                    <a:pt x="428" y="512"/>
                  </a:lnTo>
                  <a:lnTo>
                    <a:pt x="426" y="512"/>
                  </a:lnTo>
                  <a:lnTo>
                    <a:pt x="422" y="512"/>
                  </a:lnTo>
                  <a:lnTo>
                    <a:pt x="422" y="508"/>
                  </a:lnTo>
                  <a:lnTo>
                    <a:pt x="418" y="508"/>
                  </a:lnTo>
                  <a:lnTo>
                    <a:pt x="414" y="508"/>
                  </a:lnTo>
                  <a:lnTo>
                    <a:pt x="410" y="508"/>
                  </a:lnTo>
                  <a:lnTo>
                    <a:pt x="406" y="508"/>
                  </a:lnTo>
                  <a:lnTo>
                    <a:pt x="410" y="508"/>
                  </a:lnTo>
                  <a:lnTo>
                    <a:pt x="406" y="508"/>
                  </a:lnTo>
                  <a:lnTo>
                    <a:pt x="402" y="508"/>
                  </a:lnTo>
                  <a:lnTo>
                    <a:pt x="402" y="504"/>
                  </a:lnTo>
                  <a:lnTo>
                    <a:pt x="400" y="504"/>
                  </a:lnTo>
                  <a:lnTo>
                    <a:pt x="396" y="504"/>
                  </a:lnTo>
                  <a:lnTo>
                    <a:pt x="396" y="500"/>
                  </a:lnTo>
                  <a:lnTo>
                    <a:pt x="392" y="500"/>
                  </a:lnTo>
                  <a:lnTo>
                    <a:pt x="392" y="498"/>
                  </a:lnTo>
                  <a:lnTo>
                    <a:pt x="388" y="498"/>
                  </a:lnTo>
                  <a:lnTo>
                    <a:pt x="388" y="494"/>
                  </a:lnTo>
                  <a:lnTo>
                    <a:pt x="384" y="494"/>
                  </a:lnTo>
                  <a:lnTo>
                    <a:pt x="384" y="490"/>
                  </a:lnTo>
                  <a:lnTo>
                    <a:pt x="380" y="486"/>
                  </a:lnTo>
                  <a:lnTo>
                    <a:pt x="380" y="482"/>
                  </a:lnTo>
                  <a:lnTo>
                    <a:pt x="384" y="478"/>
                  </a:lnTo>
                  <a:lnTo>
                    <a:pt x="384" y="474"/>
                  </a:lnTo>
                  <a:lnTo>
                    <a:pt x="380" y="468"/>
                  </a:lnTo>
                  <a:lnTo>
                    <a:pt x="376" y="464"/>
                  </a:lnTo>
                  <a:lnTo>
                    <a:pt x="376" y="460"/>
                  </a:lnTo>
                  <a:lnTo>
                    <a:pt x="372" y="460"/>
                  </a:lnTo>
                  <a:lnTo>
                    <a:pt x="372" y="456"/>
                  </a:lnTo>
                  <a:lnTo>
                    <a:pt x="372" y="460"/>
                  </a:lnTo>
                  <a:lnTo>
                    <a:pt x="376" y="460"/>
                  </a:lnTo>
                  <a:lnTo>
                    <a:pt x="376" y="464"/>
                  </a:lnTo>
                  <a:lnTo>
                    <a:pt x="380" y="468"/>
                  </a:lnTo>
                  <a:lnTo>
                    <a:pt x="380" y="464"/>
                  </a:lnTo>
                  <a:lnTo>
                    <a:pt x="376" y="464"/>
                  </a:lnTo>
                  <a:lnTo>
                    <a:pt x="376" y="460"/>
                  </a:lnTo>
                  <a:lnTo>
                    <a:pt x="372" y="456"/>
                  </a:lnTo>
                  <a:lnTo>
                    <a:pt x="372" y="460"/>
                  </a:lnTo>
                  <a:lnTo>
                    <a:pt x="376" y="456"/>
                  </a:lnTo>
                  <a:lnTo>
                    <a:pt x="376" y="452"/>
                  </a:lnTo>
                  <a:lnTo>
                    <a:pt x="372" y="452"/>
                  </a:lnTo>
                  <a:lnTo>
                    <a:pt x="370" y="452"/>
                  </a:lnTo>
                  <a:lnTo>
                    <a:pt x="372" y="452"/>
                  </a:lnTo>
                  <a:lnTo>
                    <a:pt x="372" y="456"/>
                  </a:lnTo>
                  <a:lnTo>
                    <a:pt x="370" y="456"/>
                  </a:lnTo>
                  <a:lnTo>
                    <a:pt x="366" y="456"/>
                  </a:lnTo>
                  <a:lnTo>
                    <a:pt x="358" y="456"/>
                  </a:lnTo>
                  <a:lnTo>
                    <a:pt x="362" y="456"/>
                  </a:lnTo>
                  <a:lnTo>
                    <a:pt x="362" y="452"/>
                  </a:lnTo>
                  <a:lnTo>
                    <a:pt x="362" y="448"/>
                  </a:lnTo>
                  <a:lnTo>
                    <a:pt x="366" y="444"/>
                  </a:lnTo>
                  <a:lnTo>
                    <a:pt x="366" y="442"/>
                  </a:lnTo>
                  <a:lnTo>
                    <a:pt x="362" y="438"/>
                  </a:lnTo>
                  <a:lnTo>
                    <a:pt x="362" y="434"/>
                  </a:lnTo>
                  <a:lnTo>
                    <a:pt x="358" y="430"/>
                  </a:lnTo>
                  <a:lnTo>
                    <a:pt x="358" y="434"/>
                  </a:lnTo>
                  <a:lnTo>
                    <a:pt x="354" y="434"/>
                  </a:lnTo>
                  <a:lnTo>
                    <a:pt x="354" y="438"/>
                  </a:lnTo>
                  <a:lnTo>
                    <a:pt x="354" y="442"/>
                  </a:lnTo>
                  <a:lnTo>
                    <a:pt x="354" y="444"/>
                  </a:lnTo>
                  <a:lnTo>
                    <a:pt x="354" y="448"/>
                  </a:lnTo>
                  <a:lnTo>
                    <a:pt x="350" y="448"/>
                  </a:lnTo>
                  <a:lnTo>
                    <a:pt x="346" y="448"/>
                  </a:lnTo>
                  <a:lnTo>
                    <a:pt x="342" y="448"/>
                  </a:lnTo>
                  <a:lnTo>
                    <a:pt x="340" y="452"/>
                  </a:lnTo>
                  <a:lnTo>
                    <a:pt x="340" y="448"/>
                  </a:lnTo>
                  <a:lnTo>
                    <a:pt x="342" y="448"/>
                  </a:lnTo>
                  <a:lnTo>
                    <a:pt x="342" y="444"/>
                  </a:lnTo>
                  <a:lnTo>
                    <a:pt x="346" y="444"/>
                  </a:lnTo>
                  <a:lnTo>
                    <a:pt x="350" y="444"/>
                  </a:lnTo>
                  <a:lnTo>
                    <a:pt x="350" y="442"/>
                  </a:lnTo>
                  <a:lnTo>
                    <a:pt x="350" y="438"/>
                  </a:lnTo>
                  <a:lnTo>
                    <a:pt x="350" y="434"/>
                  </a:lnTo>
                  <a:lnTo>
                    <a:pt x="350" y="430"/>
                  </a:lnTo>
                  <a:lnTo>
                    <a:pt x="350" y="426"/>
                  </a:lnTo>
                  <a:lnTo>
                    <a:pt x="350" y="422"/>
                  </a:lnTo>
                  <a:lnTo>
                    <a:pt x="354" y="418"/>
                  </a:lnTo>
                  <a:lnTo>
                    <a:pt x="354" y="414"/>
                  </a:lnTo>
                  <a:lnTo>
                    <a:pt x="354" y="412"/>
                  </a:lnTo>
                  <a:lnTo>
                    <a:pt x="358" y="412"/>
                  </a:lnTo>
                  <a:lnTo>
                    <a:pt x="358" y="408"/>
                  </a:lnTo>
                  <a:lnTo>
                    <a:pt x="354" y="404"/>
                  </a:lnTo>
                  <a:lnTo>
                    <a:pt x="354" y="400"/>
                  </a:lnTo>
                  <a:lnTo>
                    <a:pt x="354" y="404"/>
                  </a:lnTo>
                  <a:lnTo>
                    <a:pt x="354" y="408"/>
                  </a:lnTo>
                  <a:lnTo>
                    <a:pt x="350" y="408"/>
                  </a:lnTo>
                  <a:lnTo>
                    <a:pt x="350" y="412"/>
                  </a:lnTo>
                  <a:lnTo>
                    <a:pt x="346" y="412"/>
                  </a:lnTo>
                  <a:lnTo>
                    <a:pt x="346" y="414"/>
                  </a:lnTo>
                  <a:lnTo>
                    <a:pt x="346" y="418"/>
                  </a:lnTo>
                  <a:lnTo>
                    <a:pt x="342" y="422"/>
                  </a:lnTo>
                  <a:lnTo>
                    <a:pt x="342" y="418"/>
                  </a:lnTo>
                  <a:lnTo>
                    <a:pt x="340" y="422"/>
                  </a:lnTo>
                  <a:lnTo>
                    <a:pt x="342" y="422"/>
                  </a:lnTo>
                  <a:lnTo>
                    <a:pt x="340" y="422"/>
                  </a:lnTo>
                  <a:lnTo>
                    <a:pt x="336" y="426"/>
                  </a:lnTo>
                  <a:lnTo>
                    <a:pt x="332" y="426"/>
                  </a:lnTo>
                  <a:lnTo>
                    <a:pt x="332" y="430"/>
                  </a:lnTo>
                  <a:lnTo>
                    <a:pt x="332" y="434"/>
                  </a:lnTo>
                  <a:lnTo>
                    <a:pt x="328" y="434"/>
                  </a:lnTo>
                  <a:lnTo>
                    <a:pt x="328" y="438"/>
                  </a:lnTo>
                  <a:lnTo>
                    <a:pt x="324" y="442"/>
                  </a:lnTo>
                  <a:lnTo>
                    <a:pt x="328" y="442"/>
                  </a:lnTo>
                  <a:lnTo>
                    <a:pt x="328" y="444"/>
                  </a:lnTo>
                  <a:lnTo>
                    <a:pt x="328" y="442"/>
                  </a:lnTo>
                  <a:lnTo>
                    <a:pt x="324" y="442"/>
                  </a:lnTo>
                  <a:lnTo>
                    <a:pt x="324" y="444"/>
                  </a:lnTo>
                  <a:lnTo>
                    <a:pt x="324" y="442"/>
                  </a:lnTo>
                  <a:lnTo>
                    <a:pt x="320" y="442"/>
                  </a:lnTo>
                  <a:lnTo>
                    <a:pt x="320" y="438"/>
                  </a:lnTo>
                  <a:lnTo>
                    <a:pt x="316" y="438"/>
                  </a:lnTo>
                  <a:lnTo>
                    <a:pt x="316" y="434"/>
                  </a:lnTo>
                  <a:lnTo>
                    <a:pt x="320" y="438"/>
                  </a:lnTo>
                  <a:lnTo>
                    <a:pt x="320" y="434"/>
                  </a:lnTo>
                  <a:lnTo>
                    <a:pt x="320" y="430"/>
                  </a:lnTo>
                  <a:lnTo>
                    <a:pt x="316" y="430"/>
                  </a:lnTo>
                  <a:lnTo>
                    <a:pt x="316" y="426"/>
                  </a:lnTo>
                  <a:lnTo>
                    <a:pt x="316" y="422"/>
                  </a:lnTo>
                  <a:lnTo>
                    <a:pt x="314" y="422"/>
                  </a:lnTo>
                  <a:lnTo>
                    <a:pt x="314" y="418"/>
                  </a:lnTo>
                  <a:lnTo>
                    <a:pt x="314" y="414"/>
                  </a:lnTo>
                  <a:lnTo>
                    <a:pt x="310" y="412"/>
                  </a:lnTo>
                  <a:lnTo>
                    <a:pt x="306" y="412"/>
                  </a:lnTo>
                  <a:lnTo>
                    <a:pt x="302" y="408"/>
                  </a:lnTo>
                  <a:lnTo>
                    <a:pt x="302" y="404"/>
                  </a:lnTo>
                  <a:lnTo>
                    <a:pt x="306" y="404"/>
                  </a:lnTo>
                  <a:lnTo>
                    <a:pt x="306" y="400"/>
                  </a:lnTo>
                  <a:lnTo>
                    <a:pt x="302" y="400"/>
                  </a:lnTo>
                  <a:lnTo>
                    <a:pt x="302" y="396"/>
                  </a:lnTo>
                  <a:lnTo>
                    <a:pt x="298" y="396"/>
                  </a:lnTo>
                  <a:lnTo>
                    <a:pt x="298" y="400"/>
                  </a:lnTo>
                  <a:lnTo>
                    <a:pt x="298" y="396"/>
                  </a:lnTo>
                  <a:lnTo>
                    <a:pt x="298" y="392"/>
                  </a:lnTo>
                  <a:lnTo>
                    <a:pt x="294" y="392"/>
                  </a:lnTo>
                  <a:lnTo>
                    <a:pt x="290" y="392"/>
                  </a:lnTo>
                  <a:lnTo>
                    <a:pt x="286" y="392"/>
                  </a:lnTo>
                  <a:lnTo>
                    <a:pt x="286" y="388"/>
                  </a:lnTo>
                  <a:lnTo>
                    <a:pt x="284" y="388"/>
                  </a:lnTo>
                  <a:lnTo>
                    <a:pt x="280" y="388"/>
                  </a:lnTo>
                  <a:lnTo>
                    <a:pt x="276" y="388"/>
                  </a:lnTo>
                  <a:lnTo>
                    <a:pt x="272" y="388"/>
                  </a:lnTo>
                  <a:lnTo>
                    <a:pt x="272" y="384"/>
                  </a:lnTo>
                  <a:lnTo>
                    <a:pt x="268" y="384"/>
                  </a:lnTo>
                  <a:lnTo>
                    <a:pt x="268" y="382"/>
                  </a:lnTo>
                  <a:lnTo>
                    <a:pt x="264" y="382"/>
                  </a:lnTo>
                  <a:lnTo>
                    <a:pt x="260" y="382"/>
                  </a:lnTo>
                  <a:lnTo>
                    <a:pt x="260" y="378"/>
                  </a:lnTo>
                  <a:lnTo>
                    <a:pt x="258" y="382"/>
                  </a:lnTo>
                  <a:lnTo>
                    <a:pt x="254" y="382"/>
                  </a:lnTo>
                  <a:lnTo>
                    <a:pt x="246" y="382"/>
                  </a:lnTo>
                  <a:lnTo>
                    <a:pt x="242" y="382"/>
                  </a:lnTo>
                  <a:lnTo>
                    <a:pt x="238" y="382"/>
                  </a:lnTo>
                  <a:lnTo>
                    <a:pt x="234" y="382"/>
                  </a:lnTo>
                  <a:lnTo>
                    <a:pt x="230" y="382"/>
                  </a:lnTo>
                  <a:lnTo>
                    <a:pt x="228" y="384"/>
                  </a:lnTo>
                  <a:lnTo>
                    <a:pt x="224" y="384"/>
                  </a:lnTo>
                  <a:lnTo>
                    <a:pt x="216" y="388"/>
                  </a:lnTo>
                  <a:lnTo>
                    <a:pt x="216" y="392"/>
                  </a:lnTo>
                  <a:lnTo>
                    <a:pt x="212" y="392"/>
                  </a:lnTo>
                  <a:lnTo>
                    <a:pt x="208" y="392"/>
                  </a:lnTo>
                  <a:lnTo>
                    <a:pt x="204" y="392"/>
                  </a:lnTo>
                  <a:lnTo>
                    <a:pt x="202" y="392"/>
                  </a:lnTo>
                  <a:lnTo>
                    <a:pt x="202" y="396"/>
                  </a:lnTo>
                  <a:lnTo>
                    <a:pt x="198" y="396"/>
                  </a:lnTo>
                  <a:lnTo>
                    <a:pt x="194" y="396"/>
                  </a:lnTo>
                  <a:lnTo>
                    <a:pt x="194" y="392"/>
                  </a:lnTo>
                  <a:lnTo>
                    <a:pt x="190" y="392"/>
                  </a:lnTo>
                  <a:lnTo>
                    <a:pt x="186" y="392"/>
                  </a:lnTo>
                  <a:lnTo>
                    <a:pt x="182" y="396"/>
                  </a:lnTo>
                  <a:lnTo>
                    <a:pt x="178" y="400"/>
                  </a:lnTo>
                  <a:lnTo>
                    <a:pt x="174" y="400"/>
                  </a:lnTo>
                  <a:lnTo>
                    <a:pt x="172" y="404"/>
                  </a:lnTo>
                  <a:lnTo>
                    <a:pt x="168" y="404"/>
                  </a:lnTo>
                  <a:lnTo>
                    <a:pt x="168" y="408"/>
                  </a:lnTo>
                  <a:lnTo>
                    <a:pt x="164" y="408"/>
                  </a:lnTo>
                  <a:lnTo>
                    <a:pt x="160" y="408"/>
                  </a:lnTo>
                  <a:lnTo>
                    <a:pt x="160" y="412"/>
                  </a:lnTo>
                  <a:lnTo>
                    <a:pt x="160" y="414"/>
                  </a:lnTo>
                  <a:lnTo>
                    <a:pt x="156" y="418"/>
                  </a:lnTo>
                  <a:lnTo>
                    <a:pt x="156" y="422"/>
                  </a:lnTo>
                  <a:lnTo>
                    <a:pt x="152" y="422"/>
                  </a:lnTo>
                  <a:lnTo>
                    <a:pt x="152" y="426"/>
                  </a:lnTo>
                  <a:lnTo>
                    <a:pt x="148" y="422"/>
                  </a:lnTo>
                  <a:lnTo>
                    <a:pt x="148" y="426"/>
                  </a:lnTo>
                  <a:lnTo>
                    <a:pt x="146" y="426"/>
                  </a:lnTo>
                  <a:lnTo>
                    <a:pt x="146" y="422"/>
                  </a:lnTo>
                  <a:lnTo>
                    <a:pt x="142" y="422"/>
                  </a:lnTo>
                  <a:lnTo>
                    <a:pt x="142" y="426"/>
                  </a:lnTo>
                  <a:lnTo>
                    <a:pt x="142" y="422"/>
                  </a:lnTo>
                  <a:lnTo>
                    <a:pt x="138" y="422"/>
                  </a:lnTo>
                  <a:lnTo>
                    <a:pt x="138" y="426"/>
                  </a:lnTo>
                  <a:lnTo>
                    <a:pt x="134" y="426"/>
                  </a:lnTo>
                  <a:lnTo>
                    <a:pt x="130" y="426"/>
                  </a:lnTo>
                  <a:lnTo>
                    <a:pt x="130" y="422"/>
                  </a:lnTo>
                  <a:lnTo>
                    <a:pt x="126" y="422"/>
                  </a:lnTo>
                  <a:lnTo>
                    <a:pt x="122" y="422"/>
                  </a:lnTo>
                  <a:lnTo>
                    <a:pt x="120" y="422"/>
                  </a:lnTo>
                  <a:lnTo>
                    <a:pt x="116" y="422"/>
                  </a:lnTo>
                  <a:lnTo>
                    <a:pt x="112" y="422"/>
                  </a:lnTo>
                  <a:lnTo>
                    <a:pt x="108" y="426"/>
                  </a:lnTo>
                  <a:lnTo>
                    <a:pt x="104" y="426"/>
                  </a:lnTo>
                  <a:lnTo>
                    <a:pt x="102" y="426"/>
                  </a:lnTo>
                  <a:lnTo>
                    <a:pt x="98" y="426"/>
                  </a:lnTo>
                  <a:lnTo>
                    <a:pt x="98" y="430"/>
                  </a:lnTo>
                  <a:lnTo>
                    <a:pt x="94" y="430"/>
                  </a:lnTo>
                  <a:lnTo>
                    <a:pt x="94" y="434"/>
                  </a:lnTo>
                  <a:lnTo>
                    <a:pt x="90" y="438"/>
                  </a:lnTo>
                  <a:lnTo>
                    <a:pt x="90" y="434"/>
                  </a:lnTo>
                  <a:lnTo>
                    <a:pt x="86" y="434"/>
                  </a:lnTo>
                  <a:lnTo>
                    <a:pt x="86" y="438"/>
                  </a:lnTo>
                  <a:lnTo>
                    <a:pt x="82" y="438"/>
                  </a:lnTo>
                  <a:lnTo>
                    <a:pt x="82" y="442"/>
                  </a:lnTo>
                  <a:lnTo>
                    <a:pt x="78" y="442"/>
                  </a:lnTo>
                  <a:lnTo>
                    <a:pt x="78" y="444"/>
                  </a:lnTo>
                  <a:lnTo>
                    <a:pt x="74" y="444"/>
                  </a:lnTo>
                  <a:lnTo>
                    <a:pt x="72" y="444"/>
                  </a:lnTo>
                  <a:lnTo>
                    <a:pt x="74" y="444"/>
                  </a:lnTo>
                  <a:lnTo>
                    <a:pt x="74" y="448"/>
                  </a:lnTo>
                  <a:lnTo>
                    <a:pt x="72" y="448"/>
                  </a:lnTo>
                  <a:lnTo>
                    <a:pt x="72" y="444"/>
                  </a:lnTo>
                  <a:lnTo>
                    <a:pt x="68" y="444"/>
                  </a:lnTo>
                  <a:lnTo>
                    <a:pt x="68" y="448"/>
                  </a:lnTo>
                  <a:lnTo>
                    <a:pt x="68" y="444"/>
                  </a:lnTo>
                  <a:lnTo>
                    <a:pt x="64" y="444"/>
                  </a:lnTo>
                  <a:lnTo>
                    <a:pt x="60" y="444"/>
                  </a:lnTo>
                  <a:lnTo>
                    <a:pt x="56" y="444"/>
                  </a:lnTo>
                  <a:lnTo>
                    <a:pt x="52" y="444"/>
                  </a:lnTo>
                  <a:lnTo>
                    <a:pt x="48" y="444"/>
                  </a:lnTo>
                  <a:lnTo>
                    <a:pt x="48" y="442"/>
                  </a:lnTo>
                  <a:lnTo>
                    <a:pt x="46" y="442"/>
                  </a:lnTo>
                  <a:lnTo>
                    <a:pt x="46" y="438"/>
                  </a:lnTo>
                  <a:lnTo>
                    <a:pt x="42" y="438"/>
                  </a:lnTo>
                  <a:lnTo>
                    <a:pt x="42" y="434"/>
                  </a:lnTo>
                  <a:lnTo>
                    <a:pt x="38" y="434"/>
                  </a:lnTo>
                  <a:lnTo>
                    <a:pt x="34" y="430"/>
                  </a:lnTo>
                  <a:lnTo>
                    <a:pt x="34" y="434"/>
                  </a:lnTo>
                  <a:lnTo>
                    <a:pt x="30" y="430"/>
                  </a:lnTo>
                  <a:lnTo>
                    <a:pt x="30" y="426"/>
                  </a:lnTo>
                  <a:lnTo>
                    <a:pt x="30" y="422"/>
                  </a:lnTo>
                  <a:lnTo>
                    <a:pt x="30" y="418"/>
                  </a:lnTo>
                  <a:lnTo>
                    <a:pt x="34" y="418"/>
                  </a:lnTo>
                  <a:lnTo>
                    <a:pt x="38" y="418"/>
                  </a:lnTo>
                  <a:lnTo>
                    <a:pt x="42" y="414"/>
                  </a:lnTo>
                  <a:lnTo>
                    <a:pt x="42" y="412"/>
                  </a:lnTo>
                  <a:lnTo>
                    <a:pt x="42" y="408"/>
                  </a:lnTo>
                  <a:lnTo>
                    <a:pt x="42" y="404"/>
                  </a:lnTo>
                  <a:lnTo>
                    <a:pt x="42" y="400"/>
                  </a:lnTo>
                  <a:lnTo>
                    <a:pt x="42" y="404"/>
                  </a:lnTo>
                  <a:lnTo>
                    <a:pt x="42" y="400"/>
                  </a:lnTo>
                  <a:lnTo>
                    <a:pt x="42" y="396"/>
                  </a:lnTo>
                  <a:lnTo>
                    <a:pt x="42" y="392"/>
                  </a:lnTo>
                  <a:lnTo>
                    <a:pt x="42" y="388"/>
                  </a:lnTo>
                  <a:lnTo>
                    <a:pt x="42" y="384"/>
                  </a:lnTo>
                  <a:lnTo>
                    <a:pt x="42" y="382"/>
                  </a:lnTo>
                  <a:lnTo>
                    <a:pt x="42" y="378"/>
                  </a:lnTo>
                  <a:lnTo>
                    <a:pt x="38" y="378"/>
                  </a:lnTo>
                  <a:lnTo>
                    <a:pt x="38" y="374"/>
                  </a:lnTo>
                  <a:lnTo>
                    <a:pt x="38" y="370"/>
                  </a:lnTo>
                  <a:lnTo>
                    <a:pt x="34" y="370"/>
                  </a:lnTo>
                  <a:lnTo>
                    <a:pt x="34" y="366"/>
                  </a:lnTo>
                  <a:lnTo>
                    <a:pt x="34" y="362"/>
                  </a:lnTo>
                  <a:lnTo>
                    <a:pt x="34" y="358"/>
                  </a:lnTo>
                  <a:lnTo>
                    <a:pt x="34" y="356"/>
                  </a:lnTo>
                  <a:lnTo>
                    <a:pt x="30" y="356"/>
                  </a:lnTo>
                  <a:lnTo>
                    <a:pt x="30" y="352"/>
                  </a:lnTo>
                  <a:lnTo>
                    <a:pt x="30" y="348"/>
                  </a:lnTo>
                  <a:lnTo>
                    <a:pt x="30" y="344"/>
                  </a:lnTo>
                  <a:lnTo>
                    <a:pt x="30" y="340"/>
                  </a:lnTo>
                  <a:lnTo>
                    <a:pt x="30" y="336"/>
                  </a:lnTo>
                  <a:lnTo>
                    <a:pt x="26" y="332"/>
                  </a:lnTo>
                  <a:lnTo>
                    <a:pt x="26" y="328"/>
                  </a:lnTo>
                  <a:lnTo>
                    <a:pt x="26" y="326"/>
                  </a:lnTo>
                  <a:lnTo>
                    <a:pt x="22" y="322"/>
                  </a:lnTo>
                  <a:lnTo>
                    <a:pt x="22" y="318"/>
                  </a:lnTo>
                  <a:lnTo>
                    <a:pt x="18" y="318"/>
                  </a:lnTo>
                  <a:lnTo>
                    <a:pt x="18" y="314"/>
                  </a:lnTo>
                  <a:lnTo>
                    <a:pt x="18" y="310"/>
                  </a:lnTo>
                  <a:lnTo>
                    <a:pt x="18" y="306"/>
                  </a:lnTo>
                  <a:lnTo>
                    <a:pt x="18" y="302"/>
                  </a:lnTo>
                  <a:lnTo>
                    <a:pt x="16" y="300"/>
                  </a:lnTo>
                  <a:lnTo>
                    <a:pt x="16" y="296"/>
                  </a:lnTo>
                  <a:lnTo>
                    <a:pt x="12" y="296"/>
                  </a:lnTo>
                  <a:lnTo>
                    <a:pt x="12" y="292"/>
                  </a:lnTo>
                  <a:lnTo>
                    <a:pt x="12" y="288"/>
                  </a:lnTo>
                  <a:lnTo>
                    <a:pt x="8" y="288"/>
                  </a:lnTo>
                  <a:lnTo>
                    <a:pt x="8" y="286"/>
                  </a:lnTo>
                  <a:lnTo>
                    <a:pt x="8" y="282"/>
                  </a:lnTo>
                  <a:lnTo>
                    <a:pt x="8" y="286"/>
                  </a:lnTo>
                  <a:lnTo>
                    <a:pt x="8" y="282"/>
                  </a:lnTo>
                  <a:lnTo>
                    <a:pt x="12" y="286"/>
                  </a:lnTo>
                  <a:lnTo>
                    <a:pt x="12" y="288"/>
                  </a:lnTo>
                  <a:lnTo>
                    <a:pt x="12" y="292"/>
                  </a:lnTo>
                  <a:lnTo>
                    <a:pt x="16" y="292"/>
                  </a:lnTo>
                  <a:lnTo>
                    <a:pt x="16" y="288"/>
                  </a:lnTo>
                  <a:lnTo>
                    <a:pt x="16" y="286"/>
                  </a:lnTo>
                  <a:lnTo>
                    <a:pt x="12" y="286"/>
                  </a:lnTo>
                  <a:lnTo>
                    <a:pt x="12" y="282"/>
                  </a:lnTo>
                  <a:lnTo>
                    <a:pt x="12" y="278"/>
                  </a:lnTo>
                  <a:lnTo>
                    <a:pt x="8" y="274"/>
                  </a:lnTo>
                  <a:lnTo>
                    <a:pt x="12" y="270"/>
                  </a:lnTo>
                  <a:lnTo>
                    <a:pt x="12" y="274"/>
                  </a:lnTo>
                  <a:lnTo>
                    <a:pt x="12" y="278"/>
                  </a:lnTo>
                  <a:lnTo>
                    <a:pt x="16" y="278"/>
                  </a:lnTo>
                  <a:lnTo>
                    <a:pt x="16" y="282"/>
                  </a:lnTo>
                  <a:lnTo>
                    <a:pt x="12" y="282"/>
                  </a:lnTo>
                  <a:lnTo>
                    <a:pt x="16" y="286"/>
                  </a:lnTo>
                  <a:lnTo>
                    <a:pt x="16" y="282"/>
                  </a:lnTo>
                  <a:lnTo>
                    <a:pt x="16" y="286"/>
                  </a:lnTo>
                  <a:lnTo>
                    <a:pt x="18" y="288"/>
                  </a:lnTo>
                  <a:lnTo>
                    <a:pt x="18" y="286"/>
                  </a:lnTo>
                  <a:lnTo>
                    <a:pt x="18" y="282"/>
                  </a:lnTo>
                  <a:lnTo>
                    <a:pt x="22" y="282"/>
                  </a:lnTo>
                  <a:lnTo>
                    <a:pt x="22" y="278"/>
                  </a:lnTo>
                  <a:lnTo>
                    <a:pt x="18" y="274"/>
                  </a:lnTo>
                  <a:lnTo>
                    <a:pt x="16" y="270"/>
                  </a:lnTo>
                  <a:lnTo>
                    <a:pt x="16" y="266"/>
                  </a:lnTo>
                  <a:lnTo>
                    <a:pt x="12" y="262"/>
                  </a:lnTo>
                  <a:lnTo>
                    <a:pt x="12" y="258"/>
                  </a:lnTo>
                  <a:lnTo>
                    <a:pt x="12" y="256"/>
                  </a:lnTo>
                  <a:lnTo>
                    <a:pt x="8" y="256"/>
                  </a:lnTo>
                  <a:lnTo>
                    <a:pt x="8" y="252"/>
                  </a:lnTo>
                  <a:lnTo>
                    <a:pt x="8" y="248"/>
                  </a:lnTo>
                  <a:lnTo>
                    <a:pt x="12" y="244"/>
                  </a:lnTo>
                  <a:lnTo>
                    <a:pt x="12" y="240"/>
                  </a:lnTo>
                  <a:lnTo>
                    <a:pt x="12" y="236"/>
                  </a:lnTo>
                  <a:lnTo>
                    <a:pt x="16" y="236"/>
                  </a:lnTo>
                  <a:lnTo>
                    <a:pt x="16" y="232"/>
                  </a:lnTo>
                  <a:lnTo>
                    <a:pt x="16" y="228"/>
                  </a:lnTo>
                  <a:lnTo>
                    <a:pt x="16" y="226"/>
                  </a:lnTo>
                  <a:lnTo>
                    <a:pt x="16" y="222"/>
                  </a:lnTo>
                  <a:lnTo>
                    <a:pt x="12" y="222"/>
                  </a:lnTo>
                  <a:lnTo>
                    <a:pt x="12" y="218"/>
                  </a:lnTo>
                  <a:lnTo>
                    <a:pt x="16" y="218"/>
                  </a:lnTo>
                  <a:lnTo>
                    <a:pt x="16" y="214"/>
                  </a:lnTo>
                  <a:lnTo>
                    <a:pt x="16" y="210"/>
                  </a:lnTo>
                  <a:lnTo>
                    <a:pt x="16" y="206"/>
                  </a:lnTo>
                  <a:lnTo>
                    <a:pt x="18" y="206"/>
                  </a:lnTo>
                  <a:lnTo>
                    <a:pt x="18" y="210"/>
                  </a:lnTo>
                  <a:lnTo>
                    <a:pt x="18" y="214"/>
                  </a:lnTo>
                  <a:lnTo>
                    <a:pt x="18" y="218"/>
                  </a:lnTo>
                  <a:lnTo>
                    <a:pt x="22" y="218"/>
                  </a:lnTo>
                  <a:lnTo>
                    <a:pt x="22" y="214"/>
                  </a:lnTo>
                  <a:lnTo>
                    <a:pt x="22" y="210"/>
                  </a:lnTo>
                  <a:lnTo>
                    <a:pt x="26" y="210"/>
                  </a:lnTo>
                  <a:lnTo>
                    <a:pt x="26" y="206"/>
                  </a:lnTo>
                  <a:lnTo>
                    <a:pt x="30" y="202"/>
                  </a:lnTo>
                  <a:lnTo>
                    <a:pt x="34" y="202"/>
                  </a:lnTo>
                  <a:lnTo>
                    <a:pt x="38" y="200"/>
                  </a:lnTo>
                  <a:lnTo>
                    <a:pt x="42" y="196"/>
                  </a:lnTo>
                  <a:lnTo>
                    <a:pt x="46" y="196"/>
                  </a:lnTo>
                  <a:lnTo>
                    <a:pt x="46" y="192"/>
                  </a:lnTo>
                  <a:lnTo>
                    <a:pt x="48" y="192"/>
                  </a:lnTo>
                  <a:lnTo>
                    <a:pt x="48" y="188"/>
                  </a:lnTo>
                  <a:lnTo>
                    <a:pt x="52" y="188"/>
                  </a:lnTo>
                  <a:lnTo>
                    <a:pt x="56" y="188"/>
                  </a:lnTo>
                  <a:lnTo>
                    <a:pt x="56" y="184"/>
                  </a:lnTo>
                  <a:lnTo>
                    <a:pt x="60" y="184"/>
                  </a:lnTo>
                  <a:lnTo>
                    <a:pt x="64" y="184"/>
                  </a:lnTo>
                  <a:lnTo>
                    <a:pt x="64" y="188"/>
                  </a:lnTo>
                  <a:lnTo>
                    <a:pt x="68" y="188"/>
                  </a:lnTo>
                  <a:lnTo>
                    <a:pt x="68" y="184"/>
                  </a:lnTo>
                  <a:lnTo>
                    <a:pt x="72" y="184"/>
                  </a:lnTo>
                  <a:lnTo>
                    <a:pt x="74" y="184"/>
                  </a:lnTo>
                  <a:lnTo>
                    <a:pt x="74" y="180"/>
                  </a:lnTo>
                  <a:lnTo>
                    <a:pt x="78" y="180"/>
                  </a:lnTo>
                  <a:lnTo>
                    <a:pt x="82" y="180"/>
                  </a:lnTo>
                  <a:lnTo>
                    <a:pt x="86" y="176"/>
                  </a:lnTo>
                  <a:lnTo>
                    <a:pt x="90" y="172"/>
                  </a:lnTo>
                  <a:lnTo>
                    <a:pt x="94" y="172"/>
                  </a:lnTo>
                  <a:lnTo>
                    <a:pt x="98" y="172"/>
                  </a:lnTo>
                  <a:lnTo>
                    <a:pt x="102" y="172"/>
                  </a:lnTo>
                  <a:lnTo>
                    <a:pt x="104" y="172"/>
                  </a:lnTo>
                  <a:lnTo>
                    <a:pt x="108" y="170"/>
                  </a:lnTo>
                  <a:lnTo>
                    <a:pt x="112" y="170"/>
                  </a:lnTo>
                  <a:lnTo>
                    <a:pt x="116" y="166"/>
                  </a:lnTo>
                  <a:lnTo>
                    <a:pt x="120" y="166"/>
                  </a:lnTo>
                  <a:lnTo>
                    <a:pt x="120" y="162"/>
                  </a:lnTo>
                  <a:lnTo>
                    <a:pt x="122" y="158"/>
                  </a:lnTo>
                  <a:lnTo>
                    <a:pt x="122" y="154"/>
                  </a:lnTo>
                  <a:lnTo>
                    <a:pt x="126" y="150"/>
                  </a:lnTo>
                  <a:lnTo>
                    <a:pt x="126" y="146"/>
                  </a:lnTo>
                  <a:lnTo>
                    <a:pt x="130" y="146"/>
                  </a:lnTo>
                  <a:lnTo>
                    <a:pt x="130" y="142"/>
                  </a:lnTo>
                  <a:lnTo>
                    <a:pt x="134" y="140"/>
                  </a:lnTo>
                  <a:lnTo>
                    <a:pt x="134" y="136"/>
                  </a:lnTo>
                  <a:lnTo>
                    <a:pt x="134" y="132"/>
                  </a:lnTo>
                  <a:lnTo>
                    <a:pt x="134" y="128"/>
                  </a:lnTo>
                  <a:lnTo>
                    <a:pt x="134" y="124"/>
                  </a:lnTo>
                  <a:lnTo>
                    <a:pt x="134" y="120"/>
                  </a:lnTo>
                  <a:lnTo>
                    <a:pt x="138" y="120"/>
                  </a:lnTo>
                  <a:lnTo>
                    <a:pt x="138" y="116"/>
                  </a:lnTo>
                  <a:lnTo>
                    <a:pt x="142" y="116"/>
                  </a:lnTo>
                  <a:lnTo>
                    <a:pt x="142" y="114"/>
                  </a:lnTo>
                  <a:lnTo>
                    <a:pt x="142" y="110"/>
                  </a:lnTo>
                  <a:lnTo>
                    <a:pt x="146" y="110"/>
                  </a:lnTo>
                  <a:lnTo>
                    <a:pt x="146" y="114"/>
                  </a:lnTo>
                  <a:lnTo>
                    <a:pt x="146" y="110"/>
                  </a:lnTo>
                  <a:lnTo>
                    <a:pt x="146" y="114"/>
                  </a:lnTo>
                  <a:lnTo>
                    <a:pt x="146" y="116"/>
                  </a:lnTo>
                  <a:lnTo>
                    <a:pt x="148" y="120"/>
                  </a:lnTo>
                  <a:lnTo>
                    <a:pt x="148" y="124"/>
                  </a:lnTo>
                  <a:lnTo>
                    <a:pt x="148" y="128"/>
                  </a:lnTo>
                  <a:lnTo>
                    <a:pt x="152" y="128"/>
                  </a:lnTo>
                  <a:lnTo>
                    <a:pt x="152" y="132"/>
                  </a:lnTo>
                  <a:lnTo>
                    <a:pt x="152" y="128"/>
                  </a:lnTo>
                  <a:lnTo>
                    <a:pt x="152" y="124"/>
                  </a:lnTo>
                  <a:lnTo>
                    <a:pt x="152" y="120"/>
                  </a:lnTo>
                  <a:lnTo>
                    <a:pt x="156" y="120"/>
                  </a:lnTo>
                  <a:lnTo>
                    <a:pt x="156" y="124"/>
                  </a:lnTo>
                  <a:lnTo>
                    <a:pt x="156" y="120"/>
                  </a:lnTo>
                  <a:lnTo>
                    <a:pt x="156" y="116"/>
                  </a:lnTo>
                  <a:lnTo>
                    <a:pt x="152" y="116"/>
                  </a:lnTo>
                  <a:lnTo>
                    <a:pt x="152" y="114"/>
                  </a:lnTo>
                  <a:lnTo>
                    <a:pt x="148" y="114"/>
                  </a:lnTo>
                  <a:lnTo>
                    <a:pt x="152" y="114"/>
                  </a:lnTo>
                  <a:lnTo>
                    <a:pt x="152" y="110"/>
                  </a:lnTo>
                  <a:lnTo>
                    <a:pt x="152" y="106"/>
                  </a:lnTo>
                  <a:lnTo>
                    <a:pt x="156" y="106"/>
                  </a:lnTo>
                  <a:lnTo>
                    <a:pt x="156" y="110"/>
                  </a:lnTo>
                  <a:lnTo>
                    <a:pt x="156" y="106"/>
                  </a:lnTo>
                  <a:lnTo>
                    <a:pt x="160" y="106"/>
                  </a:lnTo>
                  <a:lnTo>
                    <a:pt x="160" y="110"/>
                  </a:lnTo>
                  <a:lnTo>
                    <a:pt x="164" y="110"/>
                  </a:lnTo>
                  <a:lnTo>
                    <a:pt x="168" y="110"/>
                  </a:lnTo>
                  <a:lnTo>
                    <a:pt x="172" y="110"/>
                  </a:lnTo>
                  <a:lnTo>
                    <a:pt x="168" y="110"/>
                  </a:lnTo>
                  <a:lnTo>
                    <a:pt x="164" y="110"/>
                  </a:lnTo>
                  <a:lnTo>
                    <a:pt x="164" y="106"/>
                  </a:lnTo>
                  <a:lnTo>
                    <a:pt x="168" y="106"/>
                  </a:lnTo>
                  <a:lnTo>
                    <a:pt x="168" y="102"/>
                  </a:lnTo>
                  <a:lnTo>
                    <a:pt x="168" y="98"/>
                  </a:lnTo>
                  <a:lnTo>
                    <a:pt x="168" y="102"/>
                  </a:lnTo>
                  <a:lnTo>
                    <a:pt x="164" y="102"/>
                  </a:lnTo>
                  <a:lnTo>
                    <a:pt x="164" y="98"/>
                  </a:lnTo>
                  <a:lnTo>
                    <a:pt x="164" y="94"/>
                  </a:lnTo>
                  <a:lnTo>
                    <a:pt x="168" y="94"/>
                  </a:lnTo>
                  <a:lnTo>
                    <a:pt x="168" y="90"/>
                  </a:lnTo>
                  <a:lnTo>
                    <a:pt x="172" y="90"/>
                  </a:lnTo>
                  <a:lnTo>
                    <a:pt x="172" y="94"/>
                  </a:lnTo>
                  <a:lnTo>
                    <a:pt x="174" y="94"/>
                  </a:lnTo>
                  <a:lnTo>
                    <a:pt x="174" y="90"/>
                  </a:lnTo>
                  <a:lnTo>
                    <a:pt x="172" y="90"/>
                  </a:lnTo>
                  <a:lnTo>
                    <a:pt x="174" y="86"/>
                  </a:lnTo>
                  <a:lnTo>
                    <a:pt x="172" y="86"/>
                  </a:lnTo>
                  <a:lnTo>
                    <a:pt x="172" y="90"/>
                  </a:lnTo>
                  <a:lnTo>
                    <a:pt x="172" y="86"/>
                  </a:lnTo>
                  <a:lnTo>
                    <a:pt x="174" y="86"/>
                  </a:lnTo>
                  <a:lnTo>
                    <a:pt x="178" y="86"/>
                  </a:lnTo>
                  <a:lnTo>
                    <a:pt x="174" y="86"/>
                  </a:lnTo>
                  <a:lnTo>
                    <a:pt x="174" y="84"/>
                  </a:lnTo>
                  <a:lnTo>
                    <a:pt x="174" y="80"/>
                  </a:lnTo>
                  <a:lnTo>
                    <a:pt x="178" y="76"/>
                  </a:lnTo>
                  <a:lnTo>
                    <a:pt x="178" y="80"/>
                  </a:lnTo>
                  <a:lnTo>
                    <a:pt x="182" y="80"/>
                  </a:lnTo>
                  <a:lnTo>
                    <a:pt x="182" y="76"/>
                  </a:lnTo>
                  <a:lnTo>
                    <a:pt x="182" y="72"/>
                  </a:lnTo>
                  <a:lnTo>
                    <a:pt x="182" y="76"/>
                  </a:lnTo>
                  <a:lnTo>
                    <a:pt x="182" y="80"/>
                  </a:lnTo>
                  <a:lnTo>
                    <a:pt x="182" y="76"/>
                  </a:lnTo>
                  <a:lnTo>
                    <a:pt x="186" y="76"/>
                  </a:lnTo>
                  <a:lnTo>
                    <a:pt x="182" y="80"/>
                  </a:lnTo>
                  <a:lnTo>
                    <a:pt x="186" y="80"/>
                  </a:lnTo>
                  <a:lnTo>
                    <a:pt x="186" y="76"/>
                  </a:lnTo>
                  <a:lnTo>
                    <a:pt x="190" y="72"/>
                  </a:lnTo>
                  <a:lnTo>
                    <a:pt x="186" y="68"/>
                  </a:lnTo>
                  <a:lnTo>
                    <a:pt x="190" y="68"/>
                  </a:lnTo>
                  <a:lnTo>
                    <a:pt x="190" y="72"/>
                  </a:lnTo>
                  <a:lnTo>
                    <a:pt x="190" y="68"/>
                  </a:lnTo>
                  <a:lnTo>
                    <a:pt x="194" y="68"/>
                  </a:lnTo>
                  <a:lnTo>
                    <a:pt x="194" y="72"/>
                  </a:lnTo>
                  <a:lnTo>
                    <a:pt x="198" y="72"/>
                  </a:lnTo>
                  <a:lnTo>
                    <a:pt x="198" y="68"/>
                  </a:lnTo>
                  <a:lnTo>
                    <a:pt x="198" y="64"/>
                  </a:lnTo>
                  <a:lnTo>
                    <a:pt x="202" y="64"/>
                  </a:lnTo>
                  <a:lnTo>
                    <a:pt x="202" y="68"/>
                  </a:lnTo>
                  <a:lnTo>
                    <a:pt x="204" y="68"/>
                  </a:lnTo>
                  <a:lnTo>
                    <a:pt x="204" y="64"/>
                  </a:lnTo>
                  <a:lnTo>
                    <a:pt x="204" y="68"/>
                  </a:lnTo>
                  <a:lnTo>
                    <a:pt x="208" y="68"/>
                  </a:lnTo>
                  <a:lnTo>
                    <a:pt x="208" y="72"/>
                  </a:lnTo>
                  <a:lnTo>
                    <a:pt x="212" y="72"/>
                  </a:lnTo>
                  <a:lnTo>
                    <a:pt x="212" y="76"/>
                  </a:lnTo>
                  <a:lnTo>
                    <a:pt x="216" y="80"/>
                  </a:lnTo>
                  <a:lnTo>
                    <a:pt x="216" y="84"/>
                  </a:lnTo>
                  <a:lnTo>
                    <a:pt x="216" y="86"/>
                  </a:lnTo>
                  <a:lnTo>
                    <a:pt x="216" y="90"/>
                  </a:lnTo>
                  <a:lnTo>
                    <a:pt x="216" y="94"/>
                  </a:lnTo>
                  <a:lnTo>
                    <a:pt x="216" y="90"/>
                  </a:lnTo>
                  <a:lnTo>
                    <a:pt x="220" y="90"/>
                  </a:lnTo>
                  <a:lnTo>
                    <a:pt x="220" y="86"/>
                  </a:lnTo>
                  <a:lnTo>
                    <a:pt x="216" y="86"/>
                  </a:lnTo>
                  <a:lnTo>
                    <a:pt x="220" y="86"/>
                  </a:lnTo>
                  <a:lnTo>
                    <a:pt x="220" y="84"/>
                  </a:lnTo>
                  <a:lnTo>
                    <a:pt x="220" y="86"/>
                  </a:lnTo>
                  <a:lnTo>
                    <a:pt x="220" y="84"/>
                  </a:lnTo>
                  <a:lnTo>
                    <a:pt x="224" y="84"/>
                  </a:lnTo>
                  <a:lnTo>
                    <a:pt x="224" y="80"/>
                  </a:lnTo>
                  <a:lnTo>
                    <a:pt x="224" y="84"/>
                  </a:lnTo>
                  <a:lnTo>
                    <a:pt x="228" y="84"/>
                  </a:lnTo>
                  <a:lnTo>
                    <a:pt x="230" y="84"/>
                  </a:lnTo>
                  <a:lnTo>
                    <a:pt x="230" y="86"/>
                  </a:lnTo>
                  <a:lnTo>
                    <a:pt x="234" y="86"/>
                  </a:lnTo>
                  <a:lnTo>
                    <a:pt x="230" y="86"/>
                  </a:lnTo>
                  <a:lnTo>
                    <a:pt x="230" y="84"/>
                  </a:lnTo>
                  <a:lnTo>
                    <a:pt x="234" y="84"/>
                  </a:lnTo>
                  <a:lnTo>
                    <a:pt x="238" y="86"/>
                  </a:lnTo>
                  <a:lnTo>
                    <a:pt x="238" y="90"/>
                  </a:lnTo>
                  <a:lnTo>
                    <a:pt x="238" y="86"/>
                  </a:lnTo>
                  <a:lnTo>
                    <a:pt x="238" y="84"/>
                  </a:lnTo>
                  <a:lnTo>
                    <a:pt x="242" y="84"/>
                  </a:lnTo>
                  <a:lnTo>
                    <a:pt x="238" y="84"/>
                  </a:lnTo>
                  <a:lnTo>
                    <a:pt x="238" y="80"/>
                  </a:lnTo>
                  <a:lnTo>
                    <a:pt x="238" y="76"/>
                  </a:lnTo>
                  <a:lnTo>
                    <a:pt x="238" y="80"/>
                  </a:lnTo>
                  <a:lnTo>
                    <a:pt x="234" y="76"/>
                  </a:lnTo>
                  <a:lnTo>
                    <a:pt x="234" y="72"/>
                  </a:lnTo>
                  <a:lnTo>
                    <a:pt x="238" y="68"/>
                  </a:lnTo>
                  <a:lnTo>
                    <a:pt x="242" y="64"/>
                  </a:lnTo>
                  <a:lnTo>
                    <a:pt x="242" y="60"/>
                  </a:lnTo>
                  <a:lnTo>
                    <a:pt x="242" y="58"/>
                  </a:lnTo>
                  <a:lnTo>
                    <a:pt x="242" y="60"/>
                  </a:lnTo>
                  <a:lnTo>
                    <a:pt x="246" y="58"/>
                  </a:lnTo>
                  <a:lnTo>
                    <a:pt x="246" y="54"/>
                  </a:lnTo>
                  <a:lnTo>
                    <a:pt x="246" y="50"/>
                  </a:lnTo>
                  <a:lnTo>
                    <a:pt x="250" y="50"/>
                  </a:lnTo>
                  <a:lnTo>
                    <a:pt x="250" y="46"/>
                  </a:lnTo>
                  <a:lnTo>
                    <a:pt x="250" y="42"/>
                  </a:lnTo>
                  <a:lnTo>
                    <a:pt x="250" y="46"/>
                  </a:lnTo>
                  <a:lnTo>
                    <a:pt x="254" y="46"/>
                  </a:lnTo>
                  <a:lnTo>
                    <a:pt x="254" y="42"/>
                  </a:lnTo>
                  <a:lnTo>
                    <a:pt x="254" y="38"/>
                  </a:lnTo>
                  <a:lnTo>
                    <a:pt x="254" y="42"/>
                  </a:lnTo>
                  <a:lnTo>
                    <a:pt x="258" y="46"/>
                  </a:lnTo>
                  <a:lnTo>
                    <a:pt x="258" y="42"/>
                  </a:lnTo>
                  <a:lnTo>
                    <a:pt x="254" y="42"/>
                  </a:lnTo>
                  <a:lnTo>
                    <a:pt x="258" y="38"/>
                  </a:lnTo>
                  <a:lnTo>
                    <a:pt x="258" y="34"/>
                  </a:lnTo>
                  <a:lnTo>
                    <a:pt x="260" y="34"/>
                  </a:lnTo>
                  <a:lnTo>
                    <a:pt x="260" y="38"/>
                  </a:lnTo>
                  <a:lnTo>
                    <a:pt x="264" y="38"/>
                  </a:lnTo>
                  <a:lnTo>
                    <a:pt x="268" y="38"/>
                  </a:lnTo>
                  <a:lnTo>
                    <a:pt x="272" y="38"/>
                  </a:lnTo>
                  <a:lnTo>
                    <a:pt x="276" y="38"/>
                  </a:lnTo>
                  <a:lnTo>
                    <a:pt x="280" y="38"/>
                  </a:lnTo>
                  <a:lnTo>
                    <a:pt x="276" y="38"/>
                  </a:lnTo>
                  <a:lnTo>
                    <a:pt x="280" y="38"/>
                  </a:lnTo>
                  <a:lnTo>
                    <a:pt x="280" y="34"/>
                  </a:lnTo>
                  <a:lnTo>
                    <a:pt x="284" y="34"/>
                  </a:lnTo>
                  <a:lnTo>
                    <a:pt x="280" y="34"/>
                  </a:lnTo>
                  <a:lnTo>
                    <a:pt x="280" y="30"/>
                  </a:lnTo>
                  <a:lnTo>
                    <a:pt x="280" y="28"/>
                  </a:lnTo>
                  <a:lnTo>
                    <a:pt x="284" y="28"/>
                  </a:lnTo>
                  <a:lnTo>
                    <a:pt x="280" y="28"/>
                  </a:lnTo>
                  <a:lnTo>
                    <a:pt x="280" y="24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68" y="20"/>
                  </a:lnTo>
                  <a:lnTo>
                    <a:pt x="268" y="24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4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80" y="20"/>
                  </a:lnTo>
                  <a:lnTo>
                    <a:pt x="280" y="24"/>
                  </a:lnTo>
                  <a:lnTo>
                    <a:pt x="284" y="24"/>
                  </a:lnTo>
                  <a:lnTo>
                    <a:pt x="286" y="24"/>
                  </a:lnTo>
                  <a:lnTo>
                    <a:pt x="286" y="28"/>
                  </a:lnTo>
                  <a:lnTo>
                    <a:pt x="290" y="28"/>
                  </a:lnTo>
                  <a:lnTo>
                    <a:pt x="290" y="30"/>
                  </a:lnTo>
                  <a:lnTo>
                    <a:pt x="294" y="30"/>
                  </a:lnTo>
                  <a:lnTo>
                    <a:pt x="298" y="30"/>
                  </a:lnTo>
                  <a:lnTo>
                    <a:pt x="298" y="28"/>
                  </a:lnTo>
                  <a:lnTo>
                    <a:pt x="298" y="30"/>
                  </a:lnTo>
                  <a:lnTo>
                    <a:pt x="302" y="30"/>
                  </a:lnTo>
                  <a:lnTo>
                    <a:pt x="302" y="34"/>
                  </a:lnTo>
                  <a:lnTo>
                    <a:pt x="306" y="34"/>
                  </a:lnTo>
                  <a:lnTo>
                    <a:pt x="310" y="34"/>
                  </a:lnTo>
                  <a:lnTo>
                    <a:pt x="314" y="34"/>
                  </a:lnTo>
                  <a:lnTo>
                    <a:pt x="314" y="38"/>
                  </a:lnTo>
                  <a:lnTo>
                    <a:pt x="316" y="38"/>
                  </a:lnTo>
                  <a:lnTo>
                    <a:pt x="316" y="34"/>
                  </a:lnTo>
                  <a:lnTo>
                    <a:pt x="320" y="34"/>
                  </a:lnTo>
                  <a:lnTo>
                    <a:pt x="324" y="34"/>
                  </a:lnTo>
                  <a:lnTo>
                    <a:pt x="320" y="34"/>
                  </a:lnTo>
                  <a:lnTo>
                    <a:pt x="324" y="30"/>
                  </a:lnTo>
                  <a:lnTo>
                    <a:pt x="328" y="30"/>
                  </a:lnTo>
                  <a:lnTo>
                    <a:pt x="324" y="34"/>
                  </a:lnTo>
                  <a:lnTo>
                    <a:pt x="324" y="38"/>
                  </a:lnTo>
                  <a:lnTo>
                    <a:pt x="328" y="34"/>
                  </a:lnTo>
                  <a:lnTo>
                    <a:pt x="328" y="38"/>
                  </a:lnTo>
                  <a:lnTo>
                    <a:pt x="328" y="42"/>
                  </a:lnTo>
                  <a:lnTo>
                    <a:pt x="332" y="42"/>
                  </a:lnTo>
                  <a:lnTo>
                    <a:pt x="332" y="38"/>
                  </a:lnTo>
                  <a:lnTo>
                    <a:pt x="332" y="34"/>
                  </a:lnTo>
                  <a:lnTo>
                    <a:pt x="336" y="30"/>
                  </a:lnTo>
                  <a:lnTo>
                    <a:pt x="336" y="34"/>
                  </a:lnTo>
                  <a:lnTo>
                    <a:pt x="336" y="38"/>
                  </a:lnTo>
                  <a:lnTo>
                    <a:pt x="340" y="38"/>
                  </a:lnTo>
                  <a:lnTo>
                    <a:pt x="340" y="34"/>
                  </a:lnTo>
                  <a:lnTo>
                    <a:pt x="340" y="38"/>
                  </a:lnTo>
                  <a:lnTo>
                    <a:pt x="342" y="38"/>
                  </a:lnTo>
                  <a:lnTo>
                    <a:pt x="340" y="42"/>
                  </a:lnTo>
                  <a:lnTo>
                    <a:pt x="340" y="46"/>
                  </a:lnTo>
                  <a:lnTo>
                    <a:pt x="336" y="46"/>
                  </a:lnTo>
                  <a:lnTo>
                    <a:pt x="336" y="50"/>
                  </a:lnTo>
                  <a:lnTo>
                    <a:pt x="336" y="54"/>
                  </a:lnTo>
                  <a:lnTo>
                    <a:pt x="332" y="54"/>
                  </a:lnTo>
                  <a:lnTo>
                    <a:pt x="328" y="54"/>
                  </a:lnTo>
                  <a:lnTo>
                    <a:pt x="328" y="58"/>
                  </a:lnTo>
                  <a:lnTo>
                    <a:pt x="328" y="60"/>
                  </a:lnTo>
                  <a:lnTo>
                    <a:pt x="328" y="64"/>
                  </a:lnTo>
                  <a:lnTo>
                    <a:pt x="328" y="68"/>
                  </a:lnTo>
                  <a:lnTo>
                    <a:pt x="328" y="72"/>
                  </a:lnTo>
                  <a:lnTo>
                    <a:pt x="324" y="72"/>
                  </a:lnTo>
                  <a:lnTo>
                    <a:pt x="324" y="76"/>
                  </a:lnTo>
                  <a:lnTo>
                    <a:pt x="320" y="76"/>
                  </a:lnTo>
                  <a:lnTo>
                    <a:pt x="320" y="80"/>
                  </a:lnTo>
                  <a:lnTo>
                    <a:pt x="320" y="84"/>
                  </a:lnTo>
                  <a:lnTo>
                    <a:pt x="320" y="86"/>
                  </a:lnTo>
                  <a:lnTo>
                    <a:pt x="324" y="86"/>
                  </a:lnTo>
                  <a:lnTo>
                    <a:pt x="328" y="86"/>
                  </a:lnTo>
                  <a:lnTo>
                    <a:pt x="328" y="90"/>
                  </a:lnTo>
                  <a:lnTo>
                    <a:pt x="332" y="90"/>
                  </a:lnTo>
                  <a:lnTo>
                    <a:pt x="332" y="94"/>
                  </a:lnTo>
                  <a:lnTo>
                    <a:pt x="336" y="98"/>
                  </a:lnTo>
                  <a:lnTo>
                    <a:pt x="340" y="98"/>
                  </a:lnTo>
                  <a:lnTo>
                    <a:pt x="340" y="102"/>
                  </a:lnTo>
                  <a:lnTo>
                    <a:pt x="342" y="102"/>
                  </a:lnTo>
                  <a:lnTo>
                    <a:pt x="346" y="106"/>
                  </a:lnTo>
                  <a:lnTo>
                    <a:pt x="350" y="106"/>
                  </a:lnTo>
                  <a:lnTo>
                    <a:pt x="354" y="106"/>
                  </a:lnTo>
                  <a:lnTo>
                    <a:pt x="354" y="110"/>
                  </a:lnTo>
                  <a:lnTo>
                    <a:pt x="354" y="114"/>
                  </a:lnTo>
                  <a:lnTo>
                    <a:pt x="358" y="114"/>
                  </a:lnTo>
                  <a:lnTo>
                    <a:pt x="358" y="116"/>
                  </a:lnTo>
                  <a:lnTo>
                    <a:pt x="362" y="116"/>
                  </a:lnTo>
                  <a:lnTo>
                    <a:pt x="366" y="116"/>
                  </a:lnTo>
                  <a:lnTo>
                    <a:pt x="370" y="116"/>
                  </a:lnTo>
                  <a:lnTo>
                    <a:pt x="372" y="116"/>
                  </a:lnTo>
                  <a:lnTo>
                    <a:pt x="372" y="120"/>
                  </a:lnTo>
                  <a:lnTo>
                    <a:pt x="372" y="124"/>
                  </a:lnTo>
                  <a:lnTo>
                    <a:pt x="372" y="128"/>
                  </a:lnTo>
                  <a:lnTo>
                    <a:pt x="376" y="128"/>
                  </a:lnTo>
                  <a:lnTo>
                    <a:pt x="380" y="128"/>
                  </a:lnTo>
                  <a:lnTo>
                    <a:pt x="380" y="132"/>
                  </a:lnTo>
                  <a:lnTo>
                    <a:pt x="384" y="132"/>
                  </a:lnTo>
                  <a:lnTo>
                    <a:pt x="388" y="132"/>
                  </a:lnTo>
                  <a:lnTo>
                    <a:pt x="392" y="132"/>
                  </a:lnTo>
                  <a:lnTo>
                    <a:pt x="396" y="132"/>
                  </a:lnTo>
                  <a:lnTo>
                    <a:pt x="396" y="128"/>
                  </a:lnTo>
                  <a:lnTo>
                    <a:pt x="400" y="128"/>
                  </a:lnTo>
                  <a:lnTo>
                    <a:pt x="400" y="124"/>
                  </a:lnTo>
                  <a:lnTo>
                    <a:pt x="400" y="120"/>
                  </a:lnTo>
                  <a:lnTo>
                    <a:pt x="400" y="116"/>
                  </a:lnTo>
                  <a:lnTo>
                    <a:pt x="402" y="116"/>
                  </a:lnTo>
                  <a:lnTo>
                    <a:pt x="402" y="114"/>
                  </a:lnTo>
                  <a:lnTo>
                    <a:pt x="402" y="110"/>
                  </a:lnTo>
                  <a:lnTo>
                    <a:pt x="402" y="106"/>
                  </a:lnTo>
                  <a:lnTo>
                    <a:pt x="406" y="106"/>
                  </a:lnTo>
                  <a:lnTo>
                    <a:pt x="406" y="102"/>
                  </a:lnTo>
                  <a:lnTo>
                    <a:pt x="406" y="98"/>
                  </a:lnTo>
                  <a:lnTo>
                    <a:pt x="406" y="94"/>
                  </a:lnTo>
                  <a:lnTo>
                    <a:pt x="406" y="90"/>
                  </a:lnTo>
                  <a:lnTo>
                    <a:pt x="406" y="86"/>
                  </a:lnTo>
                  <a:lnTo>
                    <a:pt x="410" y="86"/>
                  </a:lnTo>
                  <a:lnTo>
                    <a:pt x="406" y="84"/>
                  </a:lnTo>
                  <a:lnTo>
                    <a:pt x="406" y="76"/>
                  </a:lnTo>
                  <a:lnTo>
                    <a:pt x="406" y="72"/>
                  </a:lnTo>
                  <a:lnTo>
                    <a:pt x="406" y="68"/>
                  </a:lnTo>
                  <a:lnTo>
                    <a:pt x="406" y="64"/>
                  </a:lnTo>
                  <a:lnTo>
                    <a:pt x="406" y="60"/>
                  </a:lnTo>
                  <a:lnTo>
                    <a:pt x="406" y="58"/>
                  </a:lnTo>
                  <a:lnTo>
                    <a:pt x="410" y="58"/>
                  </a:lnTo>
                  <a:lnTo>
                    <a:pt x="410" y="54"/>
                  </a:lnTo>
                  <a:lnTo>
                    <a:pt x="406" y="54"/>
                  </a:lnTo>
                  <a:lnTo>
                    <a:pt x="406" y="50"/>
                  </a:lnTo>
                  <a:lnTo>
                    <a:pt x="410" y="50"/>
                  </a:lnTo>
                  <a:lnTo>
                    <a:pt x="410" y="46"/>
                  </a:lnTo>
                  <a:lnTo>
                    <a:pt x="410" y="50"/>
                  </a:lnTo>
                  <a:lnTo>
                    <a:pt x="414" y="50"/>
                  </a:lnTo>
                  <a:lnTo>
                    <a:pt x="410" y="46"/>
                  </a:lnTo>
                  <a:lnTo>
                    <a:pt x="410" y="42"/>
                  </a:lnTo>
                  <a:lnTo>
                    <a:pt x="406" y="42"/>
                  </a:lnTo>
                  <a:lnTo>
                    <a:pt x="410" y="42"/>
                  </a:lnTo>
                  <a:lnTo>
                    <a:pt x="410" y="38"/>
                  </a:lnTo>
                  <a:lnTo>
                    <a:pt x="410" y="34"/>
                  </a:lnTo>
                  <a:lnTo>
                    <a:pt x="414" y="34"/>
                  </a:lnTo>
                  <a:lnTo>
                    <a:pt x="414" y="30"/>
                  </a:lnTo>
                  <a:lnTo>
                    <a:pt x="414" y="28"/>
                  </a:lnTo>
                  <a:lnTo>
                    <a:pt x="414" y="24"/>
                  </a:lnTo>
                  <a:lnTo>
                    <a:pt x="414" y="20"/>
                  </a:lnTo>
                  <a:lnTo>
                    <a:pt x="414" y="16"/>
                  </a:lnTo>
                  <a:lnTo>
                    <a:pt x="418" y="16"/>
                  </a:lnTo>
                  <a:lnTo>
                    <a:pt x="418" y="12"/>
                  </a:lnTo>
                  <a:lnTo>
                    <a:pt x="422" y="12"/>
                  </a:lnTo>
                  <a:lnTo>
                    <a:pt x="422" y="16"/>
                  </a:lnTo>
                  <a:lnTo>
                    <a:pt x="422" y="12"/>
                  </a:lnTo>
                  <a:lnTo>
                    <a:pt x="426" y="16"/>
                  </a:lnTo>
                  <a:lnTo>
                    <a:pt x="426" y="20"/>
                  </a:lnTo>
                  <a:lnTo>
                    <a:pt x="426" y="24"/>
                  </a:lnTo>
                  <a:lnTo>
                    <a:pt x="426" y="28"/>
                  </a:lnTo>
                  <a:lnTo>
                    <a:pt x="426" y="30"/>
                  </a:lnTo>
                  <a:lnTo>
                    <a:pt x="428" y="30"/>
                  </a:lnTo>
                  <a:lnTo>
                    <a:pt x="428" y="34"/>
                  </a:lnTo>
                  <a:lnTo>
                    <a:pt x="428" y="38"/>
                  </a:lnTo>
                  <a:lnTo>
                    <a:pt x="432" y="38"/>
                  </a:lnTo>
                  <a:lnTo>
                    <a:pt x="432" y="42"/>
                  </a:lnTo>
                  <a:lnTo>
                    <a:pt x="432" y="46"/>
                  </a:lnTo>
                  <a:lnTo>
                    <a:pt x="432" y="50"/>
                  </a:lnTo>
                  <a:lnTo>
                    <a:pt x="436" y="50"/>
                  </a:lnTo>
                  <a:lnTo>
                    <a:pt x="436" y="54"/>
                  </a:lnTo>
                  <a:lnTo>
                    <a:pt x="436" y="58"/>
                  </a:lnTo>
                  <a:lnTo>
                    <a:pt x="436" y="60"/>
                  </a:lnTo>
                  <a:lnTo>
                    <a:pt x="436" y="64"/>
                  </a:lnTo>
                  <a:lnTo>
                    <a:pt x="436" y="68"/>
                  </a:lnTo>
                  <a:lnTo>
                    <a:pt x="436" y="72"/>
                  </a:lnTo>
                  <a:lnTo>
                    <a:pt x="440" y="76"/>
                  </a:lnTo>
                  <a:lnTo>
                    <a:pt x="444" y="76"/>
                  </a:lnTo>
                  <a:lnTo>
                    <a:pt x="448" y="72"/>
                  </a:lnTo>
                  <a:lnTo>
                    <a:pt x="452" y="72"/>
                  </a:lnTo>
                  <a:lnTo>
                    <a:pt x="452" y="76"/>
                  </a:lnTo>
                  <a:lnTo>
                    <a:pt x="452" y="80"/>
                  </a:lnTo>
                  <a:lnTo>
                    <a:pt x="454" y="80"/>
                  </a:lnTo>
                  <a:lnTo>
                    <a:pt x="454" y="84"/>
                  </a:lnTo>
                  <a:lnTo>
                    <a:pt x="458" y="84"/>
                  </a:lnTo>
                  <a:lnTo>
                    <a:pt x="458" y="86"/>
                  </a:lnTo>
                  <a:lnTo>
                    <a:pt x="458" y="90"/>
                  </a:lnTo>
                  <a:lnTo>
                    <a:pt x="458" y="94"/>
                  </a:lnTo>
                  <a:lnTo>
                    <a:pt x="462" y="98"/>
                  </a:lnTo>
                  <a:lnTo>
                    <a:pt x="462" y="102"/>
                  </a:lnTo>
                  <a:lnTo>
                    <a:pt x="462" y="106"/>
                  </a:lnTo>
                  <a:lnTo>
                    <a:pt x="462" y="110"/>
                  </a:lnTo>
                  <a:lnTo>
                    <a:pt x="462" y="114"/>
                  </a:lnTo>
                  <a:lnTo>
                    <a:pt x="466" y="116"/>
                  </a:lnTo>
                  <a:lnTo>
                    <a:pt x="466" y="120"/>
                  </a:lnTo>
                  <a:lnTo>
                    <a:pt x="466" y="116"/>
                  </a:lnTo>
                  <a:lnTo>
                    <a:pt x="470" y="116"/>
                  </a:lnTo>
                  <a:lnTo>
                    <a:pt x="470" y="120"/>
                  </a:lnTo>
                  <a:lnTo>
                    <a:pt x="470" y="124"/>
                  </a:lnTo>
                  <a:lnTo>
                    <a:pt x="470" y="128"/>
                  </a:lnTo>
                  <a:lnTo>
                    <a:pt x="470" y="132"/>
                  </a:lnTo>
                  <a:lnTo>
                    <a:pt x="470" y="136"/>
                  </a:lnTo>
                  <a:lnTo>
                    <a:pt x="470" y="140"/>
                  </a:lnTo>
                  <a:lnTo>
                    <a:pt x="470" y="142"/>
                  </a:lnTo>
                  <a:lnTo>
                    <a:pt x="472" y="146"/>
                  </a:lnTo>
                  <a:lnTo>
                    <a:pt x="472" y="150"/>
                  </a:lnTo>
                  <a:lnTo>
                    <a:pt x="472" y="154"/>
                  </a:lnTo>
                  <a:lnTo>
                    <a:pt x="476" y="154"/>
                  </a:lnTo>
                  <a:lnTo>
                    <a:pt x="476" y="158"/>
                  </a:lnTo>
                  <a:lnTo>
                    <a:pt x="480" y="158"/>
                  </a:lnTo>
                  <a:lnTo>
                    <a:pt x="480" y="162"/>
                  </a:lnTo>
                  <a:lnTo>
                    <a:pt x="484" y="162"/>
                  </a:lnTo>
                  <a:lnTo>
                    <a:pt x="488" y="162"/>
                  </a:lnTo>
                  <a:lnTo>
                    <a:pt x="492" y="162"/>
                  </a:lnTo>
                  <a:lnTo>
                    <a:pt x="488" y="162"/>
                  </a:lnTo>
                  <a:lnTo>
                    <a:pt x="492" y="162"/>
                  </a:lnTo>
                  <a:lnTo>
                    <a:pt x="492" y="166"/>
                  </a:lnTo>
                  <a:lnTo>
                    <a:pt x="492" y="170"/>
                  </a:lnTo>
                  <a:lnTo>
                    <a:pt x="496" y="170"/>
                  </a:lnTo>
                  <a:lnTo>
                    <a:pt x="496" y="172"/>
                  </a:lnTo>
                  <a:lnTo>
                    <a:pt x="498" y="172"/>
                  </a:lnTo>
                  <a:lnTo>
                    <a:pt x="502" y="172"/>
                  </a:lnTo>
                  <a:lnTo>
                    <a:pt x="502" y="176"/>
                  </a:lnTo>
                  <a:lnTo>
                    <a:pt x="502" y="172"/>
                  </a:lnTo>
                  <a:lnTo>
                    <a:pt x="506" y="172"/>
                  </a:lnTo>
                  <a:lnTo>
                    <a:pt x="506" y="176"/>
                  </a:lnTo>
                  <a:lnTo>
                    <a:pt x="510" y="176"/>
                  </a:lnTo>
                  <a:lnTo>
                    <a:pt x="510" y="180"/>
                  </a:lnTo>
                  <a:lnTo>
                    <a:pt x="510" y="184"/>
                  </a:lnTo>
                  <a:lnTo>
                    <a:pt x="510" y="180"/>
                  </a:lnTo>
                  <a:lnTo>
                    <a:pt x="506" y="180"/>
                  </a:lnTo>
                  <a:lnTo>
                    <a:pt x="506" y="184"/>
                  </a:lnTo>
                  <a:lnTo>
                    <a:pt x="510" y="188"/>
                  </a:lnTo>
                  <a:lnTo>
                    <a:pt x="514" y="188"/>
                  </a:lnTo>
                  <a:lnTo>
                    <a:pt x="514" y="192"/>
                  </a:lnTo>
                  <a:lnTo>
                    <a:pt x="514" y="196"/>
                  </a:lnTo>
                  <a:lnTo>
                    <a:pt x="518" y="196"/>
                  </a:lnTo>
                  <a:lnTo>
                    <a:pt x="518" y="200"/>
                  </a:lnTo>
                  <a:lnTo>
                    <a:pt x="518" y="202"/>
                  </a:lnTo>
                  <a:lnTo>
                    <a:pt x="518" y="206"/>
                  </a:lnTo>
                  <a:lnTo>
                    <a:pt x="518" y="210"/>
                  </a:lnTo>
                  <a:lnTo>
                    <a:pt x="522" y="214"/>
                  </a:lnTo>
                  <a:lnTo>
                    <a:pt x="522" y="218"/>
                  </a:lnTo>
                  <a:lnTo>
                    <a:pt x="526" y="214"/>
                  </a:lnTo>
                  <a:lnTo>
                    <a:pt x="526" y="218"/>
                  </a:lnTo>
                  <a:lnTo>
                    <a:pt x="526" y="222"/>
                  </a:lnTo>
                  <a:lnTo>
                    <a:pt x="526" y="218"/>
                  </a:lnTo>
                  <a:lnTo>
                    <a:pt x="526" y="214"/>
                  </a:lnTo>
                  <a:lnTo>
                    <a:pt x="526" y="210"/>
                  </a:lnTo>
                  <a:lnTo>
                    <a:pt x="528" y="210"/>
                  </a:lnTo>
                  <a:lnTo>
                    <a:pt x="528" y="214"/>
                  </a:lnTo>
                  <a:lnTo>
                    <a:pt x="528" y="218"/>
                  </a:lnTo>
                  <a:lnTo>
                    <a:pt x="532" y="218"/>
                  </a:lnTo>
                  <a:lnTo>
                    <a:pt x="532" y="214"/>
                  </a:lnTo>
                  <a:lnTo>
                    <a:pt x="536" y="214"/>
                  </a:lnTo>
                  <a:lnTo>
                    <a:pt x="536" y="218"/>
                  </a:lnTo>
                  <a:lnTo>
                    <a:pt x="536" y="222"/>
                  </a:lnTo>
                  <a:lnTo>
                    <a:pt x="536" y="226"/>
                  </a:lnTo>
                  <a:lnTo>
                    <a:pt x="536" y="228"/>
                  </a:lnTo>
                  <a:lnTo>
                    <a:pt x="536" y="232"/>
                  </a:lnTo>
                  <a:lnTo>
                    <a:pt x="540" y="236"/>
                  </a:lnTo>
                  <a:lnTo>
                    <a:pt x="544" y="240"/>
                  </a:lnTo>
                  <a:lnTo>
                    <a:pt x="548" y="244"/>
                  </a:lnTo>
                  <a:lnTo>
                    <a:pt x="548" y="244"/>
                  </a:lnTo>
                  <a:lnTo>
                    <a:pt x="548" y="244"/>
                  </a:lnTo>
                  <a:close/>
                  <a:moveTo>
                    <a:pt x="168" y="94"/>
                  </a:moveTo>
                  <a:lnTo>
                    <a:pt x="164" y="90"/>
                  </a:lnTo>
                  <a:lnTo>
                    <a:pt x="168" y="90"/>
                  </a:lnTo>
                  <a:lnTo>
                    <a:pt x="168" y="94"/>
                  </a:lnTo>
                  <a:lnTo>
                    <a:pt x="168" y="94"/>
                  </a:lnTo>
                  <a:lnTo>
                    <a:pt x="168" y="94"/>
                  </a:lnTo>
                  <a:close/>
                  <a:moveTo>
                    <a:pt x="570" y="278"/>
                  </a:moveTo>
                  <a:lnTo>
                    <a:pt x="570" y="274"/>
                  </a:lnTo>
                  <a:lnTo>
                    <a:pt x="566" y="274"/>
                  </a:lnTo>
                  <a:lnTo>
                    <a:pt x="570" y="270"/>
                  </a:lnTo>
                  <a:lnTo>
                    <a:pt x="570" y="266"/>
                  </a:lnTo>
                  <a:lnTo>
                    <a:pt x="570" y="262"/>
                  </a:lnTo>
                  <a:lnTo>
                    <a:pt x="574" y="262"/>
                  </a:lnTo>
                  <a:lnTo>
                    <a:pt x="574" y="258"/>
                  </a:lnTo>
                  <a:lnTo>
                    <a:pt x="570" y="258"/>
                  </a:lnTo>
                  <a:lnTo>
                    <a:pt x="574" y="258"/>
                  </a:lnTo>
                  <a:lnTo>
                    <a:pt x="574" y="256"/>
                  </a:lnTo>
                  <a:lnTo>
                    <a:pt x="574" y="258"/>
                  </a:lnTo>
                  <a:lnTo>
                    <a:pt x="574" y="262"/>
                  </a:lnTo>
                  <a:lnTo>
                    <a:pt x="574" y="266"/>
                  </a:lnTo>
                  <a:lnTo>
                    <a:pt x="570" y="270"/>
                  </a:lnTo>
                  <a:lnTo>
                    <a:pt x="570" y="274"/>
                  </a:lnTo>
                  <a:lnTo>
                    <a:pt x="570" y="278"/>
                  </a:lnTo>
                  <a:lnTo>
                    <a:pt x="570" y="278"/>
                  </a:lnTo>
                  <a:lnTo>
                    <a:pt x="570" y="278"/>
                  </a:lnTo>
                  <a:close/>
                  <a:moveTo>
                    <a:pt x="498" y="546"/>
                  </a:moveTo>
                  <a:lnTo>
                    <a:pt x="498" y="542"/>
                  </a:lnTo>
                  <a:lnTo>
                    <a:pt x="496" y="538"/>
                  </a:lnTo>
                  <a:lnTo>
                    <a:pt x="496" y="534"/>
                  </a:lnTo>
                  <a:lnTo>
                    <a:pt x="498" y="534"/>
                  </a:lnTo>
                  <a:lnTo>
                    <a:pt x="498" y="538"/>
                  </a:lnTo>
                  <a:lnTo>
                    <a:pt x="502" y="538"/>
                  </a:lnTo>
                  <a:lnTo>
                    <a:pt x="502" y="542"/>
                  </a:lnTo>
                  <a:lnTo>
                    <a:pt x="502" y="546"/>
                  </a:lnTo>
                  <a:lnTo>
                    <a:pt x="498" y="546"/>
                  </a:lnTo>
                  <a:lnTo>
                    <a:pt x="498" y="546"/>
                  </a:lnTo>
                  <a:lnTo>
                    <a:pt x="498" y="546"/>
                  </a:lnTo>
                  <a:close/>
                  <a:moveTo>
                    <a:pt x="498" y="594"/>
                  </a:moveTo>
                  <a:lnTo>
                    <a:pt x="498" y="590"/>
                  </a:lnTo>
                  <a:lnTo>
                    <a:pt x="498" y="594"/>
                  </a:lnTo>
                  <a:lnTo>
                    <a:pt x="498" y="594"/>
                  </a:lnTo>
                  <a:lnTo>
                    <a:pt x="498" y="594"/>
                  </a:lnTo>
                  <a:close/>
                  <a:moveTo>
                    <a:pt x="376" y="124"/>
                  </a:moveTo>
                  <a:lnTo>
                    <a:pt x="376" y="120"/>
                  </a:lnTo>
                  <a:lnTo>
                    <a:pt x="380" y="120"/>
                  </a:lnTo>
                  <a:lnTo>
                    <a:pt x="376" y="120"/>
                  </a:lnTo>
                  <a:lnTo>
                    <a:pt x="376" y="124"/>
                  </a:lnTo>
                  <a:lnTo>
                    <a:pt x="376" y="124"/>
                  </a:lnTo>
                  <a:lnTo>
                    <a:pt x="376" y="124"/>
                  </a:lnTo>
                  <a:close/>
                  <a:moveTo>
                    <a:pt x="472" y="146"/>
                  </a:moveTo>
                  <a:lnTo>
                    <a:pt x="472" y="142"/>
                  </a:lnTo>
                  <a:lnTo>
                    <a:pt x="470" y="142"/>
                  </a:lnTo>
                  <a:lnTo>
                    <a:pt x="472" y="142"/>
                  </a:lnTo>
                  <a:lnTo>
                    <a:pt x="472" y="146"/>
                  </a:lnTo>
                  <a:lnTo>
                    <a:pt x="472" y="146"/>
                  </a:lnTo>
                  <a:lnTo>
                    <a:pt x="472" y="146"/>
                  </a:lnTo>
                  <a:close/>
                  <a:moveTo>
                    <a:pt x="38" y="188"/>
                  </a:moveTo>
                  <a:lnTo>
                    <a:pt x="38" y="184"/>
                  </a:lnTo>
                  <a:lnTo>
                    <a:pt x="38" y="188"/>
                  </a:lnTo>
                  <a:lnTo>
                    <a:pt x="38" y="188"/>
                  </a:lnTo>
                  <a:lnTo>
                    <a:pt x="38" y="188"/>
                  </a:lnTo>
                  <a:close/>
                  <a:moveTo>
                    <a:pt x="652" y="840"/>
                  </a:moveTo>
                  <a:lnTo>
                    <a:pt x="652" y="836"/>
                  </a:lnTo>
                  <a:lnTo>
                    <a:pt x="652" y="840"/>
                  </a:lnTo>
                  <a:lnTo>
                    <a:pt x="652" y="840"/>
                  </a:lnTo>
                  <a:lnTo>
                    <a:pt x="652" y="840"/>
                  </a:lnTo>
                  <a:close/>
                  <a:moveTo>
                    <a:pt x="418" y="4"/>
                  </a:moveTo>
                  <a:lnTo>
                    <a:pt x="418" y="0"/>
                  </a:lnTo>
                  <a:lnTo>
                    <a:pt x="418" y="4"/>
                  </a:lnTo>
                  <a:lnTo>
                    <a:pt x="418" y="4"/>
                  </a:lnTo>
                  <a:lnTo>
                    <a:pt x="418" y="4"/>
                  </a:lnTo>
                  <a:close/>
                  <a:moveTo>
                    <a:pt x="418" y="12"/>
                  </a:moveTo>
                  <a:lnTo>
                    <a:pt x="414" y="12"/>
                  </a:lnTo>
                  <a:lnTo>
                    <a:pt x="414" y="8"/>
                  </a:lnTo>
                  <a:lnTo>
                    <a:pt x="418" y="8"/>
                  </a:lnTo>
                  <a:lnTo>
                    <a:pt x="418" y="12"/>
                  </a:lnTo>
                  <a:lnTo>
                    <a:pt x="418" y="12"/>
                  </a:lnTo>
                  <a:lnTo>
                    <a:pt x="418" y="12"/>
                  </a:lnTo>
                  <a:close/>
                  <a:moveTo>
                    <a:pt x="336" y="24"/>
                  </a:moveTo>
                  <a:lnTo>
                    <a:pt x="340" y="20"/>
                  </a:lnTo>
                  <a:lnTo>
                    <a:pt x="340" y="16"/>
                  </a:lnTo>
                  <a:lnTo>
                    <a:pt x="340" y="20"/>
                  </a:lnTo>
                  <a:lnTo>
                    <a:pt x="336" y="24"/>
                  </a:lnTo>
                  <a:lnTo>
                    <a:pt x="336" y="24"/>
                  </a:lnTo>
                  <a:lnTo>
                    <a:pt x="336" y="24"/>
                  </a:lnTo>
                  <a:close/>
                  <a:moveTo>
                    <a:pt x="280" y="24"/>
                  </a:moveTo>
                  <a:lnTo>
                    <a:pt x="280" y="20"/>
                  </a:lnTo>
                  <a:lnTo>
                    <a:pt x="280" y="16"/>
                  </a:lnTo>
                  <a:lnTo>
                    <a:pt x="280" y="20"/>
                  </a:lnTo>
                  <a:lnTo>
                    <a:pt x="280" y="24"/>
                  </a:lnTo>
                  <a:lnTo>
                    <a:pt x="280" y="24"/>
                  </a:lnTo>
                  <a:lnTo>
                    <a:pt x="280" y="24"/>
                  </a:lnTo>
                  <a:close/>
                  <a:moveTo>
                    <a:pt x="258" y="30"/>
                  </a:moveTo>
                  <a:lnTo>
                    <a:pt x="254" y="30"/>
                  </a:lnTo>
                  <a:lnTo>
                    <a:pt x="250" y="28"/>
                  </a:lnTo>
                  <a:lnTo>
                    <a:pt x="250" y="24"/>
                  </a:lnTo>
                  <a:lnTo>
                    <a:pt x="250" y="20"/>
                  </a:lnTo>
                  <a:lnTo>
                    <a:pt x="254" y="24"/>
                  </a:lnTo>
                  <a:lnTo>
                    <a:pt x="258" y="24"/>
                  </a:lnTo>
                  <a:lnTo>
                    <a:pt x="258" y="20"/>
                  </a:lnTo>
                  <a:lnTo>
                    <a:pt x="258" y="24"/>
                  </a:lnTo>
                  <a:lnTo>
                    <a:pt x="258" y="20"/>
                  </a:lnTo>
                  <a:lnTo>
                    <a:pt x="260" y="20"/>
                  </a:lnTo>
                  <a:lnTo>
                    <a:pt x="260" y="24"/>
                  </a:lnTo>
                  <a:lnTo>
                    <a:pt x="260" y="20"/>
                  </a:lnTo>
                  <a:lnTo>
                    <a:pt x="264" y="20"/>
                  </a:lnTo>
                  <a:lnTo>
                    <a:pt x="264" y="24"/>
                  </a:lnTo>
                  <a:lnTo>
                    <a:pt x="264" y="28"/>
                  </a:lnTo>
                  <a:lnTo>
                    <a:pt x="260" y="28"/>
                  </a:lnTo>
                  <a:lnTo>
                    <a:pt x="260" y="30"/>
                  </a:lnTo>
                  <a:lnTo>
                    <a:pt x="258" y="30"/>
                  </a:lnTo>
                  <a:lnTo>
                    <a:pt x="258" y="30"/>
                  </a:lnTo>
                  <a:lnTo>
                    <a:pt x="258" y="30"/>
                  </a:lnTo>
                  <a:close/>
                  <a:moveTo>
                    <a:pt x="250" y="30"/>
                  </a:moveTo>
                  <a:lnTo>
                    <a:pt x="246" y="30"/>
                  </a:lnTo>
                  <a:lnTo>
                    <a:pt x="242" y="30"/>
                  </a:lnTo>
                  <a:lnTo>
                    <a:pt x="246" y="28"/>
                  </a:lnTo>
                  <a:lnTo>
                    <a:pt x="246" y="24"/>
                  </a:lnTo>
                  <a:lnTo>
                    <a:pt x="250" y="24"/>
                  </a:lnTo>
                  <a:lnTo>
                    <a:pt x="250" y="28"/>
                  </a:lnTo>
                  <a:lnTo>
                    <a:pt x="254" y="28"/>
                  </a:lnTo>
                  <a:lnTo>
                    <a:pt x="254" y="30"/>
                  </a:lnTo>
                  <a:lnTo>
                    <a:pt x="250" y="30"/>
                  </a:lnTo>
                  <a:lnTo>
                    <a:pt x="250" y="30"/>
                  </a:lnTo>
                  <a:lnTo>
                    <a:pt x="250" y="30"/>
                  </a:lnTo>
                  <a:close/>
                  <a:moveTo>
                    <a:pt x="332" y="28"/>
                  </a:moveTo>
                  <a:lnTo>
                    <a:pt x="336" y="24"/>
                  </a:lnTo>
                  <a:lnTo>
                    <a:pt x="336" y="28"/>
                  </a:lnTo>
                  <a:lnTo>
                    <a:pt x="332" y="28"/>
                  </a:lnTo>
                  <a:lnTo>
                    <a:pt x="332" y="28"/>
                  </a:lnTo>
                  <a:lnTo>
                    <a:pt x="332" y="28"/>
                  </a:lnTo>
                  <a:close/>
                  <a:moveTo>
                    <a:pt x="342" y="72"/>
                  </a:moveTo>
                  <a:lnTo>
                    <a:pt x="340" y="72"/>
                  </a:lnTo>
                  <a:lnTo>
                    <a:pt x="336" y="72"/>
                  </a:lnTo>
                  <a:lnTo>
                    <a:pt x="336" y="68"/>
                  </a:lnTo>
                  <a:lnTo>
                    <a:pt x="336" y="64"/>
                  </a:lnTo>
                  <a:lnTo>
                    <a:pt x="340" y="60"/>
                  </a:lnTo>
                  <a:lnTo>
                    <a:pt x="340" y="64"/>
                  </a:lnTo>
                  <a:lnTo>
                    <a:pt x="342" y="64"/>
                  </a:lnTo>
                  <a:lnTo>
                    <a:pt x="340" y="64"/>
                  </a:lnTo>
                  <a:lnTo>
                    <a:pt x="340" y="68"/>
                  </a:lnTo>
                  <a:lnTo>
                    <a:pt x="340" y="72"/>
                  </a:lnTo>
                  <a:lnTo>
                    <a:pt x="342" y="72"/>
                  </a:lnTo>
                  <a:lnTo>
                    <a:pt x="342" y="72"/>
                  </a:lnTo>
                  <a:lnTo>
                    <a:pt x="342" y="72"/>
                  </a:lnTo>
                  <a:close/>
                  <a:moveTo>
                    <a:pt x="332" y="64"/>
                  </a:moveTo>
                  <a:lnTo>
                    <a:pt x="332" y="60"/>
                  </a:lnTo>
                  <a:lnTo>
                    <a:pt x="332" y="64"/>
                  </a:lnTo>
                  <a:lnTo>
                    <a:pt x="332" y="64"/>
                  </a:lnTo>
                  <a:lnTo>
                    <a:pt x="332" y="64"/>
                  </a:lnTo>
                  <a:close/>
                  <a:moveTo>
                    <a:pt x="174" y="80"/>
                  </a:moveTo>
                  <a:lnTo>
                    <a:pt x="174" y="76"/>
                  </a:lnTo>
                  <a:lnTo>
                    <a:pt x="174" y="80"/>
                  </a:lnTo>
                  <a:lnTo>
                    <a:pt x="174" y="80"/>
                  </a:lnTo>
                  <a:lnTo>
                    <a:pt x="174" y="80"/>
                  </a:lnTo>
                  <a:close/>
                  <a:moveTo>
                    <a:pt x="336" y="98"/>
                  </a:moveTo>
                  <a:lnTo>
                    <a:pt x="336" y="94"/>
                  </a:lnTo>
                  <a:lnTo>
                    <a:pt x="336" y="98"/>
                  </a:lnTo>
                  <a:lnTo>
                    <a:pt x="336" y="98"/>
                  </a:lnTo>
                  <a:lnTo>
                    <a:pt x="336" y="98"/>
                  </a:lnTo>
                  <a:close/>
                  <a:moveTo>
                    <a:pt x="342" y="98"/>
                  </a:moveTo>
                  <a:lnTo>
                    <a:pt x="342" y="94"/>
                  </a:lnTo>
                  <a:lnTo>
                    <a:pt x="342" y="98"/>
                  </a:lnTo>
                  <a:lnTo>
                    <a:pt x="342" y="98"/>
                  </a:lnTo>
                  <a:lnTo>
                    <a:pt x="342" y="98"/>
                  </a:lnTo>
                  <a:close/>
                  <a:moveTo>
                    <a:pt x="372" y="116"/>
                  </a:moveTo>
                  <a:lnTo>
                    <a:pt x="372" y="114"/>
                  </a:lnTo>
                  <a:lnTo>
                    <a:pt x="376" y="114"/>
                  </a:lnTo>
                  <a:lnTo>
                    <a:pt x="376" y="110"/>
                  </a:lnTo>
                  <a:lnTo>
                    <a:pt x="380" y="110"/>
                  </a:lnTo>
                  <a:lnTo>
                    <a:pt x="380" y="114"/>
                  </a:lnTo>
                  <a:lnTo>
                    <a:pt x="376" y="114"/>
                  </a:lnTo>
                  <a:lnTo>
                    <a:pt x="376" y="116"/>
                  </a:lnTo>
                  <a:lnTo>
                    <a:pt x="372" y="116"/>
                  </a:lnTo>
                  <a:lnTo>
                    <a:pt x="372" y="116"/>
                  </a:lnTo>
                  <a:lnTo>
                    <a:pt x="372" y="116"/>
                  </a:lnTo>
                  <a:close/>
                  <a:moveTo>
                    <a:pt x="544" y="240"/>
                  </a:moveTo>
                  <a:lnTo>
                    <a:pt x="544" y="236"/>
                  </a:lnTo>
                  <a:lnTo>
                    <a:pt x="540" y="236"/>
                  </a:lnTo>
                  <a:lnTo>
                    <a:pt x="540" y="232"/>
                  </a:lnTo>
                  <a:lnTo>
                    <a:pt x="544" y="236"/>
                  </a:lnTo>
                  <a:lnTo>
                    <a:pt x="544" y="240"/>
                  </a:lnTo>
                  <a:lnTo>
                    <a:pt x="544" y="240"/>
                  </a:lnTo>
                  <a:lnTo>
                    <a:pt x="544" y="240"/>
                  </a:lnTo>
                  <a:close/>
                  <a:moveTo>
                    <a:pt x="8" y="282"/>
                  </a:moveTo>
                  <a:lnTo>
                    <a:pt x="4" y="282"/>
                  </a:lnTo>
                  <a:lnTo>
                    <a:pt x="4" y="278"/>
                  </a:lnTo>
                  <a:lnTo>
                    <a:pt x="0" y="274"/>
                  </a:lnTo>
                  <a:lnTo>
                    <a:pt x="0" y="270"/>
                  </a:lnTo>
                  <a:lnTo>
                    <a:pt x="4" y="270"/>
                  </a:lnTo>
                  <a:lnTo>
                    <a:pt x="4" y="274"/>
                  </a:lnTo>
                  <a:lnTo>
                    <a:pt x="4" y="278"/>
                  </a:lnTo>
                  <a:lnTo>
                    <a:pt x="4" y="282"/>
                  </a:lnTo>
                  <a:lnTo>
                    <a:pt x="8" y="282"/>
                  </a:lnTo>
                  <a:lnTo>
                    <a:pt x="8" y="282"/>
                  </a:lnTo>
                  <a:lnTo>
                    <a:pt x="8" y="282"/>
                  </a:lnTo>
                  <a:close/>
                  <a:moveTo>
                    <a:pt x="574" y="302"/>
                  </a:moveTo>
                  <a:lnTo>
                    <a:pt x="574" y="300"/>
                  </a:lnTo>
                  <a:lnTo>
                    <a:pt x="574" y="302"/>
                  </a:lnTo>
                  <a:lnTo>
                    <a:pt x="574" y="302"/>
                  </a:lnTo>
                  <a:lnTo>
                    <a:pt x="574" y="302"/>
                  </a:lnTo>
                  <a:close/>
                  <a:moveTo>
                    <a:pt x="574" y="310"/>
                  </a:moveTo>
                  <a:lnTo>
                    <a:pt x="574" y="306"/>
                  </a:lnTo>
                  <a:lnTo>
                    <a:pt x="574" y="302"/>
                  </a:lnTo>
                  <a:lnTo>
                    <a:pt x="578" y="306"/>
                  </a:lnTo>
                  <a:lnTo>
                    <a:pt x="574" y="306"/>
                  </a:lnTo>
                  <a:lnTo>
                    <a:pt x="574" y="310"/>
                  </a:lnTo>
                  <a:lnTo>
                    <a:pt x="574" y="310"/>
                  </a:lnTo>
                  <a:lnTo>
                    <a:pt x="574" y="310"/>
                  </a:lnTo>
                  <a:close/>
                  <a:moveTo>
                    <a:pt x="354" y="460"/>
                  </a:moveTo>
                  <a:lnTo>
                    <a:pt x="358" y="460"/>
                  </a:lnTo>
                  <a:lnTo>
                    <a:pt x="358" y="464"/>
                  </a:lnTo>
                  <a:lnTo>
                    <a:pt x="354" y="460"/>
                  </a:lnTo>
                  <a:lnTo>
                    <a:pt x="350" y="464"/>
                  </a:lnTo>
                  <a:lnTo>
                    <a:pt x="346" y="464"/>
                  </a:lnTo>
                  <a:lnTo>
                    <a:pt x="342" y="464"/>
                  </a:lnTo>
                  <a:lnTo>
                    <a:pt x="340" y="464"/>
                  </a:lnTo>
                  <a:lnTo>
                    <a:pt x="336" y="464"/>
                  </a:lnTo>
                  <a:lnTo>
                    <a:pt x="336" y="460"/>
                  </a:lnTo>
                  <a:lnTo>
                    <a:pt x="342" y="456"/>
                  </a:lnTo>
                  <a:lnTo>
                    <a:pt x="346" y="456"/>
                  </a:lnTo>
                  <a:lnTo>
                    <a:pt x="350" y="456"/>
                  </a:lnTo>
                  <a:lnTo>
                    <a:pt x="350" y="460"/>
                  </a:lnTo>
                  <a:lnTo>
                    <a:pt x="354" y="460"/>
                  </a:lnTo>
                  <a:lnTo>
                    <a:pt x="354" y="460"/>
                  </a:lnTo>
                  <a:lnTo>
                    <a:pt x="354" y="460"/>
                  </a:lnTo>
                  <a:close/>
                  <a:moveTo>
                    <a:pt x="462" y="508"/>
                  </a:moveTo>
                  <a:lnTo>
                    <a:pt x="458" y="508"/>
                  </a:lnTo>
                  <a:lnTo>
                    <a:pt x="462" y="508"/>
                  </a:lnTo>
                  <a:lnTo>
                    <a:pt x="462" y="508"/>
                  </a:lnTo>
                  <a:lnTo>
                    <a:pt x="462" y="508"/>
                  </a:lnTo>
                  <a:close/>
                  <a:moveTo>
                    <a:pt x="462" y="512"/>
                  </a:moveTo>
                  <a:lnTo>
                    <a:pt x="458" y="512"/>
                  </a:lnTo>
                  <a:lnTo>
                    <a:pt x="462" y="512"/>
                  </a:lnTo>
                  <a:lnTo>
                    <a:pt x="462" y="512"/>
                  </a:lnTo>
                  <a:lnTo>
                    <a:pt x="462" y="512"/>
                  </a:lnTo>
                  <a:close/>
                  <a:moveTo>
                    <a:pt x="440" y="542"/>
                  </a:moveTo>
                  <a:lnTo>
                    <a:pt x="440" y="538"/>
                  </a:lnTo>
                  <a:lnTo>
                    <a:pt x="440" y="534"/>
                  </a:lnTo>
                  <a:lnTo>
                    <a:pt x="440" y="530"/>
                  </a:lnTo>
                  <a:lnTo>
                    <a:pt x="444" y="534"/>
                  </a:lnTo>
                  <a:lnTo>
                    <a:pt x="444" y="538"/>
                  </a:lnTo>
                  <a:lnTo>
                    <a:pt x="444" y="542"/>
                  </a:lnTo>
                  <a:lnTo>
                    <a:pt x="440" y="542"/>
                  </a:lnTo>
                  <a:lnTo>
                    <a:pt x="440" y="542"/>
                  </a:lnTo>
                  <a:lnTo>
                    <a:pt x="440" y="542"/>
                  </a:lnTo>
                  <a:close/>
                  <a:moveTo>
                    <a:pt x="502" y="550"/>
                  </a:moveTo>
                  <a:lnTo>
                    <a:pt x="498" y="550"/>
                  </a:lnTo>
                  <a:lnTo>
                    <a:pt x="498" y="546"/>
                  </a:lnTo>
                  <a:lnTo>
                    <a:pt x="502" y="546"/>
                  </a:lnTo>
                  <a:lnTo>
                    <a:pt x="502" y="550"/>
                  </a:lnTo>
                  <a:lnTo>
                    <a:pt x="502" y="550"/>
                  </a:lnTo>
                  <a:lnTo>
                    <a:pt x="502" y="550"/>
                  </a:lnTo>
                  <a:close/>
                  <a:moveTo>
                    <a:pt x="484" y="612"/>
                  </a:moveTo>
                  <a:lnTo>
                    <a:pt x="480" y="612"/>
                  </a:lnTo>
                  <a:lnTo>
                    <a:pt x="480" y="610"/>
                  </a:lnTo>
                  <a:lnTo>
                    <a:pt x="476" y="610"/>
                  </a:lnTo>
                  <a:lnTo>
                    <a:pt x="472" y="610"/>
                  </a:lnTo>
                  <a:lnTo>
                    <a:pt x="470" y="610"/>
                  </a:lnTo>
                  <a:lnTo>
                    <a:pt x="470" y="606"/>
                  </a:lnTo>
                  <a:lnTo>
                    <a:pt x="472" y="606"/>
                  </a:lnTo>
                  <a:lnTo>
                    <a:pt x="470" y="606"/>
                  </a:lnTo>
                  <a:lnTo>
                    <a:pt x="466" y="606"/>
                  </a:lnTo>
                  <a:lnTo>
                    <a:pt x="466" y="602"/>
                  </a:lnTo>
                  <a:lnTo>
                    <a:pt x="466" y="598"/>
                  </a:lnTo>
                  <a:lnTo>
                    <a:pt x="462" y="598"/>
                  </a:lnTo>
                  <a:lnTo>
                    <a:pt x="462" y="594"/>
                  </a:lnTo>
                  <a:lnTo>
                    <a:pt x="462" y="590"/>
                  </a:lnTo>
                  <a:lnTo>
                    <a:pt x="458" y="590"/>
                  </a:lnTo>
                  <a:lnTo>
                    <a:pt x="458" y="586"/>
                  </a:lnTo>
                  <a:lnTo>
                    <a:pt x="458" y="584"/>
                  </a:lnTo>
                  <a:lnTo>
                    <a:pt x="458" y="586"/>
                  </a:lnTo>
                  <a:lnTo>
                    <a:pt x="462" y="586"/>
                  </a:lnTo>
                  <a:lnTo>
                    <a:pt x="462" y="590"/>
                  </a:lnTo>
                  <a:lnTo>
                    <a:pt x="462" y="586"/>
                  </a:lnTo>
                  <a:lnTo>
                    <a:pt x="458" y="584"/>
                  </a:lnTo>
                  <a:lnTo>
                    <a:pt x="458" y="580"/>
                  </a:lnTo>
                  <a:lnTo>
                    <a:pt x="454" y="576"/>
                  </a:lnTo>
                  <a:lnTo>
                    <a:pt x="454" y="572"/>
                  </a:lnTo>
                  <a:lnTo>
                    <a:pt x="452" y="568"/>
                  </a:lnTo>
                  <a:lnTo>
                    <a:pt x="452" y="564"/>
                  </a:lnTo>
                  <a:lnTo>
                    <a:pt x="452" y="560"/>
                  </a:lnTo>
                  <a:lnTo>
                    <a:pt x="452" y="556"/>
                  </a:lnTo>
                  <a:lnTo>
                    <a:pt x="452" y="554"/>
                  </a:lnTo>
                  <a:lnTo>
                    <a:pt x="454" y="554"/>
                  </a:lnTo>
                  <a:lnTo>
                    <a:pt x="454" y="556"/>
                  </a:lnTo>
                  <a:lnTo>
                    <a:pt x="458" y="556"/>
                  </a:lnTo>
                  <a:lnTo>
                    <a:pt x="462" y="556"/>
                  </a:lnTo>
                  <a:lnTo>
                    <a:pt x="466" y="560"/>
                  </a:lnTo>
                  <a:lnTo>
                    <a:pt x="470" y="560"/>
                  </a:lnTo>
                  <a:lnTo>
                    <a:pt x="472" y="564"/>
                  </a:lnTo>
                  <a:lnTo>
                    <a:pt x="476" y="564"/>
                  </a:lnTo>
                  <a:lnTo>
                    <a:pt x="480" y="560"/>
                  </a:lnTo>
                  <a:lnTo>
                    <a:pt x="480" y="564"/>
                  </a:lnTo>
                  <a:lnTo>
                    <a:pt x="484" y="564"/>
                  </a:lnTo>
                  <a:lnTo>
                    <a:pt x="484" y="560"/>
                  </a:lnTo>
                  <a:lnTo>
                    <a:pt x="480" y="560"/>
                  </a:lnTo>
                  <a:lnTo>
                    <a:pt x="484" y="560"/>
                  </a:lnTo>
                  <a:lnTo>
                    <a:pt x="488" y="560"/>
                  </a:lnTo>
                  <a:lnTo>
                    <a:pt x="492" y="560"/>
                  </a:lnTo>
                  <a:lnTo>
                    <a:pt x="492" y="556"/>
                  </a:lnTo>
                  <a:lnTo>
                    <a:pt x="496" y="556"/>
                  </a:lnTo>
                  <a:lnTo>
                    <a:pt x="498" y="554"/>
                  </a:lnTo>
                  <a:lnTo>
                    <a:pt x="498" y="556"/>
                  </a:lnTo>
                  <a:lnTo>
                    <a:pt x="502" y="556"/>
                  </a:lnTo>
                  <a:lnTo>
                    <a:pt x="502" y="560"/>
                  </a:lnTo>
                  <a:lnTo>
                    <a:pt x="502" y="564"/>
                  </a:lnTo>
                  <a:lnTo>
                    <a:pt x="502" y="568"/>
                  </a:lnTo>
                  <a:lnTo>
                    <a:pt x="502" y="572"/>
                  </a:lnTo>
                  <a:lnTo>
                    <a:pt x="502" y="576"/>
                  </a:lnTo>
                  <a:lnTo>
                    <a:pt x="502" y="580"/>
                  </a:lnTo>
                  <a:lnTo>
                    <a:pt x="502" y="584"/>
                  </a:lnTo>
                  <a:lnTo>
                    <a:pt x="502" y="580"/>
                  </a:lnTo>
                  <a:lnTo>
                    <a:pt x="498" y="580"/>
                  </a:lnTo>
                  <a:lnTo>
                    <a:pt x="498" y="584"/>
                  </a:lnTo>
                  <a:lnTo>
                    <a:pt x="498" y="590"/>
                  </a:lnTo>
                  <a:lnTo>
                    <a:pt x="496" y="590"/>
                  </a:lnTo>
                  <a:lnTo>
                    <a:pt x="496" y="594"/>
                  </a:lnTo>
                  <a:lnTo>
                    <a:pt x="496" y="598"/>
                  </a:lnTo>
                  <a:lnTo>
                    <a:pt x="496" y="594"/>
                  </a:lnTo>
                  <a:lnTo>
                    <a:pt x="498" y="598"/>
                  </a:lnTo>
                  <a:lnTo>
                    <a:pt x="496" y="602"/>
                  </a:lnTo>
                  <a:lnTo>
                    <a:pt x="498" y="602"/>
                  </a:lnTo>
                  <a:lnTo>
                    <a:pt x="496" y="602"/>
                  </a:lnTo>
                  <a:lnTo>
                    <a:pt x="496" y="606"/>
                  </a:lnTo>
                  <a:lnTo>
                    <a:pt x="492" y="602"/>
                  </a:lnTo>
                  <a:lnTo>
                    <a:pt x="492" y="598"/>
                  </a:lnTo>
                  <a:lnTo>
                    <a:pt x="496" y="598"/>
                  </a:lnTo>
                  <a:lnTo>
                    <a:pt x="496" y="602"/>
                  </a:lnTo>
                  <a:lnTo>
                    <a:pt x="496" y="598"/>
                  </a:lnTo>
                  <a:lnTo>
                    <a:pt x="492" y="594"/>
                  </a:lnTo>
                  <a:lnTo>
                    <a:pt x="492" y="598"/>
                  </a:lnTo>
                  <a:lnTo>
                    <a:pt x="488" y="598"/>
                  </a:lnTo>
                  <a:lnTo>
                    <a:pt x="488" y="594"/>
                  </a:lnTo>
                  <a:lnTo>
                    <a:pt x="488" y="598"/>
                  </a:lnTo>
                  <a:lnTo>
                    <a:pt x="488" y="602"/>
                  </a:lnTo>
                  <a:lnTo>
                    <a:pt x="488" y="606"/>
                  </a:lnTo>
                  <a:lnTo>
                    <a:pt x="484" y="606"/>
                  </a:lnTo>
                  <a:lnTo>
                    <a:pt x="484" y="602"/>
                  </a:lnTo>
                  <a:lnTo>
                    <a:pt x="484" y="606"/>
                  </a:lnTo>
                  <a:lnTo>
                    <a:pt x="484" y="610"/>
                  </a:lnTo>
                  <a:lnTo>
                    <a:pt x="484" y="612"/>
                  </a:lnTo>
                  <a:lnTo>
                    <a:pt x="484" y="612"/>
                  </a:lnTo>
                  <a:lnTo>
                    <a:pt x="484" y="612"/>
                  </a:lnTo>
                  <a:close/>
                  <a:moveTo>
                    <a:pt x="488" y="606"/>
                  </a:moveTo>
                  <a:lnTo>
                    <a:pt x="488" y="602"/>
                  </a:lnTo>
                  <a:lnTo>
                    <a:pt x="488" y="606"/>
                  </a:lnTo>
                  <a:lnTo>
                    <a:pt x="488" y="606"/>
                  </a:lnTo>
                  <a:lnTo>
                    <a:pt x="488" y="606"/>
                  </a:lnTo>
                  <a:close/>
                  <a:moveTo>
                    <a:pt x="488" y="610"/>
                  </a:moveTo>
                  <a:lnTo>
                    <a:pt x="484" y="610"/>
                  </a:lnTo>
                  <a:lnTo>
                    <a:pt x="488" y="606"/>
                  </a:lnTo>
                  <a:lnTo>
                    <a:pt x="488" y="610"/>
                  </a:lnTo>
                  <a:lnTo>
                    <a:pt x="488" y="610"/>
                  </a:lnTo>
                  <a:lnTo>
                    <a:pt x="488" y="61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51" name="Freeform 191">
              <a:extLst>
                <a:ext uri="{FF2B5EF4-FFF2-40B4-BE49-F238E27FC236}">
                  <a16:creationId xmlns:a16="http://schemas.microsoft.com/office/drawing/2014/main" id="{EAA97CDA-4731-CF77-66C5-E999EFE9F9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1181" y="4736790"/>
              <a:ext cx="1184518" cy="1391504"/>
            </a:xfrm>
            <a:custGeom>
              <a:avLst/>
              <a:gdLst>
                <a:gd name="T0" fmla="*/ 514 w 608"/>
                <a:gd name="T1" fmla="*/ 444 h 738"/>
                <a:gd name="T2" fmla="*/ 504 w 608"/>
                <a:gd name="T3" fmla="*/ 366 h 738"/>
                <a:gd name="T4" fmla="*/ 532 w 608"/>
                <a:gd name="T5" fmla="*/ 280 h 738"/>
                <a:gd name="T6" fmla="*/ 544 w 608"/>
                <a:gd name="T7" fmla="*/ 180 h 738"/>
                <a:gd name="T8" fmla="*/ 552 w 608"/>
                <a:gd name="T9" fmla="*/ 94 h 738"/>
                <a:gd name="T10" fmla="*/ 570 w 608"/>
                <a:gd name="T11" fmla="*/ 16 h 738"/>
                <a:gd name="T12" fmla="*/ 600 w 608"/>
                <a:gd name="T13" fmla="*/ 98 h 738"/>
                <a:gd name="T14" fmla="*/ 566 w 608"/>
                <a:gd name="T15" fmla="*/ 190 h 738"/>
                <a:gd name="T16" fmla="*/ 556 w 608"/>
                <a:gd name="T17" fmla="*/ 284 h 738"/>
                <a:gd name="T18" fmla="*/ 540 w 608"/>
                <a:gd name="T19" fmla="*/ 374 h 738"/>
                <a:gd name="T20" fmla="*/ 526 w 608"/>
                <a:gd name="T21" fmla="*/ 460 h 738"/>
                <a:gd name="T22" fmla="*/ 536 w 608"/>
                <a:gd name="T23" fmla="*/ 516 h 738"/>
                <a:gd name="T24" fmla="*/ 514 w 608"/>
                <a:gd name="T25" fmla="*/ 596 h 738"/>
                <a:gd name="T26" fmla="*/ 560 w 608"/>
                <a:gd name="T27" fmla="*/ 656 h 738"/>
                <a:gd name="T28" fmla="*/ 526 w 608"/>
                <a:gd name="T29" fmla="*/ 686 h 738"/>
                <a:gd name="T30" fmla="*/ 518 w 608"/>
                <a:gd name="T31" fmla="*/ 682 h 738"/>
                <a:gd name="T32" fmla="*/ 510 w 608"/>
                <a:gd name="T33" fmla="*/ 668 h 738"/>
                <a:gd name="T34" fmla="*/ 518 w 608"/>
                <a:gd name="T35" fmla="*/ 656 h 738"/>
                <a:gd name="T36" fmla="*/ 506 w 608"/>
                <a:gd name="T37" fmla="*/ 652 h 738"/>
                <a:gd name="T38" fmla="*/ 492 w 608"/>
                <a:gd name="T39" fmla="*/ 620 h 738"/>
                <a:gd name="T40" fmla="*/ 500 w 608"/>
                <a:gd name="T41" fmla="*/ 600 h 738"/>
                <a:gd name="T42" fmla="*/ 506 w 608"/>
                <a:gd name="T43" fmla="*/ 570 h 738"/>
                <a:gd name="T44" fmla="*/ 488 w 608"/>
                <a:gd name="T45" fmla="*/ 542 h 738"/>
                <a:gd name="T46" fmla="*/ 496 w 608"/>
                <a:gd name="T47" fmla="*/ 538 h 738"/>
                <a:gd name="T48" fmla="*/ 510 w 608"/>
                <a:gd name="T49" fmla="*/ 516 h 738"/>
                <a:gd name="T50" fmla="*/ 476 w 608"/>
                <a:gd name="T51" fmla="*/ 590 h 738"/>
                <a:gd name="T52" fmla="*/ 484 w 608"/>
                <a:gd name="T53" fmla="*/ 534 h 738"/>
                <a:gd name="T54" fmla="*/ 500 w 608"/>
                <a:gd name="T55" fmla="*/ 642 h 738"/>
                <a:gd name="T56" fmla="*/ 506 w 608"/>
                <a:gd name="T57" fmla="*/ 470 h 738"/>
                <a:gd name="T58" fmla="*/ 506 w 608"/>
                <a:gd name="T59" fmla="*/ 470 h 738"/>
                <a:gd name="T60" fmla="*/ 504 w 608"/>
                <a:gd name="T61" fmla="*/ 494 h 738"/>
                <a:gd name="T62" fmla="*/ 514 w 608"/>
                <a:gd name="T63" fmla="*/ 508 h 738"/>
                <a:gd name="T64" fmla="*/ 500 w 608"/>
                <a:gd name="T65" fmla="*/ 504 h 738"/>
                <a:gd name="T66" fmla="*/ 496 w 608"/>
                <a:gd name="T67" fmla="*/ 512 h 738"/>
                <a:gd name="T68" fmla="*/ 504 w 608"/>
                <a:gd name="T69" fmla="*/ 520 h 738"/>
                <a:gd name="T70" fmla="*/ 500 w 608"/>
                <a:gd name="T71" fmla="*/ 526 h 738"/>
                <a:gd name="T72" fmla="*/ 492 w 608"/>
                <a:gd name="T73" fmla="*/ 556 h 738"/>
                <a:gd name="T74" fmla="*/ 488 w 608"/>
                <a:gd name="T75" fmla="*/ 574 h 738"/>
                <a:gd name="T76" fmla="*/ 496 w 608"/>
                <a:gd name="T77" fmla="*/ 574 h 738"/>
                <a:gd name="T78" fmla="*/ 500 w 608"/>
                <a:gd name="T79" fmla="*/ 578 h 738"/>
                <a:gd name="T80" fmla="*/ 488 w 608"/>
                <a:gd name="T81" fmla="*/ 604 h 738"/>
                <a:gd name="T82" fmla="*/ 484 w 608"/>
                <a:gd name="T83" fmla="*/ 590 h 738"/>
                <a:gd name="T84" fmla="*/ 480 w 608"/>
                <a:gd name="T85" fmla="*/ 608 h 738"/>
                <a:gd name="T86" fmla="*/ 488 w 608"/>
                <a:gd name="T87" fmla="*/ 624 h 738"/>
                <a:gd name="T88" fmla="*/ 492 w 608"/>
                <a:gd name="T89" fmla="*/ 630 h 738"/>
                <a:gd name="T90" fmla="*/ 492 w 608"/>
                <a:gd name="T91" fmla="*/ 642 h 738"/>
                <a:gd name="T92" fmla="*/ 484 w 608"/>
                <a:gd name="T93" fmla="*/ 656 h 738"/>
                <a:gd name="T94" fmla="*/ 500 w 608"/>
                <a:gd name="T95" fmla="*/ 650 h 738"/>
                <a:gd name="T96" fmla="*/ 496 w 608"/>
                <a:gd name="T97" fmla="*/ 664 h 738"/>
                <a:gd name="T98" fmla="*/ 552 w 608"/>
                <a:gd name="T99" fmla="*/ 712 h 738"/>
                <a:gd name="T100" fmla="*/ 540 w 608"/>
                <a:gd name="T101" fmla="*/ 706 h 738"/>
                <a:gd name="T102" fmla="*/ 562 w 608"/>
                <a:gd name="T103" fmla="*/ 702 h 738"/>
                <a:gd name="T104" fmla="*/ 578 w 608"/>
                <a:gd name="T105" fmla="*/ 686 h 738"/>
                <a:gd name="T106" fmla="*/ 504 w 608"/>
                <a:gd name="T107" fmla="*/ 676 h 738"/>
                <a:gd name="T108" fmla="*/ 522 w 608"/>
                <a:gd name="T109" fmla="*/ 690 h 738"/>
                <a:gd name="T110" fmla="*/ 548 w 608"/>
                <a:gd name="T111" fmla="*/ 690 h 738"/>
                <a:gd name="T112" fmla="*/ 544 w 608"/>
                <a:gd name="T113" fmla="*/ 706 h 738"/>
                <a:gd name="T114" fmla="*/ 522 w 608"/>
                <a:gd name="T115" fmla="*/ 706 h 738"/>
                <a:gd name="T116" fmla="*/ 548 w 608"/>
                <a:gd name="T117" fmla="*/ 724 h 738"/>
                <a:gd name="T118" fmla="*/ 556 w 608"/>
                <a:gd name="T119" fmla="*/ 720 h 738"/>
                <a:gd name="T120" fmla="*/ 578 w 608"/>
                <a:gd name="T121" fmla="*/ 716 h 738"/>
                <a:gd name="T122" fmla="*/ 596 w 608"/>
                <a:gd name="T123" fmla="*/ 724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8" h="738">
                  <a:moveTo>
                    <a:pt x="514" y="486"/>
                  </a:moveTo>
                  <a:lnTo>
                    <a:pt x="514" y="482"/>
                  </a:lnTo>
                  <a:lnTo>
                    <a:pt x="514" y="478"/>
                  </a:lnTo>
                  <a:lnTo>
                    <a:pt x="514" y="474"/>
                  </a:lnTo>
                  <a:lnTo>
                    <a:pt x="514" y="470"/>
                  </a:lnTo>
                  <a:lnTo>
                    <a:pt x="518" y="470"/>
                  </a:lnTo>
                  <a:lnTo>
                    <a:pt x="518" y="474"/>
                  </a:lnTo>
                  <a:lnTo>
                    <a:pt x="518" y="470"/>
                  </a:lnTo>
                  <a:lnTo>
                    <a:pt x="518" y="466"/>
                  </a:lnTo>
                  <a:lnTo>
                    <a:pt x="518" y="464"/>
                  </a:lnTo>
                  <a:lnTo>
                    <a:pt x="522" y="464"/>
                  </a:lnTo>
                  <a:lnTo>
                    <a:pt x="518" y="464"/>
                  </a:lnTo>
                  <a:lnTo>
                    <a:pt x="518" y="460"/>
                  </a:lnTo>
                  <a:lnTo>
                    <a:pt x="518" y="456"/>
                  </a:lnTo>
                  <a:lnTo>
                    <a:pt x="522" y="456"/>
                  </a:lnTo>
                  <a:lnTo>
                    <a:pt x="522" y="460"/>
                  </a:lnTo>
                  <a:lnTo>
                    <a:pt x="522" y="456"/>
                  </a:lnTo>
                  <a:lnTo>
                    <a:pt x="522" y="452"/>
                  </a:lnTo>
                  <a:lnTo>
                    <a:pt x="518" y="452"/>
                  </a:lnTo>
                  <a:lnTo>
                    <a:pt x="514" y="452"/>
                  </a:lnTo>
                  <a:lnTo>
                    <a:pt x="518" y="452"/>
                  </a:lnTo>
                  <a:lnTo>
                    <a:pt x="518" y="448"/>
                  </a:lnTo>
                  <a:lnTo>
                    <a:pt x="522" y="448"/>
                  </a:lnTo>
                  <a:lnTo>
                    <a:pt x="522" y="444"/>
                  </a:lnTo>
                  <a:lnTo>
                    <a:pt x="526" y="444"/>
                  </a:lnTo>
                  <a:lnTo>
                    <a:pt x="526" y="440"/>
                  </a:lnTo>
                  <a:lnTo>
                    <a:pt x="522" y="440"/>
                  </a:lnTo>
                  <a:lnTo>
                    <a:pt x="522" y="444"/>
                  </a:lnTo>
                  <a:lnTo>
                    <a:pt x="518" y="444"/>
                  </a:lnTo>
                  <a:lnTo>
                    <a:pt x="518" y="440"/>
                  </a:lnTo>
                  <a:lnTo>
                    <a:pt x="514" y="440"/>
                  </a:lnTo>
                  <a:lnTo>
                    <a:pt x="514" y="444"/>
                  </a:lnTo>
                  <a:lnTo>
                    <a:pt x="510" y="448"/>
                  </a:lnTo>
                  <a:lnTo>
                    <a:pt x="506" y="448"/>
                  </a:lnTo>
                  <a:lnTo>
                    <a:pt x="504" y="448"/>
                  </a:lnTo>
                  <a:lnTo>
                    <a:pt x="504" y="444"/>
                  </a:lnTo>
                  <a:lnTo>
                    <a:pt x="506" y="444"/>
                  </a:lnTo>
                  <a:lnTo>
                    <a:pt x="506" y="440"/>
                  </a:lnTo>
                  <a:lnTo>
                    <a:pt x="506" y="444"/>
                  </a:lnTo>
                  <a:lnTo>
                    <a:pt x="504" y="444"/>
                  </a:lnTo>
                  <a:lnTo>
                    <a:pt x="504" y="440"/>
                  </a:lnTo>
                  <a:lnTo>
                    <a:pt x="504" y="438"/>
                  </a:lnTo>
                  <a:lnTo>
                    <a:pt x="500" y="438"/>
                  </a:lnTo>
                  <a:lnTo>
                    <a:pt x="500" y="434"/>
                  </a:lnTo>
                  <a:lnTo>
                    <a:pt x="500" y="430"/>
                  </a:lnTo>
                  <a:lnTo>
                    <a:pt x="504" y="426"/>
                  </a:lnTo>
                  <a:lnTo>
                    <a:pt x="504" y="422"/>
                  </a:lnTo>
                  <a:lnTo>
                    <a:pt x="504" y="414"/>
                  </a:lnTo>
                  <a:lnTo>
                    <a:pt x="504" y="410"/>
                  </a:lnTo>
                  <a:lnTo>
                    <a:pt x="506" y="410"/>
                  </a:lnTo>
                  <a:lnTo>
                    <a:pt x="510" y="410"/>
                  </a:lnTo>
                  <a:lnTo>
                    <a:pt x="510" y="408"/>
                  </a:lnTo>
                  <a:lnTo>
                    <a:pt x="510" y="404"/>
                  </a:lnTo>
                  <a:lnTo>
                    <a:pt x="510" y="400"/>
                  </a:lnTo>
                  <a:lnTo>
                    <a:pt x="510" y="396"/>
                  </a:lnTo>
                  <a:lnTo>
                    <a:pt x="510" y="392"/>
                  </a:lnTo>
                  <a:lnTo>
                    <a:pt x="506" y="388"/>
                  </a:lnTo>
                  <a:lnTo>
                    <a:pt x="506" y="384"/>
                  </a:lnTo>
                  <a:lnTo>
                    <a:pt x="506" y="380"/>
                  </a:lnTo>
                  <a:lnTo>
                    <a:pt x="506" y="378"/>
                  </a:lnTo>
                  <a:lnTo>
                    <a:pt x="506" y="374"/>
                  </a:lnTo>
                  <a:lnTo>
                    <a:pt x="506" y="370"/>
                  </a:lnTo>
                  <a:lnTo>
                    <a:pt x="504" y="370"/>
                  </a:lnTo>
                  <a:lnTo>
                    <a:pt x="504" y="366"/>
                  </a:lnTo>
                  <a:lnTo>
                    <a:pt x="506" y="366"/>
                  </a:lnTo>
                  <a:lnTo>
                    <a:pt x="506" y="362"/>
                  </a:lnTo>
                  <a:lnTo>
                    <a:pt x="504" y="362"/>
                  </a:lnTo>
                  <a:lnTo>
                    <a:pt x="506" y="358"/>
                  </a:lnTo>
                  <a:lnTo>
                    <a:pt x="510" y="358"/>
                  </a:lnTo>
                  <a:lnTo>
                    <a:pt x="510" y="354"/>
                  </a:lnTo>
                  <a:lnTo>
                    <a:pt x="510" y="352"/>
                  </a:lnTo>
                  <a:lnTo>
                    <a:pt x="514" y="352"/>
                  </a:lnTo>
                  <a:lnTo>
                    <a:pt x="514" y="348"/>
                  </a:lnTo>
                  <a:lnTo>
                    <a:pt x="514" y="344"/>
                  </a:lnTo>
                  <a:lnTo>
                    <a:pt x="518" y="344"/>
                  </a:lnTo>
                  <a:lnTo>
                    <a:pt x="518" y="340"/>
                  </a:lnTo>
                  <a:lnTo>
                    <a:pt x="518" y="336"/>
                  </a:lnTo>
                  <a:lnTo>
                    <a:pt x="518" y="332"/>
                  </a:lnTo>
                  <a:lnTo>
                    <a:pt x="522" y="332"/>
                  </a:lnTo>
                  <a:lnTo>
                    <a:pt x="518" y="328"/>
                  </a:lnTo>
                  <a:lnTo>
                    <a:pt x="522" y="328"/>
                  </a:lnTo>
                  <a:lnTo>
                    <a:pt x="522" y="324"/>
                  </a:lnTo>
                  <a:lnTo>
                    <a:pt x="522" y="322"/>
                  </a:lnTo>
                  <a:lnTo>
                    <a:pt x="526" y="322"/>
                  </a:lnTo>
                  <a:lnTo>
                    <a:pt x="526" y="318"/>
                  </a:lnTo>
                  <a:lnTo>
                    <a:pt x="526" y="314"/>
                  </a:lnTo>
                  <a:lnTo>
                    <a:pt x="530" y="310"/>
                  </a:lnTo>
                  <a:lnTo>
                    <a:pt x="530" y="306"/>
                  </a:lnTo>
                  <a:lnTo>
                    <a:pt x="530" y="302"/>
                  </a:lnTo>
                  <a:lnTo>
                    <a:pt x="530" y="298"/>
                  </a:lnTo>
                  <a:lnTo>
                    <a:pt x="530" y="296"/>
                  </a:lnTo>
                  <a:lnTo>
                    <a:pt x="532" y="296"/>
                  </a:lnTo>
                  <a:lnTo>
                    <a:pt x="532" y="292"/>
                  </a:lnTo>
                  <a:lnTo>
                    <a:pt x="532" y="288"/>
                  </a:lnTo>
                  <a:lnTo>
                    <a:pt x="532" y="284"/>
                  </a:lnTo>
                  <a:lnTo>
                    <a:pt x="532" y="280"/>
                  </a:lnTo>
                  <a:lnTo>
                    <a:pt x="536" y="276"/>
                  </a:lnTo>
                  <a:lnTo>
                    <a:pt x="536" y="272"/>
                  </a:lnTo>
                  <a:lnTo>
                    <a:pt x="536" y="268"/>
                  </a:lnTo>
                  <a:lnTo>
                    <a:pt x="536" y="266"/>
                  </a:lnTo>
                  <a:lnTo>
                    <a:pt x="536" y="262"/>
                  </a:lnTo>
                  <a:lnTo>
                    <a:pt x="536" y="258"/>
                  </a:lnTo>
                  <a:lnTo>
                    <a:pt x="532" y="254"/>
                  </a:lnTo>
                  <a:lnTo>
                    <a:pt x="532" y="250"/>
                  </a:lnTo>
                  <a:lnTo>
                    <a:pt x="532" y="246"/>
                  </a:lnTo>
                  <a:lnTo>
                    <a:pt x="532" y="242"/>
                  </a:lnTo>
                  <a:lnTo>
                    <a:pt x="532" y="238"/>
                  </a:lnTo>
                  <a:lnTo>
                    <a:pt x="532" y="236"/>
                  </a:lnTo>
                  <a:lnTo>
                    <a:pt x="532" y="232"/>
                  </a:lnTo>
                  <a:lnTo>
                    <a:pt x="532" y="228"/>
                  </a:lnTo>
                  <a:lnTo>
                    <a:pt x="532" y="232"/>
                  </a:lnTo>
                  <a:lnTo>
                    <a:pt x="536" y="232"/>
                  </a:lnTo>
                  <a:lnTo>
                    <a:pt x="536" y="228"/>
                  </a:lnTo>
                  <a:lnTo>
                    <a:pt x="536" y="224"/>
                  </a:lnTo>
                  <a:lnTo>
                    <a:pt x="536" y="220"/>
                  </a:lnTo>
                  <a:lnTo>
                    <a:pt x="536" y="216"/>
                  </a:lnTo>
                  <a:lnTo>
                    <a:pt x="536" y="212"/>
                  </a:lnTo>
                  <a:lnTo>
                    <a:pt x="536" y="210"/>
                  </a:lnTo>
                  <a:lnTo>
                    <a:pt x="536" y="206"/>
                  </a:lnTo>
                  <a:lnTo>
                    <a:pt x="536" y="202"/>
                  </a:lnTo>
                  <a:lnTo>
                    <a:pt x="536" y="198"/>
                  </a:lnTo>
                  <a:lnTo>
                    <a:pt x="540" y="198"/>
                  </a:lnTo>
                  <a:lnTo>
                    <a:pt x="540" y="194"/>
                  </a:lnTo>
                  <a:lnTo>
                    <a:pt x="540" y="190"/>
                  </a:lnTo>
                  <a:lnTo>
                    <a:pt x="540" y="186"/>
                  </a:lnTo>
                  <a:lnTo>
                    <a:pt x="540" y="182"/>
                  </a:lnTo>
                  <a:lnTo>
                    <a:pt x="544" y="182"/>
                  </a:lnTo>
                  <a:lnTo>
                    <a:pt x="544" y="180"/>
                  </a:lnTo>
                  <a:lnTo>
                    <a:pt x="544" y="176"/>
                  </a:lnTo>
                  <a:lnTo>
                    <a:pt x="544" y="172"/>
                  </a:lnTo>
                  <a:lnTo>
                    <a:pt x="544" y="168"/>
                  </a:lnTo>
                  <a:lnTo>
                    <a:pt x="544" y="164"/>
                  </a:lnTo>
                  <a:lnTo>
                    <a:pt x="548" y="164"/>
                  </a:lnTo>
                  <a:lnTo>
                    <a:pt x="548" y="160"/>
                  </a:lnTo>
                  <a:lnTo>
                    <a:pt x="548" y="158"/>
                  </a:lnTo>
                  <a:lnTo>
                    <a:pt x="548" y="154"/>
                  </a:lnTo>
                  <a:lnTo>
                    <a:pt x="548" y="150"/>
                  </a:lnTo>
                  <a:lnTo>
                    <a:pt x="548" y="146"/>
                  </a:lnTo>
                  <a:lnTo>
                    <a:pt x="548" y="142"/>
                  </a:lnTo>
                  <a:lnTo>
                    <a:pt x="552" y="142"/>
                  </a:lnTo>
                  <a:lnTo>
                    <a:pt x="552" y="138"/>
                  </a:lnTo>
                  <a:lnTo>
                    <a:pt x="548" y="136"/>
                  </a:lnTo>
                  <a:lnTo>
                    <a:pt x="548" y="132"/>
                  </a:lnTo>
                  <a:lnTo>
                    <a:pt x="548" y="128"/>
                  </a:lnTo>
                  <a:lnTo>
                    <a:pt x="548" y="124"/>
                  </a:lnTo>
                  <a:lnTo>
                    <a:pt x="548" y="120"/>
                  </a:lnTo>
                  <a:lnTo>
                    <a:pt x="548" y="116"/>
                  </a:lnTo>
                  <a:lnTo>
                    <a:pt x="548" y="112"/>
                  </a:lnTo>
                  <a:lnTo>
                    <a:pt x="552" y="112"/>
                  </a:lnTo>
                  <a:lnTo>
                    <a:pt x="552" y="110"/>
                  </a:lnTo>
                  <a:lnTo>
                    <a:pt x="552" y="106"/>
                  </a:lnTo>
                  <a:lnTo>
                    <a:pt x="548" y="106"/>
                  </a:lnTo>
                  <a:lnTo>
                    <a:pt x="548" y="110"/>
                  </a:lnTo>
                  <a:lnTo>
                    <a:pt x="548" y="106"/>
                  </a:lnTo>
                  <a:lnTo>
                    <a:pt x="548" y="102"/>
                  </a:lnTo>
                  <a:lnTo>
                    <a:pt x="548" y="98"/>
                  </a:lnTo>
                  <a:lnTo>
                    <a:pt x="548" y="102"/>
                  </a:lnTo>
                  <a:lnTo>
                    <a:pt x="552" y="102"/>
                  </a:lnTo>
                  <a:lnTo>
                    <a:pt x="552" y="98"/>
                  </a:lnTo>
                  <a:lnTo>
                    <a:pt x="552" y="94"/>
                  </a:lnTo>
                  <a:lnTo>
                    <a:pt x="552" y="90"/>
                  </a:lnTo>
                  <a:lnTo>
                    <a:pt x="552" y="86"/>
                  </a:lnTo>
                  <a:lnTo>
                    <a:pt x="556" y="82"/>
                  </a:lnTo>
                  <a:lnTo>
                    <a:pt x="556" y="76"/>
                  </a:lnTo>
                  <a:lnTo>
                    <a:pt x="556" y="72"/>
                  </a:lnTo>
                  <a:lnTo>
                    <a:pt x="556" y="68"/>
                  </a:lnTo>
                  <a:lnTo>
                    <a:pt x="556" y="64"/>
                  </a:lnTo>
                  <a:lnTo>
                    <a:pt x="556" y="60"/>
                  </a:lnTo>
                  <a:lnTo>
                    <a:pt x="556" y="52"/>
                  </a:lnTo>
                  <a:lnTo>
                    <a:pt x="556" y="50"/>
                  </a:lnTo>
                  <a:lnTo>
                    <a:pt x="556" y="46"/>
                  </a:lnTo>
                  <a:lnTo>
                    <a:pt x="556" y="42"/>
                  </a:lnTo>
                  <a:lnTo>
                    <a:pt x="556" y="38"/>
                  </a:lnTo>
                  <a:lnTo>
                    <a:pt x="552" y="34"/>
                  </a:lnTo>
                  <a:lnTo>
                    <a:pt x="552" y="30"/>
                  </a:lnTo>
                  <a:lnTo>
                    <a:pt x="552" y="26"/>
                  </a:lnTo>
                  <a:lnTo>
                    <a:pt x="552" y="24"/>
                  </a:lnTo>
                  <a:lnTo>
                    <a:pt x="552" y="20"/>
                  </a:lnTo>
                  <a:lnTo>
                    <a:pt x="552" y="16"/>
                  </a:lnTo>
                  <a:lnTo>
                    <a:pt x="556" y="16"/>
                  </a:lnTo>
                  <a:lnTo>
                    <a:pt x="560" y="16"/>
                  </a:lnTo>
                  <a:lnTo>
                    <a:pt x="560" y="12"/>
                  </a:lnTo>
                  <a:lnTo>
                    <a:pt x="560" y="8"/>
                  </a:lnTo>
                  <a:lnTo>
                    <a:pt x="560" y="4"/>
                  </a:lnTo>
                  <a:lnTo>
                    <a:pt x="562" y="4"/>
                  </a:lnTo>
                  <a:lnTo>
                    <a:pt x="562" y="0"/>
                  </a:lnTo>
                  <a:lnTo>
                    <a:pt x="562" y="4"/>
                  </a:lnTo>
                  <a:lnTo>
                    <a:pt x="566" y="4"/>
                  </a:lnTo>
                  <a:lnTo>
                    <a:pt x="566" y="8"/>
                  </a:lnTo>
                  <a:lnTo>
                    <a:pt x="566" y="12"/>
                  </a:lnTo>
                  <a:lnTo>
                    <a:pt x="570" y="12"/>
                  </a:lnTo>
                  <a:lnTo>
                    <a:pt x="570" y="16"/>
                  </a:lnTo>
                  <a:lnTo>
                    <a:pt x="570" y="20"/>
                  </a:lnTo>
                  <a:lnTo>
                    <a:pt x="570" y="24"/>
                  </a:lnTo>
                  <a:lnTo>
                    <a:pt x="570" y="26"/>
                  </a:lnTo>
                  <a:lnTo>
                    <a:pt x="574" y="30"/>
                  </a:lnTo>
                  <a:lnTo>
                    <a:pt x="574" y="34"/>
                  </a:lnTo>
                  <a:lnTo>
                    <a:pt x="578" y="34"/>
                  </a:lnTo>
                  <a:lnTo>
                    <a:pt x="578" y="38"/>
                  </a:lnTo>
                  <a:lnTo>
                    <a:pt x="574" y="42"/>
                  </a:lnTo>
                  <a:lnTo>
                    <a:pt x="578" y="42"/>
                  </a:lnTo>
                  <a:lnTo>
                    <a:pt x="578" y="46"/>
                  </a:lnTo>
                  <a:lnTo>
                    <a:pt x="574" y="46"/>
                  </a:lnTo>
                  <a:lnTo>
                    <a:pt x="574" y="50"/>
                  </a:lnTo>
                  <a:lnTo>
                    <a:pt x="574" y="52"/>
                  </a:lnTo>
                  <a:lnTo>
                    <a:pt x="574" y="56"/>
                  </a:lnTo>
                  <a:lnTo>
                    <a:pt x="578" y="56"/>
                  </a:lnTo>
                  <a:lnTo>
                    <a:pt x="578" y="60"/>
                  </a:lnTo>
                  <a:lnTo>
                    <a:pt x="578" y="64"/>
                  </a:lnTo>
                  <a:lnTo>
                    <a:pt x="578" y="60"/>
                  </a:lnTo>
                  <a:lnTo>
                    <a:pt x="582" y="68"/>
                  </a:lnTo>
                  <a:lnTo>
                    <a:pt x="582" y="76"/>
                  </a:lnTo>
                  <a:lnTo>
                    <a:pt x="586" y="76"/>
                  </a:lnTo>
                  <a:lnTo>
                    <a:pt x="586" y="80"/>
                  </a:lnTo>
                  <a:lnTo>
                    <a:pt x="586" y="82"/>
                  </a:lnTo>
                  <a:lnTo>
                    <a:pt x="586" y="86"/>
                  </a:lnTo>
                  <a:lnTo>
                    <a:pt x="586" y="90"/>
                  </a:lnTo>
                  <a:lnTo>
                    <a:pt x="590" y="90"/>
                  </a:lnTo>
                  <a:lnTo>
                    <a:pt x="586" y="94"/>
                  </a:lnTo>
                  <a:lnTo>
                    <a:pt x="590" y="98"/>
                  </a:lnTo>
                  <a:lnTo>
                    <a:pt x="592" y="98"/>
                  </a:lnTo>
                  <a:lnTo>
                    <a:pt x="596" y="94"/>
                  </a:lnTo>
                  <a:lnTo>
                    <a:pt x="596" y="98"/>
                  </a:lnTo>
                  <a:lnTo>
                    <a:pt x="600" y="98"/>
                  </a:lnTo>
                  <a:lnTo>
                    <a:pt x="600" y="102"/>
                  </a:lnTo>
                  <a:lnTo>
                    <a:pt x="596" y="102"/>
                  </a:lnTo>
                  <a:lnTo>
                    <a:pt x="596" y="106"/>
                  </a:lnTo>
                  <a:lnTo>
                    <a:pt x="596" y="110"/>
                  </a:lnTo>
                  <a:lnTo>
                    <a:pt x="596" y="112"/>
                  </a:lnTo>
                  <a:lnTo>
                    <a:pt x="592" y="116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6" y="120"/>
                  </a:lnTo>
                  <a:lnTo>
                    <a:pt x="582" y="124"/>
                  </a:lnTo>
                  <a:lnTo>
                    <a:pt x="578" y="124"/>
                  </a:lnTo>
                  <a:lnTo>
                    <a:pt x="578" y="128"/>
                  </a:lnTo>
                  <a:lnTo>
                    <a:pt x="578" y="132"/>
                  </a:lnTo>
                  <a:lnTo>
                    <a:pt x="582" y="136"/>
                  </a:lnTo>
                  <a:lnTo>
                    <a:pt x="578" y="138"/>
                  </a:lnTo>
                  <a:lnTo>
                    <a:pt x="578" y="142"/>
                  </a:lnTo>
                  <a:lnTo>
                    <a:pt x="578" y="146"/>
                  </a:lnTo>
                  <a:lnTo>
                    <a:pt x="578" y="150"/>
                  </a:lnTo>
                  <a:lnTo>
                    <a:pt x="578" y="154"/>
                  </a:lnTo>
                  <a:lnTo>
                    <a:pt x="578" y="158"/>
                  </a:lnTo>
                  <a:lnTo>
                    <a:pt x="578" y="160"/>
                  </a:lnTo>
                  <a:lnTo>
                    <a:pt x="578" y="164"/>
                  </a:lnTo>
                  <a:lnTo>
                    <a:pt x="582" y="168"/>
                  </a:lnTo>
                  <a:lnTo>
                    <a:pt x="582" y="172"/>
                  </a:lnTo>
                  <a:lnTo>
                    <a:pt x="578" y="172"/>
                  </a:lnTo>
                  <a:lnTo>
                    <a:pt x="574" y="172"/>
                  </a:lnTo>
                  <a:lnTo>
                    <a:pt x="574" y="176"/>
                  </a:lnTo>
                  <a:lnTo>
                    <a:pt x="570" y="180"/>
                  </a:lnTo>
                  <a:lnTo>
                    <a:pt x="570" y="182"/>
                  </a:lnTo>
                  <a:lnTo>
                    <a:pt x="570" y="186"/>
                  </a:lnTo>
                  <a:lnTo>
                    <a:pt x="566" y="186"/>
                  </a:lnTo>
                  <a:lnTo>
                    <a:pt x="566" y="190"/>
                  </a:lnTo>
                  <a:lnTo>
                    <a:pt x="562" y="194"/>
                  </a:lnTo>
                  <a:lnTo>
                    <a:pt x="562" y="198"/>
                  </a:lnTo>
                  <a:lnTo>
                    <a:pt x="560" y="198"/>
                  </a:lnTo>
                  <a:lnTo>
                    <a:pt x="560" y="202"/>
                  </a:lnTo>
                  <a:lnTo>
                    <a:pt x="560" y="206"/>
                  </a:lnTo>
                  <a:lnTo>
                    <a:pt x="560" y="210"/>
                  </a:lnTo>
                  <a:lnTo>
                    <a:pt x="556" y="212"/>
                  </a:lnTo>
                  <a:lnTo>
                    <a:pt x="556" y="216"/>
                  </a:lnTo>
                  <a:lnTo>
                    <a:pt x="560" y="216"/>
                  </a:lnTo>
                  <a:lnTo>
                    <a:pt x="556" y="216"/>
                  </a:lnTo>
                  <a:lnTo>
                    <a:pt x="560" y="220"/>
                  </a:lnTo>
                  <a:lnTo>
                    <a:pt x="560" y="224"/>
                  </a:lnTo>
                  <a:lnTo>
                    <a:pt x="560" y="228"/>
                  </a:lnTo>
                  <a:lnTo>
                    <a:pt x="560" y="232"/>
                  </a:lnTo>
                  <a:lnTo>
                    <a:pt x="556" y="232"/>
                  </a:lnTo>
                  <a:lnTo>
                    <a:pt x="556" y="236"/>
                  </a:lnTo>
                  <a:lnTo>
                    <a:pt x="552" y="236"/>
                  </a:lnTo>
                  <a:lnTo>
                    <a:pt x="552" y="238"/>
                  </a:lnTo>
                  <a:lnTo>
                    <a:pt x="552" y="242"/>
                  </a:lnTo>
                  <a:lnTo>
                    <a:pt x="552" y="246"/>
                  </a:lnTo>
                  <a:lnTo>
                    <a:pt x="548" y="246"/>
                  </a:lnTo>
                  <a:lnTo>
                    <a:pt x="548" y="250"/>
                  </a:lnTo>
                  <a:lnTo>
                    <a:pt x="548" y="254"/>
                  </a:lnTo>
                  <a:lnTo>
                    <a:pt x="552" y="258"/>
                  </a:lnTo>
                  <a:lnTo>
                    <a:pt x="552" y="262"/>
                  </a:lnTo>
                  <a:lnTo>
                    <a:pt x="552" y="266"/>
                  </a:lnTo>
                  <a:lnTo>
                    <a:pt x="552" y="268"/>
                  </a:lnTo>
                  <a:lnTo>
                    <a:pt x="556" y="268"/>
                  </a:lnTo>
                  <a:lnTo>
                    <a:pt x="556" y="272"/>
                  </a:lnTo>
                  <a:lnTo>
                    <a:pt x="556" y="276"/>
                  </a:lnTo>
                  <a:lnTo>
                    <a:pt x="556" y="280"/>
                  </a:lnTo>
                  <a:lnTo>
                    <a:pt x="556" y="284"/>
                  </a:lnTo>
                  <a:lnTo>
                    <a:pt x="560" y="284"/>
                  </a:lnTo>
                  <a:lnTo>
                    <a:pt x="560" y="288"/>
                  </a:lnTo>
                  <a:lnTo>
                    <a:pt x="560" y="292"/>
                  </a:lnTo>
                  <a:lnTo>
                    <a:pt x="560" y="296"/>
                  </a:lnTo>
                  <a:lnTo>
                    <a:pt x="560" y="298"/>
                  </a:lnTo>
                  <a:lnTo>
                    <a:pt x="560" y="302"/>
                  </a:lnTo>
                  <a:lnTo>
                    <a:pt x="556" y="302"/>
                  </a:lnTo>
                  <a:lnTo>
                    <a:pt x="556" y="306"/>
                  </a:lnTo>
                  <a:lnTo>
                    <a:pt x="556" y="310"/>
                  </a:lnTo>
                  <a:lnTo>
                    <a:pt x="552" y="310"/>
                  </a:lnTo>
                  <a:lnTo>
                    <a:pt x="552" y="314"/>
                  </a:lnTo>
                  <a:lnTo>
                    <a:pt x="552" y="318"/>
                  </a:lnTo>
                  <a:lnTo>
                    <a:pt x="552" y="322"/>
                  </a:lnTo>
                  <a:lnTo>
                    <a:pt x="548" y="322"/>
                  </a:lnTo>
                  <a:lnTo>
                    <a:pt x="548" y="324"/>
                  </a:lnTo>
                  <a:lnTo>
                    <a:pt x="552" y="324"/>
                  </a:lnTo>
                  <a:lnTo>
                    <a:pt x="552" y="328"/>
                  </a:lnTo>
                  <a:lnTo>
                    <a:pt x="552" y="332"/>
                  </a:lnTo>
                  <a:lnTo>
                    <a:pt x="552" y="336"/>
                  </a:lnTo>
                  <a:lnTo>
                    <a:pt x="552" y="340"/>
                  </a:lnTo>
                  <a:lnTo>
                    <a:pt x="548" y="340"/>
                  </a:lnTo>
                  <a:lnTo>
                    <a:pt x="548" y="344"/>
                  </a:lnTo>
                  <a:lnTo>
                    <a:pt x="544" y="348"/>
                  </a:lnTo>
                  <a:lnTo>
                    <a:pt x="544" y="344"/>
                  </a:lnTo>
                  <a:lnTo>
                    <a:pt x="540" y="348"/>
                  </a:lnTo>
                  <a:lnTo>
                    <a:pt x="540" y="352"/>
                  </a:lnTo>
                  <a:lnTo>
                    <a:pt x="540" y="354"/>
                  </a:lnTo>
                  <a:lnTo>
                    <a:pt x="540" y="358"/>
                  </a:lnTo>
                  <a:lnTo>
                    <a:pt x="540" y="362"/>
                  </a:lnTo>
                  <a:lnTo>
                    <a:pt x="540" y="366"/>
                  </a:lnTo>
                  <a:lnTo>
                    <a:pt x="540" y="370"/>
                  </a:lnTo>
                  <a:lnTo>
                    <a:pt x="540" y="374"/>
                  </a:lnTo>
                  <a:lnTo>
                    <a:pt x="544" y="378"/>
                  </a:lnTo>
                  <a:lnTo>
                    <a:pt x="544" y="380"/>
                  </a:lnTo>
                  <a:lnTo>
                    <a:pt x="544" y="384"/>
                  </a:lnTo>
                  <a:lnTo>
                    <a:pt x="544" y="388"/>
                  </a:lnTo>
                  <a:lnTo>
                    <a:pt x="540" y="388"/>
                  </a:lnTo>
                  <a:lnTo>
                    <a:pt x="540" y="392"/>
                  </a:lnTo>
                  <a:lnTo>
                    <a:pt x="536" y="392"/>
                  </a:lnTo>
                  <a:lnTo>
                    <a:pt x="536" y="396"/>
                  </a:lnTo>
                  <a:lnTo>
                    <a:pt x="536" y="400"/>
                  </a:lnTo>
                  <a:lnTo>
                    <a:pt x="536" y="404"/>
                  </a:lnTo>
                  <a:lnTo>
                    <a:pt x="536" y="408"/>
                  </a:lnTo>
                  <a:lnTo>
                    <a:pt x="532" y="408"/>
                  </a:lnTo>
                  <a:lnTo>
                    <a:pt x="532" y="404"/>
                  </a:lnTo>
                  <a:lnTo>
                    <a:pt x="532" y="408"/>
                  </a:lnTo>
                  <a:lnTo>
                    <a:pt x="532" y="410"/>
                  </a:lnTo>
                  <a:lnTo>
                    <a:pt x="532" y="414"/>
                  </a:lnTo>
                  <a:lnTo>
                    <a:pt x="530" y="418"/>
                  </a:lnTo>
                  <a:lnTo>
                    <a:pt x="532" y="418"/>
                  </a:lnTo>
                  <a:lnTo>
                    <a:pt x="532" y="422"/>
                  </a:lnTo>
                  <a:lnTo>
                    <a:pt x="530" y="422"/>
                  </a:lnTo>
                  <a:lnTo>
                    <a:pt x="530" y="426"/>
                  </a:lnTo>
                  <a:lnTo>
                    <a:pt x="530" y="430"/>
                  </a:lnTo>
                  <a:lnTo>
                    <a:pt x="530" y="434"/>
                  </a:lnTo>
                  <a:lnTo>
                    <a:pt x="530" y="438"/>
                  </a:lnTo>
                  <a:lnTo>
                    <a:pt x="530" y="440"/>
                  </a:lnTo>
                  <a:lnTo>
                    <a:pt x="530" y="444"/>
                  </a:lnTo>
                  <a:lnTo>
                    <a:pt x="530" y="448"/>
                  </a:lnTo>
                  <a:lnTo>
                    <a:pt x="532" y="448"/>
                  </a:lnTo>
                  <a:lnTo>
                    <a:pt x="532" y="452"/>
                  </a:lnTo>
                  <a:lnTo>
                    <a:pt x="532" y="456"/>
                  </a:lnTo>
                  <a:lnTo>
                    <a:pt x="530" y="456"/>
                  </a:lnTo>
                  <a:lnTo>
                    <a:pt x="526" y="460"/>
                  </a:lnTo>
                  <a:lnTo>
                    <a:pt x="530" y="460"/>
                  </a:lnTo>
                  <a:lnTo>
                    <a:pt x="526" y="464"/>
                  </a:lnTo>
                  <a:lnTo>
                    <a:pt x="526" y="466"/>
                  </a:lnTo>
                  <a:lnTo>
                    <a:pt x="526" y="470"/>
                  </a:lnTo>
                  <a:lnTo>
                    <a:pt x="526" y="474"/>
                  </a:lnTo>
                  <a:lnTo>
                    <a:pt x="530" y="474"/>
                  </a:lnTo>
                  <a:lnTo>
                    <a:pt x="532" y="474"/>
                  </a:lnTo>
                  <a:lnTo>
                    <a:pt x="532" y="478"/>
                  </a:lnTo>
                  <a:lnTo>
                    <a:pt x="530" y="478"/>
                  </a:lnTo>
                  <a:lnTo>
                    <a:pt x="530" y="482"/>
                  </a:lnTo>
                  <a:lnTo>
                    <a:pt x="532" y="482"/>
                  </a:lnTo>
                  <a:lnTo>
                    <a:pt x="532" y="486"/>
                  </a:lnTo>
                  <a:lnTo>
                    <a:pt x="532" y="490"/>
                  </a:lnTo>
                  <a:lnTo>
                    <a:pt x="532" y="494"/>
                  </a:lnTo>
                  <a:lnTo>
                    <a:pt x="530" y="494"/>
                  </a:lnTo>
                  <a:lnTo>
                    <a:pt x="532" y="496"/>
                  </a:lnTo>
                  <a:lnTo>
                    <a:pt x="530" y="496"/>
                  </a:lnTo>
                  <a:lnTo>
                    <a:pt x="530" y="500"/>
                  </a:lnTo>
                  <a:lnTo>
                    <a:pt x="532" y="500"/>
                  </a:lnTo>
                  <a:lnTo>
                    <a:pt x="536" y="500"/>
                  </a:lnTo>
                  <a:lnTo>
                    <a:pt x="540" y="500"/>
                  </a:lnTo>
                  <a:lnTo>
                    <a:pt x="540" y="504"/>
                  </a:lnTo>
                  <a:lnTo>
                    <a:pt x="540" y="508"/>
                  </a:lnTo>
                  <a:lnTo>
                    <a:pt x="536" y="508"/>
                  </a:lnTo>
                  <a:lnTo>
                    <a:pt x="532" y="508"/>
                  </a:lnTo>
                  <a:lnTo>
                    <a:pt x="530" y="508"/>
                  </a:lnTo>
                  <a:lnTo>
                    <a:pt x="526" y="508"/>
                  </a:lnTo>
                  <a:lnTo>
                    <a:pt x="530" y="508"/>
                  </a:lnTo>
                  <a:lnTo>
                    <a:pt x="530" y="512"/>
                  </a:lnTo>
                  <a:lnTo>
                    <a:pt x="532" y="512"/>
                  </a:lnTo>
                  <a:lnTo>
                    <a:pt x="536" y="512"/>
                  </a:lnTo>
                  <a:lnTo>
                    <a:pt x="536" y="516"/>
                  </a:lnTo>
                  <a:lnTo>
                    <a:pt x="536" y="520"/>
                  </a:lnTo>
                  <a:lnTo>
                    <a:pt x="532" y="524"/>
                  </a:lnTo>
                  <a:lnTo>
                    <a:pt x="532" y="526"/>
                  </a:lnTo>
                  <a:lnTo>
                    <a:pt x="532" y="530"/>
                  </a:lnTo>
                  <a:lnTo>
                    <a:pt x="532" y="534"/>
                  </a:lnTo>
                  <a:lnTo>
                    <a:pt x="530" y="534"/>
                  </a:lnTo>
                  <a:lnTo>
                    <a:pt x="532" y="534"/>
                  </a:lnTo>
                  <a:lnTo>
                    <a:pt x="532" y="538"/>
                  </a:lnTo>
                  <a:lnTo>
                    <a:pt x="532" y="542"/>
                  </a:lnTo>
                  <a:lnTo>
                    <a:pt x="532" y="546"/>
                  </a:lnTo>
                  <a:lnTo>
                    <a:pt x="530" y="550"/>
                  </a:lnTo>
                  <a:lnTo>
                    <a:pt x="530" y="552"/>
                  </a:lnTo>
                  <a:lnTo>
                    <a:pt x="530" y="556"/>
                  </a:lnTo>
                  <a:lnTo>
                    <a:pt x="526" y="560"/>
                  </a:lnTo>
                  <a:lnTo>
                    <a:pt x="522" y="560"/>
                  </a:lnTo>
                  <a:lnTo>
                    <a:pt x="526" y="564"/>
                  </a:lnTo>
                  <a:lnTo>
                    <a:pt x="522" y="564"/>
                  </a:lnTo>
                  <a:lnTo>
                    <a:pt x="522" y="566"/>
                  </a:lnTo>
                  <a:lnTo>
                    <a:pt x="522" y="570"/>
                  </a:lnTo>
                  <a:lnTo>
                    <a:pt x="526" y="574"/>
                  </a:lnTo>
                  <a:lnTo>
                    <a:pt x="526" y="578"/>
                  </a:lnTo>
                  <a:lnTo>
                    <a:pt x="522" y="578"/>
                  </a:lnTo>
                  <a:lnTo>
                    <a:pt x="522" y="582"/>
                  </a:lnTo>
                  <a:lnTo>
                    <a:pt x="518" y="582"/>
                  </a:lnTo>
                  <a:lnTo>
                    <a:pt x="522" y="582"/>
                  </a:lnTo>
                  <a:lnTo>
                    <a:pt x="522" y="586"/>
                  </a:lnTo>
                  <a:lnTo>
                    <a:pt x="522" y="590"/>
                  </a:lnTo>
                  <a:lnTo>
                    <a:pt x="518" y="590"/>
                  </a:lnTo>
                  <a:lnTo>
                    <a:pt x="514" y="590"/>
                  </a:lnTo>
                  <a:lnTo>
                    <a:pt x="514" y="594"/>
                  </a:lnTo>
                  <a:lnTo>
                    <a:pt x="510" y="596"/>
                  </a:lnTo>
                  <a:lnTo>
                    <a:pt x="514" y="596"/>
                  </a:lnTo>
                  <a:lnTo>
                    <a:pt x="510" y="596"/>
                  </a:lnTo>
                  <a:lnTo>
                    <a:pt x="506" y="596"/>
                  </a:lnTo>
                  <a:lnTo>
                    <a:pt x="506" y="600"/>
                  </a:lnTo>
                  <a:lnTo>
                    <a:pt x="506" y="604"/>
                  </a:lnTo>
                  <a:lnTo>
                    <a:pt x="506" y="608"/>
                  </a:lnTo>
                  <a:lnTo>
                    <a:pt x="506" y="612"/>
                  </a:lnTo>
                  <a:lnTo>
                    <a:pt x="506" y="616"/>
                  </a:lnTo>
                  <a:lnTo>
                    <a:pt x="510" y="620"/>
                  </a:lnTo>
                  <a:lnTo>
                    <a:pt x="510" y="624"/>
                  </a:lnTo>
                  <a:lnTo>
                    <a:pt x="510" y="626"/>
                  </a:lnTo>
                  <a:lnTo>
                    <a:pt x="510" y="630"/>
                  </a:lnTo>
                  <a:lnTo>
                    <a:pt x="514" y="630"/>
                  </a:lnTo>
                  <a:lnTo>
                    <a:pt x="514" y="626"/>
                  </a:lnTo>
                  <a:lnTo>
                    <a:pt x="518" y="626"/>
                  </a:lnTo>
                  <a:lnTo>
                    <a:pt x="522" y="626"/>
                  </a:lnTo>
                  <a:lnTo>
                    <a:pt x="526" y="626"/>
                  </a:lnTo>
                  <a:lnTo>
                    <a:pt x="522" y="626"/>
                  </a:lnTo>
                  <a:lnTo>
                    <a:pt x="526" y="630"/>
                  </a:lnTo>
                  <a:lnTo>
                    <a:pt x="526" y="634"/>
                  </a:lnTo>
                  <a:lnTo>
                    <a:pt x="522" y="634"/>
                  </a:lnTo>
                  <a:lnTo>
                    <a:pt x="522" y="638"/>
                  </a:lnTo>
                  <a:lnTo>
                    <a:pt x="526" y="638"/>
                  </a:lnTo>
                  <a:lnTo>
                    <a:pt x="526" y="642"/>
                  </a:lnTo>
                  <a:lnTo>
                    <a:pt x="522" y="646"/>
                  </a:lnTo>
                  <a:lnTo>
                    <a:pt x="526" y="650"/>
                  </a:lnTo>
                  <a:lnTo>
                    <a:pt x="530" y="652"/>
                  </a:lnTo>
                  <a:lnTo>
                    <a:pt x="532" y="656"/>
                  </a:lnTo>
                  <a:lnTo>
                    <a:pt x="540" y="656"/>
                  </a:lnTo>
                  <a:lnTo>
                    <a:pt x="548" y="656"/>
                  </a:lnTo>
                  <a:lnTo>
                    <a:pt x="552" y="656"/>
                  </a:lnTo>
                  <a:lnTo>
                    <a:pt x="556" y="656"/>
                  </a:lnTo>
                  <a:lnTo>
                    <a:pt x="560" y="656"/>
                  </a:lnTo>
                  <a:lnTo>
                    <a:pt x="562" y="656"/>
                  </a:lnTo>
                  <a:lnTo>
                    <a:pt x="566" y="656"/>
                  </a:lnTo>
                  <a:lnTo>
                    <a:pt x="570" y="660"/>
                  </a:lnTo>
                  <a:lnTo>
                    <a:pt x="574" y="660"/>
                  </a:lnTo>
                  <a:lnTo>
                    <a:pt x="578" y="660"/>
                  </a:lnTo>
                  <a:lnTo>
                    <a:pt x="578" y="664"/>
                  </a:lnTo>
                  <a:lnTo>
                    <a:pt x="578" y="660"/>
                  </a:lnTo>
                  <a:lnTo>
                    <a:pt x="574" y="660"/>
                  </a:lnTo>
                  <a:lnTo>
                    <a:pt x="570" y="660"/>
                  </a:lnTo>
                  <a:lnTo>
                    <a:pt x="566" y="660"/>
                  </a:lnTo>
                  <a:lnTo>
                    <a:pt x="562" y="660"/>
                  </a:lnTo>
                  <a:lnTo>
                    <a:pt x="562" y="664"/>
                  </a:lnTo>
                  <a:lnTo>
                    <a:pt x="562" y="668"/>
                  </a:lnTo>
                  <a:lnTo>
                    <a:pt x="560" y="664"/>
                  </a:lnTo>
                  <a:lnTo>
                    <a:pt x="556" y="668"/>
                  </a:lnTo>
                  <a:lnTo>
                    <a:pt x="548" y="672"/>
                  </a:lnTo>
                  <a:lnTo>
                    <a:pt x="544" y="672"/>
                  </a:lnTo>
                  <a:lnTo>
                    <a:pt x="544" y="676"/>
                  </a:lnTo>
                  <a:lnTo>
                    <a:pt x="544" y="680"/>
                  </a:lnTo>
                  <a:lnTo>
                    <a:pt x="544" y="682"/>
                  </a:lnTo>
                  <a:lnTo>
                    <a:pt x="544" y="686"/>
                  </a:lnTo>
                  <a:lnTo>
                    <a:pt x="544" y="690"/>
                  </a:lnTo>
                  <a:lnTo>
                    <a:pt x="544" y="694"/>
                  </a:lnTo>
                  <a:lnTo>
                    <a:pt x="540" y="694"/>
                  </a:lnTo>
                  <a:lnTo>
                    <a:pt x="536" y="694"/>
                  </a:lnTo>
                  <a:lnTo>
                    <a:pt x="532" y="694"/>
                  </a:lnTo>
                  <a:lnTo>
                    <a:pt x="530" y="690"/>
                  </a:lnTo>
                  <a:lnTo>
                    <a:pt x="526" y="690"/>
                  </a:lnTo>
                  <a:lnTo>
                    <a:pt x="522" y="686"/>
                  </a:lnTo>
                  <a:lnTo>
                    <a:pt x="522" y="682"/>
                  </a:lnTo>
                  <a:lnTo>
                    <a:pt x="526" y="682"/>
                  </a:lnTo>
                  <a:lnTo>
                    <a:pt x="526" y="686"/>
                  </a:lnTo>
                  <a:lnTo>
                    <a:pt x="530" y="686"/>
                  </a:lnTo>
                  <a:lnTo>
                    <a:pt x="530" y="682"/>
                  </a:lnTo>
                  <a:lnTo>
                    <a:pt x="530" y="680"/>
                  </a:lnTo>
                  <a:lnTo>
                    <a:pt x="530" y="682"/>
                  </a:lnTo>
                  <a:lnTo>
                    <a:pt x="532" y="686"/>
                  </a:lnTo>
                  <a:lnTo>
                    <a:pt x="530" y="686"/>
                  </a:lnTo>
                  <a:lnTo>
                    <a:pt x="532" y="686"/>
                  </a:lnTo>
                  <a:lnTo>
                    <a:pt x="532" y="682"/>
                  </a:lnTo>
                  <a:lnTo>
                    <a:pt x="532" y="680"/>
                  </a:lnTo>
                  <a:lnTo>
                    <a:pt x="536" y="680"/>
                  </a:lnTo>
                  <a:lnTo>
                    <a:pt x="540" y="676"/>
                  </a:lnTo>
                  <a:lnTo>
                    <a:pt x="540" y="672"/>
                  </a:lnTo>
                  <a:lnTo>
                    <a:pt x="536" y="672"/>
                  </a:lnTo>
                  <a:lnTo>
                    <a:pt x="532" y="676"/>
                  </a:lnTo>
                  <a:lnTo>
                    <a:pt x="530" y="676"/>
                  </a:lnTo>
                  <a:lnTo>
                    <a:pt x="530" y="680"/>
                  </a:lnTo>
                  <a:lnTo>
                    <a:pt x="526" y="680"/>
                  </a:lnTo>
                  <a:lnTo>
                    <a:pt x="526" y="676"/>
                  </a:lnTo>
                  <a:lnTo>
                    <a:pt x="522" y="680"/>
                  </a:lnTo>
                  <a:lnTo>
                    <a:pt x="526" y="680"/>
                  </a:lnTo>
                  <a:lnTo>
                    <a:pt x="522" y="682"/>
                  </a:lnTo>
                  <a:lnTo>
                    <a:pt x="522" y="680"/>
                  </a:lnTo>
                  <a:lnTo>
                    <a:pt x="522" y="682"/>
                  </a:lnTo>
                  <a:lnTo>
                    <a:pt x="518" y="682"/>
                  </a:lnTo>
                  <a:lnTo>
                    <a:pt x="522" y="686"/>
                  </a:lnTo>
                  <a:lnTo>
                    <a:pt x="518" y="686"/>
                  </a:lnTo>
                  <a:lnTo>
                    <a:pt x="514" y="682"/>
                  </a:lnTo>
                  <a:lnTo>
                    <a:pt x="510" y="682"/>
                  </a:lnTo>
                  <a:lnTo>
                    <a:pt x="510" y="680"/>
                  </a:lnTo>
                  <a:lnTo>
                    <a:pt x="514" y="680"/>
                  </a:lnTo>
                  <a:lnTo>
                    <a:pt x="518" y="680"/>
                  </a:lnTo>
                  <a:lnTo>
                    <a:pt x="518" y="682"/>
                  </a:lnTo>
                  <a:lnTo>
                    <a:pt x="518" y="680"/>
                  </a:lnTo>
                  <a:lnTo>
                    <a:pt x="514" y="680"/>
                  </a:lnTo>
                  <a:lnTo>
                    <a:pt x="514" y="676"/>
                  </a:lnTo>
                  <a:lnTo>
                    <a:pt x="514" y="672"/>
                  </a:lnTo>
                  <a:lnTo>
                    <a:pt x="518" y="672"/>
                  </a:lnTo>
                  <a:lnTo>
                    <a:pt x="522" y="672"/>
                  </a:lnTo>
                  <a:lnTo>
                    <a:pt x="526" y="672"/>
                  </a:lnTo>
                  <a:lnTo>
                    <a:pt x="526" y="668"/>
                  </a:lnTo>
                  <a:lnTo>
                    <a:pt x="530" y="668"/>
                  </a:lnTo>
                  <a:lnTo>
                    <a:pt x="532" y="668"/>
                  </a:lnTo>
                  <a:lnTo>
                    <a:pt x="536" y="668"/>
                  </a:lnTo>
                  <a:lnTo>
                    <a:pt x="532" y="668"/>
                  </a:lnTo>
                  <a:lnTo>
                    <a:pt x="530" y="668"/>
                  </a:lnTo>
                  <a:lnTo>
                    <a:pt x="526" y="664"/>
                  </a:lnTo>
                  <a:lnTo>
                    <a:pt x="522" y="668"/>
                  </a:lnTo>
                  <a:lnTo>
                    <a:pt x="522" y="664"/>
                  </a:lnTo>
                  <a:lnTo>
                    <a:pt x="522" y="668"/>
                  </a:lnTo>
                  <a:lnTo>
                    <a:pt x="518" y="668"/>
                  </a:lnTo>
                  <a:lnTo>
                    <a:pt x="514" y="668"/>
                  </a:lnTo>
                  <a:lnTo>
                    <a:pt x="518" y="668"/>
                  </a:lnTo>
                  <a:lnTo>
                    <a:pt x="518" y="672"/>
                  </a:lnTo>
                  <a:lnTo>
                    <a:pt x="514" y="672"/>
                  </a:lnTo>
                  <a:lnTo>
                    <a:pt x="514" y="676"/>
                  </a:lnTo>
                  <a:lnTo>
                    <a:pt x="514" y="680"/>
                  </a:lnTo>
                  <a:lnTo>
                    <a:pt x="510" y="680"/>
                  </a:lnTo>
                  <a:lnTo>
                    <a:pt x="506" y="676"/>
                  </a:lnTo>
                  <a:lnTo>
                    <a:pt x="510" y="676"/>
                  </a:lnTo>
                  <a:lnTo>
                    <a:pt x="506" y="672"/>
                  </a:lnTo>
                  <a:lnTo>
                    <a:pt x="510" y="672"/>
                  </a:lnTo>
                  <a:lnTo>
                    <a:pt x="514" y="664"/>
                  </a:lnTo>
                  <a:lnTo>
                    <a:pt x="510" y="664"/>
                  </a:lnTo>
                  <a:lnTo>
                    <a:pt x="510" y="668"/>
                  </a:lnTo>
                  <a:lnTo>
                    <a:pt x="506" y="668"/>
                  </a:lnTo>
                  <a:lnTo>
                    <a:pt x="506" y="672"/>
                  </a:lnTo>
                  <a:lnTo>
                    <a:pt x="504" y="672"/>
                  </a:lnTo>
                  <a:lnTo>
                    <a:pt x="504" y="668"/>
                  </a:lnTo>
                  <a:lnTo>
                    <a:pt x="506" y="668"/>
                  </a:lnTo>
                  <a:lnTo>
                    <a:pt x="506" y="664"/>
                  </a:lnTo>
                  <a:lnTo>
                    <a:pt x="504" y="664"/>
                  </a:lnTo>
                  <a:lnTo>
                    <a:pt x="506" y="664"/>
                  </a:lnTo>
                  <a:lnTo>
                    <a:pt x="506" y="660"/>
                  </a:lnTo>
                  <a:lnTo>
                    <a:pt x="506" y="656"/>
                  </a:lnTo>
                  <a:lnTo>
                    <a:pt x="504" y="656"/>
                  </a:lnTo>
                  <a:lnTo>
                    <a:pt x="506" y="660"/>
                  </a:lnTo>
                  <a:lnTo>
                    <a:pt x="510" y="660"/>
                  </a:lnTo>
                  <a:lnTo>
                    <a:pt x="510" y="656"/>
                  </a:lnTo>
                  <a:lnTo>
                    <a:pt x="514" y="656"/>
                  </a:lnTo>
                  <a:lnTo>
                    <a:pt x="514" y="660"/>
                  </a:lnTo>
                  <a:lnTo>
                    <a:pt x="518" y="660"/>
                  </a:lnTo>
                  <a:lnTo>
                    <a:pt x="518" y="656"/>
                  </a:lnTo>
                  <a:lnTo>
                    <a:pt x="514" y="660"/>
                  </a:lnTo>
                  <a:lnTo>
                    <a:pt x="514" y="656"/>
                  </a:lnTo>
                  <a:lnTo>
                    <a:pt x="518" y="652"/>
                  </a:lnTo>
                  <a:lnTo>
                    <a:pt x="518" y="656"/>
                  </a:lnTo>
                  <a:lnTo>
                    <a:pt x="522" y="656"/>
                  </a:lnTo>
                  <a:lnTo>
                    <a:pt x="522" y="660"/>
                  </a:lnTo>
                  <a:lnTo>
                    <a:pt x="518" y="660"/>
                  </a:lnTo>
                  <a:lnTo>
                    <a:pt x="518" y="664"/>
                  </a:lnTo>
                  <a:lnTo>
                    <a:pt x="514" y="664"/>
                  </a:lnTo>
                  <a:lnTo>
                    <a:pt x="518" y="664"/>
                  </a:lnTo>
                  <a:lnTo>
                    <a:pt x="522" y="664"/>
                  </a:lnTo>
                  <a:lnTo>
                    <a:pt x="522" y="660"/>
                  </a:lnTo>
                  <a:lnTo>
                    <a:pt x="522" y="656"/>
                  </a:lnTo>
                  <a:lnTo>
                    <a:pt x="518" y="656"/>
                  </a:lnTo>
                  <a:lnTo>
                    <a:pt x="518" y="652"/>
                  </a:lnTo>
                  <a:lnTo>
                    <a:pt x="522" y="652"/>
                  </a:lnTo>
                  <a:lnTo>
                    <a:pt x="522" y="650"/>
                  </a:lnTo>
                  <a:lnTo>
                    <a:pt x="518" y="646"/>
                  </a:lnTo>
                  <a:lnTo>
                    <a:pt x="514" y="646"/>
                  </a:lnTo>
                  <a:lnTo>
                    <a:pt x="514" y="642"/>
                  </a:lnTo>
                  <a:lnTo>
                    <a:pt x="510" y="642"/>
                  </a:lnTo>
                  <a:lnTo>
                    <a:pt x="510" y="646"/>
                  </a:lnTo>
                  <a:lnTo>
                    <a:pt x="514" y="646"/>
                  </a:lnTo>
                  <a:lnTo>
                    <a:pt x="518" y="646"/>
                  </a:lnTo>
                  <a:lnTo>
                    <a:pt x="518" y="650"/>
                  </a:lnTo>
                  <a:lnTo>
                    <a:pt x="522" y="650"/>
                  </a:lnTo>
                  <a:lnTo>
                    <a:pt x="518" y="652"/>
                  </a:lnTo>
                  <a:lnTo>
                    <a:pt x="518" y="650"/>
                  </a:lnTo>
                  <a:lnTo>
                    <a:pt x="514" y="650"/>
                  </a:lnTo>
                  <a:lnTo>
                    <a:pt x="510" y="646"/>
                  </a:lnTo>
                  <a:lnTo>
                    <a:pt x="510" y="650"/>
                  </a:lnTo>
                  <a:lnTo>
                    <a:pt x="514" y="650"/>
                  </a:lnTo>
                  <a:lnTo>
                    <a:pt x="514" y="652"/>
                  </a:lnTo>
                  <a:lnTo>
                    <a:pt x="510" y="652"/>
                  </a:lnTo>
                  <a:lnTo>
                    <a:pt x="514" y="652"/>
                  </a:lnTo>
                  <a:lnTo>
                    <a:pt x="510" y="652"/>
                  </a:lnTo>
                  <a:lnTo>
                    <a:pt x="510" y="656"/>
                  </a:lnTo>
                  <a:lnTo>
                    <a:pt x="510" y="652"/>
                  </a:lnTo>
                  <a:lnTo>
                    <a:pt x="510" y="650"/>
                  </a:lnTo>
                  <a:lnTo>
                    <a:pt x="510" y="656"/>
                  </a:lnTo>
                  <a:lnTo>
                    <a:pt x="506" y="656"/>
                  </a:lnTo>
                  <a:lnTo>
                    <a:pt x="506" y="652"/>
                  </a:lnTo>
                  <a:lnTo>
                    <a:pt x="506" y="650"/>
                  </a:lnTo>
                  <a:lnTo>
                    <a:pt x="506" y="652"/>
                  </a:lnTo>
                  <a:lnTo>
                    <a:pt x="506" y="656"/>
                  </a:lnTo>
                  <a:lnTo>
                    <a:pt x="506" y="652"/>
                  </a:lnTo>
                  <a:lnTo>
                    <a:pt x="506" y="650"/>
                  </a:lnTo>
                  <a:lnTo>
                    <a:pt x="504" y="650"/>
                  </a:lnTo>
                  <a:lnTo>
                    <a:pt x="504" y="646"/>
                  </a:lnTo>
                  <a:lnTo>
                    <a:pt x="500" y="642"/>
                  </a:lnTo>
                  <a:lnTo>
                    <a:pt x="504" y="642"/>
                  </a:lnTo>
                  <a:lnTo>
                    <a:pt x="504" y="646"/>
                  </a:lnTo>
                  <a:lnTo>
                    <a:pt x="506" y="646"/>
                  </a:lnTo>
                  <a:lnTo>
                    <a:pt x="504" y="642"/>
                  </a:lnTo>
                  <a:lnTo>
                    <a:pt x="504" y="638"/>
                  </a:lnTo>
                  <a:lnTo>
                    <a:pt x="500" y="638"/>
                  </a:lnTo>
                  <a:lnTo>
                    <a:pt x="500" y="634"/>
                  </a:lnTo>
                  <a:lnTo>
                    <a:pt x="496" y="634"/>
                  </a:lnTo>
                  <a:lnTo>
                    <a:pt x="496" y="630"/>
                  </a:lnTo>
                  <a:lnTo>
                    <a:pt x="500" y="630"/>
                  </a:lnTo>
                  <a:lnTo>
                    <a:pt x="504" y="630"/>
                  </a:lnTo>
                  <a:lnTo>
                    <a:pt x="504" y="626"/>
                  </a:lnTo>
                  <a:lnTo>
                    <a:pt x="506" y="626"/>
                  </a:lnTo>
                  <a:lnTo>
                    <a:pt x="504" y="626"/>
                  </a:lnTo>
                  <a:lnTo>
                    <a:pt x="504" y="624"/>
                  </a:lnTo>
                  <a:lnTo>
                    <a:pt x="506" y="624"/>
                  </a:lnTo>
                  <a:lnTo>
                    <a:pt x="504" y="624"/>
                  </a:lnTo>
                  <a:lnTo>
                    <a:pt x="504" y="626"/>
                  </a:lnTo>
                  <a:lnTo>
                    <a:pt x="504" y="630"/>
                  </a:lnTo>
                  <a:lnTo>
                    <a:pt x="500" y="630"/>
                  </a:lnTo>
                  <a:lnTo>
                    <a:pt x="500" y="626"/>
                  </a:lnTo>
                  <a:lnTo>
                    <a:pt x="496" y="626"/>
                  </a:lnTo>
                  <a:lnTo>
                    <a:pt x="496" y="624"/>
                  </a:lnTo>
                  <a:lnTo>
                    <a:pt x="500" y="624"/>
                  </a:lnTo>
                  <a:lnTo>
                    <a:pt x="504" y="624"/>
                  </a:lnTo>
                  <a:lnTo>
                    <a:pt x="500" y="624"/>
                  </a:lnTo>
                  <a:lnTo>
                    <a:pt x="496" y="624"/>
                  </a:lnTo>
                  <a:lnTo>
                    <a:pt x="492" y="620"/>
                  </a:lnTo>
                  <a:lnTo>
                    <a:pt x="492" y="616"/>
                  </a:lnTo>
                  <a:lnTo>
                    <a:pt x="496" y="616"/>
                  </a:lnTo>
                  <a:lnTo>
                    <a:pt x="500" y="620"/>
                  </a:lnTo>
                  <a:lnTo>
                    <a:pt x="504" y="620"/>
                  </a:lnTo>
                  <a:lnTo>
                    <a:pt x="500" y="616"/>
                  </a:lnTo>
                  <a:lnTo>
                    <a:pt x="496" y="616"/>
                  </a:lnTo>
                  <a:lnTo>
                    <a:pt x="496" y="612"/>
                  </a:lnTo>
                  <a:lnTo>
                    <a:pt x="500" y="612"/>
                  </a:lnTo>
                  <a:lnTo>
                    <a:pt x="504" y="616"/>
                  </a:lnTo>
                  <a:lnTo>
                    <a:pt x="504" y="612"/>
                  </a:lnTo>
                  <a:lnTo>
                    <a:pt x="500" y="612"/>
                  </a:lnTo>
                  <a:lnTo>
                    <a:pt x="496" y="612"/>
                  </a:lnTo>
                  <a:lnTo>
                    <a:pt x="496" y="608"/>
                  </a:lnTo>
                  <a:lnTo>
                    <a:pt x="500" y="608"/>
                  </a:lnTo>
                  <a:lnTo>
                    <a:pt x="496" y="608"/>
                  </a:lnTo>
                  <a:lnTo>
                    <a:pt x="496" y="604"/>
                  </a:lnTo>
                  <a:lnTo>
                    <a:pt x="500" y="604"/>
                  </a:lnTo>
                  <a:lnTo>
                    <a:pt x="504" y="604"/>
                  </a:lnTo>
                  <a:lnTo>
                    <a:pt x="504" y="608"/>
                  </a:lnTo>
                  <a:lnTo>
                    <a:pt x="504" y="604"/>
                  </a:lnTo>
                  <a:lnTo>
                    <a:pt x="500" y="604"/>
                  </a:lnTo>
                  <a:lnTo>
                    <a:pt x="500" y="600"/>
                  </a:lnTo>
                  <a:lnTo>
                    <a:pt x="500" y="596"/>
                  </a:lnTo>
                  <a:lnTo>
                    <a:pt x="500" y="600"/>
                  </a:lnTo>
                  <a:lnTo>
                    <a:pt x="504" y="600"/>
                  </a:lnTo>
                  <a:lnTo>
                    <a:pt x="500" y="600"/>
                  </a:lnTo>
                  <a:lnTo>
                    <a:pt x="500" y="596"/>
                  </a:lnTo>
                  <a:lnTo>
                    <a:pt x="500" y="594"/>
                  </a:lnTo>
                  <a:lnTo>
                    <a:pt x="504" y="594"/>
                  </a:lnTo>
                  <a:lnTo>
                    <a:pt x="500" y="594"/>
                  </a:lnTo>
                  <a:lnTo>
                    <a:pt x="500" y="596"/>
                  </a:lnTo>
                  <a:lnTo>
                    <a:pt x="500" y="600"/>
                  </a:lnTo>
                  <a:lnTo>
                    <a:pt x="496" y="604"/>
                  </a:lnTo>
                  <a:lnTo>
                    <a:pt x="496" y="600"/>
                  </a:lnTo>
                  <a:lnTo>
                    <a:pt x="496" y="596"/>
                  </a:lnTo>
                  <a:lnTo>
                    <a:pt x="496" y="594"/>
                  </a:lnTo>
                  <a:lnTo>
                    <a:pt x="496" y="590"/>
                  </a:lnTo>
                  <a:lnTo>
                    <a:pt x="492" y="590"/>
                  </a:lnTo>
                  <a:lnTo>
                    <a:pt x="496" y="590"/>
                  </a:lnTo>
                  <a:lnTo>
                    <a:pt x="496" y="586"/>
                  </a:lnTo>
                  <a:lnTo>
                    <a:pt x="500" y="586"/>
                  </a:lnTo>
                  <a:lnTo>
                    <a:pt x="496" y="586"/>
                  </a:lnTo>
                  <a:lnTo>
                    <a:pt x="496" y="582"/>
                  </a:lnTo>
                  <a:lnTo>
                    <a:pt x="500" y="582"/>
                  </a:lnTo>
                  <a:lnTo>
                    <a:pt x="500" y="578"/>
                  </a:lnTo>
                  <a:lnTo>
                    <a:pt x="496" y="578"/>
                  </a:lnTo>
                  <a:lnTo>
                    <a:pt x="500" y="578"/>
                  </a:lnTo>
                  <a:lnTo>
                    <a:pt x="496" y="578"/>
                  </a:lnTo>
                  <a:lnTo>
                    <a:pt x="496" y="574"/>
                  </a:lnTo>
                  <a:lnTo>
                    <a:pt x="492" y="574"/>
                  </a:lnTo>
                  <a:lnTo>
                    <a:pt x="492" y="570"/>
                  </a:lnTo>
                  <a:lnTo>
                    <a:pt x="496" y="570"/>
                  </a:lnTo>
                  <a:lnTo>
                    <a:pt x="496" y="574"/>
                  </a:lnTo>
                  <a:lnTo>
                    <a:pt x="496" y="570"/>
                  </a:lnTo>
                  <a:lnTo>
                    <a:pt x="500" y="570"/>
                  </a:lnTo>
                  <a:lnTo>
                    <a:pt x="504" y="570"/>
                  </a:lnTo>
                  <a:lnTo>
                    <a:pt x="506" y="574"/>
                  </a:lnTo>
                  <a:lnTo>
                    <a:pt x="506" y="578"/>
                  </a:lnTo>
                  <a:lnTo>
                    <a:pt x="506" y="574"/>
                  </a:lnTo>
                  <a:lnTo>
                    <a:pt x="510" y="574"/>
                  </a:lnTo>
                  <a:lnTo>
                    <a:pt x="506" y="574"/>
                  </a:lnTo>
                  <a:lnTo>
                    <a:pt x="506" y="570"/>
                  </a:lnTo>
                  <a:lnTo>
                    <a:pt x="504" y="570"/>
                  </a:lnTo>
                  <a:lnTo>
                    <a:pt x="506" y="570"/>
                  </a:lnTo>
                  <a:lnTo>
                    <a:pt x="510" y="570"/>
                  </a:lnTo>
                  <a:lnTo>
                    <a:pt x="506" y="570"/>
                  </a:lnTo>
                  <a:lnTo>
                    <a:pt x="504" y="566"/>
                  </a:lnTo>
                  <a:lnTo>
                    <a:pt x="504" y="564"/>
                  </a:lnTo>
                  <a:lnTo>
                    <a:pt x="504" y="566"/>
                  </a:lnTo>
                  <a:lnTo>
                    <a:pt x="500" y="566"/>
                  </a:lnTo>
                  <a:lnTo>
                    <a:pt x="496" y="566"/>
                  </a:lnTo>
                  <a:lnTo>
                    <a:pt x="492" y="566"/>
                  </a:lnTo>
                  <a:lnTo>
                    <a:pt x="488" y="566"/>
                  </a:lnTo>
                  <a:lnTo>
                    <a:pt x="492" y="564"/>
                  </a:lnTo>
                  <a:lnTo>
                    <a:pt x="496" y="564"/>
                  </a:lnTo>
                  <a:lnTo>
                    <a:pt x="496" y="566"/>
                  </a:lnTo>
                  <a:lnTo>
                    <a:pt x="500" y="566"/>
                  </a:lnTo>
                  <a:lnTo>
                    <a:pt x="496" y="566"/>
                  </a:lnTo>
                  <a:lnTo>
                    <a:pt x="496" y="564"/>
                  </a:lnTo>
                  <a:lnTo>
                    <a:pt x="500" y="564"/>
                  </a:lnTo>
                  <a:lnTo>
                    <a:pt x="496" y="564"/>
                  </a:lnTo>
                  <a:lnTo>
                    <a:pt x="492" y="560"/>
                  </a:lnTo>
                  <a:lnTo>
                    <a:pt x="496" y="556"/>
                  </a:lnTo>
                  <a:lnTo>
                    <a:pt x="500" y="556"/>
                  </a:lnTo>
                  <a:lnTo>
                    <a:pt x="500" y="560"/>
                  </a:lnTo>
                  <a:lnTo>
                    <a:pt x="500" y="556"/>
                  </a:lnTo>
                  <a:lnTo>
                    <a:pt x="500" y="552"/>
                  </a:lnTo>
                  <a:lnTo>
                    <a:pt x="496" y="550"/>
                  </a:lnTo>
                  <a:lnTo>
                    <a:pt x="496" y="546"/>
                  </a:lnTo>
                  <a:lnTo>
                    <a:pt x="492" y="550"/>
                  </a:lnTo>
                  <a:lnTo>
                    <a:pt x="496" y="550"/>
                  </a:lnTo>
                  <a:lnTo>
                    <a:pt x="492" y="550"/>
                  </a:lnTo>
                  <a:lnTo>
                    <a:pt x="488" y="550"/>
                  </a:lnTo>
                  <a:lnTo>
                    <a:pt x="484" y="546"/>
                  </a:lnTo>
                  <a:lnTo>
                    <a:pt x="484" y="542"/>
                  </a:lnTo>
                  <a:lnTo>
                    <a:pt x="488" y="542"/>
                  </a:lnTo>
                  <a:lnTo>
                    <a:pt x="484" y="542"/>
                  </a:lnTo>
                  <a:lnTo>
                    <a:pt x="484" y="546"/>
                  </a:lnTo>
                  <a:lnTo>
                    <a:pt x="480" y="546"/>
                  </a:lnTo>
                  <a:lnTo>
                    <a:pt x="476" y="546"/>
                  </a:lnTo>
                  <a:lnTo>
                    <a:pt x="476" y="550"/>
                  </a:lnTo>
                  <a:lnTo>
                    <a:pt x="476" y="546"/>
                  </a:lnTo>
                  <a:lnTo>
                    <a:pt x="480" y="546"/>
                  </a:lnTo>
                  <a:lnTo>
                    <a:pt x="480" y="550"/>
                  </a:lnTo>
                  <a:lnTo>
                    <a:pt x="480" y="552"/>
                  </a:lnTo>
                  <a:lnTo>
                    <a:pt x="476" y="552"/>
                  </a:lnTo>
                  <a:lnTo>
                    <a:pt x="476" y="550"/>
                  </a:lnTo>
                  <a:lnTo>
                    <a:pt x="476" y="546"/>
                  </a:lnTo>
                  <a:lnTo>
                    <a:pt x="476" y="542"/>
                  </a:lnTo>
                  <a:lnTo>
                    <a:pt x="480" y="542"/>
                  </a:lnTo>
                  <a:lnTo>
                    <a:pt x="480" y="538"/>
                  </a:lnTo>
                  <a:lnTo>
                    <a:pt x="484" y="538"/>
                  </a:lnTo>
                  <a:lnTo>
                    <a:pt x="484" y="542"/>
                  </a:lnTo>
                  <a:lnTo>
                    <a:pt x="484" y="538"/>
                  </a:lnTo>
                  <a:lnTo>
                    <a:pt x="484" y="534"/>
                  </a:lnTo>
                  <a:lnTo>
                    <a:pt x="488" y="534"/>
                  </a:lnTo>
                  <a:lnTo>
                    <a:pt x="488" y="530"/>
                  </a:lnTo>
                  <a:lnTo>
                    <a:pt x="492" y="526"/>
                  </a:lnTo>
                  <a:lnTo>
                    <a:pt x="496" y="526"/>
                  </a:lnTo>
                  <a:lnTo>
                    <a:pt x="500" y="526"/>
                  </a:lnTo>
                  <a:lnTo>
                    <a:pt x="500" y="530"/>
                  </a:lnTo>
                  <a:lnTo>
                    <a:pt x="500" y="534"/>
                  </a:lnTo>
                  <a:lnTo>
                    <a:pt x="500" y="530"/>
                  </a:lnTo>
                  <a:lnTo>
                    <a:pt x="500" y="534"/>
                  </a:lnTo>
                  <a:lnTo>
                    <a:pt x="496" y="538"/>
                  </a:lnTo>
                  <a:lnTo>
                    <a:pt x="496" y="534"/>
                  </a:lnTo>
                  <a:lnTo>
                    <a:pt x="492" y="534"/>
                  </a:lnTo>
                  <a:lnTo>
                    <a:pt x="496" y="538"/>
                  </a:lnTo>
                  <a:lnTo>
                    <a:pt x="500" y="538"/>
                  </a:lnTo>
                  <a:lnTo>
                    <a:pt x="500" y="534"/>
                  </a:lnTo>
                  <a:lnTo>
                    <a:pt x="500" y="538"/>
                  </a:lnTo>
                  <a:lnTo>
                    <a:pt x="504" y="538"/>
                  </a:lnTo>
                  <a:lnTo>
                    <a:pt x="500" y="538"/>
                  </a:lnTo>
                  <a:lnTo>
                    <a:pt x="500" y="534"/>
                  </a:lnTo>
                  <a:lnTo>
                    <a:pt x="504" y="534"/>
                  </a:lnTo>
                  <a:lnTo>
                    <a:pt x="504" y="538"/>
                  </a:lnTo>
                  <a:lnTo>
                    <a:pt x="504" y="542"/>
                  </a:lnTo>
                  <a:lnTo>
                    <a:pt x="500" y="542"/>
                  </a:lnTo>
                  <a:lnTo>
                    <a:pt x="504" y="546"/>
                  </a:lnTo>
                  <a:lnTo>
                    <a:pt x="504" y="542"/>
                  </a:lnTo>
                  <a:lnTo>
                    <a:pt x="504" y="538"/>
                  </a:lnTo>
                  <a:lnTo>
                    <a:pt x="506" y="538"/>
                  </a:lnTo>
                  <a:lnTo>
                    <a:pt x="506" y="534"/>
                  </a:lnTo>
                  <a:lnTo>
                    <a:pt x="506" y="538"/>
                  </a:lnTo>
                  <a:lnTo>
                    <a:pt x="504" y="538"/>
                  </a:lnTo>
                  <a:lnTo>
                    <a:pt x="506" y="534"/>
                  </a:lnTo>
                  <a:lnTo>
                    <a:pt x="506" y="530"/>
                  </a:lnTo>
                  <a:lnTo>
                    <a:pt x="504" y="530"/>
                  </a:lnTo>
                  <a:lnTo>
                    <a:pt x="506" y="526"/>
                  </a:lnTo>
                  <a:lnTo>
                    <a:pt x="510" y="526"/>
                  </a:lnTo>
                  <a:lnTo>
                    <a:pt x="510" y="524"/>
                  </a:lnTo>
                  <a:lnTo>
                    <a:pt x="506" y="524"/>
                  </a:lnTo>
                  <a:lnTo>
                    <a:pt x="506" y="526"/>
                  </a:lnTo>
                  <a:lnTo>
                    <a:pt x="506" y="520"/>
                  </a:lnTo>
                  <a:lnTo>
                    <a:pt x="510" y="520"/>
                  </a:lnTo>
                  <a:lnTo>
                    <a:pt x="514" y="520"/>
                  </a:lnTo>
                  <a:lnTo>
                    <a:pt x="518" y="520"/>
                  </a:lnTo>
                  <a:lnTo>
                    <a:pt x="514" y="520"/>
                  </a:lnTo>
                  <a:lnTo>
                    <a:pt x="510" y="520"/>
                  </a:lnTo>
                  <a:lnTo>
                    <a:pt x="510" y="516"/>
                  </a:lnTo>
                  <a:lnTo>
                    <a:pt x="510" y="520"/>
                  </a:lnTo>
                  <a:lnTo>
                    <a:pt x="506" y="516"/>
                  </a:lnTo>
                  <a:lnTo>
                    <a:pt x="510" y="516"/>
                  </a:lnTo>
                  <a:lnTo>
                    <a:pt x="510" y="512"/>
                  </a:lnTo>
                  <a:lnTo>
                    <a:pt x="506" y="512"/>
                  </a:lnTo>
                  <a:lnTo>
                    <a:pt x="510" y="512"/>
                  </a:lnTo>
                  <a:lnTo>
                    <a:pt x="514" y="508"/>
                  </a:lnTo>
                  <a:lnTo>
                    <a:pt x="518" y="508"/>
                  </a:lnTo>
                  <a:lnTo>
                    <a:pt x="518" y="504"/>
                  </a:lnTo>
                  <a:lnTo>
                    <a:pt x="518" y="500"/>
                  </a:lnTo>
                  <a:lnTo>
                    <a:pt x="514" y="496"/>
                  </a:lnTo>
                  <a:lnTo>
                    <a:pt x="510" y="496"/>
                  </a:lnTo>
                  <a:lnTo>
                    <a:pt x="510" y="494"/>
                  </a:lnTo>
                  <a:lnTo>
                    <a:pt x="514" y="490"/>
                  </a:lnTo>
                  <a:lnTo>
                    <a:pt x="518" y="486"/>
                  </a:lnTo>
                  <a:lnTo>
                    <a:pt x="514" y="486"/>
                  </a:lnTo>
                  <a:lnTo>
                    <a:pt x="514" y="486"/>
                  </a:lnTo>
                  <a:lnTo>
                    <a:pt x="514" y="486"/>
                  </a:lnTo>
                  <a:close/>
                  <a:moveTo>
                    <a:pt x="504" y="512"/>
                  </a:moveTo>
                  <a:lnTo>
                    <a:pt x="504" y="508"/>
                  </a:lnTo>
                  <a:lnTo>
                    <a:pt x="500" y="508"/>
                  </a:lnTo>
                  <a:lnTo>
                    <a:pt x="504" y="508"/>
                  </a:lnTo>
                  <a:lnTo>
                    <a:pt x="504" y="512"/>
                  </a:lnTo>
                  <a:lnTo>
                    <a:pt x="504" y="512"/>
                  </a:lnTo>
                  <a:lnTo>
                    <a:pt x="504" y="512"/>
                  </a:lnTo>
                  <a:close/>
                  <a:moveTo>
                    <a:pt x="476" y="590"/>
                  </a:moveTo>
                  <a:lnTo>
                    <a:pt x="476" y="586"/>
                  </a:lnTo>
                  <a:lnTo>
                    <a:pt x="480" y="586"/>
                  </a:lnTo>
                  <a:lnTo>
                    <a:pt x="480" y="590"/>
                  </a:lnTo>
                  <a:lnTo>
                    <a:pt x="476" y="590"/>
                  </a:lnTo>
                  <a:lnTo>
                    <a:pt x="476" y="590"/>
                  </a:lnTo>
                  <a:lnTo>
                    <a:pt x="476" y="590"/>
                  </a:lnTo>
                  <a:close/>
                  <a:moveTo>
                    <a:pt x="484" y="590"/>
                  </a:moveTo>
                  <a:lnTo>
                    <a:pt x="480" y="590"/>
                  </a:lnTo>
                  <a:lnTo>
                    <a:pt x="480" y="586"/>
                  </a:lnTo>
                  <a:lnTo>
                    <a:pt x="484" y="586"/>
                  </a:lnTo>
                  <a:lnTo>
                    <a:pt x="484" y="590"/>
                  </a:lnTo>
                  <a:lnTo>
                    <a:pt x="484" y="590"/>
                  </a:lnTo>
                  <a:lnTo>
                    <a:pt x="484" y="590"/>
                  </a:lnTo>
                  <a:close/>
                  <a:moveTo>
                    <a:pt x="500" y="672"/>
                  </a:moveTo>
                  <a:lnTo>
                    <a:pt x="500" y="668"/>
                  </a:lnTo>
                  <a:lnTo>
                    <a:pt x="500" y="664"/>
                  </a:lnTo>
                  <a:lnTo>
                    <a:pt x="504" y="664"/>
                  </a:lnTo>
                  <a:lnTo>
                    <a:pt x="504" y="668"/>
                  </a:lnTo>
                  <a:lnTo>
                    <a:pt x="504" y="672"/>
                  </a:lnTo>
                  <a:lnTo>
                    <a:pt x="500" y="672"/>
                  </a:lnTo>
                  <a:lnTo>
                    <a:pt x="500" y="672"/>
                  </a:lnTo>
                  <a:lnTo>
                    <a:pt x="500" y="672"/>
                  </a:lnTo>
                  <a:close/>
                  <a:moveTo>
                    <a:pt x="504" y="496"/>
                  </a:moveTo>
                  <a:lnTo>
                    <a:pt x="500" y="496"/>
                  </a:lnTo>
                  <a:lnTo>
                    <a:pt x="504" y="496"/>
                  </a:lnTo>
                  <a:lnTo>
                    <a:pt x="504" y="496"/>
                  </a:lnTo>
                  <a:lnTo>
                    <a:pt x="504" y="496"/>
                  </a:lnTo>
                  <a:close/>
                  <a:moveTo>
                    <a:pt x="484" y="534"/>
                  </a:moveTo>
                  <a:lnTo>
                    <a:pt x="484" y="530"/>
                  </a:lnTo>
                  <a:lnTo>
                    <a:pt x="488" y="530"/>
                  </a:lnTo>
                  <a:lnTo>
                    <a:pt x="484" y="530"/>
                  </a:lnTo>
                  <a:lnTo>
                    <a:pt x="488" y="530"/>
                  </a:lnTo>
                  <a:lnTo>
                    <a:pt x="488" y="526"/>
                  </a:lnTo>
                  <a:lnTo>
                    <a:pt x="488" y="530"/>
                  </a:lnTo>
                  <a:lnTo>
                    <a:pt x="488" y="534"/>
                  </a:lnTo>
                  <a:lnTo>
                    <a:pt x="484" y="534"/>
                  </a:lnTo>
                  <a:lnTo>
                    <a:pt x="484" y="534"/>
                  </a:lnTo>
                  <a:lnTo>
                    <a:pt x="484" y="534"/>
                  </a:lnTo>
                  <a:close/>
                  <a:moveTo>
                    <a:pt x="500" y="556"/>
                  </a:moveTo>
                  <a:lnTo>
                    <a:pt x="496" y="556"/>
                  </a:lnTo>
                  <a:lnTo>
                    <a:pt x="496" y="552"/>
                  </a:lnTo>
                  <a:lnTo>
                    <a:pt x="500" y="552"/>
                  </a:lnTo>
                  <a:lnTo>
                    <a:pt x="500" y="556"/>
                  </a:lnTo>
                  <a:lnTo>
                    <a:pt x="500" y="556"/>
                  </a:lnTo>
                  <a:lnTo>
                    <a:pt x="500" y="556"/>
                  </a:lnTo>
                  <a:close/>
                  <a:moveTo>
                    <a:pt x="496" y="582"/>
                  </a:moveTo>
                  <a:lnTo>
                    <a:pt x="492" y="582"/>
                  </a:lnTo>
                  <a:lnTo>
                    <a:pt x="492" y="578"/>
                  </a:lnTo>
                  <a:lnTo>
                    <a:pt x="496" y="582"/>
                  </a:lnTo>
                  <a:lnTo>
                    <a:pt x="496" y="582"/>
                  </a:lnTo>
                  <a:lnTo>
                    <a:pt x="496" y="582"/>
                  </a:lnTo>
                  <a:close/>
                  <a:moveTo>
                    <a:pt x="484" y="586"/>
                  </a:moveTo>
                  <a:lnTo>
                    <a:pt x="488" y="586"/>
                  </a:lnTo>
                  <a:lnTo>
                    <a:pt x="484" y="586"/>
                  </a:lnTo>
                  <a:lnTo>
                    <a:pt x="484" y="586"/>
                  </a:lnTo>
                  <a:lnTo>
                    <a:pt x="484" y="586"/>
                  </a:lnTo>
                  <a:close/>
                  <a:moveTo>
                    <a:pt x="476" y="596"/>
                  </a:moveTo>
                  <a:lnTo>
                    <a:pt x="476" y="594"/>
                  </a:lnTo>
                  <a:lnTo>
                    <a:pt x="480" y="594"/>
                  </a:lnTo>
                  <a:lnTo>
                    <a:pt x="480" y="596"/>
                  </a:lnTo>
                  <a:lnTo>
                    <a:pt x="476" y="596"/>
                  </a:lnTo>
                  <a:lnTo>
                    <a:pt x="476" y="596"/>
                  </a:lnTo>
                  <a:lnTo>
                    <a:pt x="476" y="596"/>
                  </a:lnTo>
                  <a:close/>
                  <a:moveTo>
                    <a:pt x="500" y="642"/>
                  </a:moveTo>
                  <a:lnTo>
                    <a:pt x="496" y="642"/>
                  </a:lnTo>
                  <a:lnTo>
                    <a:pt x="496" y="638"/>
                  </a:lnTo>
                  <a:lnTo>
                    <a:pt x="500" y="638"/>
                  </a:lnTo>
                  <a:lnTo>
                    <a:pt x="500" y="642"/>
                  </a:lnTo>
                  <a:lnTo>
                    <a:pt x="500" y="642"/>
                  </a:lnTo>
                  <a:lnTo>
                    <a:pt x="500" y="642"/>
                  </a:lnTo>
                  <a:close/>
                  <a:moveTo>
                    <a:pt x="488" y="660"/>
                  </a:moveTo>
                  <a:lnTo>
                    <a:pt x="488" y="656"/>
                  </a:lnTo>
                  <a:lnTo>
                    <a:pt x="492" y="656"/>
                  </a:lnTo>
                  <a:lnTo>
                    <a:pt x="488" y="660"/>
                  </a:lnTo>
                  <a:lnTo>
                    <a:pt x="488" y="660"/>
                  </a:lnTo>
                  <a:lnTo>
                    <a:pt x="488" y="660"/>
                  </a:lnTo>
                  <a:close/>
                  <a:moveTo>
                    <a:pt x="506" y="682"/>
                  </a:moveTo>
                  <a:lnTo>
                    <a:pt x="506" y="686"/>
                  </a:lnTo>
                  <a:lnTo>
                    <a:pt x="506" y="690"/>
                  </a:lnTo>
                  <a:lnTo>
                    <a:pt x="506" y="686"/>
                  </a:lnTo>
                  <a:lnTo>
                    <a:pt x="504" y="686"/>
                  </a:lnTo>
                  <a:lnTo>
                    <a:pt x="506" y="686"/>
                  </a:lnTo>
                  <a:lnTo>
                    <a:pt x="506" y="682"/>
                  </a:lnTo>
                  <a:lnTo>
                    <a:pt x="506" y="682"/>
                  </a:lnTo>
                  <a:lnTo>
                    <a:pt x="506" y="682"/>
                  </a:lnTo>
                  <a:close/>
                  <a:moveTo>
                    <a:pt x="552" y="706"/>
                  </a:moveTo>
                  <a:lnTo>
                    <a:pt x="552" y="702"/>
                  </a:lnTo>
                  <a:lnTo>
                    <a:pt x="548" y="702"/>
                  </a:lnTo>
                  <a:lnTo>
                    <a:pt x="552" y="702"/>
                  </a:lnTo>
                  <a:lnTo>
                    <a:pt x="556" y="702"/>
                  </a:lnTo>
                  <a:lnTo>
                    <a:pt x="552" y="702"/>
                  </a:lnTo>
                  <a:lnTo>
                    <a:pt x="552" y="706"/>
                  </a:lnTo>
                  <a:lnTo>
                    <a:pt x="552" y="706"/>
                  </a:lnTo>
                  <a:lnTo>
                    <a:pt x="552" y="706"/>
                  </a:lnTo>
                  <a:close/>
                  <a:moveTo>
                    <a:pt x="0" y="176"/>
                  </a:moveTo>
                  <a:lnTo>
                    <a:pt x="0" y="172"/>
                  </a:lnTo>
                  <a:lnTo>
                    <a:pt x="2" y="172"/>
                  </a:lnTo>
                  <a:lnTo>
                    <a:pt x="0" y="172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0" y="176"/>
                  </a:lnTo>
                  <a:close/>
                  <a:moveTo>
                    <a:pt x="506" y="470"/>
                  </a:moveTo>
                  <a:lnTo>
                    <a:pt x="506" y="474"/>
                  </a:lnTo>
                  <a:lnTo>
                    <a:pt x="504" y="474"/>
                  </a:lnTo>
                  <a:lnTo>
                    <a:pt x="504" y="478"/>
                  </a:lnTo>
                  <a:lnTo>
                    <a:pt x="500" y="478"/>
                  </a:lnTo>
                  <a:lnTo>
                    <a:pt x="496" y="478"/>
                  </a:lnTo>
                  <a:lnTo>
                    <a:pt x="496" y="474"/>
                  </a:lnTo>
                  <a:lnTo>
                    <a:pt x="496" y="470"/>
                  </a:lnTo>
                  <a:lnTo>
                    <a:pt x="500" y="470"/>
                  </a:lnTo>
                  <a:lnTo>
                    <a:pt x="500" y="464"/>
                  </a:lnTo>
                  <a:lnTo>
                    <a:pt x="496" y="464"/>
                  </a:lnTo>
                  <a:lnTo>
                    <a:pt x="496" y="460"/>
                  </a:lnTo>
                  <a:lnTo>
                    <a:pt x="500" y="456"/>
                  </a:lnTo>
                  <a:lnTo>
                    <a:pt x="500" y="452"/>
                  </a:lnTo>
                  <a:lnTo>
                    <a:pt x="500" y="448"/>
                  </a:lnTo>
                  <a:lnTo>
                    <a:pt x="504" y="448"/>
                  </a:lnTo>
                  <a:lnTo>
                    <a:pt x="500" y="448"/>
                  </a:lnTo>
                  <a:lnTo>
                    <a:pt x="504" y="448"/>
                  </a:lnTo>
                  <a:lnTo>
                    <a:pt x="506" y="448"/>
                  </a:lnTo>
                  <a:lnTo>
                    <a:pt x="506" y="452"/>
                  </a:lnTo>
                  <a:lnTo>
                    <a:pt x="506" y="456"/>
                  </a:lnTo>
                  <a:lnTo>
                    <a:pt x="510" y="456"/>
                  </a:lnTo>
                  <a:lnTo>
                    <a:pt x="506" y="460"/>
                  </a:lnTo>
                  <a:lnTo>
                    <a:pt x="504" y="460"/>
                  </a:lnTo>
                  <a:lnTo>
                    <a:pt x="504" y="464"/>
                  </a:lnTo>
                  <a:lnTo>
                    <a:pt x="506" y="464"/>
                  </a:lnTo>
                  <a:lnTo>
                    <a:pt x="504" y="464"/>
                  </a:lnTo>
                  <a:lnTo>
                    <a:pt x="504" y="460"/>
                  </a:lnTo>
                  <a:lnTo>
                    <a:pt x="504" y="464"/>
                  </a:lnTo>
                  <a:lnTo>
                    <a:pt x="506" y="466"/>
                  </a:lnTo>
                  <a:lnTo>
                    <a:pt x="506" y="470"/>
                  </a:lnTo>
                  <a:lnTo>
                    <a:pt x="506" y="470"/>
                  </a:lnTo>
                  <a:lnTo>
                    <a:pt x="506" y="470"/>
                  </a:lnTo>
                  <a:close/>
                  <a:moveTo>
                    <a:pt x="506" y="464"/>
                  </a:moveTo>
                  <a:lnTo>
                    <a:pt x="506" y="460"/>
                  </a:lnTo>
                  <a:lnTo>
                    <a:pt x="504" y="460"/>
                  </a:lnTo>
                  <a:lnTo>
                    <a:pt x="506" y="460"/>
                  </a:lnTo>
                  <a:lnTo>
                    <a:pt x="506" y="464"/>
                  </a:lnTo>
                  <a:lnTo>
                    <a:pt x="506" y="464"/>
                  </a:lnTo>
                  <a:lnTo>
                    <a:pt x="506" y="464"/>
                  </a:lnTo>
                  <a:close/>
                  <a:moveTo>
                    <a:pt x="488" y="486"/>
                  </a:moveTo>
                  <a:lnTo>
                    <a:pt x="488" y="482"/>
                  </a:lnTo>
                  <a:lnTo>
                    <a:pt x="492" y="482"/>
                  </a:lnTo>
                  <a:lnTo>
                    <a:pt x="492" y="486"/>
                  </a:lnTo>
                  <a:lnTo>
                    <a:pt x="488" y="486"/>
                  </a:lnTo>
                  <a:lnTo>
                    <a:pt x="488" y="486"/>
                  </a:lnTo>
                  <a:lnTo>
                    <a:pt x="488" y="486"/>
                  </a:lnTo>
                  <a:close/>
                  <a:moveTo>
                    <a:pt x="500" y="490"/>
                  </a:moveTo>
                  <a:lnTo>
                    <a:pt x="504" y="490"/>
                  </a:lnTo>
                  <a:lnTo>
                    <a:pt x="504" y="486"/>
                  </a:lnTo>
                  <a:lnTo>
                    <a:pt x="504" y="490"/>
                  </a:lnTo>
                  <a:lnTo>
                    <a:pt x="500" y="490"/>
                  </a:lnTo>
                  <a:lnTo>
                    <a:pt x="500" y="490"/>
                  </a:lnTo>
                  <a:lnTo>
                    <a:pt x="500" y="490"/>
                  </a:lnTo>
                  <a:close/>
                  <a:moveTo>
                    <a:pt x="510" y="494"/>
                  </a:moveTo>
                  <a:lnTo>
                    <a:pt x="510" y="490"/>
                  </a:lnTo>
                  <a:lnTo>
                    <a:pt x="510" y="494"/>
                  </a:lnTo>
                  <a:lnTo>
                    <a:pt x="510" y="494"/>
                  </a:lnTo>
                  <a:lnTo>
                    <a:pt x="510" y="494"/>
                  </a:lnTo>
                  <a:close/>
                  <a:moveTo>
                    <a:pt x="504" y="494"/>
                  </a:moveTo>
                  <a:lnTo>
                    <a:pt x="504" y="490"/>
                  </a:lnTo>
                  <a:lnTo>
                    <a:pt x="506" y="494"/>
                  </a:lnTo>
                  <a:lnTo>
                    <a:pt x="504" y="494"/>
                  </a:lnTo>
                  <a:lnTo>
                    <a:pt x="504" y="494"/>
                  </a:lnTo>
                  <a:lnTo>
                    <a:pt x="504" y="494"/>
                  </a:lnTo>
                  <a:close/>
                  <a:moveTo>
                    <a:pt x="504" y="496"/>
                  </a:moveTo>
                  <a:lnTo>
                    <a:pt x="500" y="496"/>
                  </a:lnTo>
                  <a:lnTo>
                    <a:pt x="500" y="494"/>
                  </a:lnTo>
                  <a:lnTo>
                    <a:pt x="504" y="494"/>
                  </a:lnTo>
                  <a:lnTo>
                    <a:pt x="504" y="496"/>
                  </a:lnTo>
                  <a:lnTo>
                    <a:pt x="504" y="496"/>
                  </a:lnTo>
                  <a:lnTo>
                    <a:pt x="504" y="496"/>
                  </a:lnTo>
                  <a:close/>
                  <a:moveTo>
                    <a:pt x="500" y="496"/>
                  </a:moveTo>
                  <a:lnTo>
                    <a:pt x="500" y="494"/>
                  </a:lnTo>
                  <a:lnTo>
                    <a:pt x="500" y="496"/>
                  </a:lnTo>
                  <a:lnTo>
                    <a:pt x="500" y="496"/>
                  </a:lnTo>
                  <a:lnTo>
                    <a:pt x="500" y="496"/>
                  </a:lnTo>
                  <a:close/>
                  <a:moveTo>
                    <a:pt x="500" y="500"/>
                  </a:moveTo>
                  <a:lnTo>
                    <a:pt x="500" y="496"/>
                  </a:lnTo>
                  <a:lnTo>
                    <a:pt x="500" y="500"/>
                  </a:lnTo>
                  <a:lnTo>
                    <a:pt x="500" y="500"/>
                  </a:lnTo>
                  <a:lnTo>
                    <a:pt x="500" y="500"/>
                  </a:lnTo>
                  <a:close/>
                  <a:moveTo>
                    <a:pt x="514" y="508"/>
                  </a:moveTo>
                  <a:lnTo>
                    <a:pt x="510" y="508"/>
                  </a:lnTo>
                  <a:lnTo>
                    <a:pt x="510" y="512"/>
                  </a:lnTo>
                  <a:lnTo>
                    <a:pt x="506" y="508"/>
                  </a:lnTo>
                  <a:lnTo>
                    <a:pt x="510" y="508"/>
                  </a:lnTo>
                  <a:lnTo>
                    <a:pt x="506" y="508"/>
                  </a:lnTo>
                  <a:lnTo>
                    <a:pt x="506" y="504"/>
                  </a:lnTo>
                  <a:lnTo>
                    <a:pt x="510" y="504"/>
                  </a:lnTo>
                  <a:lnTo>
                    <a:pt x="510" y="500"/>
                  </a:lnTo>
                  <a:lnTo>
                    <a:pt x="514" y="500"/>
                  </a:lnTo>
                  <a:lnTo>
                    <a:pt x="518" y="500"/>
                  </a:lnTo>
                  <a:lnTo>
                    <a:pt x="518" y="504"/>
                  </a:lnTo>
                  <a:lnTo>
                    <a:pt x="514" y="504"/>
                  </a:lnTo>
                  <a:lnTo>
                    <a:pt x="518" y="504"/>
                  </a:lnTo>
                  <a:lnTo>
                    <a:pt x="514" y="508"/>
                  </a:lnTo>
                  <a:lnTo>
                    <a:pt x="514" y="508"/>
                  </a:lnTo>
                  <a:lnTo>
                    <a:pt x="514" y="508"/>
                  </a:lnTo>
                  <a:close/>
                  <a:moveTo>
                    <a:pt x="496" y="504"/>
                  </a:moveTo>
                  <a:lnTo>
                    <a:pt x="492" y="500"/>
                  </a:lnTo>
                  <a:lnTo>
                    <a:pt x="496" y="500"/>
                  </a:lnTo>
                  <a:lnTo>
                    <a:pt x="496" y="504"/>
                  </a:lnTo>
                  <a:lnTo>
                    <a:pt x="496" y="504"/>
                  </a:lnTo>
                  <a:lnTo>
                    <a:pt x="496" y="504"/>
                  </a:lnTo>
                  <a:close/>
                  <a:moveTo>
                    <a:pt x="500" y="504"/>
                  </a:moveTo>
                  <a:lnTo>
                    <a:pt x="500" y="500"/>
                  </a:lnTo>
                  <a:lnTo>
                    <a:pt x="500" y="504"/>
                  </a:lnTo>
                  <a:lnTo>
                    <a:pt x="500" y="504"/>
                  </a:lnTo>
                  <a:lnTo>
                    <a:pt x="500" y="504"/>
                  </a:lnTo>
                  <a:close/>
                  <a:moveTo>
                    <a:pt x="496" y="504"/>
                  </a:moveTo>
                  <a:lnTo>
                    <a:pt x="496" y="500"/>
                  </a:lnTo>
                  <a:lnTo>
                    <a:pt x="500" y="504"/>
                  </a:lnTo>
                  <a:lnTo>
                    <a:pt x="496" y="504"/>
                  </a:lnTo>
                  <a:lnTo>
                    <a:pt x="496" y="504"/>
                  </a:lnTo>
                  <a:lnTo>
                    <a:pt x="496" y="504"/>
                  </a:lnTo>
                  <a:close/>
                  <a:moveTo>
                    <a:pt x="504" y="508"/>
                  </a:moveTo>
                  <a:lnTo>
                    <a:pt x="504" y="504"/>
                  </a:lnTo>
                  <a:lnTo>
                    <a:pt x="504" y="500"/>
                  </a:lnTo>
                  <a:lnTo>
                    <a:pt x="504" y="504"/>
                  </a:lnTo>
                  <a:lnTo>
                    <a:pt x="506" y="504"/>
                  </a:lnTo>
                  <a:lnTo>
                    <a:pt x="504" y="508"/>
                  </a:lnTo>
                  <a:lnTo>
                    <a:pt x="504" y="508"/>
                  </a:lnTo>
                  <a:lnTo>
                    <a:pt x="504" y="508"/>
                  </a:lnTo>
                  <a:close/>
                  <a:moveTo>
                    <a:pt x="496" y="508"/>
                  </a:moveTo>
                  <a:lnTo>
                    <a:pt x="496" y="504"/>
                  </a:lnTo>
                  <a:lnTo>
                    <a:pt x="500" y="504"/>
                  </a:lnTo>
                  <a:lnTo>
                    <a:pt x="504" y="504"/>
                  </a:lnTo>
                  <a:lnTo>
                    <a:pt x="500" y="504"/>
                  </a:lnTo>
                  <a:lnTo>
                    <a:pt x="496" y="508"/>
                  </a:lnTo>
                  <a:lnTo>
                    <a:pt x="496" y="508"/>
                  </a:lnTo>
                  <a:lnTo>
                    <a:pt x="496" y="508"/>
                  </a:lnTo>
                  <a:close/>
                  <a:moveTo>
                    <a:pt x="496" y="508"/>
                  </a:moveTo>
                  <a:lnTo>
                    <a:pt x="492" y="508"/>
                  </a:lnTo>
                  <a:lnTo>
                    <a:pt x="492" y="504"/>
                  </a:lnTo>
                  <a:lnTo>
                    <a:pt x="496" y="504"/>
                  </a:lnTo>
                  <a:lnTo>
                    <a:pt x="496" y="508"/>
                  </a:lnTo>
                  <a:lnTo>
                    <a:pt x="496" y="508"/>
                  </a:lnTo>
                  <a:lnTo>
                    <a:pt x="496" y="508"/>
                  </a:lnTo>
                  <a:close/>
                  <a:moveTo>
                    <a:pt x="504" y="508"/>
                  </a:moveTo>
                  <a:lnTo>
                    <a:pt x="506" y="508"/>
                  </a:lnTo>
                  <a:lnTo>
                    <a:pt x="504" y="508"/>
                  </a:lnTo>
                  <a:lnTo>
                    <a:pt x="504" y="508"/>
                  </a:lnTo>
                  <a:lnTo>
                    <a:pt x="504" y="508"/>
                  </a:lnTo>
                  <a:close/>
                  <a:moveTo>
                    <a:pt x="500" y="508"/>
                  </a:moveTo>
                  <a:lnTo>
                    <a:pt x="496" y="508"/>
                  </a:lnTo>
                  <a:lnTo>
                    <a:pt x="500" y="508"/>
                  </a:lnTo>
                  <a:lnTo>
                    <a:pt x="500" y="508"/>
                  </a:lnTo>
                  <a:lnTo>
                    <a:pt x="500" y="508"/>
                  </a:lnTo>
                  <a:close/>
                  <a:moveTo>
                    <a:pt x="484" y="512"/>
                  </a:moveTo>
                  <a:lnTo>
                    <a:pt x="484" y="508"/>
                  </a:lnTo>
                  <a:lnTo>
                    <a:pt x="484" y="512"/>
                  </a:lnTo>
                  <a:lnTo>
                    <a:pt x="484" y="512"/>
                  </a:lnTo>
                  <a:lnTo>
                    <a:pt x="484" y="512"/>
                  </a:lnTo>
                  <a:close/>
                  <a:moveTo>
                    <a:pt x="496" y="512"/>
                  </a:moveTo>
                  <a:lnTo>
                    <a:pt x="496" y="508"/>
                  </a:lnTo>
                  <a:lnTo>
                    <a:pt x="500" y="508"/>
                  </a:lnTo>
                  <a:lnTo>
                    <a:pt x="500" y="512"/>
                  </a:lnTo>
                  <a:lnTo>
                    <a:pt x="504" y="512"/>
                  </a:lnTo>
                  <a:lnTo>
                    <a:pt x="500" y="512"/>
                  </a:lnTo>
                  <a:lnTo>
                    <a:pt x="496" y="512"/>
                  </a:lnTo>
                  <a:lnTo>
                    <a:pt x="496" y="512"/>
                  </a:lnTo>
                  <a:lnTo>
                    <a:pt x="496" y="512"/>
                  </a:lnTo>
                  <a:close/>
                  <a:moveTo>
                    <a:pt x="504" y="516"/>
                  </a:moveTo>
                  <a:lnTo>
                    <a:pt x="500" y="516"/>
                  </a:lnTo>
                  <a:lnTo>
                    <a:pt x="496" y="516"/>
                  </a:lnTo>
                  <a:lnTo>
                    <a:pt x="496" y="512"/>
                  </a:lnTo>
                  <a:lnTo>
                    <a:pt x="500" y="512"/>
                  </a:lnTo>
                  <a:lnTo>
                    <a:pt x="504" y="512"/>
                  </a:lnTo>
                  <a:lnTo>
                    <a:pt x="504" y="516"/>
                  </a:lnTo>
                  <a:lnTo>
                    <a:pt x="504" y="516"/>
                  </a:lnTo>
                  <a:lnTo>
                    <a:pt x="504" y="516"/>
                  </a:lnTo>
                  <a:close/>
                  <a:moveTo>
                    <a:pt x="496" y="520"/>
                  </a:moveTo>
                  <a:lnTo>
                    <a:pt x="496" y="516"/>
                  </a:lnTo>
                  <a:lnTo>
                    <a:pt x="496" y="520"/>
                  </a:lnTo>
                  <a:lnTo>
                    <a:pt x="496" y="520"/>
                  </a:lnTo>
                  <a:lnTo>
                    <a:pt x="496" y="520"/>
                  </a:lnTo>
                  <a:close/>
                  <a:moveTo>
                    <a:pt x="500" y="520"/>
                  </a:moveTo>
                  <a:lnTo>
                    <a:pt x="500" y="516"/>
                  </a:lnTo>
                  <a:lnTo>
                    <a:pt x="504" y="516"/>
                  </a:lnTo>
                  <a:lnTo>
                    <a:pt x="504" y="520"/>
                  </a:lnTo>
                  <a:lnTo>
                    <a:pt x="500" y="520"/>
                  </a:lnTo>
                  <a:lnTo>
                    <a:pt x="500" y="520"/>
                  </a:lnTo>
                  <a:lnTo>
                    <a:pt x="500" y="520"/>
                  </a:lnTo>
                  <a:close/>
                  <a:moveTo>
                    <a:pt x="496" y="520"/>
                  </a:moveTo>
                  <a:lnTo>
                    <a:pt x="492" y="520"/>
                  </a:lnTo>
                  <a:lnTo>
                    <a:pt x="492" y="516"/>
                  </a:lnTo>
                  <a:lnTo>
                    <a:pt x="496" y="516"/>
                  </a:lnTo>
                  <a:lnTo>
                    <a:pt x="496" y="520"/>
                  </a:lnTo>
                  <a:lnTo>
                    <a:pt x="496" y="520"/>
                  </a:lnTo>
                  <a:lnTo>
                    <a:pt x="496" y="520"/>
                  </a:lnTo>
                  <a:close/>
                  <a:moveTo>
                    <a:pt x="500" y="520"/>
                  </a:moveTo>
                  <a:lnTo>
                    <a:pt x="504" y="520"/>
                  </a:lnTo>
                  <a:lnTo>
                    <a:pt x="500" y="520"/>
                  </a:lnTo>
                  <a:lnTo>
                    <a:pt x="500" y="520"/>
                  </a:lnTo>
                  <a:lnTo>
                    <a:pt x="500" y="520"/>
                  </a:lnTo>
                  <a:close/>
                  <a:moveTo>
                    <a:pt x="500" y="524"/>
                  </a:moveTo>
                  <a:lnTo>
                    <a:pt x="500" y="520"/>
                  </a:lnTo>
                  <a:lnTo>
                    <a:pt x="504" y="520"/>
                  </a:lnTo>
                  <a:lnTo>
                    <a:pt x="504" y="524"/>
                  </a:lnTo>
                  <a:lnTo>
                    <a:pt x="500" y="524"/>
                  </a:lnTo>
                  <a:lnTo>
                    <a:pt x="500" y="524"/>
                  </a:lnTo>
                  <a:lnTo>
                    <a:pt x="500" y="524"/>
                  </a:lnTo>
                  <a:close/>
                  <a:moveTo>
                    <a:pt x="506" y="526"/>
                  </a:moveTo>
                  <a:lnTo>
                    <a:pt x="504" y="526"/>
                  </a:lnTo>
                  <a:lnTo>
                    <a:pt x="504" y="524"/>
                  </a:lnTo>
                  <a:lnTo>
                    <a:pt x="504" y="520"/>
                  </a:lnTo>
                  <a:lnTo>
                    <a:pt x="506" y="520"/>
                  </a:lnTo>
                  <a:lnTo>
                    <a:pt x="506" y="524"/>
                  </a:lnTo>
                  <a:lnTo>
                    <a:pt x="506" y="526"/>
                  </a:lnTo>
                  <a:lnTo>
                    <a:pt x="506" y="526"/>
                  </a:lnTo>
                  <a:lnTo>
                    <a:pt x="506" y="526"/>
                  </a:lnTo>
                  <a:close/>
                  <a:moveTo>
                    <a:pt x="492" y="526"/>
                  </a:moveTo>
                  <a:lnTo>
                    <a:pt x="492" y="524"/>
                  </a:lnTo>
                  <a:lnTo>
                    <a:pt x="496" y="520"/>
                  </a:lnTo>
                  <a:lnTo>
                    <a:pt x="496" y="524"/>
                  </a:lnTo>
                  <a:lnTo>
                    <a:pt x="496" y="526"/>
                  </a:lnTo>
                  <a:lnTo>
                    <a:pt x="492" y="526"/>
                  </a:lnTo>
                  <a:lnTo>
                    <a:pt x="492" y="526"/>
                  </a:lnTo>
                  <a:lnTo>
                    <a:pt x="492" y="526"/>
                  </a:lnTo>
                  <a:close/>
                  <a:moveTo>
                    <a:pt x="500" y="526"/>
                  </a:moveTo>
                  <a:lnTo>
                    <a:pt x="500" y="524"/>
                  </a:lnTo>
                  <a:lnTo>
                    <a:pt x="504" y="524"/>
                  </a:lnTo>
                  <a:lnTo>
                    <a:pt x="504" y="526"/>
                  </a:lnTo>
                  <a:lnTo>
                    <a:pt x="500" y="526"/>
                  </a:lnTo>
                  <a:lnTo>
                    <a:pt x="500" y="526"/>
                  </a:lnTo>
                  <a:lnTo>
                    <a:pt x="500" y="526"/>
                  </a:lnTo>
                  <a:close/>
                  <a:moveTo>
                    <a:pt x="492" y="526"/>
                  </a:moveTo>
                  <a:lnTo>
                    <a:pt x="492" y="524"/>
                  </a:lnTo>
                  <a:lnTo>
                    <a:pt x="492" y="526"/>
                  </a:lnTo>
                  <a:lnTo>
                    <a:pt x="492" y="526"/>
                  </a:lnTo>
                  <a:lnTo>
                    <a:pt x="492" y="526"/>
                  </a:lnTo>
                  <a:close/>
                  <a:moveTo>
                    <a:pt x="500" y="530"/>
                  </a:moveTo>
                  <a:lnTo>
                    <a:pt x="500" y="526"/>
                  </a:lnTo>
                  <a:lnTo>
                    <a:pt x="500" y="530"/>
                  </a:lnTo>
                  <a:lnTo>
                    <a:pt x="500" y="530"/>
                  </a:lnTo>
                  <a:lnTo>
                    <a:pt x="500" y="530"/>
                  </a:lnTo>
                  <a:close/>
                  <a:moveTo>
                    <a:pt x="504" y="530"/>
                  </a:moveTo>
                  <a:lnTo>
                    <a:pt x="500" y="530"/>
                  </a:lnTo>
                  <a:lnTo>
                    <a:pt x="504" y="530"/>
                  </a:lnTo>
                  <a:lnTo>
                    <a:pt x="504" y="526"/>
                  </a:lnTo>
                  <a:lnTo>
                    <a:pt x="504" y="530"/>
                  </a:lnTo>
                  <a:lnTo>
                    <a:pt x="504" y="530"/>
                  </a:lnTo>
                  <a:lnTo>
                    <a:pt x="504" y="530"/>
                  </a:lnTo>
                  <a:close/>
                  <a:moveTo>
                    <a:pt x="504" y="534"/>
                  </a:moveTo>
                  <a:lnTo>
                    <a:pt x="500" y="534"/>
                  </a:lnTo>
                  <a:lnTo>
                    <a:pt x="500" y="530"/>
                  </a:lnTo>
                  <a:lnTo>
                    <a:pt x="504" y="530"/>
                  </a:lnTo>
                  <a:lnTo>
                    <a:pt x="504" y="534"/>
                  </a:lnTo>
                  <a:lnTo>
                    <a:pt x="504" y="534"/>
                  </a:lnTo>
                  <a:lnTo>
                    <a:pt x="504" y="534"/>
                  </a:lnTo>
                  <a:close/>
                  <a:moveTo>
                    <a:pt x="492" y="556"/>
                  </a:moveTo>
                  <a:lnTo>
                    <a:pt x="492" y="552"/>
                  </a:lnTo>
                  <a:lnTo>
                    <a:pt x="496" y="552"/>
                  </a:lnTo>
                  <a:lnTo>
                    <a:pt x="496" y="556"/>
                  </a:lnTo>
                  <a:lnTo>
                    <a:pt x="492" y="556"/>
                  </a:lnTo>
                  <a:lnTo>
                    <a:pt x="492" y="556"/>
                  </a:lnTo>
                  <a:lnTo>
                    <a:pt x="492" y="556"/>
                  </a:lnTo>
                  <a:close/>
                  <a:moveTo>
                    <a:pt x="484" y="566"/>
                  </a:moveTo>
                  <a:lnTo>
                    <a:pt x="488" y="566"/>
                  </a:lnTo>
                  <a:lnTo>
                    <a:pt x="484" y="566"/>
                  </a:lnTo>
                  <a:lnTo>
                    <a:pt x="484" y="566"/>
                  </a:lnTo>
                  <a:lnTo>
                    <a:pt x="484" y="566"/>
                  </a:lnTo>
                  <a:close/>
                  <a:moveTo>
                    <a:pt x="484" y="566"/>
                  </a:moveTo>
                  <a:lnTo>
                    <a:pt x="480" y="566"/>
                  </a:lnTo>
                  <a:lnTo>
                    <a:pt x="484" y="566"/>
                  </a:lnTo>
                  <a:lnTo>
                    <a:pt x="484" y="566"/>
                  </a:lnTo>
                  <a:lnTo>
                    <a:pt x="484" y="566"/>
                  </a:lnTo>
                  <a:close/>
                  <a:moveTo>
                    <a:pt x="496" y="570"/>
                  </a:moveTo>
                  <a:lnTo>
                    <a:pt x="492" y="570"/>
                  </a:lnTo>
                  <a:lnTo>
                    <a:pt x="496" y="566"/>
                  </a:lnTo>
                  <a:lnTo>
                    <a:pt x="500" y="566"/>
                  </a:lnTo>
                  <a:lnTo>
                    <a:pt x="500" y="570"/>
                  </a:lnTo>
                  <a:lnTo>
                    <a:pt x="504" y="570"/>
                  </a:lnTo>
                  <a:lnTo>
                    <a:pt x="504" y="566"/>
                  </a:lnTo>
                  <a:lnTo>
                    <a:pt x="504" y="570"/>
                  </a:lnTo>
                  <a:lnTo>
                    <a:pt x="500" y="570"/>
                  </a:lnTo>
                  <a:lnTo>
                    <a:pt x="496" y="570"/>
                  </a:lnTo>
                  <a:lnTo>
                    <a:pt x="496" y="570"/>
                  </a:lnTo>
                  <a:lnTo>
                    <a:pt x="496" y="570"/>
                  </a:lnTo>
                  <a:close/>
                  <a:moveTo>
                    <a:pt x="488" y="574"/>
                  </a:moveTo>
                  <a:lnTo>
                    <a:pt x="484" y="570"/>
                  </a:lnTo>
                  <a:lnTo>
                    <a:pt x="480" y="570"/>
                  </a:lnTo>
                  <a:lnTo>
                    <a:pt x="484" y="570"/>
                  </a:lnTo>
                  <a:lnTo>
                    <a:pt x="488" y="570"/>
                  </a:lnTo>
                  <a:lnTo>
                    <a:pt x="488" y="566"/>
                  </a:lnTo>
                  <a:lnTo>
                    <a:pt x="488" y="570"/>
                  </a:lnTo>
                  <a:lnTo>
                    <a:pt x="488" y="574"/>
                  </a:lnTo>
                  <a:lnTo>
                    <a:pt x="488" y="574"/>
                  </a:lnTo>
                  <a:lnTo>
                    <a:pt x="488" y="574"/>
                  </a:lnTo>
                  <a:close/>
                  <a:moveTo>
                    <a:pt x="484" y="586"/>
                  </a:moveTo>
                  <a:lnTo>
                    <a:pt x="480" y="586"/>
                  </a:lnTo>
                  <a:lnTo>
                    <a:pt x="480" y="582"/>
                  </a:lnTo>
                  <a:lnTo>
                    <a:pt x="480" y="578"/>
                  </a:lnTo>
                  <a:lnTo>
                    <a:pt x="480" y="582"/>
                  </a:lnTo>
                  <a:lnTo>
                    <a:pt x="476" y="582"/>
                  </a:lnTo>
                  <a:lnTo>
                    <a:pt x="476" y="578"/>
                  </a:lnTo>
                  <a:lnTo>
                    <a:pt x="480" y="578"/>
                  </a:lnTo>
                  <a:lnTo>
                    <a:pt x="476" y="578"/>
                  </a:lnTo>
                  <a:lnTo>
                    <a:pt x="476" y="574"/>
                  </a:lnTo>
                  <a:lnTo>
                    <a:pt x="476" y="570"/>
                  </a:lnTo>
                  <a:lnTo>
                    <a:pt x="480" y="570"/>
                  </a:lnTo>
                  <a:lnTo>
                    <a:pt x="480" y="574"/>
                  </a:lnTo>
                  <a:lnTo>
                    <a:pt x="480" y="578"/>
                  </a:lnTo>
                  <a:lnTo>
                    <a:pt x="484" y="578"/>
                  </a:lnTo>
                  <a:lnTo>
                    <a:pt x="484" y="582"/>
                  </a:lnTo>
                  <a:lnTo>
                    <a:pt x="484" y="586"/>
                  </a:lnTo>
                  <a:lnTo>
                    <a:pt x="484" y="586"/>
                  </a:lnTo>
                  <a:lnTo>
                    <a:pt x="484" y="586"/>
                  </a:lnTo>
                  <a:close/>
                  <a:moveTo>
                    <a:pt x="484" y="582"/>
                  </a:moveTo>
                  <a:lnTo>
                    <a:pt x="484" y="574"/>
                  </a:lnTo>
                  <a:lnTo>
                    <a:pt x="480" y="574"/>
                  </a:lnTo>
                  <a:lnTo>
                    <a:pt x="484" y="574"/>
                  </a:lnTo>
                  <a:lnTo>
                    <a:pt x="488" y="574"/>
                  </a:lnTo>
                  <a:lnTo>
                    <a:pt x="488" y="578"/>
                  </a:lnTo>
                  <a:lnTo>
                    <a:pt x="484" y="582"/>
                  </a:lnTo>
                  <a:lnTo>
                    <a:pt x="484" y="582"/>
                  </a:lnTo>
                  <a:lnTo>
                    <a:pt x="484" y="582"/>
                  </a:lnTo>
                  <a:close/>
                  <a:moveTo>
                    <a:pt x="492" y="578"/>
                  </a:moveTo>
                  <a:lnTo>
                    <a:pt x="492" y="574"/>
                  </a:lnTo>
                  <a:lnTo>
                    <a:pt x="496" y="574"/>
                  </a:lnTo>
                  <a:lnTo>
                    <a:pt x="496" y="578"/>
                  </a:lnTo>
                  <a:lnTo>
                    <a:pt x="492" y="578"/>
                  </a:lnTo>
                  <a:lnTo>
                    <a:pt x="492" y="578"/>
                  </a:lnTo>
                  <a:lnTo>
                    <a:pt x="492" y="578"/>
                  </a:lnTo>
                  <a:close/>
                  <a:moveTo>
                    <a:pt x="492" y="586"/>
                  </a:moveTo>
                  <a:lnTo>
                    <a:pt x="488" y="586"/>
                  </a:lnTo>
                  <a:lnTo>
                    <a:pt x="484" y="586"/>
                  </a:lnTo>
                  <a:lnTo>
                    <a:pt x="484" y="582"/>
                  </a:lnTo>
                  <a:lnTo>
                    <a:pt x="488" y="582"/>
                  </a:lnTo>
                  <a:lnTo>
                    <a:pt x="488" y="578"/>
                  </a:lnTo>
                  <a:lnTo>
                    <a:pt x="488" y="582"/>
                  </a:lnTo>
                  <a:lnTo>
                    <a:pt x="488" y="578"/>
                  </a:lnTo>
                  <a:lnTo>
                    <a:pt x="488" y="574"/>
                  </a:lnTo>
                  <a:lnTo>
                    <a:pt x="492" y="574"/>
                  </a:lnTo>
                  <a:lnTo>
                    <a:pt x="492" y="578"/>
                  </a:lnTo>
                  <a:lnTo>
                    <a:pt x="492" y="582"/>
                  </a:lnTo>
                  <a:lnTo>
                    <a:pt x="492" y="586"/>
                  </a:lnTo>
                  <a:lnTo>
                    <a:pt x="492" y="582"/>
                  </a:lnTo>
                  <a:lnTo>
                    <a:pt x="492" y="586"/>
                  </a:lnTo>
                  <a:lnTo>
                    <a:pt x="492" y="586"/>
                  </a:lnTo>
                  <a:lnTo>
                    <a:pt x="492" y="586"/>
                  </a:lnTo>
                  <a:close/>
                  <a:moveTo>
                    <a:pt x="496" y="582"/>
                  </a:moveTo>
                  <a:lnTo>
                    <a:pt x="496" y="578"/>
                  </a:lnTo>
                  <a:lnTo>
                    <a:pt x="492" y="578"/>
                  </a:lnTo>
                  <a:lnTo>
                    <a:pt x="496" y="578"/>
                  </a:lnTo>
                  <a:lnTo>
                    <a:pt x="496" y="582"/>
                  </a:lnTo>
                  <a:lnTo>
                    <a:pt x="496" y="582"/>
                  </a:lnTo>
                  <a:lnTo>
                    <a:pt x="496" y="582"/>
                  </a:lnTo>
                  <a:close/>
                  <a:moveTo>
                    <a:pt x="500" y="582"/>
                  </a:moveTo>
                  <a:lnTo>
                    <a:pt x="496" y="582"/>
                  </a:lnTo>
                  <a:lnTo>
                    <a:pt x="496" y="578"/>
                  </a:lnTo>
                  <a:lnTo>
                    <a:pt x="500" y="578"/>
                  </a:lnTo>
                  <a:lnTo>
                    <a:pt x="500" y="582"/>
                  </a:lnTo>
                  <a:lnTo>
                    <a:pt x="500" y="582"/>
                  </a:lnTo>
                  <a:lnTo>
                    <a:pt x="500" y="582"/>
                  </a:lnTo>
                  <a:close/>
                  <a:moveTo>
                    <a:pt x="476" y="586"/>
                  </a:moveTo>
                  <a:lnTo>
                    <a:pt x="480" y="586"/>
                  </a:lnTo>
                  <a:lnTo>
                    <a:pt x="476" y="586"/>
                  </a:lnTo>
                  <a:lnTo>
                    <a:pt x="476" y="582"/>
                  </a:lnTo>
                  <a:lnTo>
                    <a:pt x="480" y="582"/>
                  </a:lnTo>
                  <a:lnTo>
                    <a:pt x="480" y="586"/>
                  </a:lnTo>
                  <a:lnTo>
                    <a:pt x="476" y="586"/>
                  </a:lnTo>
                  <a:lnTo>
                    <a:pt x="476" y="586"/>
                  </a:lnTo>
                  <a:lnTo>
                    <a:pt x="476" y="586"/>
                  </a:lnTo>
                  <a:close/>
                  <a:moveTo>
                    <a:pt x="492" y="604"/>
                  </a:moveTo>
                  <a:lnTo>
                    <a:pt x="492" y="608"/>
                  </a:lnTo>
                  <a:lnTo>
                    <a:pt x="492" y="604"/>
                  </a:lnTo>
                  <a:lnTo>
                    <a:pt x="496" y="604"/>
                  </a:lnTo>
                  <a:lnTo>
                    <a:pt x="496" y="608"/>
                  </a:lnTo>
                  <a:lnTo>
                    <a:pt x="492" y="612"/>
                  </a:lnTo>
                  <a:lnTo>
                    <a:pt x="492" y="616"/>
                  </a:lnTo>
                  <a:lnTo>
                    <a:pt x="488" y="616"/>
                  </a:lnTo>
                  <a:lnTo>
                    <a:pt x="488" y="612"/>
                  </a:lnTo>
                  <a:lnTo>
                    <a:pt x="492" y="612"/>
                  </a:lnTo>
                  <a:lnTo>
                    <a:pt x="488" y="612"/>
                  </a:lnTo>
                  <a:lnTo>
                    <a:pt x="488" y="608"/>
                  </a:lnTo>
                  <a:lnTo>
                    <a:pt x="488" y="604"/>
                  </a:lnTo>
                  <a:lnTo>
                    <a:pt x="488" y="600"/>
                  </a:lnTo>
                  <a:lnTo>
                    <a:pt x="492" y="600"/>
                  </a:lnTo>
                  <a:lnTo>
                    <a:pt x="488" y="600"/>
                  </a:lnTo>
                  <a:lnTo>
                    <a:pt x="488" y="604"/>
                  </a:lnTo>
                  <a:lnTo>
                    <a:pt x="488" y="600"/>
                  </a:lnTo>
                  <a:lnTo>
                    <a:pt x="484" y="604"/>
                  </a:lnTo>
                  <a:lnTo>
                    <a:pt x="488" y="604"/>
                  </a:lnTo>
                  <a:lnTo>
                    <a:pt x="484" y="608"/>
                  </a:lnTo>
                  <a:lnTo>
                    <a:pt x="484" y="612"/>
                  </a:lnTo>
                  <a:lnTo>
                    <a:pt x="484" y="608"/>
                  </a:lnTo>
                  <a:lnTo>
                    <a:pt x="480" y="604"/>
                  </a:lnTo>
                  <a:lnTo>
                    <a:pt x="480" y="600"/>
                  </a:lnTo>
                  <a:lnTo>
                    <a:pt x="480" y="596"/>
                  </a:lnTo>
                  <a:lnTo>
                    <a:pt x="480" y="600"/>
                  </a:lnTo>
                  <a:lnTo>
                    <a:pt x="484" y="600"/>
                  </a:lnTo>
                  <a:lnTo>
                    <a:pt x="484" y="604"/>
                  </a:lnTo>
                  <a:lnTo>
                    <a:pt x="484" y="600"/>
                  </a:lnTo>
                  <a:lnTo>
                    <a:pt x="480" y="600"/>
                  </a:lnTo>
                  <a:lnTo>
                    <a:pt x="480" y="596"/>
                  </a:lnTo>
                  <a:lnTo>
                    <a:pt x="484" y="600"/>
                  </a:lnTo>
                  <a:lnTo>
                    <a:pt x="484" y="596"/>
                  </a:lnTo>
                  <a:lnTo>
                    <a:pt x="488" y="600"/>
                  </a:lnTo>
                  <a:lnTo>
                    <a:pt x="488" y="596"/>
                  </a:lnTo>
                  <a:lnTo>
                    <a:pt x="488" y="594"/>
                  </a:lnTo>
                  <a:lnTo>
                    <a:pt x="484" y="590"/>
                  </a:lnTo>
                  <a:lnTo>
                    <a:pt x="484" y="586"/>
                  </a:lnTo>
                  <a:lnTo>
                    <a:pt x="488" y="586"/>
                  </a:lnTo>
                  <a:lnTo>
                    <a:pt x="492" y="586"/>
                  </a:lnTo>
                  <a:lnTo>
                    <a:pt x="492" y="590"/>
                  </a:lnTo>
                  <a:lnTo>
                    <a:pt x="492" y="594"/>
                  </a:lnTo>
                  <a:lnTo>
                    <a:pt x="492" y="596"/>
                  </a:lnTo>
                  <a:lnTo>
                    <a:pt x="496" y="596"/>
                  </a:lnTo>
                  <a:lnTo>
                    <a:pt x="492" y="600"/>
                  </a:lnTo>
                  <a:lnTo>
                    <a:pt x="492" y="604"/>
                  </a:lnTo>
                  <a:lnTo>
                    <a:pt x="492" y="604"/>
                  </a:lnTo>
                  <a:lnTo>
                    <a:pt x="492" y="604"/>
                  </a:lnTo>
                  <a:close/>
                  <a:moveTo>
                    <a:pt x="484" y="594"/>
                  </a:moveTo>
                  <a:lnTo>
                    <a:pt x="480" y="590"/>
                  </a:lnTo>
                  <a:lnTo>
                    <a:pt x="484" y="590"/>
                  </a:lnTo>
                  <a:lnTo>
                    <a:pt x="484" y="594"/>
                  </a:lnTo>
                  <a:lnTo>
                    <a:pt x="484" y="594"/>
                  </a:lnTo>
                  <a:lnTo>
                    <a:pt x="484" y="594"/>
                  </a:lnTo>
                  <a:close/>
                  <a:moveTo>
                    <a:pt x="480" y="594"/>
                  </a:moveTo>
                  <a:lnTo>
                    <a:pt x="480" y="590"/>
                  </a:lnTo>
                  <a:lnTo>
                    <a:pt x="480" y="594"/>
                  </a:lnTo>
                  <a:lnTo>
                    <a:pt x="476" y="594"/>
                  </a:lnTo>
                  <a:lnTo>
                    <a:pt x="476" y="590"/>
                  </a:lnTo>
                  <a:lnTo>
                    <a:pt x="480" y="590"/>
                  </a:lnTo>
                  <a:lnTo>
                    <a:pt x="484" y="594"/>
                  </a:lnTo>
                  <a:lnTo>
                    <a:pt x="480" y="594"/>
                  </a:lnTo>
                  <a:lnTo>
                    <a:pt x="480" y="594"/>
                  </a:lnTo>
                  <a:lnTo>
                    <a:pt x="480" y="594"/>
                  </a:lnTo>
                  <a:close/>
                  <a:moveTo>
                    <a:pt x="488" y="596"/>
                  </a:moveTo>
                  <a:lnTo>
                    <a:pt x="484" y="596"/>
                  </a:lnTo>
                  <a:lnTo>
                    <a:pt x="480" y="596"/>
                  </a:lnTo>
                  <a:lnTo>
                    <a:pt x="480" y="594"/>
                  </a:lnTo>
                  <a:lnTo>
                    <a:pt x="484" y="594"/>
                  </a:lnTo>
                  <a:lnTo>
                    <a:pt x="488" y="594"/>
                  </a:lnTo>
                  <a:lnTo>
                    <a:pt x="488" y="596"/>
                  </a:lnTo>
                  <a:lnTo>
                    <a:pt x="488" y="596"/>
                  </a:lnTo>
                  <a:lnTo>
                    <a:pt x="488" y="596"/>
                  </a:lnTo>
                  <a:close/>
                  <a:moveTo>
                    <a:pt x="496" y="604"/>
                  </a:moveTo>
                  <a:lnTo>
                    <a:pt x="492" y="600"/>
                  </a:lnTo>
                  <a:lnTo>
                    <a:pt x="496" y="600"/>
                  </a:lnTo>
                  <a:lnTo>
                    <a:pt x="496" y="604"/>
                  </a:lnTo>
                  <a:lnTo>
                    <a:pt x="496" y="604"/>
                  </a:lnTo>
                  <a:lnTo>
                    <a:pt x="496" y="604"/>
                  </a:lnTo>
                  <a:close/>
                  <a:moveTo>
                    <a:pt x="484" y="612"/>
                  </a:moveTo>
                  <a:lnTo>
                    <a:pt x="480" y="608"/>
                  </a:lnTo>
                  <a:lnTo>
                    <a:pt x="480" y="612"/>
                  </a:lnTo>
                  <a:lnTo>
                    <a:pt x="480" y="608"/>
                  </a:lnTo>
                  <a:lnTo>
                    <a:pt x="476" y="608"/>
                  </a:lnTo>
                  <a:lnTo>
                    <a:pt x="476" y="604"/>
                  </a:lnTo>
                  <a:lnTo>
                    <a:pt x="480" y="604"/>
                  </a:lnTo>
                  <a:lnTo>
                    <a:pt x="484" y="608"/>
                  </a:lnTo>
                  <a:lnTo>
                    <a:pt x="484" y="612"/>
                  </a:lnTo>
                  <a:lnTo>
                    <a:pt x="484" y="612"/>
                  </a:lnTo>
                  <a:lnTo>
                    <a:pt x="484" y="612"/>
                  </a:lnTo>
                  <a:close/>
                  <a:moveTo>
                    <a:pt x="484" y="620"/>
                  </a:moveTo>
                  <a:lnTo>
                    <a:pt x="484" y="624"/>
                  </a:lnTo>
                  <a:lnTo>
                    <a:pt x="480" y="624"/>
                  </a:lnTo>
                  <a:lnTo>
                    <a:pt x="480" y="620"/>
                  </a:lnTo>
                  <a:lnTo>
                    <a:pt x="484" y="620"/>
                  </a:lnTo>
                  <a:lnTo>
                    <a:pt x="480" y="620"/>
                  </a:lnTo>
                  <a:lnTo>
                    <a:pt x="480" y="616"/>
                  </a:lnTo>
                  <a:lnTo>
                    <a:pt x="480" y="620"/>
                  </a:lnTo>
                  <a:lnTo>
                    <a:pt x="484" y="620"/>
                  </a:lnTo>
                  <a:lnTo>
                    <a:pt x="484" y="616"/>
                  </a:lnTo>
                  <a:lnTo>
                    <a:pt x="480" y="616"/>
                  </a:lnTo>
                  <a:lnTo>
                    <a:pt x="480" y="612"/>
                  </a:lnTo>
                  <a:lnTo>
                    <a:pt x="484" y="612"/>
                  </a:lnTo>
                  <a:lnTo>
                    <a:pt x="484" y="616"/>
                  </a:lnTo>
                  <a:lnTo>
                    <a:pt x="488" y="616"/>
                  </a:lnTo>
                  <a:lnTo>
                    <a:pt x="484" y="620"/>
                  </a:lnTo>
                  <a:lnTo>
                    <a:pt x="484" y="620"/>
                  </a:lnTo>
                  <a:lnTo>
                    <a:pt x="484" y="620"/>
                  </a:lnTo>
                  <a:close/>
                  <a:moveTo>
                    <a:pt x="488" y="624"/>
                  </a:moveTo>
                  <a:lnTo>
                    <a:pt x="488" y="620"/>
                  </a:lnTo>
                  <a:lnTo>
                    <a:pt x="492" y="620"/>
                  </a:lnTo>
                  <a:lnTo>
                    <a:pt x="492" y="624"/>
                  </a:lnTo>
                  <a:lnTo>
                    <a:pt x="488" y="624"/>
                  </a:lnTo>
                  <a:lnTo>
                    <a:pt x="488" y="624"/>
                  </a:lnTo>
                  <a:lnTo>
                    <a:pt x="488" y="624"/>
                  </a:lnTo>
                  <a:close/>
                  <a:moveTo>
                    <a:pt x="496" y="630"/>
                  </a:moveTo>
                  <a:lnTo>
                    <a:pt x="492" y="626"/>
                  </a:lnTo>
                  <a:lnTo>
                    <a:pt x="492" y="624"/>
                  </a:lnTo>
                  <a:lnTo>
                    <a:pt x="496" y="624"/>
                  </a:lnTo>
                  <a:lnTo>
                    <a:pt x="492" y="624"/>
                  </a:lnTo>
                  <a:lnTo>
                    <a:pt x="496" y="624"/>
                  </a:lnTo>
                  <a:lnTo>
                    <a:pt x="496" y="626"/>
                  </a:lnTo>
                  <a:lnTo>
                    <a:pt x="496" y="630"/>
                  </a:lnTo>
                  <a:lnTo>
                    <a:pt x="500" y="630"/>
                  </a:lnTo>
                  <a:lnTo>
                    <a:pt x="496" y="630"/>
                  </a:lnTo>
                  <a:lnTo>
                    <a:pt x="496" y="630"/>
                  </a:lnTo>
                  <a:lnTo>
                    <a:pt x="496" y="630"/>
                  </a:lnTo>
                  <a:close/>
                  <a:moveTo>
                    <a:pt x="480" y="630"/>
                  </a:moveTo>
                  <a:lnTo>
                    <a:pt x="476" y="626"/>
                  </a:lnTo>
                  <a:lnTo>
                    <a:pt x="480" y="626"/>
                  </a:lnTo>
                  <a:lnTo>
                    <a:pt x="480" y="624"/>
                  </a:lnTo>
                  <a:lnTo>
                    <a:pt x="484" y="624"/>
                  </a:lnTo>
                  <a:lnTo>
                    <a:pt x="484" y="626"/>
                  </a:lnTo>
                  <a:lnTo>
                    <a:pt x="480" y="626"/>
                  </a:lnTo>
                  <a:lnTo>
                    <a:pt x="480" y="630"/>
                  </a:lnTo>
                  <a:lnTo>
                    <a:pt x="480" y="630"/>
                  </a:lnTo>
                  <a:lnTo>
                    <a:pt x="480" y="630"/>
                  </a:lnTo>
                  <a:close/>
                  <a:moveTo>
                    <a:pt x="484" y="630"/>
                  </a:moveTo>
                  <a:lnTo>
                    <a:pt x="484" y="626"/>
                  </a:lnTo>
                  <a:lnTo>
                    <a:pt x="484" y="630"/>
                  </a:lnTo>
                  <a:lnTo>
                    <a:pt x="484" y="630"/>
                  </a:lnTo>
                  <a:lnTo>
                    <a:pt x="484" y="630"/>
                  </a:lnTo>
                  <a:close/>
                  <a:moveTo>
                    <a:pt x="492" y="630"/>
                  </a:moveTo>
                  <a:lnTo>
                    <a:pt x="488" y="630"/>
                  </a:lnTo>
                  <a:lnTo>
                    <a:pt x="488" y="626"/>
                  </a:lnTo>
                  <a:lnTo>
                    <a:pt x="492" y="630"/>
                  </a:lnTo>
                  <a:lnTo>
                    <a:pt x="492" y="630"/>
                  </a:lnTo>
                  <a:lnTo>
                    <a:pt x="492" y="630"/>
                  </a:lnTo>
                  <a:close/>
                  <a:moveTo>
                    <a:pt x="488" y="638"/>
                  </a:moveTo>
                  <a:lnTo>
                    <a:pt x="488" y="634"/>
                  </a:lnTo>
                  <a:lnTo>
                    <a:pt x="488" y="630"/>
                  </a:lnTo>
                  <a:lnTo>
                    <a:pt x="492" y="630"/>
                  </a:lnTo>
                  <a:lnTo>
                    <a:pt x="492" y="626"/>
                  </a:lnTo>
                  <a:lnTo>
                    <a:pt x="492" y="630"/>
                  </a:lnTo>
                  <a:lnTo>
                    <a:pt x="496" y="630"/>
                  </a:lnTo>
                  <a:lnTo>
                    <a:pt x="496" y="634"/>
                  </a:lnTo>
                  <a:lnTo>
                    <a:pt x="492" y="634"/>
                  </a:lnTo>
                  <a:lnTo>
                    <a:pt x="488" y="638"/>
                  </a:lnTo>
                  <a:lnTo>
                    <a:pt x="488" y="638"/>
                  </a:lnTo>
                  <a:lnTo>
                    <a:pt x="488" y="638"/>
                  </a:lnTo>
                  <a:close/>
                  <a:moveTo>
                    <a:pt x="496" y="638"/>
                  </a:moveTo>
                  <a:lnTo>
                    <a:pt x="496" y="634"/>
                  </a:lnTo>
                  <a:lnTo>
                    <a:pt x="496" y="630"/>
                  </a:lnTo>
                  <a:lnTo>
                    <a:pt x="496" y="634"/>
                  </a:lnTo>
                  <a:lnTo>
                    <a:pt x="496" y="638"/>
                  </a:lnTo>
                  <a:lnTo>
                    <a:pt x="496" y="638"/>
                  </a:lnTo>
                  <a:lnTo>
                    <a:pt x="496" y="638"/>
                  </a:lnTo>
                  <a:close/>
                  <a:moveTo>
                    <a:pt x="496" y="638"/>
                  </a:moveTo>
                  <a:lnTo>
                    <a:pt x="492" y="638"/>
                  </a:lnTo>
                  <a:lnTo>
                    <a:pt x="492" y="634"/>
                  </a:lnTo>
                  <a:lnTo>
                    <a:pt x="496" y="638"/>
                  </a:lnTo>
                  <a:lnTo>
                    <a:pt x="496" y="638"/>
                  </a:lnTo>
                  <a:lnTo>
                    <a:pt x="496" y="638"/>
                  </a:lnTo>
                  <a:close/>
                  <a:moveTo>
                    <a:pt x="484" y="646"/>
                  </a:moveTo>
                  <a:lnTo>
                    <a:pt x="484" y="642"/>
                  </a:lnTo>
                  <a:lnTo>
                    <a:pt x="488" y="642"/>
                  </a:lnTo>
                  <a:lnTo>
                    <a:pt x="488" y="638"/>
                  </a:lnTo>
                  <a:lnTo>
                    <a:pt x="492" y="638"/>
                  </a:lnTo>
                  <a:lnTo>
                    <a:pt x="492" y="642"/>
                  </a:lnTo>
                  <a:lnTo>
                    <a:pt x="488" y="642"/>
                  </a:lnTo>
                  <a:lnTo>
                    <a:pt x="484" y="646"/>
                  </a:lnTo>
                  <a:lnTo>
                    <a:pt x="484" y="646"/>
                  </a:lnTo>
                  <a:lnTo>
                    <a:pt x="484" y="646"/>
                  </a:lnTo>
                  <a:close/>
                  <a:moveTo>
                    <a:pt x="500" y="642"/>
                  </a:moveTo>
                  <a:lnTo>
                    <a:pt x="500" y="638"/>
                  </a:lnTo>
                  <a:lnTo>
                    <a:pt x="500" y="642"/>
                  </a:lnTo>
                  <a:lnTo>
                    <a:pt x="500" y="642"/>
                  </a:lnTo>
                  <a:lnTo>
                    <a:pt x="500" y="642"/>
                  </a:lnTo>
                  <a:close/>
                  <a:moveTo>
                    <a:pt x="504" y="642"/>
                  </a:moveTo>
                  <a:lnTo>
                    <a:pt x="504" y="638"/>
                  </a:lnTo>
                  <a:lnTo>
                    <a:pt x="504" y="642"/>
                  </a:lnTo>
                  <a:lnTo>
                    <a:pt x="504" y="642"/>
                  </a:lnTo>
                  <a:lnTo>
                    <a:pt x="504" y="642"/>
                  </a:lnTo>
                  <a:close/>
                  <a:moveTo>
                    <a:pt x="480" y="646"/>
                  </a:moveTo>
                  <a:lnTo>
                    <a:pt x="484" y="646"/>
                  </a:lnTo>
                  <a:lnTo>
                    <a:pt x="484" y="642"/>
                  </a:lnTo>
                  <a:lnTo>
                    <a:pt x="484" y="638"/>
                  </a:lnTo>
                  <a:lnTo>
                    <a:pt x="484" y="642"/>
                  </a:lnTo>
                  <a:lnTo>
                    <a:pt x="484" y="646"/>
                  </a:lnTo>
                  <a:lnTo>
                    <a:pt x="480" y="646"/>
                  </a:lnTo>
                  <a:lnTo>
                    <a:pt x="480" y="646"/>
                  </a:lnTo>
                  <a:lnTo>
                    <a:pt x="480" y="646"/>
                  </a:lnTo>
                  <a:close/>
                  <a:moveTo>
                    <a:pt x="500" y="650"/>
                  </a:moveTo>
                  <a:lnTo>
                    <a:pt x="496" y="650"/>
                  </a:lnTo>
                  <a:lnTo>
                    <a:pt x="500" y="650"/>
                  </a:lnTo>
                  <a:lnTo>
                    <a:pt x="500" y="646"/>
                  </a:lnTo>
                  <a:lnTo>
                    <a:pt x="500" y="650"/>
                  </a:lnTo>
                  <a:lnTo>
                    <a:pt x="500" y="650"/>
                  </a:lnTo>
                  <a:lnTo>
                    <a:pt x="500" y="650"/>
                  </a:lnTo>
                  <a:close/>
                  <a:moveTo>
                    <a:pt x="488" y="656"/>
                  </a:moveTo>
                  <a:lnTo>
                    <a:pt x="484" y="656"/>
                  </a:lnTo>
                  <a:lnTo>
                    <a:pt x="484" y="652"/>
                  </a:lnTo>
                  <a:lnTo>
                    <a:pt x="488" y="650"/>
                  </a:lnTo>
                  <a:lnTo>
                    <a:pt x="488" y="652"/>
                  </a:lnTo>
                  <a:lnTo>
                    <a:pt x="488" y="650"/>
                  </a:lnTo>
                  <a:lnTo>
                    <a:pt x="488" y="646"/>
                  </a:lnTo>
                  <a:lnTo>
                    <a:pt x="488" y="650"/>
                  </a:lnTo>
                  <a:lnTo>
                    <a:pt x="488" y="652"/>
                  </a:lnTo>
                  <a:lnTo>
                    <a:pt x="488" y="656"/>
                  </a:lnTo>
                  <a:lnTo>
                    <a:pt x="488" y="656"/>
                  </a:lnTo>
                  <a:lnTo>
                    <a:pt x="488" y="656"/>
                  </a:lnTo>
                  <a:close/>
                  <a:moveTo>
                    <a:pt x="504" y="650"/>
                  </a:moveTo>
                  <a:lnTo>
                    <a:pt x="500" y="650"/>
                  </a:lnTo>
                  <a:lnTo>
                    <a:pt x="504" y="650"/>
                  </a:lnTo>
                  <a:lnTo>
                    <a:pt x="504" y="650"/>
                  </a:lnTo>
                  <a:lnTo>
                    <a:pt x="504" y="650"/>
                  </a:lnTo>
                  <a:close/>
                  <a:moveTo>
                    <a:pt x="500" y="652"/>
                  </a:moveTo>
                  <a:lnTo>
                    <a:pt x="496" y="652"/>
                  </a:lnTo>
                  <a:lnTo>
                    <a:pt x="492" y="650"/>
                  </a:lnTo>
                  <a:lnTo>
                    <a:pt x="496" y="650"/>
                  </a:lnTo>
                  <a:lnTo>
                    <a:pt x="500" y="652"/>
                  </a:lnTo>
                  <a:lnTo>
                    <a:pt x="500" y="652"/>
                  </a:lnTo>
                  <a:lnTo>
                    <a:pt x="500" y="652"/>
                  </a:lnTo>
                  <a:close/>
                  <a:moveTo>
                    <a:pt x="484" y="652"/>
                  </a:moveTo>
                  <a:lnTo>
                    <a:pt x="484" y="650"/>
                  </a:lnTo>
                  <a:lnTo>
                    <a:pt x="488" y="650"/>
                  </a:lnTo>
                  <a:lnTo>
                    <a:pt x="484" y="650"/>
                  </a:lnTo>
                  <a:lnTo>
                    <a:pt x="484" y="652"/>
                  </a:lnTo>
                  <a:lnTo>
                    <a:pt x="484" y="652"/>
                  </a:lnTo>
                  <a:lnTo>
                    <a:pt x="484" y="652"/>
                  </a:lnTo>
                  <a:close/>
                  <a:moveTo>
                    <a:pt x="504" y="652"/>
                  </a:moveTo>
                  <a:lnTo>
                    <a:pt x="500" y="652"/>
                  </a:lnTo>
                  <a:lnTo>
                    <a:pt x="500" y="650"/>
                  </a:lnTo>
                  <a:lnTo>
                    <a:pt x="504" y="650"/>
                  </a:lnTo>
                  <a:lnTo>
                    <a:pt x="504" y="652"/>
                  </a:lnTo>
                  <a:lnTo>
                    <a:pt x="504" y="652"/>
                  </a:lnTo>
                  <a:lnTo>
                    <a:pt x="504" y="652"/>
                  </a:lnTo>
                  <a:close/>
                  <a:moveTo>
                    <a:pt x="488" y="656"/>
                  </a:moveTo>
                  <a:lnTo>
                    <a:pt x="488" y="652"/>
                  </a:lnTo>
                  <a:lnTo>
                    <a:pt x="492" y="652"/>
                  </a:lnTo>
                  <a:lnTo>
                    <a:pt x="488" y="656"/>
                  </a:lnTo>
                  <a:lnTo>
                    <a:pt x="488" y="656"/>
                  </a:lnTo>
                  <a:lnTo>
                    <a:pt x="488" y="656"/>
                  </a:lnTo>
                  <a:close/>
                  <a:moveTo>
                    <a:pt x="514" y="656"/>
                  </a:moveTo>
                  <a:lnTo>
                    <a:pt x="514" y="652"/>
                  </a:lnTo>
                  <a:lnTo>
                    <a:pt x="514" y="656"/>
                  </a:lnTo>
                  <a:lnTo>
                    <a:pt x="514" y="656"/>
                  </a:lnTo>
                  <a:lnTo>
                    <a:pt x="514" y="656"/>
                  </a:lnTo>
                  <a:close/>
                  <a:moveTo>
                    <a:pt x="504" y="660"/>
                  </a:moveTo>
                  <a:lnTo>
                    <a:pt x="504" y="656"/>
                  </a:lnTo>
                  <a:lnTo>
                    <a:pt x="500" y="656"/>
                  </a:lnTo>
                  <a:lnTo>
                    <a:pt x="500" y="652"/>
                  </a:lnTo>
                  <a:lnTo>
                    <a:pt x="504" y="656"/>
                  </a:lnTo>
                  <a:lnTo>
                    <a:pt x="504" y="660"/>
                  </a:lnTo>
                  <a:lnTo>
                    <a:pt x="504" y="660"/>
                  </a:lnTo>
                  <a:lnTo>
                    <a:pt x="504" y="660"/>
                  </a:lnTo>
                  <a:close/>
                  <a:moveTo>
                    <a:pt x="488" y="656"/>
                  </a:moveTo>
                  <a:lnTo>
                    <a:pt x="492" y="656"/>
                  </a:lnTo>
                  <a:lnTo>
                    <a:pt x="492" y="652"/>
                  </a:lnTo>
                  <a:lnTo>
                    <a:pt x="492" y="656"/>
                  </a:lnTo>
                  <a:lnTo>
                    <a:pt x="488" y="656"/>
                  </a:lnTo>
                  <a:lnTo>
                    <a:pt x="488" y="656"/>
                  </a:lnTo>
                  <a:lnTo>
                    <a:pt x="488" y="656"/>
                  </a:lnTo>
                  <a:close/>
                  <a:moveTo>
                    <a:pt x="500" y="664"/>
                  </a:moveTo>
                  <a:lnTo>
                    <a:pt x="496" y="664"/>
                  </a:lnTo>
                  <a:lnTo>
                    <a:pt x="496" y="660"/>
                  </a:lnTo>
                  <a:lnTo>
                    <a:pt x="500" y="660"/>
                  </a:lnTo>
                  <a:lnTo>
                    <a:pt x="496" y="660"/>
                  </a:lnTo>
                  <a:lnTo>
                    <a:pt x="496" y="656"/>
                  </a:lnTo>
                  <a:lnTo>
                    <a:pt x="500" y="660"/>
                  </a:lnTo>
                  <a:lnTo>
                    <a:pt x="500" y="664"/>
                  </a:lnTo>
                  <a:lnTo>
                    <a:pt x="500" y="664"/>
                  </a:lnTo>
                  <a:lnTo>
                    <a:pt x="500" y="664"/>
                  </a:lnTo>
                  <a:close/>
                  <a:moveTo>
                    <a:pt x="504" y="664"/>
                  </a:moveTo>
                  <a:lnTo>
                    <a:pt x="504" y="660"/>
                  </a:lnTo>
                  <a:lnTo>
                    <a:pt x="500" y="660"/>
                  </a:lnTo>
                  <a:lnTo>
                    <a:pt x="500" y="656"/>
                  </a:lnTo>
                  <a:lnTo>
                    <a:pt x="500" y="660"/>
                  </a:lnTo>
                  <a:lnTo>
                    <a:pt x="504" y="660"/>
                  </a:lnTo>
                  <a:lnTo>
                    <a:pt x="504" y="664"/>
                  </a:lnTo>
                  <a:lnTo>
                    <a:pt x="504" y="664"/>
                  </a:lnTo>
                  <a:lnTo>
                    <a:pt x="504" y="664"/>
                  </a:lnTo>
                  <a:close/>
                  <a:moveTo>
                    <a:pt x="488" y="660"/>
                  </a:moveTo>
                  <a:lnTo>
                    <a:pt x="492" y="660"/>
                  </a:lnTo>
                  <a:lnTo>
                    <a:pt x="488" y="660"/>
                  </a:lnTo>
                  <a:lnTo>
                    <a:pt x="488" y="660"/>
                  </a:lnTo>
                  <a:lnTo>
                    <a:pt x="488" y="660"/>
                  </a:lnTo>
                  <a:close/>
                  <a:moveTo>
                    <a:pt x="578" y="716"/>
                  </a:moveTo>
                  <a:lnTo>
                    <a:pt x="574" y="716"/>
                  </a:lnTo>
                  <a:lnTo>
                    <a:pt x="570" y="716"/>
                  </a:lnTo>
                  <a:lnTo>
                    <a:pt x="562" y="716"/>
                  </a:lnTo>
                  <a:lnTo>
                    <a:pt x="562" y="712"/>
                  </a:lnTo>
                  <a:lnTo>
                    <a:pt x="560" y="712"/>
                  </a:lnTo>
                  <a:lnTo>
                    <a:pt x="560" y="716"/>
                  </a:lnTo>
                  <a:lnTo>
                    <a:pt x="556" y="716"/>
                  </a:lnTo>
                  <a:lnTo>
                    <a:pt x="552" y="716"/>
                  </a:lnTo>
                  <a:lnTo>
                    <a:pt x="552" y="712"/>
                  </a:lnTo>
                  <a:lnTo>
                    <a:pt x="552" y="716"/>
                  </a:lnTo>
                  <a:lnTo>
                    <a:pt x="548" y="716"/>
                  </a:lnTo>
                  <a:lnTo>
                    <a:pt x="544" y="716"/>
                  </a:lnTo>
                  <a:lnTo>
                    <a:pt x="544" y="712"/>
                  </a:lnTo>
                  <a:lnTo>
                    <a:pt x="548" y="712"/>
                  </a:lnTo>
                  <a:lnTo>
                    <a:pt x="552" y="712"/>
                  </a:lnTo>
                  <a:lnTo>
                    <a:pt x="548" y="712"/>
                  </a:lnTo>
                  <a:lnTo>
                    <a:pt x="544" y="712"/>
                  </a:lnTo>
                  <a:lnTo>
                    <a:pt x="540" y="712"/>
                  </a:lnTo>
                  <a:lnTo>
                    <a:pt x="544" y="712"/>
                  </a:lnTo>
                  <a:lnTo>
                    <a:pt x="540" y="712"/>
                  </a:lnTo>
                  <a:lnTo>
                    <a:pt x="536" y="712"/>
                  </a:lnTo>
                  <a:lnTo>
                    <a:pt x="540" y="712"/>
                  </a:lnTo>
                  <a:lnTo>
                    <a:pt x="540" y="708"/>
                  </a:lnTo>
                  <a:lnTo>
                    <a:pt x="536" y="708"/>
                  </a:lnTo>
                  <a:lnTo>
                    <a:pt x="536" y="712"/>
                  </a:lnTo>
                  <a:lnTo>
                    <a:pt x="532" y="712"/>
                  </a:lnTo>
                  <a:lnTo>
                    <a:pt x="532" y="708"/>
                  </a:lnTo>
                  <a:lnTo>
                    <a:pt x="532" y="712"/>
                  </a:lnTo>
                  <a:lnTo>
                    <a:pt x="530" y="712"/>
                  </a:lnTo>
                  <a:lnTo>
                    <a:pt x="530" y="708"/>
                  </a:lnTo>
                  <a:lnTo>
                    <a:pt x="532" y="708"/>
                  </a:lnTo>
                  <a:lnTo>
                    <a:pt x="530" y="708"/>
                  </a:lnTo>
                  <a:lnTo>
                    <a:pt x="530" y="706"/>
                  </a:lnTo>
                  <a:lnTo>
                    <a:pt x="532" y="706"/>
                  </a:lnTo>
                  <a:lnTo>
                    <a:pt x="532" y="708"/>
                  </a:lnTo>
                  <a:lnTo>
                    <a:pt x="536" y="708"/>
                  </a:lnTo>
                  <a:lnTo>
                    <a:pt x="532" y="708"/>
                  </a:lnTo>
                  <a:lnTo>
                    <a:pt x="532" y="706"/>
                  </a:lnTo>
                  <a:lnTo>
                    <a:pt x="536" y="708"/>
                  </a:lnTo>
                  <a:lnTo>
                    <a:pt x="536" y="706"/>
                  </a:lnTo>
                  <a:lnTo>
                    <a:pt x="540" y="706"/>
                  </a:lnTo>
                  <a:lnTo>
                    <a:pt x="544" y="708"/>
                  </a:lnTo>
                  <a:lnTo>
                    <a:pt x="544" y="706"/>
                  </a:lnTo>
                  <a:lnTo>
                    <a:pt x="548" y="706"/>
                  </a:lnTo>
                  <a:lnTo>
                    <a:pt x="548" y="708"/>
                  </a:lnTo>
                  <a:lnTo>
                    <a:pt x="548" y="706"/>
                  </a:lnTo>
                  <a:lnTo>
                    <a:pt x="552" y="708"/>
                  </a:lnTo>
                  <a:lnTo>
                    <a:pt x="556" y="708"/>
                  </a:lnTo>
                  <a:lnTo>
                    <a:pt x="552" y="708"/>
                  </a:lnTo>
                  <a:lnTo>
                    <a:pt x="552" y="706"/>
                  </a:lnTo>
                  <a:lnTo>
                    <a:pt x="548" y="706"/>
                  </a:lnTo>
                  <a:lnTo>
                    <a:pt x="544" y="706"/>
                  </a:lnTo>
                  <a:lnTo>
                    <a:pt x="544" y="702"/>
                  </a:lnTo>
                  <a:lnTo>
                    <a:pt x="548" y="702"/>
                  </a:lnTo>
                  <a:lnTo>
                    <a:pt x="552" y="706"/>
                  </a:lnTo>
                  <a:lnTo>
                    <a:pt x="556" y="706"/>
                  </a:lnTo>
                  <a:lnTo>
                    <a:pt x="556" y="702"/>
                  </a:lnTo>
                  <a:lnTo>
                    <a:pt x="556" y="706"/>
                  </a:lnTo>
                  <a:lnTo>
                    <a:pt x="560" y="706"/>
                  </a:lnTo>
                  <a:lnTo>
                    <a:pt x="560" y="708"/>
                  </a:lnTo>
                  <a:lnTo>
                    <a:pt x="560" y="706"/>
                  </a:lnTo>
                  <a:lnTo>
                    <a:pt x="562" y="706"/>
                  </a:lnTo>
                  <a:lnTo>
                    <a:pt x="566" y="706"/>
                  </a:lnTo>
                  <a:lnTo>
                    <a:pt x="566" y="708"/>
                  </a:lnTo>
                  <a:lnTo>
                    <a:pt x="566" y="712"/>
                  </a:lnTo>
                  <a:lnTo>
                    <a:pt x="566" y="708"/>
                  </a:lnTo>
                  <a:lnTo>
                    <a:pt x="570" y="708"/>
                  </a:lnTo>
                  <a:lnTo>
                    <a:pt x="566" y="708"/>
                  </a:lnTo>
                  <a:lnTo>
                    <a:pt x="570" y="708"/>
                  </a:lnTo>
                  <a:lnTo>
                    <a:pt x="570" y="706"/>
                  </a:lnTo>
                  <a:lnTo>
                    <a:pt x="566" y="706"/>
                  </a:lnTo>
                  <a:lnTo>
                    <a:pt x="562" y="706"/>
                  </a:lnTo>
                  <a:lnTo>
                    <a:pt x="562" y="702"/>
                  </a:lnTo>
                  <a:lnTo>
                    <a:pt x="560" y="702"/>
                  </a:lnTo>
                  <a:lnTo>
                    <a:pt x="556" y="702"/>
                  </a:lnTo>
                  <a:lnTo>
                    <a:pt x="556" y="698"/>
                  </a:lnTo>
                  <a:lnTo>
                    <a:pt x="556" y="694"/>
                  </a:lnTo>
                  <a:lnTo>
                    <a:pt x="556" y="690"/>
                  </a:lnTo>
                  <a:lnTo>
                    <a:pt x="560" y="690"/>
                  </a:lnTo>
                  <a:lnTo>
                    <a:pt x="566" y="686"/>
                  </a:lnTo>
                  <a:lnTo>
                    <a:pt x="566" y="682"/>
                  </a:lnTo>
                  <a:lnTo>
                    <a:pt x="562" y="682"/>
                  </a:lnTo>
                  <a:lnTo>
                    <a:pt x="560" y="682"/>
                  </a:lnTo>
                  <a:lnTo>
                    <a:pt x="556" y="682"/>
                  </a:lnTo>
                  <a:lnTo>
                    <a:pt x="556" y="686"/>
                  </a:lnTo>
                  <a:lnTo>
                    <a:pt x="552" y="686"/>
                  </a:lnTo>
                  <a:lnTo>
                    <a:pt x="552" y="682"/>
                  </a:lnTo>
                  <a:lnTo>
                    <a:pt x="552" y="680"/>
                  </a:lnTo>
                  <a:lnTo>
                    <a:pt x="552" y="676"/>
                  </a:lnTo>
                  <a:lnTo>
                    <a:pt x="556" y="676"/>
                  </a:lnTo>
                  <a:lnTo>
                    <a:pt x="556" y="672"/>
                  </a:lnTo>
                  <a:lnTo>
                    <a:pt x="552" y="672"/>
                  </a:lnTo>
                  <a:lnTo>
                    <a:pt x="556" y="672"/>
                  </a:lnTo>
                  <a:lnTo>
                    <a:pt x="560" y="672"/>
                  </a:lnTo>
                  <a:lnTo>
                    <a:pt x="562" y="668"/>
                  </a:lnTo>
                  <a:lnTo>
                    <a:pt x="562" y="664"/>
                  </a:lnTo>
                  <a:lnTo>
                    <a:pt x="566" y="664"/>
                  </a:lnTo>
                  <a:lnTo>
                    <a:pt x="566" y="668"/>
                  </a:lnTo>
                  <a:lnTo>
                    <a:pt x="570" y="668"/>
                  </a:lnTo>
                  <a:lnTo>
                    <a:pt x="574" y="668"/>
                  </a:lnTo>
                  <a:lnTo>
                    <a:pt x="578" y="668"/>
                  </a:lnTo>
                  <a:lnTo>
                    <a:pt x="578" y="672"/>
                  </a:lnTo>
                  <a:lnTo>
                    <a:pt x="578" y="680"/>
                  </a:lnTo>
                  <a:lnTo>
                    <a:pt x="578" y="682"/>
                  </a:lnTo>
                  <a:lnTo>
                    <a:pt x="578" y="686"/>
                  </a:lnTo>
                  <a:lnTo>
                    <a:pt x="578" y="694"/>
                  </a:lnTo>
                  <a:lnTo>
                    <a:pt x="578" y="698"/>
                  </a:lnTo>
                  <a:lnTo>
                    <a:pt x="578" y="706"/>
                  </a:lnTo>
                  <a:lnTo>
                    <a:pt x="578" y="708"/>
                  </a:lnTo>
                  <a:lnTo>
                    <a:pt x="578" y="716"/>
                  </a:lnTo>
                  <a:lnTo>
                    <a:pt x="578" y="716"/>
                  </a:lnTo>
                  <a:lnTo>
                    <a:pt x="578" y="716"/>
                  </a:lnTo>
                  <a:close/>
                  <a:moveTo>
                    <a:pt x="510" y="682"/>
                  </a:moveTo>
                  <a:lnTo>
                    <a:pt x="514" y="682"/>
                  </a:lnTo>
                  <a:lnTo>
                    <a:pt x="510" y="682"/>
                  </a:lnTo>
                  <a:lnTo>
                    <a:pt x="506" y="682"/>
                  </a:lnTo>
                  <a:lnTo>
                    <a:pt x="504" y="680"/>
                  </a:lnTo>
                  <a:lnTo>
                    <a:pt x="500" y="680"/>
                  </a:lnTo>
                  <a:lnTo>
                    <a:pt x="496" y="680"/>
                  </a:lnTo>
                  <a:lnTo>
                    <a:pt x="496" y="676"/>
                  </a:lnTo>
                  <a:lnTo>
                    <a:pt x="492" y="676"/>
                  </a:lnTo>
                  <a:lnTo>
                    <a:pt x="492" y="672"/>
                  </a:lnTo>
                  <a:lnTo>
                    <a:pt x="488" y="672"/>
                  </a:lnTo>
                  <a:lnTo>
                    <a:pt x="492" y="672"/>
                  </a:lnTo>
                  <a:lnTo>
                    <a:pt x="496" y="672"/>
                  </a:lnTo>
                  <a:lnTo>
                    <a:pt x="496" y="676"/>
                  </a:lnTo>
                  <a:lnTo>
                    <a:pt x="500" y="676"/>
                  </a:lnTo>
                  <a:lnTo>
                    <a:pt x="504" y="676"/>
                  </a:lnTo>
                  <a:lnTo>
                    <a:pt x="504" y="680"/>
                  </a:lnTo>
                  <a:lnTo>
                    <a:pt x="506" y="680"/>
                  </a:lnTo>
                  <a:lnTo>
                    <a:pt x="506" y="682"/>
                  </a:lnTo>
                  <a:lnTo>
                    <a:pt x="506" y="680"/>
                  </a:lnTo>
                  <a:lnTo>
                    <a:pt x="510" y="682"/>
                  </a:lnTo>
                  <a:lnTo>
                    <a:pt x="510" y="682"/>
                  </a:lnTo>
                  <a:lnTo>
                    <a:pt x="510" y="682"/>
                  </a:lnTo>
                  <a:close/>
                  <a:moveTo>
                    <a:pt x="506" y="676"/>
                  </a:moveTo>
                  <a:lnTo>
                    <a:pt x="504" y="676"/>
                  </a:lnTo>
                  <a:lnTo>
                    <a:pt x="504" y="672"/>
                  </a:lnTo>
                  <a:lnTo>
                    <a:pt x="506" y="672"/>
                  </a:lnTo>
                  <a:lnTo>
                    <a:pt x="506" y="676"/>
                  </a:lnTo>
                  <a:lnTo>
                    <a:pt x="510" y="676"/>
                  </a:lnTo>
                  <a:lnTo>
                    <a:pt x="506" y="676"/>
                  </a:lnTo>
                  <a:lnTo>
                    <a:pt x="506" y="676"/>
                  </a:lnTo>
                  <a:lnTo>
                    <a:pt x="506" y="676"/>
                  </a:lnTo>
                  <a:close/>
                  <a:moveTo>
                    <a:pt x="500" y="682"/>
                  </a:moveTo>
                  <a:lnTo>
                    <a:pt x="496" y="682"/>
                  </a:lnTo>
                  <a:lnTo>
                    <a:pt x="500" y="682"/>
                  </a:lnTo>
                  <a:lnTo>
                    <a:pt x="500" y="682"/>
                  </a:lnTo>
                  <a:lnTo>
                    <a:pt x="500" y="682"/>
                  </a:lnTo>
                  <a:close/>
                  <a:moveTo>
                    <a:pt x="510" y="694"/>
                  </a:moveTo>
                  <a:lnTo>
                    <a:pt x="510" y="690"/>
                  </a:lnTo>
                  <a:lnTo>
                    <a:pt x="506" y="690"/>
                  </a:lnTo>
                  <a:lnTo>
                    <a:pt x="506" y="694"/>
                  </a:lnTo>
                  <a:lnTo>
                    <a:pt x="506" y="690"/>
                  </a:lnTo>
                  <a:lnTo>
                    <a:pt x="506" y="686"/>
                  </a:lnTo>
                  <a:lnTo>
                    <a:pt x="510" y="690"/>
                  </a:lnTo>
                  <a:lnTo>
                    <a:pt x="514" y="690"/>
                  </a:lnTo>
                  <a:lnTo>
                    <a:pt x="510" y="690"/>
                  </a:lnTo>
                  <a:lnTo>
                    <a:pt x="506" y="686"/>
                  </a:lnTo>
                  <a:lnTo>
                    <a:pt x="510" y="686"/>
                  </a:lnTo>
                  <a:lnTo>
                    <a:pt x="514" y="686"/>
                  </a:lnTo>
                  <a:lnTo>
                    <a:pt x="510" y="686"/>
                  </a:lnTo>
                  <a:lnTo>
                    <a:pt x="514" y="686"/>
                  </a:lnTo>
                  <a:lnTo>
                    <a:pt x="514" y="690"/>
                  </a:lnTo>
                  <a:lnTo>
                    <a:pt x="518" y="690"/>
                  </a:lnTo>
                  <a:lnTo>
                    <a:pt x="518" y="686"/>
                  </a:lnTo>
                  <a:lnTo>
                    <a:pt x="518" y="690"/>
                  </a:lnTo>
                  <a:lnTo>
                    <a:pt x="522" y="686"/>
                  </a:lnTo>
                  <a:lnTo>
                    <a:pt x="522" y="690"/>
                  </a:lnTo>
                  <a:lnTo>
                    <a:pt x="522" y="694"/>
                  </a:lnTo>
                  <a:lnTo>
                    <a:pt x="522" y="690"/>
                  </a:lnTo>
                  <a:lnTo>
                    <a:pt x="526" y="690"/>
                  </a:lnTo>
                  <a:lnTo>
                    <a:pt x="526" y="694"/>
                  </a:lnTo>
                  <a:lnTo>
                    <a:pt x="522" y="694"/>
                  </a:lnTo>
                  <a:lnTo>
                    <a:pt x="522" y="698"/>
                  </a:lnTo>
                  <a:lnTo>
                    <a:pt x="526" y="698"/>
                  </a:lnTo>
                  <a:lnTo>
                    <a:pt x="522" y="698"/>
                  </a:lnTo>
                  <a:lnTo>
                    <a:pt x="522" y="702"/>
                  </a:lnTo>
                  <a:lnTo>
                    <a:pt x="518" y="698"/>
                  </a:lnTo>
                  <a:lnTo>
                    <a:pt x="518" y="702"/>
                  </a:lnTo>
                  <a:lnTo>
                    <a:pt x="514" y="702"/>
                  </a:lnTo>
                  <a:lnTo>
                    <a:pt x="514" y="698"/>
                  </a:lnTo>
                  <a:lnTo>
                    <a:pt x="518" y="698"/>
                  </a:lnTo>
                  <a:lnTo>
                    <a:pt x="518" y="694"/>
                  </a:lnTo>
                  <a:lnTo>
                    <a:pt x="514" y="694"/>
                  </a:lnTo>
                  <a:lnTo>
                    <a:pt x="514" y="698"/>
                  </a:lnTo>
                  <a:lnTo>
                    <a:pt x="510" y="698"/>
                  </a:lnTo>
                  <a:lnTo>
                    <a:pt x="510" y="694"/>
                  </a:lnTo>
                  <a:lnTo>
                    <a:pt x="510" y="694"/>
                  </a:lnTo>
                  <a:lnTo>
                    <a:pt x="510" y="694"/>
                  </a:lnTo>
                  <a:close/>
                  <a:moveTo>
                    <a:pt x="504" y="690"/>
                  </a:moveTo>
                  <a:lnTo>
                    <a:pt x="504" y="686"/>
                  </a:lnTo>
                  <a:lnTo>
                    <a:pt x="504" y="690"/>
                  </a:lnTo>
                  <a:lnTo>
                    <a:pt x="504" y="690"/>
                  </a:lnTo>
                  <a:lnTo>
                    <a:pt x="504" y="690"/>
                  </a:lnTo>
                  <a:close/>
                  <a:moveTo>
                    <a:pt x="548" y="702"/>
                  </a:moveTo>
                  <a:lnTo>
                    <a:pt x="544" y="702"/>
                  </a:lnTo>
                  <a:lnTo>
                    <a:pt x="544" y="698"/>
                  </a:lnTo>
                  <a:lnTo>
                    <a:pt x="544" y="694"/>
                  </a:lnTo>
                  <a:lnTo>
                    <a:pt x="548" y="694"/>
                  </a:lnTo>
                  <a:lnTo>
                    <a:pt x="548" y="690"/>
                  </a:lnTo>
                  <a:lnTo>
                    <a:pt x="548" y="686"/>
                  </a:lnTo>
                  <a:lnTo>
                    <a:pt x="552" y="686"/>
                  </a:lnTo>
                  <a:lnTo>
                    <a:pt x="552" y="690"/>
                  </a:lnTo>
                  <a:lnTo>
                    <a:pt x="548" y="690"/>
                  </a:lnTo>
                  <a:lnTo>
                    <a:pt x="552" y="694"/>
                  </a:lnTo>
                  <a:lnTo>
                    <a:pt x="552" y="698"/>
                  </a:lnTo>
                  <a:lnTo>
                    <a:pt x="548" y="698"/>
                  </a:lnTo>
                  <a:lnTo>
                    <a:pt x="548" y="694"/>
                  </a:lnTo>
                  <a:lnTo>
                    <a:pt x="548" y="698"/>
                  </a:lnTo>
                  <a:lnTo>
                    <a:pt x="548" y="702"/>
                  </a:lnTo>
                  <a:lnTo>
                    <a:pt x="548" y="702"/>
                  </a:lnTo>
                  <a:lnTo>
                    <a:pt x="548" y="702"/>
                  </a:lnTo>
                  <a:close/>
                  <a:moveTo>
                    <a:pt x="532" y="698"/>
                  </a:moveTo>
                  <a:lnTo>
                    <a:pt x="532" y="702"/>
                  </a:lnTo>
                  <a:lnTo>
                    <a:pt x="530" y="702"/>
                  </a:lnTo>
                  <a:lnTo>
                    <a:pt x="530" y="698"/>
                  </a:lnTo>
                  <a:lnTo>
                    <a:pt x="530" y="702"/>
                  </a:lnTo>
                  <a:lnTo>
                    <a:pt x="532" y="702"/>
                  </a:lnTo>
                  <a:lnTo>
                    <a:pt x="530" y="706"/>
                  </a:lnTo>
                  <a:lnTo>
                    <a:pt x="530" y="702"/>
                  </a:lnTo>
                  <a:lnTo>
                    <a:pt x="526" y="702"/>
                  </a:lnTo>
                  <a:lnTo>
                    <a:pt x="526" y="698"/>
                  </a:lnTo>
                  <a:lnTo>
                    <a:pt x="530" y="698"/>
                  </a:lnTo>
                  <a:lnTo>
                    <a:pt x="530" y="694"/>
                  </a:lnTo>
                  <a:lnTo>
                    <a:pt x="532" y="694"/>
                  </a:lnTo>
                  <a:lnTo>
                    <a:pt x="532" y="698"/>
                  </a:lnTo>
                  <a:lnTo>
                    <a:pt x="532" y="698"/>
                  </a:lnTo>
                  <a:lnTo>
                    <a:pt x="532" y="698"/>
                  </a:lnTo>
                  <a:close/>
                  <a:moveTo>
                    <a:pt x="536" y="698"/>
                  </a:moveTo>
                  <a:lnTo>
                    <a:pt x="540" y="698"/>
                  </a:lnTo>
                  <a:lnTo>
                    <a:pt x="544" y="702"/>
                  </a:lnTo>
                  <a:lnTo>
                    <a:pt x="544" y="706"/>
                  </a:lnTo>
                  <a:lnTo>
                    <a:pt x="540" y="706"/>
                  </a:lnTo>
                  <a:lnTo>
                    <a:pt x="536" y="706"/>
                  </a:lnTo>
                  <a:lnTo>
                    <a:pt x="536" y="702"/>
                  </a:lnTo>
                  <a:lnTo>
                    <a:pt x="532" y="702"/>
                  </a:lnTo>
                  <a:lnTo>
                    <a:pt x="532" y="698"/>
                  </a:lnTo>
                  <a:lnTo>
                    <a:pt x="536" y="698"/>
                  </a:lnTo>
                  <a:lnTo>
                    <a:pt x="536" y="698"/>
                  </a:lnTo>
                  <a:lnTo>
                    <a:pt x="536" y="698"/>
                  </a:lnTo>
                  <a:close/>
                  <a:moveTo>
                    <a:pt x="510" y="702"/>
                  </a:moveTo>
                  <a:lnTo>
                    <a:pt x="506" y="698"/>
                  </a:lnTo>
                  <a:lnTo>
                    <a:pt x="510" y="698"/>
                  </a:lnTo>
                  <a:lnTo>
                    <a:pt x="510" y="702"/>
                  </a:lnTo>
                  <a:lnTo>
                    <a:pt x="510" y="702"/>
                  </a:lnTo>
                  <a:lnTo>
                    <a:pt x="510" y="702"/>
                  </a:lnTo>
                  <a:close/>
                  <a:moveTo>
                    <a:pt x="552" y="702"/>
                  </a:moveTo>
                  <a:lnTo>
                    <a:pt x="548" y="698"/>
                  </a:lnTo>
                  <a:lnTo>
                    <a:pt x="552" y="698"/>
                  </a:lnTo>
                  <a:lnTo>
                    <a:pt x="552" y="702"/>
                  </a:lnTo>
                  <a:lnTo>
                    <a:pt x="552" y="702"/>
                  </a:lnTo>
                  <a:lnTo>
                    <a:pt x="552" y="702"/>
                  </a:lnTo>
                  <a:close/>
                  <a:moveTo>
                    <a:pt x="526" y="698"/>
                  </a:moveTo>
                  <a:lnTo>
                    <a:pt x="526" y="702"/>
                  </a:lnTo>
                  <a:lnTo>
                    <a:pt x="522" y="702"/>
                  </a:lnTo>
                  <a:lnTo>
                    <a:pt x="522" y="698"/>
                  </a:lnTo>
                  <a:lnTo>
                    <a:pt x="526" y="698"/>
                  </a:lnTo>
                  <a:lnTo>
                    <a:pt x="526" y="698"/>
                  </a:lnTo>
                  <a:lnTo>
                    <a:pt x="526" y="698"/>
                  </a:lnTo>
                  <a:close/>
                  <a:moveTo>
                    <a:pt x="522" y="706"/>
                  </a:moveTo>
                  <a:lnTo>
                    <a:pt x="526" y="706"/>
                  </a:lnTo>
                  <a:lnTo>
                    <a:pt x="522" y="706"/>
                  </a:lnTo>
                  <a:lnTo>
                    <a:pt x="522" y="706"/>
                  </a:lnTo>
                  <a:lnTo>
                    <a:pt x="522" y="706"/>
                  </a:lnTo>
                  <a:close/>
                  <a:moveTo>
                    <a:pt x="540" y="716"/>
                  </a:moveTo>
                  <a:lnTo>
                    <a:pt x="536" y="716"/>
                  </a:lnTo>
                  <a:lnTo>
                    <a:pt x="540" y="716"/>
                  </a:lnTo>
                  <a:lnTo>
                    <a:pt x="544" y="716"/>
                  </a:lnTo>
                  <a:lnTo>
                    <a:pt x="540" y="716"/>
                  </a:lnTo>
                  <a:lnTo>
                    <a:pt x="540" y="716"/>
                  </a:lnTo>
                  <a:lnTo>
                    <a:pt x="540" y="716"/>
                  </a:lnTo>
                  <a:close/>
                  <a:moveTo>
                    <a:pt x="552" y="716"/>
                  </a:moveTo>
                  <a:lnTo>
                    <a:pt x="548" y="716"/>
                  </a:lnTo>
                  <a:lnTo>
                    <a:pt x="552" y="716"/>
                  </a:lnTo>
                  <a:lnTo>
                    <a:pt x="552" y="716"/>
                  </a:lnTo>
                  <a:lnTo>
                    <a:pt x="552" y="716"/>
                  </a:lnTo>
                  <a:close/>
                  <a:moveTo>
                    <a:pt x="560" y="720"/>
                  </a:moveTo>
                  <a:lnTo>
                    <a:pt x="560" y="716"/>
                  </a:lnTo>
                  <a:lnTo>
                    <a:pt x="562" y="716"/>
                  </a:lnTo>
                  <a:lnTo>
                    <a:pt x="566" y="716"/>
                  </a:lnTo>
                  <a:lnTo>
                    <a:pt x="570" y="720"/>
                  </a:lnTo>
                  <a:lnTo>
                    <a:pt x="566" y="720"/>
                  </a:lnTo>
                  <a:lnTo>
                    <a:pt x="562" y="720"/>
                  </a:lnTo>
                  <a:lnTo>
                    <a:pt x="560" y="720"/>
                  </a:lnTo>
                  <a:lnTo>
                    <a:pt x="560" y="720"/>
                  </a:lnTo>
                  <a:lnTo>
                    <a:pt x="560" y="720"/>
                  </a:lnTo>
                  <a:close/>
                  <a:moveTo>
                    <a:pt x="552" y="716"/>
                  </a:moveTo>
                  <a:lnTo>
                    <a:pt x="548" y="716"/>
                  </a:lnTo>
                  <a:lnTo>
                    <a:pt x="548" y="720"/>
                  </a:lnTo>
                  <a:lnTo>
                    <a:pt x="552" y="720"/>
                  </a:lnTo>
                  <a:lnTo>
                    <a:pt x="552" y="724"/>
                  </a:lnTo>
                  <a:lnTo>
                    <a:pt x="552" y="720"/>
                  </a:lnTo>
                  <a:lnTo>
                    <a:pt x="552" y="724"/>
                  </a:lnTo>
                  <a:lnTo>
                    <a:pt x="548" y="724"/>
                  </a:lnTo>
                  <a:lnTo>
                    <a:pt x="548" y="720"/>
                  </a:lnTo>
                  <a:lnTo>
                    <a:pt x="548" y="724"/>
                  </a:lnTo>
                  <a:lnTo>
                    <a:pt x="548" y="720"/>
                  </a:lnTo>
                  <a:lnTo>
                    <a:pt x="544" y="720"/>
                  </a:lnTo>
                  <a:lnTo>
                    <a:pt x="544" y="716"/>
                  </a:lnTo>
                  <a:lnTo>
                    <a:pt x="548" y="720"/>
                  </a:lnTo>
                  <a:lnTo>
                    <a:pt x="548" y="716"/>
                  </a:lnTo>
                  <a:lnTo>
                    <a:pt x="552" y="716"/>
                  </a:lnTo>
                  <a:lnTo>
                    <a:pt x="552" y="716"/>
                  </a:lnTo>
                  <a:lnTo>
                    <a:pt x="552" y="716"/>
                  </a:lnTo>
                  <a:close/>
                  <a:moveTo>
                    <a:pt x="586" y="716"/>
                  </a:moveTo>
                  <a:lnTo>
                    <a:pt x="590" y="716"/>
                  </a:lnTo>
                  <a:lnTo>
                    <a:pt x="592" y="716"/>
                  </a:lnTo>
                  <a:lnTo>
                    <a:pt x="596" y="716"/>
                  </a:lnTo>
                  <a:lnTo>
                    <a:pt x="596" y="720"/>
                  </a:lnTo>
                  <a:lnTo>
                    <a:pt x="600" y="720"/>
                  </a:lnTo>
                  <a:lnTo>
                    <a:pt x="600" y="724"/>
                  </a:lnTo>
                  <a:lnTo>
                    <a:pt x="596" y="724"/>
                  </a:lnTo>
                  <a:lnTo>
                    <a:pt x="596" y="728"/>
                  </a:lnTo>
                  <a:lnTo>
                    <a:pt x="592" y="724"/>
                  </a:lnTo>
                  <a:lnTo>
                    <a:pt x="590" y="724"/>
                  </a:lnTo>
                  <a:lnTo>
                    <a:pt x="586" y="724"/>
                  </a:lnTo>
                  <a:lnTo>
                    <a:pt x="590" y="724"/>
                  </a:lnTo>
                  <a:lnTo>
                    <a:pt x="586" y="724"/>
                  </a:lnTo>
                  <a:lnTo>
                    <a:pt x="582" y="724"/>
                  </a:lnTo>
                  <a:lnTo>
                    <a:pt x="582" y="720"/>
                  </a:lnTo>
                  <a:lnTo>
                    <a:pt x="582" y="716"/>
                  </a:lnTo>
                  <a:lnTo>
                    <a:pt x="586" y="716"/>
                  </a:lnTo>
                  <a:lnTo>
                    <a:pt x="586" y="716"/>
                  </a:lnTo>
                  <a:lnTo>
                    <a:pt x="586" y="716"/>
                  </a:lnTo>
                  <a:close/>
                  <a:moveTo>
                    <a:pt x="556" y="720"/>
                  </a:moveTo>
                  <a:lnTo>
                    <a:pt x="556" y="716"/>
                  </a:lnTo>
                  <a:lnTo>
                    <a:pt x="556" y="720"/>
                  </a:lnTo>
                  <a:lnTo>
                    <a:pt x="556" y="720"/>
                  </a:lnTo>
                  <a:lnTo>
                    <a:pt x="556" y="720"/>
                  </a:lnTo>
                  <a:close/>
                  <a:moveTo>
                    <a:pt x="586" y="736"/>
                  </a:moveTo>
                  <a:lnTo>
                    <a:pt x="582" y="736"/>
                  </a:lnTo>
                  <a:lnTo>
                    <a:pt x="582" y="732"/>
                  </a:lnTo>
                  <a:lnTo>
                    <a:pt x="578" y="732"/>
                  </a:lnTo>
                  <a:lnTo>
                    <a:pt x="578" y="728"/>
                  </a:lnTo>
                  <a:lnTo>
                    <a:pt x="574" y="728"/>
                  </a:lnTo>
                  <a:lnTo>
                    <a:pt x="574" y="732"/>
                  </a:lnTo>
                  <a:lnTo>
                    <a:pt x="570" y="728"/>
                  </a:lnTo>
                  <a:lnTo>
                    <a:pt x="574" y="728"/>
                  </a:lnTo>
                  <a:lnTo>
                    <a:pt x="570" y="728"/>
                  </a:lnTo>
                  <a:lnTo>
                    <a:pt x="574" y="724"/>
                  </a:lnTo>
                  <a:lnTo>
                    <a:pt x="570" y="724"/>
                  </a:lnTo>
                  <a:lnTo>
                    <a:pt x="566" y="724"/>
                  </a:lnTo>
                  <a:lnTo>
                    <a:pt x="566" y="728"/>
                  </a:lnTo>
                  <a:lnTo>
                    <a:pt x="570" y="728"/>
                  </a:lnTo>
                  <a:lnTo>
                    <a:pt x="570" y="732"/>
                  </a:lnTo>
                  <a:lnTo>
                    <a:pt x="566" y="732"/>
                  </a:lnTo>
                  <a:lnTo>
                    <a:pt x="562" y="728"/>
                  </a:lnTo>
                  <a:lnTo>
                    <a:pt x="566" y="728"/>
                  </a:lnTo>
                  <a:lnTo>
                    <a:pt x="562" y="728"/>
                  </a:lnTo>
                  <a:lnTo>
                    <a:pt x="560" y="728"/>
                  </a:lnTo>
                  <a:lnTo>
                    <a:pt x="562" y="724"/>
                  </a:lnTo>
                  <a:lnTo>
                    <a:pt x="560" y="724"/>
                  </a:lnTo>
                  <a:lnTo>
                    <a:pt x="556" y="724"/>
                  </a:lnTo>
                  <a:lnTo>
                    <a:pt x="560" y="720"/>
                  </a:lnTo>
                  <a:lnTo>
                    <a:pt x="562" y="720"/>
                  </a:lnTo>
                  <a:lnTo>
                    <a:pt x="566" y="720"/>
                  </a:lnTo>
                  <a:lnTo>
                    <a:pt x="570" y="720"/>
                  </a:lnTo>
                  <a:lnTo>
                    <a:pt x="574" y="720"/>
                  </a:lnTo>
                  <a:lnTo>
                    <a:pt x="574" y="716"/>
                  </a:lnTo>
                  <a:lnTo>
                    <a:pt x="578" y="716"/>
                  </a:lnTo>
                  <a:lnTo>
                    <a:pt x="582" y="720"/>
                  </a:lnTo>
                  <a:lnTo>
                    <a:pt x="578" y="724"/>
                  </a:lnTo>
                  <a:lnTo>
                    <a:pt x="574" y="724"/>
                  </a:lnTo>
                  <a:lnTo>
                    <a:pt x="574" y="720"/>
                  </a:lnTo>
                  <a:lnTo>
                    <a:pt x="570" y="720"/>
                  </a:lnTo>
                  <a:lnTo>
                    <a:pt x="574" y="724"/>
                  </a:lnTo>
                  <a:lnTo>
                    <a:pt x="578" y="724"/>
                  </a:lnTo>
                  <a:lnTo>
                    <a:pt x="582" y="724"/>
                  </a:lnTo>
                  <a:lnTo>
                    <a:pt x="578" y="728"/>
                  </a:lnTo>
                  <a:lnTo>
                    <a:pt x="578" y="724"/>
                  </a:lnTo>
                  <a:lnTo>
                    <a:pt x="574" y="724"/>
                  </a:lnTo>
                  <a:lnTo>
                    <a:pt x="578" y="728"/>
                  </a:lnTo>
                  <a:lnTo>
                    <a:pt x="582" y="728"/>
                  </a:lnTo>
                  <a:lnTo>
                    <a:pt x="582" y="732"/>
                  </a:lnTo>
                  <a:lnTo>
                    <a:pt x="586" y="728"/>
                  </a:lnTo>
                  <a:lnTo>
                    <a:pt x="586" y="732"/>
                  </a:lnTo>
                  <a:lnTo>
                    <a:pt x="586" y="736"/>
                  </a:lnTo>
                  <a:lnTo>
                    <a:pt x="586" y="736"/>
                  </a:lnTo>
                  <a:lnTo>
                    <a:pt x="586" y="736"/>
                  </a:lnTo>
                  <a:close/>
                  <a:moveTo>
                    <a:pt x="600" y="720"/>
                  </a:moveTo>
                  <a:lnTo>
                    <a:pt x="596" y="720"/>
                  </a:lnTo>
                  <a:lnTo>
                    <a:pt x="600" y="720"/>
                  </a:lnTo>
                  <a:lnTo>
                    <a:pt x="600" y="720"/>
                  </a:lnTo>
                  <a:lnTo>
                    <a:pt x="600" y="720"/>
                  </a:lnTo>
                  <a:close/>
                  <a:moveTo>
                    <a:pt x="604" y="724"/>
                  </a:moveTo>
                  <a:lnTo>
                    <a:pt x="608" y="724"/>
                  </a:lnTo>
                  <a:lnTo>
                    <a:pt x="604" y="724"/>
                  </a:lnTo>
                  <a:lnTo>
                    <a:pt x="604" y="724"/>
                  </a:lnTo>
                  <a:lnTo>
                    <a:pt x="604" y="724"/>
                  </a:lnTo>
                  <a:close/>
                  <a:moveTo>
                    <a:pt x="600" y="724"/>
                  </a:moveTo>
                  <a:lnTo>
                    <a:pt x="600" y="728"/>
                  </a:lnTo>
                  <a:lnTo>
                    <a:pt x="596" y="724"/>
                  </a:lnTo>
                  <a:lnTo>
                    <a:pt x="600" y="724"/>
                  </a:lnTo>
                  <a:lnTo>
                    <a:pt x="600" y="724"/>
                  </a:lnTo>
                  <a:lnTo>
                    <a:pt x="600" y="724"/>
                  </a:lnTo>
                  <a:close/>
                  <a:moveTo>
                    <a:pt x="590" y="732"/>
                  </a:moveTo>
                  <a:lnTo>
                    <a:pt x="592" y="732"/>
                  </a:lnTo>
                  <a:lnTo>
                    <a:pt x="590" y="732"/>
                  </a:lnTo>
                  <a:lnTo>
                    <a:pt x="590" y="732"/>
                  </a:lnTo>
                  <a:lnTo>
                    <a:pt x="590" y="732"/>
                  </a:lnTo>
                  <a:close/>
                  <a:moveTo>
                    <a:pt x="592" y="736"/>
                  </a:moveTo>
                  <a:lnTo>
                    <a:pt x="592" y="732"/>
                  </a:lnTo>
                  <a:lnTo>
                    <a:pt x="596" y="736"/>
                  </a:lnTo>
                  <a:lnTo>
                    <a:pt x="592" y="736"/>
                  </a:lnTo>
                  <a:lnTo>
                    <a:pt x="592" y="736"/>
                  </a:lnTo>
                  <a:lnTo>
                    <a:pt x="592" y="736"/>
                  </a:lnTo>
                  <a:close/>
                  <a:moveTo>
                    <a:pt x="590" y="738"/>
                  </a:moveTo>
                  <a:lnTo>
                    <a:pt x="592" y="738"/>
                  </a:lnTo>
                  <a:lnTo>
                    <a:pt x="592" y="736"/>
                  </a:lnTo>
                  <a:lnTo>
                    <a:pt x="592" y="738"/>
                  </a:lnTo>
                  <a:lnTo>
                    <a:pt x="590" y="738"/>
                  </a:lnTo>
                  <a:lnTo>
                    <a:pt x="590" y="738"/>
                  </a:lnTo>
                  <a:lnTo>
                    <a:pt x="590" y="738"/>
                  </a:lnTo>
                  <a:close/>
                  <a:moveTo>
                    <a:pt x="596" y="738"/>
                  </a:moveTo>
                  <a:lnTo>
                    <a:pt x="592" y="738"/>
                  </a:lnTo>
                  <a:lnTo>
                    <a:pt x="596" y="738"/>
                  </a:lnTo>
                  <a:lnTo>
                    <a:pt x="596" y="738"/>
                  </a:lnTo>
                  <a:lnTo>
                    <a:pt x="596" y="73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52" name="Freeform 192">
              <a:extLst>
                <a:ext uri="{FF2B5EF4-FFF2-40B4-BE49-F238E27FC236}">
                  <a16:creationId xmlns:a16="http://schemas.microsoft.com/office/drawing/2014/main" id="{E3BC9941-A72D-4519-04BC-9D16415552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77880" y="4220161"/>
              <a:ext cx="413023" cy="328078"/>
            </a:xfrm>
            <a:custGeom>
              <a:avLst/>
              <a:gdLst>
                <a:gd name="T0" fmla="*/ 88 w 212"/>
                <a:gd name="T1" fmla="*/ 6 h 174"/>
                <a:gd name="T2" fmla="*/ 78 w 212"/>
                <a:gd name="T3" fmla="*/ 14 h 174"/>
                <a:gd name="T4" fmla="*/ 134 w 212"/>
                <a:gd name="T5" fmla="*/ 22 h 174"/>
                <a:gd name="T6" fmla="*/ 134 w 212"/>
                <a:gd name="T7" fmla="*/ 22 h 174"/>
                <a:gd name="T8" fmla="*/ 166 w 212"/>
                <a:gd name="T9" fmla="*/ 58 h 174"/>
                <a:gd name="T10" fmla="*/ 156 w 212"/>
                <a:gd name="T11" fmla="*/ 32 h 174"/>
                <a:gd name="T12" fmla="*/ 138 w 212"/>
                <a:gd name="T13" fmla="*/ 22 h 174"/>
                <a:gd name="T14" fmla="*/ 152 w 212"/>
                <a:gd name="T15" fmla="*/ 28 h 174"/>
                <a:gd name="T16" fmla="*/ 164 w 212"/>
                <a:gd name="T17" fmla="*/ 40 h 174"/>
                <a:gd name="T18" fmla="*/ 58 w 212"/>
                <a:gd name="T19" fmla="*/ 110 h 174"/>
                <a:gd name="T20" fmla="*/ 48 w 212"/>
                <a:gd name="T21" fmla="*/ 106 h 174"/>
                <a:gd name="T22" fmla="*/ 40 w 212"/>
                <a:gd name="T23" fmla="*/ 110 h 174"/>
                <a:gd name="T24" fmla="*/ 26 w 212"/>
                <a:gd name="T25" fmla="*/ 114 h 174"/>
                <a:gd name="T26" fmla="*/ 22 w 212"/>
                <a:gd name="T27" fmla="*/ 118 h 174"/>
                <a:gd name="T28" fmla="*/ 26 w 212"/>
                <a:gd name="T29" fmla="*/ 132 h 174"/>
                <a:gd name="T30" fmla="*/ 0 w 212"/>
                <a:gd name="T31" fmla="*/ 132 h 174"/>
                <a:gd name="T32" fmla="*/ 4 w 212"/>
                <a:gd name="T33" fmla="*/ 18 h 174"/>
                <a:gd name="T34" fmla="*/ 26 w 212"/>
                <a:gd name="T35" fmla="*/ 32 h 174"/>
                <a:gd name="T36" fmla="*/ 48 w 212"/>
                <a:gd name="T37" fmla="*/ 40 h 174"/>
                <a:gd name="T38" fmla="*/ 66 w 212"/>
                <a:gd name="T39" fmla="*/ 54 h 174"/>
                <a:gd name="T40" fmla="*/ 78 w 212"/>
                <a:gd name="T41" fmla="*/ 72 h 174"/>
                <a:gd name="T42" fmla="*/ 96 w 212"/>
                <a:gd name="T43" fmla="*/ 84 h 174"/>
                <a:gd name="T44" fmla="*/ 88 w 212"/>
                <a:gd name="T45" fmla="*/ 102 h 174"/>
                <a:gd name="T46" fmla="*/ 100 w 212"/>
                <a:gd name="T47" fmla="*/ 118 h 174"/>
                <a:gd name="T48" fmla="*/ 118 w 212"/>
                <a:gd name="T49" fmla="*/ 128 h 174"/>
                <a:gd name="T50" fmla="*/ 122 w 212"/>
                <a:gd name="T51" fmla="*/ 140 h 174"/>
                <a:gd name="T52" fmla="*/ 140 w 212"/>
                <a:gd name="T53" fmla="*/ 148 h 174"/>
                <a:gd name="T54" fmla="*/ 130 w 212"/>
                <a:gd name="T55" fmla="*/ 158 h 174"/>
                <a:gd name="T56" fmla="*/ 114 w 212"/>
                <a:gd name="T57" fmla="*/ 152 h 174"/>
                <a:gd name="T58" fmla="*/ 88 w 212"/>
                <a:gd name="T59" fmla="*/ 140 h 174"/>
                <a:gd name="T60" fmla="*/ 78 w 212"/>
                <a:gd name="T61" fmla="*/ 128 h 174"/>
                <a:gd name="T62" fmla="*/ 138 w 212"/>
                <a:gd name="T63" fmla="*/ 26 h 174"/>
                <a:gd name="T64" fmla="*/ 114 w 212"/>
                <a:gd name="T65" fmla="*/ 70 h 174"/>
                <a:gd name="T66" fmla="*/ 126 w 212"/>
                <a:gd name="T67" fmla="*/ 62 h 174"/>
                <a:gd name="T68" fmla="*/ 140 w 212"/>
                <a:gd name="T69" fmla="*/ 66 h 174"/>
                <a:gd name="T70" fmla="*/ 152 w 212"/>
                <a:gd name="T71" fmla="*/ 46 h 174"/>
                <a:gd name="T72" fmla="*/ 156 w 212"/>
                <a:gd name="T73" fmla="*/ 58 h 174"/>
                <a:gd name="T74" fmla="*/ 144 w 212"/>
                <a:gd name="T75" fmla="*/ 76 h 174"/>
                <a:gd name="T76" fmla="*/ 118 w 212"/>
                <a:gd name="T77" fmla="*/ 80 h 174"/>
                <a:gd name="T78" fmla="*/ 104 w 212"/>
                <a:gd name="T79" fmla="*/ 70 h 174"/>
                <a:gd name="T80" fmla="*/ 70 w 212"/>
                <a:gd name="T81" fmla="*/ 54 h 174"/>
                <a:gd name="T82" fmla="*/ 194 w 212"/>
                <a:gd name="T83" fmla="*/ 62 h 174"/>
                <a:gd name="T84" fmla="*/ 84 w 212"/>
                <a:gd name="T85" fmla="*/ 62 h 174"/>
                <a:gd name="T86" fmla="*/ 208 w 212"/>
                <a:gd name="T87" fmla="*/ 84 h 174"/>
                <a:gd name="T88" fmla="*/ 200 w 212"/>
                <a:gd name="T89" fmla="*/ 80 h 174"/>
                <a:gd name="T90" fmla="*/ 204 w 212"/>
                <a:gd name="T91" fmla="*/ 76 h 174"/>
                <a:gd name="T92" fmla="*/ 100 w 212"/>
                <a:gd name="T93" fmla="*/ 72 h 174"/>
                <a:gd name="T94" fmla="*/ 36 w 212"/>
                <a:gd name="T95" fmla="*/ 122 h 174"/>
                <a:gd name="T96" fmla="*/ 36 w 212"/>
                <a:gd name="T97" fmla="*/ 126 h 174"/>
                <a:gd name="T98" fmla="*/ 144 w 212"/>
                <a:gd name="T99" fmla="*/ 126 h 174"/>
                <a:gd name="T100" fmla="*/ 166 w 212"/>
                <a:gd name="T101" fmla="*/ 132 h 174"/>
                <a:gd name="T102" fmla="*/ 34 w 212"/>
                <a:gd name="T103" fmla="*/ 128 h 174"/>
                <a:gd name="T104" fmla="*/ 134 w 212"/>
                <a:gd name="T105" fmla="*/ 140 h 174"/>
                <a:gd name="T106" fmla="*/ 138 w 212"/>
                <a:gd name="T107" fmla="*/ 140 h 174"/>
                <a:gd name="T108" fmla="*/ 140 w 212"/>
                <a:gd name="T109" fmla="*/ 148 h 174"/>
                <a:gd name="T110" fmla="*/ 140 w 212"/>
                <a:gd name="T111" fmla="*/ 156 h 174"/>
                <a:gd name="T112" fmla="*/ 166 w 212"/>
                <a:gd name="T113" fmla="*/ 158 h 174"/>
                <a:gd name="T114" fmla="*/ 186 w 212"/>
                <a:gd name="T115" fmla="*/ 170 h 174"/>
                <a:gd name="T116" fmla="*/ 178 w 212"/>
                <a:gd name="T117" fmla="*/ 17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2" h="174">
                  <a:moveTo>
                    <a:pt x="122" y="2"/>
                  </a:moveTo>
                  <a:lnTo>
                    <a:pt x="122" y="0"/>
                  </a:lnTo>
                  <a:lnTo>
                    <a:pt x="118" y="0"/>
                  </a:lnTo>
                  <a:lnTo>
                    <a:pt x="122" y="0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22" y="2"/>
                  </a:lnTo>
                  <a:close/>
                  <a:moveTo>
                    <a:pt x="88" y="6"/>
                  </a:moveTo>
                  <a:lnTo>
                    <a:pt x="88" y="10"/>
                  </a:lnTo>
                  <a:lnTo>
                    <a:pt x="92" y="10"/>
                  </a:lnTo>
                  <a:lnTo>
                    <a:pt x="88" y="10"/>
                  </a:lnTo>
                  <a:lnTo>
                    <a:pt x="88" y="14"/>
                  </a:lnTo>
                  <a:lnTo>
                    <a:pt x="84" y="14"/>
                  </a:lnTo>
                  <a:lnTo>
                    <a:pt x="80" y="14"/>
                  </a:lnTo>
                  <a:lnTo>
                    <a:pt x="80" y="10"/>
                  </a:lnTo>
                  <a:lnTo>
                    <a:pt x="78" y="14"/>
                  </a:lnTo>
                  <a:lnTo>
                    <a:pt x="78" y="10"/>
                  </a:lnTo>
                  <a:lnTo>
                    <a:pt x="80" y="6"/>
                  </a:lnTo>
                  <a:lnTo>
                    <a:pt x="84" y="10"/>
                  </a:lnTo>
                  <a:lnTo>
                    <a:pt x="88" y="10"/>
                  </a:lnTo>
                  <a:lnTo>
                    <a:pt x="88" y="6"/>
                  </a:lnTo>
                  <a:lnTo>
                    <a:pt x="88" y="6"/>
                  </a:lnTo>
                  <a:lnTo>
                    <a:pt x="88" y="6"/>
                  </a:lnTo>
                  <a:close/>
                  <a:moveTo>
                    <a:pt x="134" y="22"/>
                  </a:moveTo>
                  <a:lnTo>
                    <a:pt x="130" y="22"/>
                  </a:lnTo>
                  <a:lnTo>
                    <a:pt x="126" y="18"/>
                  </a:lnTo>
                  <a:lnTo>
                    <a:pt x="130" y="18"/>
                  </a:lnTo>
                  <a:lnTo>
                    <a:pt x="130" y="14"/>
                  </a:lnTo>
                  <a:lnTo>
                    <a:pt x="134" y="18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34" y="22"/>
                  </a:lnTo>
                  <a:close/>
                  <a:moveTo>
                    <a:pt x="164" y="40"/>
                  </a:moveTo>
                  <a:lnTo>
                    <a:pt x="166" y="40"/>
                  </a:lnTo>
                  <a:lnTo>
                    <a:pt x="166" y="44"/>
                  </a:lnTo>
                  <a:lnTo>
                    <a:pt x="170" y="44"/>
                  </a:lnTo>
                  <a:lnTo>
                    <a:pt x="170" y="46"/>
                  </a:lnTo>
                  <a:lnTo>
                    <a:pt x="170" y="50"/>
                  </a:lnTo>
                  <a:lnTo>
                    <a:pt x="170" y="54"/>
                  </a:lnTo>
                  <a:lnTo>
                    <a:pt x="166" y="58"/>
                  </a:lnTo>
                  <a:lnTo>
                    <a:pt x="166" y="54"/>
                  </a:lnTo>
                  <a:lnTo>
                    <a:pt x="164" y="50"/>
                  </a:lnTo>
                  <a:lnTo>
                    <a:pt x="164" y="46"/>
                  </a:lnTo>
                  <a:lnTo>
                    <a:pt x="164" y="44"/>
                  </a:lnTo>
                  <a:lnTo>
                    <a:pt x="164" y="40"/>
                  </a:lnTo>
                  <a:lnTo>
                    <a:pt x="160" y="40"/>
                  </a:lnTo>
                  <a:lnTo>
                    <a:pt x="160" y="36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52" y="28"/>
                  </a:lnTo>
                  <a:lnTo>
                    <a:pt x="148" y="28"/>
                  </a:lnTo>
                  <a:lnTo>
                    <a:pt x="148" y="26"/>
                  </a:lnTo>
                  <a:lnTo>
                    <a:pt x="144" y="26"/>
                  </a:lnTo>
                  <a:lnTo>
                    <a:pt x="140" y="26"/>
                  </a:lnTo>
                  <a:lnTo>
                    <a:pt x="140" y="22"/>
                  </a:lnTo>
                  <a:lnTo>
                    <a:pt x="138" y="22"/>
                  </a:lnTo>
                  <a:lnTo>
                    <a:pt x="140" y="22"/>
                  </a:lnTo>
                  <a:lnTo>
                    <a:pt x="138" y="22"/>
                  </a:lnTo>
                  <a:lnTo>
                    <a:pt x="138" y="18"/>
                  </a:lnTo>
                  <a:lnTo>
                    <a:pt x="140" y="22"/>
                  </a:lnTo>
                  <a:lnTo>
                    <a:pt x="144" y="22"/>
                  </a:lnTo>
                  <a:lnTo>
                    <a:pt x="144" y="26"/>
                  </a:lnTo>
                  <a:lnTo>
                    <a:pt x="148" y="26"/>
                  </a:lnTo>
                  <a:lnTo>
                    <a:pt x="152" y="28"/>
                  </a:lnTo>
                  <a:lnTo>
                    <a:pt x="156" y="28"/>
                  </a:lnTo>
                  <a:lnTo>
                    <a:pt x="156" y="32"/>
                  </a:lnTo>
                  <a:lnTo>
                    <a:pt x="160" y="32"/>
                  </a:lnTo>
                  <a:lnTo>
                    <a:pt x="160" y="36"/>
                  </a:lnTo>
                  <a:lnTo>
                    <a:pt x="164" y="36"/>
                  </a:lnTo>
                  <a:lnTo>
                    <a:pt x="164" y="40"/>
                  </a:lnTo>
                  <a:lnTo>
                    <a:pt x="164" y="40"/>
                  </a:lnTo>
                  <a:lnTo>
                    <a:pt x="164" y="40"/>
                  </a:lnTo>
                  <a:close/>
                  <a:moveTo>
                    <a:pt x="74" y="122"/>
                  </a:moveTo>
                  <a:lnTo>
                    <a:pt x="74" y="118"/>
                  </a:lnTo>
                  <a:lnTo>
                    <a:pt x="74" y="114"/>
                  </a:lnTo>
                  <a:lnTo>
                    <a:pt x="70" y="114"/>
                  </a:lnTo>
                  <a:lnTo>
                    <a:pt x="70" y="110"/>
                  </a:lnTo>
                  <a:lnTo>
                    <a:pt x="66" y="110"/>
                  </a:lnTo>
                  <a:lnTo>
                    <a:pt x="62" y="110"/>
                  </a:lnTo>
                  <a:lnTo>
                    <a:pt x="58" y="110"/>
                  </a:lnTo>
                  <a:lnTo>
                    <a:pt x="58" y="106"/>
                  </a:lnTo>
                  <a:lnTo>
                    <a:pt x="54" y="106"/>
                  </a:lnTo>
                  <a:lnTo>
                    <a:pt x="54" y="102"/>
                  </a:lnTo>
                  <a:lnTo>
                    <a:pt x="54" y="106"/>
                  </a:lnTo>
                  <a:lnTo>
                    <a:pt x="52" y="106"/>
                  </a:lnTo>
                  <a:lnTo>
                    <a:pt x="52" y="102"/>
                  </a:lnTo>
                  <a:lnTo>
                    <a:pt x="48" y="102"/>
                  </a:lnTo>
                  <a:lnTo>
                    <a:pt x="48" y="106"/>
                  </a:lnTo>
                  <a:lnTo>
                    <a:pt x="48" y="102"/>
                  </a:lnTo>
                  <a:lnTo>
                    <a:pt x="44" y="106"/>
                  </a:lnTo>
                  <a:lnTo>
                    <a:pt x="40" y="106"/>
                  </a:lnTo>
                  <a:lnTo>
                    <a:pt x="40" y="102"/>
                  </a:lnTo>
                  <a:lnTo>
                    <a:pt x="36" y="102"/>
                  </a:lnTo>
                  <a:lnTo>
                    <a:pt x="40" y="102"/>
                  </a:lnTo>
                  <a:lnTo>
                    <a:pt x="40" y="106"/>
                  </a:lnTo>
                  <a:lnTo>
                    <a:pt x="40" y="110"/>
                  </a:lnTo>
                  <a:lnTo>
                    <a:pt x="36" y="110"/>
                  </a:lnTo>
                  <a:lnTo>
                    <a:pt x="34" y="110"/>
                  </a:lnTo>
                  <a:lnTo>
                    <a:pt x="36" y="110"/>
                  </a:lnTo>
                  <a:lnTo>
                    <a:pt x="36" y="114"/>
                  </a:lnTo>
                  <a:lnTo>
                    <a:pt x="34" y="114"/>
                  </a:lnTo>
                  <a:lnTo>
                    <a:pt x="30" y="118"/>
                  </a:lnTo>
                  <a:lnTo>
                    <a:pt x="26" y="118"/>
                  </a:lnTo>
                  <a:lnTo>
                    <a:pt x="26" y="114"/>
                  </a:lnTo>
                  <a:lnTo>
                    <a:pt x="22" y="114"/>
                  </a:lnTo>
                  <a:lnTo>
                    <a:pt x="22" y="118"/>
                  </a:lnTo>
                  <a:lnTo>
                    <a:pt x="18" y="118"/>
                  </a:lnTo>
                  <a:lnTo>
                    <a:pt x="18" y="114"/>
                  </a:lnTo>
                  <a:lnTo>
                    <a:pt x="14" y="114"/>
                  </a:lnTo>
                  <a:lnTo>
                    <a:pt x="18" y="114"/>
                  </a:lnTo>
                  <a:lnTo>
                    <a:pt x="18" y="118"/>
                  </a:lnTo>
                  <a:lnTo>
                    <a:pt x="22" y="118"/>
                  </a:lnTo>
                  <a:lnTo>
                    <a:pt x="26" y="118"/>
                  </a:lnTo>
                  <a:lnTo>
                    <a:pt x="30" y="118"/>
                  </a:lnTo>
                  <a:lnTo>
                    <a:pt x="30" y="122"/>
                  </a:lnTo>
                  <a:lnTo>
                    <a:pt x="34" y="122"/>
                  </a:lnTo>
                  <a:lnTo>
                    <a:pt x="34" y="126"/>
                  </a:lnTo>
                  <a:lnTo>
                    <a:pt x="34" y="128"/>
                  </a:lnTo>
                  <a:lnTo>
                    <a:pt x="30" y="128"/>
                  </a:lnTo>
                  <a:lnTo>
                    <a:pt x="26" y="132"/>
                  </a:lnTo>
                  <a:lnTo>
                    <a:pt x="22" y="132"/>
                  </a:lnTo>
                  <a:lnTo>
                    <a:pt x="18" y="132"/>
                  </a:lnTo>
                  <a:lnTo>
                    <a:pt x="14" y="132"/>
                  </a:lnTo>
                  <a:lnTo>
                    <a:pt x="10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0" y="58"/>
                  </a:lnTo>
                  <a:lnTo>
                    <a:pt x="0" y="18"/>
                  </a:lnTo>
                  <a:lnTo>
                    <a:pt x="4" y="18"/>
                  </a:lnTo>
                  <a:lnTo>
                    <a:pt x="4" y="22"/>
                  </a:lnTo>
                  <a:lnTo>
                    <a:pt x="8" y="22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14" y="28"/>
                  </a:lnTo>
                  <a:lnTo>
                    <a:pt x="18" y="28"/>
                  </a:lnTo>
                  <a:lnTo>
                    <a:pt x="22" y="28"/>
                  </a:lnTo>
                  <a:lnTo>
                    <a:pt x="26" y="32"/>
                  </a:lnTo>
                  <a:lnTo>
                    <a:pt x="30" y="32"/>
                  </a:lnTo>
                  <a:lnTo>
                    <a:pt x="34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4" y="44"/>
                  </a:lnTo>
                  <a:lnTo>
                    <a:pt x="54" y="46"/>
                  </a:lnTo>
                  <a:lnTo>
                    <a:pt x="58" y="50"/>
                  </a:lnTo>
                  <a:lnTo>
                    <a:pt x="62" y="50"/>
                  </a:lnTo>
                  <a:lnTo>
                    <a:pt x="62" y="54"/>
                  </a:lnTo>
                  <a:lnTo>
                    <a:pt x="66" y="54"/>
                  </a:lnTo>
                  <a:lnTo>
                    <a:pt x="66" y="58"/>
                  </a:lnTo>
                  <a:lnTo>
                    <a:pt x="66" y="62"/>
                  </a:lnTo>
                  <a:lnTo>
                    <a:pt x="66" y="66"/>
                  </a:lnTo>
                  <a:lnTo>
                    <a:pt x="66" y="70"/>
                  </a:lnTo>
                  <a:lnTo>
                    <a:pt x="70" y="70"/>
                  </a:lnTo>
                  <a:lnTo>
                    <a:pt x="74" y="70"/>
                  </a:lnTo>
                  <a:lnTo>
                    <a:pt x="78" y="70"/>
                  </a:lnTo>
                  <a:lnTo>
                    <a:pt x="78" y="72"/>
                  </a:lnTo>
                  <a:lnTo>
                    <a:pt x="80" y="72"/>
                  </a:lnTo>
                  <a:lnTo>
                    <a:pt x="84" y="72"/>
                  </a:lnTo>
                  <a:lnTo>
                    <a:pt x="84" y="76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2" y="80"/>
                  </a:lnTo>
                  <a:lnTo>
                    <a:pt x="96" y="80"/>
                  </a:lnTo>
                  <a:lnTo>
                    <a:pt x="96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88" y="88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8" y="102"/>
                  </a:lnTo>
                  <a:lnTo>
                    <a:pt x="92" y="102"/>
                  </a:lnTo>
                  <a:lnTo>
                    <a:pt x="92" y="106"/>
                  </a:lnTo>
                  <a:lnTo>
                    <a:pt x="96" y="110"/>
                  </a:lnTo>
                  <a:lnTo>
                    <a:pt x="100" y="110"/>
                  </a:lnTo>
                  <a:lnTo>
                    <a:pt x="100" y="114"/>
                  </a:lnTo>
                  <a:lnTo>
                    <a:pt x="100" y="110"/>
                  </a:lnTo>
                  <a:lnTo>
                    <a:pt x="100" y="114"/>
                  </a:lnTo>
                  <a:lnTo>
                    <a:pt x="100" y="118"/>
                  </a:lnTo>
                  <a:lnTo>
                    <a:pt x="100" y="122"/>
                  </a:lnTo>
                  <a:lnTo>
                    <a:pt x="104" y="122"/>
                  </a:lnTo>
                  <a:lnTo>
                    <a:pt x="104" y="126"/>
                  </a:lnTo>
                  <a:lnTo>
                    <a:pt x="108" y="126"/>
                  </a:lnTo>
                  <a:lnTo>
                    <a:pt x="108" y="128"/>
                  </a:lnTo>
                  <a:lnTo>
                    <a:pt x="110" y="128"/>
                  </a:lnTo>
                  <a:lnTo>
                    <a:pt x="114" y="128"/>
                  </a:lnTo>
                  <a:lnTo>
                    <a:pt x="118" y="128"/>
                  </a:lnTo>
                  <a:lnTo>
                    <a:pt x="118" y="132"/>
                  </a:lnTo>
                  <a:lnTo>
                    <a:pt x="114" y="132"/>
                  </a:lnTo>
                  <a:lnTo>
                    <a:pt x="114" y="136"/>
                  </a:lnTo>
                  <a:lnTo>
                    <a:pt x="118" y="136"/>
                  </a:lnTo>
                  <a:lnTo>
                    <a:pt x="118" y="140"/>
                  </a:lnTo>
                  <a:lnTo>
                    <a:pt x="122" y="140"/>
                  </a:lnTo>
                  <a:lnTo>
                    <a:pt x="126" y="140"/>
                  </a:lnTo>
                  <a:lnTo>
                    <a:pt x="122" y="140"/>
                  </a:lnTo>
                  <a:lnTo>
                    <a:pt x="122" y="144"/>
                  </a:lnTo>
                  <a:lnTo>
                    <a:pt x="126" y="148"/>
                  </a:lnTo>
                  <a:lnTo>
                    <a:pt x="130" y="148"/>
                  </a:lnTo>
                  <a:lnTo>
                    <a:pt x="134" y="148"/>
                  </a:lnTo>
                  <a:lnTo>
                    <a:pt x="134" y="152"/>
                  </a:lnTo>
                  <a:lnTo>
                    <a:pt x="138" y="152"/>
                  </a:lnTo>
                  <a:lnTo>
                    <a:pt x="138" y="148"/>
                  </a:lnTo>
                  <a:lnTo>
                    <a:pt x="140" y="148"/>
                  </a:lnTo>
                  <a:lnTo>
                    <a:pt x="140" y="152"/>
                  </a:lnTo>
                  <a:lnTo>
                    <a:pt x="138" y="152"/>
                  </a:lnTo>
                  <a:lnTo>
                    <a:pt x="134" y="152"/>
                  </a:lnTo>
                  <a:lnTo>
                    <a:pt x="134" y="156"/>
                  </a:lnTo>
                  <a:lnTo>
                    <a:pt x="138" y="156"/>
                  </a:lnTo>
                  <a:lnTo>
                    <a:pt x="134" y="156"/>
                  </a:lnTo>
                  <a:lnTo>
                    <a:pt x="134" y="158"/>
                  </a:lnTo>
                  <a:lnTo>
                    <a:pt x="130" y="158"/>
                  </a:lnTo>
                  <a:lnTo>
                    <a:pt x="130" y="156"/>
                  </a:lnTo>
                  <a:lnTo>
                    <a:pt x="126" y="156"/>
                  </a:lnTo>
                  <a:lnTo>
                    <a:pt x="130" y="156"/>
                  </a:lnTo>
                  <a:lnTo>
                    <a:pt x="126" y="156"/>
                  </a:lnTo>
                  <a:lnTo>
                    <a:pt x="126" y="152"/>
                  </a:lnTo>
                  <a:lnTo>
                    <a:pt x="122" y="152"/>
                  </a:lnTo>
                  <a:lnTo>
                    <a:pt x="118" y="152"/>
                  </a:lnTo>
                  <a:lnTo>
                    <a:pt x="114" y="152"/>
                  </a:lnTo>
                  <a:lnTo>
                    <a:pt x="110" y="152"/>
                  </a:lnTo>
                  <a:lnTo>
                    <a:pt x="108" y="148"/>
                  </a:lnTo>
                  <a:lnTo>
                    <a:pt x="104" y="148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2" y="144"/>
                  </a:lnTo>
                  <a:lnTo>
                    <a:pt x="92" y="140"/>
                  </a:lnTo>
                  <a:lnTo>
                    <a:pt x="88" y="140"/>
                  </a:lnTo>
                  <a:lnTo>
                    <a:pt x="88" y="136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0" y="132"/>
                  </a:lnTo>
                  <a:lnTo>
                    <a:pt x="80" y="128"/>
                  </a:lnTo>
                  <a:lnTo>
                    <a:pt x="84" y="128"/>
                  </a:lnTo>
                  <a:lnTo>
                    <a:pt x="80" y="128"/>
                  </a:lnTo>
                  <a:lnTo>
                    <a:pt x="78" y="128"/>
                  </a:lnTo>
                  <a:lnTo>
                    <a:pt x="78" y="126"/>
                  </a:lnTo>
                  <a:lnTo>
                    <a:pt x="78" y="122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74" y="122"/>
                  </a:lnTo>
                  <a:close/>
                  <a:moveTo>
                    <a:pt x="138" y="26"/>
                  </a:moveTo>
                  <a:lnTo>
                    <a:pt x="140" y="26"/>
                  </a:lnTo>
                  <a:lnTo>
                    <a:pt x="138" y="26"/>
                  </a:lnTo>
                  <a:lnTo>
                    <a:pt x="138" y="26"/>
                  </a:lnTo>
                  <a:lnTo>
                    <a:pt x="138" y="26"/>
                  </a:lnTo>
                  <a:close/>
                  <a:moveTo>
                    <a:pt x="164" y="28"/>
                  </a:moveTo>
                  <a:lnTo>
                    <a:pt x="164" y="26"/>
                  </a:lnTo>
                  <a:lnTo>
                    <a:pt x="164" y="28"/>
                  </a:lnTo>
                  <a:lnTo>
                    <a:pt x="164" y="28"/>
                  </a:lnTo>
                  <a:lnTo>
                    <a:pt x="164" y="28"/>
                  </a:lnTo>
                  <a:close/>
                  <a:moveTo>
                    <a:pt x="114" y="70"/>
                  </a:moveTo>
                  <a:lnTo>
                    <a:pt x="118" y="70"/>
                  </a:lnTo>
                  <a:lnTo>
                    <a:pt x="122" y="70"/>
                  </a:lnTo>
                  <a:lnTo>
                    <a:pt x="126" y="70"/>
                  </a:lnTo>
                  <a:lnTo>
                    <a:pt x="126" y="66"/>
                  </a:lnTo>
                  <a:lnTo>
                    <a:pt x="126" y="62"/>
                  </a:lnTo>
                  <a:lnTo>
                    <a:pt x="130" y="58"/>
                  </a:lnTo>
                  <a:lnTo>
                    <a:pt x="130" y="62"/>
                  </a:lnTo>
                  <a:lnTo>
                    <a:pt x="126" y="62"/>
                  </a:lnTo>
                  <a:lnTo>
                    <a:pt x="126" y="66"/>
                  </a:lnTo>
                  <a:lnTo>
                    <a:pt x="130" y="70"/>
                  </a:lnTo>
                  <a:lnTo>
                    <a:pt x="134" y="70"/>
                  </a:lnTo>
                  <a:lnTo>
                    <a:pt x="134" y="66"/>
                  </a:lnTo>
                  <a:lnTo>
                    <a:pt x="134" y="70"/>
                  </a:lnTo>
                  <a:lnTo>
                    <a:pt x="138" y="70"/>
                  </a:lnTo>
                  <a:lnTo>
                    <a:pt x="140" y="70"/>
                  </a:lnTo>
                  <a:lnTo>
                    <a:pt x="140" y="66"/>
                  </a:lnTo>
                  <a:lnTo>
                    <a:pt x="140" y="62"/>
                  </a:lnTo>
                  <a:lnTo>
                    <a:pt x="144" y="58"/>
                  </a:lnTo>
                  <a:lnTo>
                    <a:pt x="148" y="58"/>
                  </a:lnTo>
                  <a:lnTo>
                    <a:pt x="152" y="58"/>
                  </a:lnTo>
                  <a:lnTo>
                    <a:pt x="152" y="54"/>
                  </a:lnTo>
                  <a:lnTo>
                    <a:pt x="148" y="50"/>
                  </a:lnTo>
                  <a:lnTo>
                    <a:pt x="148" y="46"/>
                  </a:lnTo>
                  <a:lnTo>
                    <a:pt x="152" y="46"/>
                  </a:lnTo>
                  <a:lnTo>
                    <a:pt x="156" y="46"/>
                  </a:lnTo>
                  <a:lnTo>
                    <a:pt x="156" y="44"/>
                  </a:lnTo>
                  <a:lnTo>
                    <a:pt x="160" y="46"/>
                  </a:lnTo>
                  <a:lnTo>
                    <a:pt x="156" y="46"/>
                  </a:lnTo>
                  <a:lnTo>
                    <a:pt x="160" y="46"/>
                  </a:lnTo>
                  <a:lnTo>
                    <a:pt x="160" y="54"/>
                  </a:lnTo>
                  <a:lnTo>
                    <a:pt x="160" y="58"/>
                  </a:lnTo>
                  <a:lnTo>
                    <a:pt x="156" y="58"/>
                  </a:lnTo>
                  <a:lnTo>
                    <a:pt x="156" y="62"/>
                  </a:lnTo>
                  <a:lnTo>
                    <a:pt x="156" y="66"/>
                  </a:lnTo>
                  <a:lnTo>
                    <a:pt x="156" y="70"/>
                  </a:lnTo>
                  <a:lnTo>
                    <a:pt x="152" y="70"/>
                  </a:lnTo>
                  <a:lnTo>
                    <a:pt x="148" y="70"/>
                  </a:lnTo>
                  <a:lnTo>
                    <a:pt x="148" y="72"/>
                  </a:lnTo>
                  <a:lnTo>
                    <a:pt x="144" y="72"/>
                  </a:lnTo>
                  <a:lnTo>
                    <a:pt x="144" y="76"/>
                  </a:lnTo>
                  <a:lnTo>
                    <a:pt x="140" y="76"/>
                  </a:lnTo>
                  <a:lnTo>
                    <a:pt x="138" y="76"/>
                  </a:lnTo>
                  <a:lnTo>
                    <a:pt x="138" y="80"/>
                  </a:lnTo>
                  <a:lnTo>
                    <a:pt x="134" y="80"/>
                  </a:lnTo>
                  <a:lnTo>
                    <a:pt x="130" y="80"/>
                  </a:lnTo>
                  <a:lnTo>
                    <a:pt x="126" y="80"/>
                  </a:lnTo>
                  <a:lnTo>
                    <a:pt x="122" y="80"/>
                  </a:lnTo>
                  <a:lnTo>
                    <a:pt x="118" y="80"/>
                  </a:lnTo>
                  <a:lnTo>
                    <a:pt x="118" y="76"/>
                  </a:lnTo>
                  <a:lnTo>
                    <a:pt x="114" y="80"/>
                  </a:lnTo>
                  <a:lnTo>
                    <a:pt x="114" y="76"/>
                  </a:lnTo>
                  <a:lnTo>
                    <a:pt x="110" y="76"/>
                  </a:lnTo>
                  <a:lnTo>
                    <a:pt x="110" y="72"/>
                  </a:lnTo>
                  <a:lnTo>
                    <a:pt x="108" y="72"/>
                  </a:lnTo>
                  <a:lnTo>
                    <a:pt x="104" y="72"/>
                  </a:lnTo>
                  <a:lnTo>
                    <a:pt x="104" y="70"/>
                  </a:lnTo>
                  <a:lnTo>
                    <a:pt x="104" y="66"/>
                  </a:lnTo>
                  <a:lnTo>
                    <a:pt x="104" y="70"/>
                  </a:lnTo>
                  <a:lnTo>
                    <a:pt x="108" y="70"/>
                  </a:lnTo>
                  <a:lnTo>
                    <a:pt x="110" y="70"/>
                  </a:lnTo>
                  <a:lnTo>
                    <a:pt x="114" y="70"/>
                  </a:lnTo>
                  <a:lnTo>
                    <a:pt x="114" y="70"/>
                  </a:lnTo>
                  <a:lnTo>
                    <a:pt x="114" y="70"/>
                  </a:lnTo>
                  <a:close/>
                  <a:moveTo>
                    <a:pt x="70" y="54"/>
                  </a:moveTo>
                  <a:lnTo>
                    <a:pt x="70" y="50"/>
                  </a:lnTo>
                  <a:lnTo>
                    <a:pt x="70" y="54"/>
                  </a:lnTo>
                  <a:lnTo>
                    <a:pt x="70" y="54"/>
                  </a:lnTo>
                  <a:lnTo>
                    <a:pt x="70" y="54"/>
                  </a:lnTo>
                  <a:close/>
                  <a:moveTo>
                    <a:pt x="194" y="70"/>
                  </a:moveTo>
                  <a:lnTo>
                    <a:pt x="194" y="66"/>
                  </a:lnTo>
                  <a:lnTo>
                    <a:pt x="190" y="62"/>
                  </a:lnTo>
                  <a:lnTo>
                    <a:pt x="194" y="62"/>
                  </a:lnTo>
                  <a:lnTo>
                    <a:pt x="194" y="58"/>
                  </a:lnTo>
                  <a:lnTo>
                    <a:pt x="194" y="62"/>
                  </a:lnTo>
                  <a:lnTo>
                    <a:pt x="194" y="66"/>
                  </a:lnTo>
                  <a:lnTo>
                    <a:pt x="194" y="70"/>
                  </a:lnTo>
                  <a:lnTo>
                    <a:pt x="194" y="70"/>
                  </a:lnTo>
                  <a:lnTo>
                    <a:pt x="194" y="70"/>
                  </a:lnTo>
                  <a:close/>
                  <a:moveTo>
                    <a:pt x="84" y="66"/>
                  </a:moveTo>
                  <a:lnTo>
                    <a:pt x="84" y="62"/>
                  </a:lnTo>
                  <a:lnTo>
                    <a:pt x="88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4" y="66"/>
                  </a:lnTo>
                  <a:close/>
                  <a:moveTo>
                    <a:pt x="204" y="76"/>
                  </a:moveTo>
                  <a:lnTo>
                    <a:pt x="204" y="80"/>
                  </a:lnTo>
                  <a:lnTo>
                    <a:pt x="208" y="80"/>
                  </a:lnTo>
                  <a:lnTo>
                    <a:pt x="208" y="84"/>
                  </a:lnTo>
                  <a:lnTo>
                    <a:pt x="212" y="84"/>
                  </a:lnTo>
                  <a:lnTo>
                    <a:pt x="212" y="88"/>
                  </a:lnTo>
                  <a:lnTo>
                    <a:pt x="212" y="92"/>
                  </a:lnTo>
                  <a:lnTo>
                    <a:pt x="208" y="92"/>
                  </a:lnTo>
                  <a:lnTo>
                    <a:pt x="204" y="92"/>
                  </a:lnTo>
                  <a:lnTo>
                    <a:pt x="200" y="88"/>
                  </a:lnTo>
                  <a:lnTo>
                    <a:pt x="200" y="84"/>
                  </a:lnTo>
                  <a:lnTo>
                    <a:pt x="200" y="80"/>
                  </a:lnTo>
                  <a:lnTo>
                    <a:pt x="196" y="80"/>
                  </a:lnTo>
                  <a:lnTo>
                    <a:pt x="196" y="76"/>
                  </a:lnTo>
                  <a:lnTo>
                    <a:pt x="194" y="76"/>
                  </a:lnTo>
                  <a:lnTo>
                    <a:pt x="194" y="72"/>
                  </a:lnTo>
                  <a:lnTo>
                    <a:pt x="194" y="70"/>
                  </a:lnTo>
                  <a:lnTo>
                    <a:pt x="196" y="70"/>
                  </a:lnTo>
                  <a:lnTo>
                    <a:pt x="200" y="72"/>
                  </a:lnTo>
                  <a:lnTo>
                    <a:pt x="204" y="76"/>
                  </a:lnTo>
                  <a:lnTo>
                    <a:pt x="204" y="76"/>
                  </a:lnTo>
                  <a:lnTo>
                    <a:pt x="204" y="76"/>
                  </a:lnTo>
                  <a:close/>
                  <a:moveTo>
                    <a:pt x="100" y="72"/>
                  </a:moveTo>
                  <a:lnTo>
                    <a:pt x="96" y="72"/>
                  </a:lnTo>
                  <a:lnTo>
                    <a:pt x="96" y="70"/>
                  </a:lnTo>
                  <a:lnTo>
                    <a:pt x="100" y="70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0" y="72"/>
                  </a:lnTo>
                  <a:close/>
                  <a:moveTo>
                    <a:pt x="36" y="118"/>
                  </a:moveTo>
                  <a:lnTo>
                    <a:pt x="34" y="118"/>
                  </a:lnTo>
                  <a:lnTo>
                    <a:pt x="36" y="118"/>
                  </a:lnTo>
                  <a:lnTo>
                    <a:pt x="36" y="118"/>
                  </a:lnTo>
                  <a:lnTo>
                    <a:pt x="36" y="118"/>
                  </a:lnTo>
                  <a:close/>
                  <a:moveTo>
                    <a:pt x="36" y="126"/>
                  </a:moveTo>
                  <a:lnTo>
                    <a:pt x="36" y="122"/>
                  </a:lnTo>
                  <a:lnTo>
                    <a:pt x="34" y="122"/>
                  </a:lnTo>
                  <a:lnTo>
                    <a:pt x="34" y="118"/>
                  </a:lnTo>
                  <a:lnTo>
                    <a:pt x="30" y="118"/>
                  </a:lnTo>
                  <a:lnTo>
                    <a:pt x="34" y="118"/>
                  </a:lnTo>
                  <a:lnTo>
                    <a:pt x="34" y="122"/>
                  </a:lnTo>
                  <a:lnTo>
                    <a:pt x="36" y="122"/>
                  </a:lnTo>
                  <a:lnTo>
                    <a:pt x="36" y="126"/>
                  </a:lnTo>
                  <a:lnTo>
                    <a:pt x="36" y="126"/>
                  </a:lnTo>
                  <a:lnTo>
                    <a:pt x="36" y="126"/>
                  </a:lnTo>
                  <a:close/>
                  <a:moveTo>
                    <a:pt x="144" y="126"/>
                  </a:moveTo>
                  <a:lnTo>
                    <a:pt x="140" y="126"/>
                  </a:lnTo>
                  <a:lnTo>
                    <a:pt x="140" y="122"/>
                  </a:lnTo>
                  <a:lnTo>
                    <a:pt x="140" y="118"/>
                  </a:lnTo>
                  <a:lnTo>
                    <a:pt x="140" y="122"/>
                  </a:lnTo>
                  <a:lnTo>
                    <a:pt x="140" y="126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4" y="126"/>
                  </a:lnTo>
                  <a:close/>
                  <a:moveTo>
                    <a:pt x="166" y="132"/>
                  </a:moveTo>
                  <a:lnTo>
                    <a:pt x="164" y="128"/>
                  </a:lnTo>
                  <a:lnTo>
                    <a:pt x="166" y="128"/>
                  </a:lnTo>
                  <a:lnTo>
                    <a:pt x="170" y="128"/>
                  </a:lnTo>
                  <a:lnTo>
                    <a:pt x="170" y="132"/>
                  </a:lnTo>
                  <a:lnTo>
                    <a:pt x="166" y="132"/>
                  </a:lnTo>
                  <a:lnTo>
                    <a:pt x="166" y="132"/>
                  </a:lnTo>
                  <a:lnTo>
                    <a:pt x="166" y="132"/>
                  </a:lnTo>
                  <a:close/>
                  <a:moveTo>
                    <a:pt x="34" y="128"/>
                  </a:moveTo>
                  <a:lnTo>
                    <a:pt x="34" y="132"/>
                  </a:lnTo>
                  <a:lnTo>
                    <a:pt x="30" y="128"/>
                  </a:lnTo>
                  <a:lnTo>
                    <a:pt x="34" y="128"/>
                  </a:lnTo>
                  <a:lnTo>
                    <a:pt x="34" y="128"/>
                  </a:lnTo>
                  <a:lnTo>
                    <a:pt x="34" y="128"/>
                  </a:lnTo>
                  <a:close/>
                  <a:moveTo>
                    <a:pt x="134" y="136"/>
                  </a:moveTo>
                  <a:lnTo>
                    <a:pt x="130" y="136"/>
                  </a:lnTo>
                  <a:lnTo>
                    <a:pt x="130" y="132"/>
                  </a:lnTo>
                  <a:lnTo>
                    <a:pt x="134" y="136"/>
                  </a:lnTo>
                  <a:lnTo>
                    <a:pt x="134" y="136"/>
                  </a:lnTo>
                  <a:lnTo>
                    <a:pt x="134" y="136"/>
                  </a:lnTo>
                  <a:close/>
                  <a:moveTo>
                    <a:pt x="138" y="140"/>
                  </a:moveTo>
                  <a:lnTo>
                    <a:pt x="134" y="140"/>
                  </a:lnTo>
                  <a:lnTo>
                    <a:pt x="134" y="136"/>
                  </a:lnTo>
                  <a:lnTo>
                    <a:pt x="134" y="132"/>
                  </a:lnTo>
                  <a:lnTo>
                    <a:pt x="134" y="136"/>
                  </a:lnTo>
                  <a:lnTo>
                    <a:pt x="138" y="136"/>
                  </a:lnTo>
                  <a:lnTo>
                    <a:pt x="140" y="136"/>
                  </a:lnTo>
                  <a:lnTo>
                    <a:pt x="140" y="140"/>
                  </a:lnTo>
                  <a:lnTo>
                    <a:pt x="138" y="140"/>
                  </a:lnTo>
                  <a:lnTo>
                    <a:pt x="138" y="140"/>
                  </a:lnTo>
                  <a:lnTo>
                    <a:pt x="138" y="140"/>
                  </a:lnTo>
                  <a:close/>
                  <a:moveTo>
                    <a:pt x="144" y="148"/>
                  </a:moveTo>
                  <a:lnTo>
                    <a:pt x="140" y="148"/>
                  </a:lnTo>
                  <a:lnTo>
                    <a:pt x="140" y="144"/>
                  </a:lnTo>
                  <a:lnTo>
                    <a:pt x="138" y="144"/>
                  </a:lnTo>
                  <a:lnTo>
                    <a:pt x="138" y="140"/>
                  </a:lnTo>
                  <a:lnTo>
                    <a:pt x="140" y="144"/>
                  </a:lnTo>
                  <a:lnTo>
                    <a:pt x="140" y="148"/>
                  </a:lnTo>
                  <a:lnTo>
                    <a:pt x="144" y="148"/>
                  </a:lnTo>
                  <a:lnTo>
                    <a:pt x="144" y="144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close/>
                  <a:moveTo>
                    <a:pt x="140" y="156"/>
                  </a:moveTo>
                  <a:lnTo>
                    <a:pt x="138" y="156"/>
                  </a:lnTo>
                  <a:lnTo>
                    <a:pt x="140" y="156"/>
                  </a:lnTo>
                  <a:lnTo>
                    <a:pt x="140" y="156"/>
                  </a:lnTo>
                  <a:lnTo>
                    <a:pt x="140" y="156"/>
                  </a:lnTo>
                  <a:close/>
                  <a:moveTo>
                    <a:pt x="166" y="158"/>
                  </a:moveTo>
                  <a:lnTo>
                    <a:pt x="164" y="158"/>
                  </a:lnTo>
                  <a:lnTo>
                    <a:pt x="164" y="156"/>
                  </a:lnTo>
                  <a:lnTo>
                    <a:pt x="166" y="156"/>
                  </a:lnTo>
                  <a:lnTo>
                    <a:pt x="166" y="158"/>
                  </a:lnTo>
                  <a:lnTo>
                    <a:pt x="166" y="158"/>
                  </a:lnTo>
                  <a:lnTo>
                    <a:pt x="166" y="158"/>
                  </a:lnTo>
                  <a:close/>
                  <a:moveTo>
                    <a:pt x="186" y="170"/>
                  </a:moveTo>
                  <a:lnTo>
                    <a:pt x="182" y="170"/>
                  </a:lnTo>
                  <a:lnTo>
                    <a:pt x="186" y="170"/>
                  </a:lnTo>
                  <a:lnTo>
                    <a:pt x="186" y="166"/>
                  </a:lnTo>
                  <a:lnTo>
                    <a:pt x="186" y="170"/>
                  </a:lnTo>
                  <a:lnTo>
                    <a:pt x="190" y="170"/>
                  </a:lnTo>
                  <a:lnTo>
                    <a:pt x="186" y="170"/>
                  </a:lnTo>
                  <a:lnTo>
                    <a:pt x="186" y="170"/>
                  </a:lnTo>
                  <a:lnTo>
                    <a:pt x="186" y="170"/>
                  </a:lnTo>
                  <a:close/>
                  <a:moveTo>
                    <a:pt x="178" y="174"/>
                  </a:moveTo>
                  <a:lnTo>
                    <a:pt x="174" y="174"/>
                  </a:lnTo>
                  <a:lnTo>
                    <a:pt x="174" y="170"/>
                  </a:lnTo>
                  <a:lnTo>
                    <a:pt x="170" y="170"/>
                  </a:lnTo>
                  <a:lnTo>
                    <a:pt x="174" y="170"/>
                  </a:lnTo>
                  <a:lnTo>
                    <a:pt x="178" y="170"/>
                  </a:lnTo>
                  <a:lnTo>
                    <a:pt x="178" y="174"/>
                  </a:lnTo>
                  <a:lnTo>
                    <a:pt x="182" y="174"/>
                  </a:lnTo>
                  <a:lnTo>
                    <a:pt x="178" y="174"/>
                  </a:lnTo>
                  <a:lnTo>
                    <a:pt x="178" y="174"/>
                  </a:lnTo>
                  <a:lnTo>
                    <a:pt x="178" y="174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53" name="Freeform 193">
              <a:extLst>
                <a:ext uri="{FF2B5EF4-FFF2-40B4-BE49-F238E27FC236}">
                  <a16:creationId xmlns:a16="http://schemas.microsoft.com/office/drawing/2014/main" id="{C849E1DA-DA54-3DA6-C386-90B71BA9FE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8120" y="2745695"/>
              <a:ext cx="697463" cy="346933"/>
            </a:xfrm>
            <a:custGeom>
              <a:avLst/>
              <a:gdLst>
                <a:gd name="T0" fmla="*/ 320 w 358"/>
                <a:gd name="T1" fmla="*/ 16 h 184"/>
                <a:gd name="T2" fmla="*/ 320 w 358"/>
                <a:gd name="T3" fmla="*/ 8 h 184"/>
                <a:gd name="T4" fmla="*/ 324 w 358"/>
                <a:gd name="T5" fmla="*/ 0 h 184"/>
                <a:gd name="T6" fmla="*/ 328 w 358"/>
                <a:gd name="T7" fmla="*/ 8 h 184"/>
                <a:gd name="T8" fmla="*/ 340 w 358"/>
                <a:gd name="T9" fmla="*/ 8 h 184"/>
                <a:gd name="T10" fmla="*/ 348 w 358"/>
                <a:gd name="T11" fmla="*/ 4 h 184"/>
                <a:gd name="T12" fmla="*/ 350 w 358"/>
                <a:gd name="T13" fmla="*/ 12 h 184"/>
                <a:gd name="T14" fmla="*/ 354 w 358"/>
                <a:gd name="T15" fmla="*/ 12 h 184"/>
                <a:gd name="T16" fmla="*/ 350 w 358"/>
                <a:gd name="T17" fmla="*/ 20 h 184"/>
                <a:gd name="T18" fmla="*/ 348 w 358"/>
                <a:gd name="T19" fmla="*/ 30 h 184"/>
                <a:gd name="T20" fmla="*/ 344 w 358"/>
                <a:gd name="T21" fmla="*/ 38 h 184"/>
                <a:gd name="T22" fmla="*/ 344 w 358"/>
                <a:gd name="T23" fmla="*/ 50 h 184"/>
                <a:gd name="T24" fmla="*/ 340 w 358"/>
                <a:gd name="T25" fmla="*/ 54 h 184"/>
                <a:gd name="T26" fmla="*/ 348 w 358"/>
                <a:gd name="T27" fmla="*/ 60 h 184"/>
                <a:gd name="T28" fmla="*/ 340 w 358"/>
                <a:gd name="T29" fmla="*/ 68 h 184"/>
                <a:gd name="T30" fmla="*/ 344 w 358"/>
                <a:gd name="T31" fmla="*/ 76 h 184"/>
                <a:gd name="T32" fmla="*/ 344 w 358"/>
                <a:gd name="T33" fmla="*/ 82 h 184"/>
                <a:gd name="T34" fmla="*/ 336 w 358"/>
                <a:gd name="T35" fmla="*/ 90 h 184"/>
                <a:gd name="T36" fmla="*/ 340 w 358"/>
                <a:gd name="T37" fmla="*/ 98 h 184"/>
                <a:gd name="T38" fmla="*/ 332 w 358"/>
                <a:gd name="T39" fmla="*/ 102 h 184"/>
                <a:gd name="T40" fmla="*/ 324 w 358"/>
                <a:gd name="T41" fmla="*/ 98 h 184"/>
                <a:gd name="T42" fmla="*/ 318 w 358"/>
                <a:gd name="T43" fmla="*/ 102 h 184"/>
                <a:gd name="T44" fmla="*/ 320 w 358"/>
                <a:gd name="T45" fmla="*/ 94 h 184"/>
                <a:gd name="T46" fmla="*/ 320 w 358"/>
                <a:gd name="T47" fmla="*/ 82 h 184"/>
                <a:gd name="T48" fmla="*/ 320 w 358"/>
                <a:gd name="T49" fmla="*/ 76 h 184"/>
                <a:gd name="T50" fmla="*/ 318 w 358"/>
                <a:gd name="T51" fmla="*/ 76 h 184"/>
                <a:gd name="T52" fmla="*/ 314 w 358"/>
                <a:gd name="T53" fmla="*/ 68 h 184"/>
                <a:gd name="T54" fmla="*/ 318 w 358"/>
                <a:gd name="T55" fmla="*/ 64 h 184"/>
                <a:gd name="T56" fmla="*/ 310 w 358"/>
                <a:gd name="T57" fmla="*/ 68 h 184"/>
                <a:gd name="T58" fmla="*/ 314 w 358"/>
                <a:gd name="T59" fmla="*/ 56 h 184"/>
                <a:gd name="T60" fmla="*/ 314 w 358"/>
                <a:gd name="T61" fmla="*/ 54 h 184"/>
                <a:gd name="T62" fmla="*/ 318 w 358"/>
                <a:gd name="T63" fmla="*/ 42 h 184"/>
                <a:gd name="T64" fmla="*/ 320 w 358"/>
                <a:gd name="T65" fmla="*/ 30 h 184"/>
                <a:gd name="T66" fmla="*/ 320 w 358"/>
                <a:gd name="T67" fmla="*/ 26 h 184"/>
                <a:gd name="T68" fmla="*/ 320 w 358"/>
                <a:gd name="T69" fmla="*/ 24 h 184"/>
                <a:gd name="T70" fmla="*/ 0 w 358"/>
                <a:gd name="T71" fmla="*/ 54 h 184"/>
                <a:gd name="T72" fmla="*/ 4 w 358"/>
                <a:gd name="T73" fmla="*/ 56 h 184"/>
                <a:gd name="T74" fmla="*/ 60 w 358"/>
                <a:gd name="T75" fmla="*/ 68 h 184"/>
                <a:gd name="T76" fmla="*/ 60 w 358"/>
                <a:gd name="T77" fmla="*/ 72 h 184"/>
                <a:gd name="T78" fmla="*/ 48 w 358"/>
                <a:gd name="T79" fmla="*/ 72 h 184"/>
                <a:gd name="T80" fmla="*/ 52 w 358"/>
                <a:gd name="T81" fmla="*/ 72 h 184"/>
                <a:gd name="T82" fmla="*/ 48 w 358"/>
                <a:gd name="T83" fmla="*/ 72 h 184"/>
                <a:gd name="T84" fmla="*/ 38 w 358"/>
                <a:gd name="T85" fmla="*/ 72 h 184"/>
                <a:gd name="T86" fmla="*/ 46 w 358"/>
                <a:gd name="T87" fmla="*/ 76 h 184"/>
                <a:gd name="T88" fmla="*/ 46 w 358"/>
                <a:gd name="T89" fmla="*/ 72 h 184"/>
                <a:gd name="T90" fmla="*/ 46 w 358"/>
                <a:gd name="T91" fmla="*/ 76 h 184"/>
                <a:gd name="T92" fmla="*/ 78 w 358"/>
                <a:gd name="T93" fmla="*/ 86 h 184"/>
                <a:gd name="T94" fmla="*/ 86 w 358"/>
                <a:gd name="T95" fmla="*/ 86 h 184"/>
                <a:gd name="T96" fmla="*/ 90 w 358"/>
                <a:gd name="T97" fmla="*/ 86 h 184"/>
                <a:gd name="T98" fmla="*/ 82 w 358"/>
                <a:gd name="T99" fmla="*/ 86 h 184"/>
                <a:gd name="T100" fmla="*/ 86 w 358"/>
                <a:gd name="T101" fmla="*/ 102 h 184"/>
                <a:gd name="T102" fmla="*/ 90 w 358"/>
                <a:gd name="T103" fmla="*/ 102 h 184"/>
                <a:gd name="T104" fmla="*/ 202 w 358"/>
                <a:gd name="T105" fmla="*/ 180 h 184"/>
                <a:gd name="T106" fmla="*/ 204 w 358"/>
                <a:gd name="T107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58" h="184">
                  <a:moveTo>
                    <a:pt x="320" y="24"/>
                  </a:moveTo>
                  <a:lnTo>
                    <a:pt x="320" y="20"/>
                  </a:lnTo>
                  <a:lnTo>
                    <a:pt x="320" y="16"/>
                  </a:lnTo>
                  <a:lnTo>
                    <a:pt x="320" y="12"/>
                  </a:lnTo>
                  <a:lnTo>
                    <a:pt x="318" y="8"/>
                  </a:lnTo>
                  <a:lnTo>
                    <a:pt x="320" y="8"/>
                  </a:lnTo>
                  <a:lnTo>
                    <a:pt x="320" y="4"/>
                  </a:lnTo>
                  <a:lnTo>
                    <a:pt x="324" y="4"/>
                  </a:lnTo>
                  <a:lnTo>
                    <a:pt x="324" y="0"/>
                  </a:lnTo>
                  <a:lnTo>
                    <a:pt x="328" y="0"/>
                  </a:lnTo>
                  <a:lnTo>
                    <a:pt x="328" y="4"/>
                  </a:lnTo>
                  <a:lnTo>
                    <a:pt x="328" y="8"/>
                  </a:lnTo>
                  <a:lnTo>
                    <a:pt x="332" y="8"/>
                  </a:lnTo>
                  <a:lnTo>
                    <a:pt x="336" y="8"/>
                  </a:lnTo>
                  <a:lnTo>
                    <a:pt x="340" y="8"/>
                  </a:lnTo>
                  <a:lnTo>
                    <a:pt x="344" y="8"/>
                  </a:lnTo>
                  <a:lnTo>
                    <a:pt x="344" y="4"/>
                  </a:lnTo>
                  <a:lnTo>
                    <a:pt x="348" y="4"/>
                  </a:lnTo>
                  <a:lnTo>
                    <a:pt x="350" y="4"/>
                  </a:lnTo>
                  <a:lnTo>
                    <a:pt x="350" y="8"/>
                  </a:lnTo>
                  <a:lnTo>
                    <a:pt x="350" y="12"/>
                  </a:lnTo>
                  <a:lnTo>
                    <a:pt x="354" y="12"/>
                  </a:lnTo>
                  <a:lnTo>
                    <a:pt x="358" y="12"/>
                  </a:lnTo>
                  <a:lnTo>
                    <a:pt x="354" y="12"/>
                  </a:lnTo>
                  <a:lnTo>
                    <a:pt x="354" y="16"/>
                  </a:lnTo>
                  <a:lnTo>
                    <a:pt x="354" y="20"/>
                  </a:lnTo>
                  <a:lnTo>
                    <a:pt x="350" y="20"/>
                  </a:lnTo>
                  <a:lnTo>
                    <a:pt x="348" y="24"/>
                  </a:lnTo>
                  <a:lnTo>
                    <a:pt x="348" y="26"/>
                  </a:lnTo>
                  <a:lnTo>
                    <a:pt x="348" y="30"/>
                  </a:lnTo>
                  <a:lnTo>
                    <a:pt x="348" y="34"/>
                  </a:lnTo>
                  <a:lnTo>
                    <a:pt x="348" y="38"/>
                  </a:lnTo>
                  <a:lnTo>
                    <a:pt x="344" y="38"/>
                  </a:lnTo>
                  <a:lnTo>
                    <a:pt x="344" y="42"/>
                  </a:lnTo>
                  <a:lnTo>
                    <a:pt x="348" y="42"/>
                  </a:lnTo>
                  <a:lnTo>
                    <a:pt x="344" y="50"/>
                  </a:lnTo>
                  <a:lnTo>
                    <a:pt x="340" y="50"/>
                  </a:lnTo>
                  <a:lnTo>
                    <a:pt x="336" y="50"/>
                  </a:lnTo>
                  <a:lnTo>
                    <a:pt x="340" y="54"/>
                  </a:lnTo>
                  <a:lnTo>
                    <a:pt x="340" y="56"/>
                  </a:lnTo>
                  <a:lnTo>
                    <a:pt x="344" y="60"/>
                  </a:lnTo>
                  <a:lnTo>
                    <a:pt x="348" y="60"/>
                  </a:lnTo>
                  <a:lnTo>
                    <a:pt x="344" y="64"/>
                  </a:lnTo>
                  <a:lnTo>
                    <a:pt x="344" y="68"/>
                  </a:lnTo>
                  <a:lnTo>
                    <a:pt x="340" y="68"/>
                  </a:lnTo>
                  <a:lnTo>
                    <a:pt x="340" y="72"/>
                  </a:lnTo>
                  <a:lnTo>
                    <a:pt x="340" y="76"/>
                  </a:lnTo>
                  <a:lnTo>
                    <a:pt x="344" y="76"/>
                  </a:lnTo>
                  <a:lnTo>
                    <a:pt x="344" y="80"/>
                  </a:lnTo>
                  <a:lnTo>
                    <a:pt x="348" y="80"/>
                  </a:lnTo>
                  <a:lnTo>
                    <a:pt x="344" y="82"/>
                  </a:lnTo>
                  <a:lnTo>
                    <a:pt x="340" y="82"/>
                  </a:lnTo>
                  <a:lnTo>
                    <a:pt x="340" y="86"/>
                  </a:lnTo>
                  <a:lnTo>
                    <a:pt x="336" y="90"/>
                  </a:lnTo>
                  <a:lnTo>
                    <a:pt x="340" y="90"/>
                  </a:lnTo>
                  <a:lnTo>
                    <a:pt x="340" y="94"/>
                  </a:lnTo>
                  <a:lnTo>
                    <a:pt x="340" y="98"/>
                  </a:lnTo>
                  <a:lnTo>
                    <a:pt x="336" y="98"/>
                  </a:lnTo>
                  <a:lnTo>
                    <a:pt x="336" y="102"/>
                  </a:lnTo>
                  <a:lnTo>
                    <a:pt x="332" y="102"/>
                  </a:lnTo>
                  <a:lnTo>
                    <a:pt x="328" y="102"/>
                  </a:lnTo>
                  <a:lnTo>
                    <a:pt x="328" y="98"/>
                  </a:lnTo>
                  <a:lnTo>
                    <a:pt x="324" y="98"/>
                  </a:lnTo>
                  <a:lnTo>
                    <a:pt x="320" y="98"/>
                  </a:lnTo>
                  <a:lnTo>
                    <a:pt x="320" y="102"/>
                  </a:lnTo>
                  <a:lnTo>
                    <a:pt x="318" y="102"/>
                  </a:lnTo>
                  <a:lnTo>
                    <a:pt x="318" y="98"/>
                  </a:lnTo>
                  <a:lnTo>
                    <a:pt x="318" y="94"/>
                  </a:lnTo>
                  <a:lnTo>
                    <a:pt x="320" y="94"/>
                  </a:lnTo>
                  <a:lnTo>
                    <a:pt x="320" y="90"/>
                  </a:lnTo>
                  <a:lnTo>
                    <a:pt x="320" y="86"/>
                  </a:lnTo>
                  <a:lnTo>
                    <a:pt x="320" y="82"/>
                  </a:lnTo>
                  <a:lnTo>
                    <a:pt x="318" y="82"/>
                  </a:lnTo>
                  <a:lnTo>
                    <a:pt x="320" y="80"/>
                  </a:lnTo>
                  <a:lnTo>
                    <a:pt x="320" y="76"/>
                  </a:lnTo>
                  <a:lnTo>
                    <a:pt x="320" y="72"/>
                  </a:lnTo>
                  <a:lnTo>
                    <a:pt x="318" y="72"/>
                  </a:lnTo>
                  <a:lnTo>
                    <a:pt x="318" y="76"/>
                  </a:lnTo>
                  <a:lnTo>
                    <a:pt x="314" y="76"/>
                  </a:lnTo>
                  <a:lnTo>
                    <a:pt x="314" y="72"/>
                  </a:lnTo>
                  <a:lnTo>
                    <a:pt x="314" y="68"/>
                  </a:lnTo>
                  <a:lnTo>
                    <a:pt x="318" y="72"/>
                  </a:lnTo>
                  <a:lnTo>
                    <a:pt x="318" y="68"/>
                  </a:lnTo>
                  <a:lnTo>
                    <a:pt x="318" y="64"/>
                  </a:lnTo>
                  <a:lnTo>
                    <a:pt x="318" y="68"/>
                  </a:lnTo>
                  <a:lnTo>
                    <a:pt x="314" y="68"/>
                  </a:lnTo>
                  <a:lnTo>
                    <a:pt x="310" y="68"/>
                  </a:lnTo>
                  <a:lnTo>
                    <a:pt x="310" y="64"/>
                  </a:lnTo>
                  <a:lnTo>
                    <a:pt x="310" y="60"/>
                  </a:lnTo>
                  <a:lnTo>
                    <a:pt x="314" y="56"/>
                  </a:lnTo>
                  <a:lnTo>
                    <a:pt x="310" y="56"/>
                  </a:lnTo>
                  <a:lnTo>
                    <a:pt x="314" y="56"/>
                  </a:lnTo>
                  <a:lnTo>
                    <a:pt x="314" y="54"/>
                  </a:lnTo>
                  <a:lnTo>
                    <a:pt x="318" y="50"/>
                  </a:lnTo>
                  <a:lnTo>
                    <a:pt x="318" y="46"/>
                  </a:lnTo>
                  <a:lnTo>
                    <a:pt x="318" y="42"/>
                  </a:lnTo>
                  <a:lnTo>
                    <a:pt x="318" y="38"/>
                  </a:lnTo>
                  <a:lnTo>
                    <a:pt x="320" y="34"/>
                  </a:lnTo>
                  <a:lnTo>
                    <a:pt x="320" y="30"/>
                  </a:lnTo>
                  <a:lnTo>
                    <a:pt x="320" y="26"/>
                  </a:lnTo>
                  <a:lnTo>
                    <a:pt x="320" y="30"/>
                  </a:lnTo>
                  <a:lnTo>
                    <a:pt x="320" y="26"/>
                  </a:lnTo>
                  <a:lnTo>
                    <a:pt x="320" y="24"/>
                  </a:lnTo>
                  <a:lnTo>
                    <a:pt x="320" y="24"/>
                  </a:lnTo>
                  <a:lnTo>
                    <a:pt x="320" y="24"/>
                  </a:lnTo>
                  <a:close/>
                  <a:moveTo>
                    <a:pt x="4" y="56"/>
                  </a:moveTo>
                  <a:lnTo>
                    <a:pt x="0" y="56"/>
                  </a:lnTo>
                  <a:lnTo>
                    <a:pt x="0" y="54"/>
                  </a:lnTo>
                  <a:lnTo>
                    <a:pt x="4" y="54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close/>
                  <a:moveTo>
                    <a:pt x="60" y="72"/>
                  </a:moveTo>
                  <a:lnTo>
                    <a:pt x="60" y="68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close/>
                  <a:moveTo>
                    <a:pt x="48" y="72"/>
                  </a:moveTo>
                  <a:lnTo>
                    <a:pt x="46" y="68"/>
                  </a:lnTo>
                  <a:lnTo>
                    <a:pt x="48" y="68"/>
                  </a:lnTo>
                  <a:lnTo>
                    <a:pt x="52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close/>
                  <a:moveTo>
                    <a:pt x="38" y="72"/>
                  </a:moveTo>
                  <a:lnTo>
                    <a:pt x="38" y="68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close/>
                  <a:moveTo>
                    <a:pt x="46" y="76"/>
                  </a:moveTo>
                  <a:lnTo>
                    <a:pt x="42" y="76"/>
                  </a:lnTo>
                  <a:lnTo>
                    <a:pt x="42" y="72"/>
                  </a:lnTo>
                  <a:lnTo>
                    <a:pt x="46" y="72"/>
                  </a:lnTo>
                  <a:lnTo>
                    <a:pt x="48" y="76"/>
                  </a:lnTo>
                  <a:lnTo>
                    <a:pt x="46" y="76"/>
                  </a:lnTo>
                  <a:lnTo>
                    <a:pt x="46" y="76"/>
                  </a:lnTo>
                  <a:lnTo>
                    <a:pt x="46" y="76"/>
                  </a:lnTo>
                  <a:close/>
                  <a:moveTo>
                    <a:pt x="82" y="86"/>
                  </a:moveTo>
                  <a:lnTo>
                    <a:pt x="78" y="86"/>
                  </a:lnTo>
                  <a:lnTo>
                    <a:pt x="78" y="82"/>
                  </a:lnTo>
                  <a:lnTo>
                    <a:pt x="82" y="86"/>
                  </a:lnTo>
                  <a:lnTo>
                    <a:pt x="86" y="86"/>
                  </a:lnTo>
                  <a:lnTo>
                    <a:pt x="86" y="82"/>
                  </a:lnTo>
                  <a:lnTo>
                    <a:pt x="90" y="82"/>
                  </a:lnTo>
                  <a:lnTo>
                    <a:pt x="90" y="86"/>
                  </a:lnTo>
                  <a:lnTo>
                    <a:pt x="86" y="86"/>
                  </a:lnTo>
                  <a:lnTo>
                    <a:pt x="82" y="86"/>
                  </a:lnTo>
                  <a:lnTo>
                    <a:pt x="82" y="86"/>
                  </a:lnTo>
                  <a:lnTo>
                    <a:pt x="82" y="86"/>
                  </a:lnTo>
                  <a:close/>
                  <a:moveTo>
                    <a:pt x="90" y="102"/>
                  </a:moveTo>
                  <a:lnTo>
                    <a:pt x="86" y="102"/>
                  </a:lnTo>
                  <a:lnTo>
                    <a:pt x="90" y="102"/>
                  </a:lnTo>
                  <a:lnTo>
                    <a:pt x="90" y="102"/>
                  </a:lnTo>
                  <a:lnTo>
                    <a:pt x="90" y="102"/>
                  </a:lnTo>
                  <a:close/>
                  <a:moveTo>
                    <a:pt x="204" y="184"/>
                  </a:moveTo>
                  <a:lnTo>
                    <a:pt x="202" y="184"/>
                  </a:lnTo>
                  <a:lnTo>
                    <a:pt x="202" y="180"/>
                  </a:lnTo>
                  <a:lnTo>
                    <a:pt x="204" y="180"/>
                  </a:lnTo>
                  <a:lnTo>
                    <a:pt x="208" y="180"/>
                  </a:lnTo>
                  <a:lnTo>
                    <a:pt x="204" y="184"/>
                  </a:lnTo>
                  <a:lnTo>
                    <a:pt x="204" y="184"/>
                  </a:lnTo>
                  <a:lnTo>
                    <a:pt x="204" y="184"/>
                  </a:lnTo>
                  <a:close/>
                </a:path>
              </a:pathLst>
            </a:custGeom>
            <a:solidFill>
              <a:srgbClr val="008BE5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54" name="Freeform 194">
              <a:extLst>
                <a:ext uri="{FF2B5EF4-FFF2-40B4-BE49-F238E27FC236}">
                  <a16:creationId xmlns:a16="http://schemas.microsoft.com/office/drawing/2014/main" id="{352905DF-9AAE-6A64-28AC-C1835B0C26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49013" y="4891402"/>
              <a:ext cx="588362" cy="886188"/>
            </a:xfrm>
            <a:custGeom>
              <a:avLst/>
              <a:gdLst>
                <a:gd name="T0" fmla="*/ 12 w 302"/>
                <a:gd name="T1" fmla="*/ 116 h 470"/>
                <a:gd name="T2" fmla="*/ 28 w 302"/>
                <a:gd name="T3" fmla="*/ 122 h 470"/>
                <a:gd name="T4" fmla="*/ 42 w 302"/>
                <a:gd name="T5" fmla="*/ 116 h 470"/>
                <a:gd name="T6" fmla="*/ 50 w 302"/>
                <a:gd name="T7" fmla="*/ 92 h 470"/>
                <a:gd name="T8" fmla="*/ 50 w 302"/>
                <a:gd name="T9" fmla="*/ 56 h 470"/>
                <a:gd name="T10" fmla="*/ 56 w 302"/>
                <a:gd name="T11" fmla="*/ 60 h 470"/>
                <a:gd name="T12" fmla="*/ 60 w 302"/>
                <a:gd name="T13" fmla="*/ 78 h 470"/>
                <a:gd name="T14" fmla="*/ 68 w 302"/>
                <a:gd name="T15" fmla="*/ 86 h 470"/>
                <a:gd name="T16" fmla="*/ 80 w 302"/>
                <a:gd name="T17" fmla="*/ 76 h 470"/>
                <a:gd name="T18" fmla="*/ 90 w 302"/>
                <a:gd name="T19" fmla="*/ 60 h 470"/>
                <a:gd name="T20" fmla="*/ 110 w 302"/>
                <a:gd name="T21" fmla="*/ 64 h 470"/>
                <a:gd name="T22" fmla="*/ 120 w 302"/>
                <a:gd name="T23" fmla="*/ 68 h 470"/>
                <a:gd name="T24" fmla="*/ 128 w 302"/>
                <a:gd name="T25" fmla="*/ 60 h 470"/>
                <a:gd name="T26" fmla="*/ 142 w 302"/>
                <a:gd name="T27" fmla="*/ 46 h 470"/>
                <a:gd name="T28" fmla="*/ 146 w 302"/>
                <a:gd name="T29" fmla="*/ 26 h 470"/>
                <a:gd name="T30" fmla="*/ 164 w 302"/>
                <a:gd name="T31" fmla="*/ 12 h 470"/>
                <a:gd name="T32" fmla="*/ 180 w 302"/>
                <a:gd name="T33" fmla="*/ 0 h 470"/>
                <a:gd name="T34" fmla="*/ 198 w 302"/>
                <a:gd name="T35" fmla="*/ 4 h 470"/>
                <a:gd name="T36" fmla="*/ 212 w 302"/>
                <a:gd name="T37" fmla="*/ 22 h 470"/>
                <a:gd name="T38" fmla="*/ 216 w 302"/>
                <a:gd name="T39" fmla="*/ 42 h 470"/>
                <a:gd name="T40" fmla="*/ 216 w 302"/>
                <a:gd name="T41" fmla="*/ 60 h 470"/>
                <a:gd name="T42" fmla="*/ 210 w 302"/>
                <a:gd name="T43" fmla="*/ 64 h 470"/>
                <a:gd name="T44" fmla="*/ 202 w 302"/>
                <a:gd name="T45" fmla="*/ 82 h 470"/>
                <a:gd name="T46" fmla="*/ 206 w 302"/>
                <a:gd name="T47" fmla="*/ 92 h 470"/>
                <a:gd name="T48" fmla="*/ 220 w 302"/>
                <a:gd name="T49" fmla="*/ 86 h 470"/>
                <a:gd name="T50" fmla="*/ 228 w 302"/>
                <a:gd name="T51" fmla="*/ 96 h 470"/>
                <a:gd name="T52" fmla="*/ 224 w 302"/>
                <a:gd name="T53" fmla="*/ 116 h 470"/>
                <a:gd name="T54" fmla="*/ 210 w 302"/>
                <a:gd name="T55" fmla="*/ 130 h 470"/>
                <a:gd name="T56" fmla="*/ 202 w 302"/>
                <a:gd name="T57" fmla="*/ 148 h 470"/>
                <a:gd name="T58" fmla="*/ 190 w 302"/>
                <a:gd name="T59" fmla="*/ 168 h 470"/>
                <a:gd name="T60" fmla="*/ 180 w 302"/>
                <a:gd name="T61" fmla="*/ 178 h 470"/>
                <a:gd name="T62" fmla="*/ 164 w 302"/>
                <a:gd name="T63" fmla="*/ 194 h 470"/>
                <a:gd name="T64" fmla="*/ 150 w 302"/>
                <a:gd name="T65" fmla="*/ 206 h 470"/>
                <a:gd name="T66" fmla="*/ 136 w 302"/>
                <a:gd name="T67" fmla="*/ 212 h 470"/>
                <a:gd name="T68" fmla="*/ 124 w 302"/>
                <a:gd name="T69" fmla="*/ 216 h 470"/>
                <a:gd name="T70" fmla="*/ 98 w 302"/>
                <a:gd name="T71" fmla="*/ 216 h 470"/>
                <a:gd name="T72" fmla="*/ 80 w 302"/>
                <a:gd name="T73" fmla="*/ 220 h 470"/>
                <a:gd name="T74" fmla="*/ 60 w 302"/>
                <a:gd name="T75" fmla="*/ 224 h 470"/>
                <a:gd name="T76" fmla="*/ 42 w 302"/>
                <a:gd name="T77" fmla="*/ 232 h 470"/>
                <a:gd name="T78" fmla="*/ 30 w 302"/>
                <a:gd name="T79" fmla="*/ 220 h 470"/>
                <a:gd name="T80" fmla="*/ 28 w 302"/>
                <a:gd name="T81" fmla="*/ 224 h 470"/>
                <a:gd name="T82" fmla="*/ 28 w 302"/>
                <a:gd name="T83" fmla="*/ 212 h 470"/>
                <a:gd name="T84" fmla="*/ 24 w 302"/>
                <a:gd name="T85" fmla="*/ 194 h 470"/>
                <a:gd name="T86" fmla="*/ 24 w 302"/>
                <a:gd name="T87" fmla="*/ 178 h 470"/>
                <a:gd name="T88" fmla="*/ 16 w 302"/>
                <a:gd name="T89" fmla="*/ 164 h 470"/>
                <a:gd name="T90" fmla="*/ 8 w 302"/>
                <a:gd name="T91" fmla="*/ 142 h 470"/>
                <a:gd name="T92" fmla="*/ 0 w 302"/>
                <a:gd name="T93" fmla="*/ 120 h 470"/>
                <a:gd name="T94" fmla="*/ 8 w 302"/>
                <a:gd name="T95" fmla="*/ 108 h 470"/>
                <a:gd name="T96" fmla="*/ 180 w 302"/>
                <a:gd name="T97" fmla="*/ 122 h 470"/>
                <a:gd name="T98" fmla="*/ 168 w 302"/>
                <a:gd name="T99" fmla="*/ 120 h 470"/>
                <a:gd name="T100" fmla="*/ 154 w 302"/>
                <a:gd name="T101" fmla="*/ 134 h 470"/>
                <a:gd name="T102" fmla="*/ 154 w 302"/>
                <a:gd name="T103" fmla="*/ 148 h 470"/>
                <a:gd name="T104" fmla="*/ 164 w 302"/>
                <a:gd name="T105" fmla="*/ 146 h 470"/>
                <a:gd name="T106" fmla="*/ 180 w 302"/>
                <a:gd name="T107" fmla="*/ 134 h 470"/>
                <a:gd name="T108" fmla="*/ 302 w 302"/>
                <a:gd name="T109" fmla="*/ 46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2" h="470">
                  <a:moveTo>
                    <a:pt x="8" y="108"/>
                  </a:moveTo>
                  <a:lnTo>
                    <a:pt x="8" y="112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12"/>
                  </a:lnTo>
                  <a:lnTo>
                    <a:pt x="12" y="116"/>
                  </a:lnTo>
                  <a:lnTo>
                    <a:pt x="12" y="120"/>
                  </a:lnTo>
                  <a:lnTo>
                    <a:pt x="16" y="120"/>
                  </a:lnTo>
                  <a:lnTo>
                    <a:pt x="20" y="120"/>
                  </a:lnTo>
                  <a:lnTo>
                    <a:pt x="20" y="122"/>
                  </a:lnTo>
                  <a:lnTo>
                    <a:pt x="24" y="122"/>
                  </a:lnTo>
                  <a:lnTo>
                    <a:pt x="28" y="122"/>
                  </a:lnTo>
                  <a:lnTo>
                    <a:pt x="30" y="120"/>
                  </a:lnTo>
                  <a:lnTo>
                    <a:pt x="34" y="122"/>
                  </a:lnTo>
                  <a:lnTo>
                    <a:pt x="38" y="122"/>
                  </a:lnTo>
                  <a:lnTo>
                    <a:pt x="38" y="120"/>
                  </a:lnTo>
                  <a:lnTo>
                    <a:pt x="42" y="120"/>
                  </a:lnTo>
                  <a:lnTo>
                    <a:pt x="42" y="116"/>
                  </a:lnTo>
                  <a:lnTo>
                    <a:pt x="46" y="116"/>
                  </a:lnTo>
                  <a:lnTo>
                    <a:pt x="50" y="112"/>
                  </a:lnTo>
                  <a:lnTo>
                    <a:pt x="50" y="108"/>
                  </a:lnTo>
                  <a:lnTo>
                    <a:pt x="50" y="104"/>
                  </a:lnTo>
                  <a:lnTo>
                    <a:pt x="50" y="96"/>
                  </a:lnTo>
                  <a:lnTo>
                    <a:pt x="50" y="92"/>
                  </a:lnTo>
                  <a:lnTo>
                    <a:pt x="50" y="90"/>
                  </a:lnTo>
                  <a:lnTo>
                    <a:pt x="50" y="78"/>
                  </a:lnTo>
                  <a:lnTo>
                    <a:pt x="50" y="68"/>
                  </a:lnTo>
                  <a:lnTo>
                    <a:pt x="50" y="64"/>
                  </a:lnTo>
                  <a:lnTo>
                    <a:pt x="50" y="60"/>
                  </a:lnTo>
                  <a:lnTo>
                    <a:pt x="50" y="56"/>
                  </a:lnTo>
                  <a:lnTo>
                    <a:pt x="50" y="52"/>
                  </a:lnTo>
                  <a:lnTo>
                    <a:pt x="50" y="48"/>
                  </a:lnTo>
                  <a:lnTo>
                    <a:pt x="54" y="48"/>
                  </a:lnTo>
                  <a:lnTo>
                    <a:pt x="54" y="52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8"/>
                  </a:lnTo>
                  <a:lnTo>
                    <a:pt x="56" y="78"/>
                  </a:lnTo>
                  <a:lnTo>
                    <a:pt x="56" y="82"/>
                  </a:lnTo>
                  <a:lnTo>
                    <a:pt x="56" y="86"/>
                  </a:lnTo>
                  <a:lnTo>
                    <a:pt x="60" y="86"/>
                  </a:lnTo>
                  <a:lnTo>
                    <a:pt x="64" y="86"/>
                  </a:lnTo>
                  <a:lnTo>
                    <a:pt x="68" y="86"/>
                  </a:lnTo>
                  <a:lnTo>
                    <a:pt x="72" y="86"/>
                  </a:lnTo>
                  <a:lnTo>
                    <a:pt x="76" y="86"/>
                  </a:lnTo>
                  <a:lnTo>
                    <a:pt x="76" y="82"/>
                  </a:lnTo>
                  <a:lnTo>
                    <a:pt x="80" y="82"/>
                  </a:lnTo>
                  <a:lnTo>
                    <a:pt x="80" y="78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6" y="72"/>
                  </a:lnTo>
                  <a:lnTo>
                    <a:pt x="86" y="68"/>
                  </a:lnTo>
                  <a:lnTo>
                    <a:pt x="86" y="64"/>
                  </a:lnTo>
                  <a:lnTo>
                    <a:pt x="90" y="64"/>
                  </a:lnTo>
                  <a:lnTo>
                    <a:pt x="90" y="60"/>
                  </a:lnTo>
                  <a:lnTo>
                    <a:pt x="90" y="56"/>
                  </a:lnTo>
                  <a:lnTo>
                    <a:pt x="94" y="56"/>
                  </a:lnTo>
                  <a:lnTo>
                    <a:pt x="98" y="56"/>
                  </a:lnTo>
                  <a:lnTo>
                    <a:pt x="102" y="60"/>
                  </a:lnTo>
                  <a:lnTo>
                    <a:pt x="106" y="64"/>
                  </a:lnTo>
                  <a:lnTo>
                    <a:pt x="110" y="64"/>
                  </a:lnTo>
                  <a:lnTo>
                    <a:pt x="110" y="68"/>
                  </a:lnTo>
                  <a:lnTo>
                    <a:pt x="112" y="68"/>
                  </a:lnTo>
                  <a:lnTo>
                    <a:pt x="112" y="64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20" y="68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4" y="68"/>
                  </a:lnTo>
                  <a:lnTo>
                    <a:pt x="124" y="64"/>
                  </a:lnTo>
                  <a:lnTo>
                    <a:pt x="128" y="64"/>
                  </a:lnTo>
                  <a:lnTo>
                    <a:pt x="128" y="60"/>
                  </a:lnTo>
                  <a:lnTo>
                    <a:pt x="132" y="56"/>
                  </a:lnTo>
                  <a:lnTo>
                    <a:pt x="132" y="52"/>
                  </a:lnTo>
                  <a:lnTo>
                    <a:pt x="132" y="48"/>
                  </a:lnTo>
                  <a:lnTo>
                    <a:pt x="136" y="46"/>
                  </a:lnTo>
                  <a:lnTo>
                    <a:pt x="140" y="46"/>
                  </a:lnTo>
                  <a:lnTo>
                    <a:pt x="142" y="46"/>
                  </a:lnTo>
                  <a:lnTo>
                    <a:pt x="142" y="42"/>
                  </a:lnTo>
                  <a:lnTo>
                    <a:pt x="146" y="42"/>
                  </a:lnTo>
                  <a:lnTo>
                    <a:pt x="146" y="38"/>
                  </a:lnTo>
                  <a:lnTo>
                    <a:pt x="146" y="34"/>
                  </a:lnTo>
                  <a:lnTo>
                    <a:pt x="146" y="30"/>
                  </a:lnTo>
                  <a:lnTo>
                    <a:pt x="146" y="26"/>
                  </a:lnTo>
                  <a:lnTo>
                    <a:pt x="150" y="26"/>
                  </a:lnTo>
                  <a:lnTo>
                    <a:pt x="154" y="22"/>
                  </a:lnTo>
                  <a:lnTo>
                    <a:pt x="158" y="22"/>
                  </a:lnTo>
                  <a:lnTo>
                    <a:pt x="158" y="18"/>
                  </a:lnTo>
                  <a:lnTo>
                    <a:pt x="162" y="16"/>
                  </a:lnTo>
                  <a:lnTo>
                    <a:pt x="164" y="12"/>
                  </a:lnTo>
                  <a:lnTo>
                    <a:pt x="164" y="8"/>
                  </a:lnTo>
                  <a:lnTo>
                    <a:pt x="168" y="8"/>
                  </a:lnTo>
                  <a:lnTo>
                    <a:pt x="172" y="8"/>
                  </a:lnTo>
                  <a:lnTo>
                    <a:pt x="176" y="8"/>
                  </a:lnTo>
                  <a:lnTo>
                    <a:pt x="176" y="4"/>
                  </a:lnTo>
                  <a:lnTo>
                    <a:pt x="180" y="0"/>
                  </a:lnTo>
                  <a:lnTo>
                    <a:pt x="182" y="0"/>
                  </a:lnTo>
                  <a:lnTo>
                    <a:pt x="186" y="0"/>
                  </a:lnTo>
                  <a:lnTo>
                    <a:pt x="190" y="0"/>
                  </a:lnTo>
                  <a:lnTo>
                    <a:pt x="190" y="4"/>
                  </a:lnTo>
                  <a:lnTo>
                    <a:pt x="194" y="4"/>
                  </a:lnTo>
                  <a:lnTo>
                    <a:pt x="198" y="4"/>
                  </a:lnTo>
                  <a:lnTo>
                    <a:pt x="202" y="4"/>
                  </a:lnTo>
                  <a:lnTo>
                    <a:pt x="206" y="4"/>
                  </a:lnTo>
                  <a:lnTo>
                    <a:pt x="210" y="4"/>
                  </a:lnTo>
                  <a:lnTo>
                    <a:pt x="210" y="8"/>
                  </a:lnTo>
                  <a:lnTo>
                    <a:pt x="212" y="18"/>
                  </a:lnTo>
                  <a:lnTo>
                    <a:pt x="212" y="22"/>
                  </a:lnTo>
                  <a:lnTo>
                    <a:pt x="212" y="26"/>
                  </a:lnTo>
                  <a:lnTo>
                    <a:pt x="212" y="30"/>
                  </a:lnTo>
                  <a:lnTo>
                    <a:pt x="216" y="30"/>
                  </a:lnTo>
                  <a:lnTo>
                    <a:pt x="216" y="34"/>
                  </a:lnTo>
                  <a:lnTo>
                    <a:pt x="216" y="38"/>
                  </a:lnTo>
                  <a:lnTo>
                    <a:pt x="216" y="42"/>
                  </a:lnTo>
                  <a:lnTo>
                    <a:pt x="220" y="42"/>
                  </a:lnTo>
                  <a:lnTo>
                    <a:pt x="216" y="46"/>
                  </a:lnTo>
                  <a:lnTo>
                    <a:pt x="216" y="48"/>
                  </a:lnTo>
                  <a:lnTo>
                    <a:pt x="216" y="52"/>
                  </a:lnTo>
                  <a:lnTo>
                    <a:pt x="220" y="52"/>
                  </a:lnTo>
                  <a:lnTo>
                    <a:pt x="216" y="60"/>
                  </a:lnTo>
                  <a:lnTo>
                    <a:pt x="216" y="64"/>
                  </a:lnTo>
                  <a:lnTo>
                    <a:pt x="216" y="68"/>
                  </a:lnTo>
                  <a:lnTo>
                    <a:pt x="216" y="72"/>
                  </a:lnTo>
                  <a:lnTo>
                    <a:pt x="216" y="68"/>
                  </a:lnTo>
                  <a:lnTo>
                    <a:pt x="212" y="68"/>
                  </a:lnTo>
                  <a:lnTo>
                    <a:pt x="210" y="64"/>
                  </a:lnTo>
                  <a:lnTo>
                    <a:pt x="206" y="68"/>
                  </a:lnTo>
                  <a:lnTo>
                    <a:pt x="206" y="72"/>
                  </a:lnTo>
                  <a:lnTo>
                    <a:pt x="206" y="76"/>
                  </a:lnTo>
                  <a:lnTo>
                    <a:pt x="202" y="76"/>
                  </a:lnTo>
                  <a:lnTo>
                    <a:pt x="202" y="78"/>
                  </a:lnTo>
                  <a:lnTo>
                    <a:pt x="202" y="82"/>
                  </a:lnTo>
                  <a:lnTo>
                    <a:pt x="202" y="86"/>
                  </a:lnTo>
                  <a:lnTo>
                    <a:pt x="202" y="82"/>
                  </a:lnTo>
                  <a:lnTo>
                    <a:pt x="202" y="86"/>
                  </a:lnTo>
                  <a:lnTo>
                    <a:pt x="206" y="86"/>
                  </a:lnTo>
                  <a:lnTo>
                    <a:pt x="206" y="90"/>
                  </a:lnTo>
                  <a:lnTo>
                    <a:pt x="206" y="92"/>
                  </a:lnTo>
                  <a:lnTo>
                    <a:pt x="210" y="92"/>
                  </a:lnTo>
                  <a:lnTo>
                    <a:pt x="212" y="92"/>
                  </a:lnTo>
                  <a:lnTo>
                    <a:pt x="216" y="92"/>
                  </a:lnTo>
                  <a:lnTo>
                    <a:pt x="216" y="90"/>
                  </a:lnTo>
                  <a:lnTo>
                    <a:pt x="216" y="86"/>
                  </a:lnTo>
                  <a:lnTo>
                    <a:pt x="220" y="86"/>
                  </a:lnTo>
                  <a:lnTo>
                    <a:pt x="224" y="86"/>
                  </a:lnTo>
                  <a:lnTo>
                    <a:pt x="228" y="86"/>
                  </a:lnTo>
                  <a:lnTo>
                    <a:pt x="232" y="86"/>
                  </a:lnTo>
                  <a:lnTo>
                    <a:pt x="232" y="90"/>
                  </a:lnTo>
                  <a:lnTo>
                    <a:pt x="228" y="92"/>
                  </a:lnTo>
                  <a:lnTo>
                    <a:pt x="228" y="96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28" y="108"/>
                  </a:lnTo>
                  <a:lnTo>
                    <a:pt x="224" y="108"/>
                  </a:lnTo>
                  <a:lnTo>
                    <a:pt x="224" y="112"/>
                  </a:lnTo>
                  <a:lnTo>
                    <a:pt x="224" y="116"/>
                  </a:lnTo>
                  <a:lnTo>
                    <a:pt x="220" y="120"/>
                  </a:lnTo>
                  <a:lnTo>
                    <a:pt x="220" y="122"/>
                  </a:lnTo>
                  <a:lnTo>
                    <a:pt x="216" y="122"/>
                  </a:lnTo>
                  <a:lnTo>
                    <a:pt x="212" y="122"/>
                  </a:lnTo>
                  <a:lnTo>
                    <a:pt x="212" y="126"/>
                  </a:lnTo>
                  <a:lnTo>
                    <a:pt x="210" y="130"/>
                  </a:lnTo>
                  <a:lnTo>
                    <a:pt x="206" y="134"/>
                  </a:lnTo>
                  <a:lnTo>
                    <a:pt x="206" y="138"/>
                  </a:lnTo>
                  <a:lnTo>
                    <a:pt x="206" y="142"/>
                  </a:lnTo>
                  <a:lnTo>
                    <a:pt x="202" y="142"/>
                  </a:lnTo>
                  <a:lnTo>
                    <a:pt x="202" y="146"/>
                  </a:lnTo>
                  <a:lnTo>
                    <a:pt x="202" y="148"/>
                  </a:lnTo>
                  <a:lnTo>
                    <a:pt x="198" y="148"/>
                  </a:lnTo>
                  <a:lnTo>
                    <a:pt x="198" y="156"/>
                  </a:lnTo>
                  <a:lnTo>
                    <a:pt x="194" y="156"/>
                  </a:lnTo>
                  <a:lnTo>
                    <a:pt x="194" y="160"/>
                  </a:lnTo>
                  <a:lnTo>
                    <a:pt x="190" y="164"/>
                  </a:lnTo>
                  <a:lnTo>
                    <a:pt x="190" y="168"/>
                  </a:lnTo>
                  <a:lnTo>
                    <a:pt x="186" y="168"/>
                  </a:lnTo>
                  <a:lnTo>
                    <a:pt x="186" y="172"/>
                  </a:lnTo>
                  <a:lnTo>
                    <a:pt x="182" y="172"/>
                  </a:lnTo>
                  <a:lnTo>
                    <a:pt x="182" y="176"/>
                  </a:lnTo>
                  <a:lnTo>
                    <a:pt x="180" y="176"/>
                  </a:lnTo>
                  <a:lnTo>
                    <a:pt x="180" y="178"/>
                  </a:lnTo>
                  <a:lnTo>
                    <a:pt x="176" y="178"/>
                  </a:lnTo>
                  <a:lnTo>
                    <a:pt x="176" y="182"/>
                  </a:lnTo>
                  <a:lnTo>
                    <a:pt x="172" y="186"/>
                  </a:lnTo>
                  <a:lnTo>
                    <a:pt x="168" y="190"/>
                  </a:lnTo>
                  <a:lnTo>
                    <a:pt x="168" y="194"/>
                  </a:lnTo>
                  <a:lnTo>
                    <a:pt x="164" y="194"/>
                  </a:lnTo>
                  <a:lnTo>
                    <a:pt x="164" y="198"/>
                  </a:lnTo>
                  <a:lnTo>
                    <a:pt x="162" y="198"/>
                  </a:lnTo>
                  <a:lnTo>
                    <a:pt x="158" y="198"/>
                  </a:lnTo>
                  <a:lnTo>
                    <a:pt x="158" y="202"/>
                  </a:lnTo>
                  <a:lnTo>
                    <a:pt x="154" y="206"/>
                  </a:lnTo>
                  <a:lnTo>
                    <a:pt x="150" y="206"/>
                  </a:lnTo>
                  <a:lnTo>
                    <a:pt x="150" y="208"/>
                  </a:lnTo>
                  <a:lnTo>
                    <a:pt x="146" y="208"/>
                  </a:lnTo>
                  <a:lnTo>
                    <a:pt x="142" y="208"/>
                  </a:lnTo>
                  <a:lnTo>
                    <a:pt x="142" y="212"/>
                  </a:lnTo>
                  <a:lnTo>
                    <a:pt x="140" y="212"/>
                  </a:lnTo>
                  <a:lnTo>
                    <a:pt x="136" y="212"/>
                  </a:lnTo>
                  <a:lnTo>
                    <a:pt x="132" y="212"/>
                  </a:lnTo>
                  <a:lnTo>
                    <a:pt x="128" y="212"/>
                  </a:lnTo>
                  <a:lnTo>
                    <a:pt x="128" y="216"/>
                  </a:lnTo>
                  <a:lnTo>
                    <a:pt x="132" y="216"/>
                  </a:lnTo>
                  <a:lnTo>
                    <a:pt x="128" y="216"/>
                  </a:lnTo>
                  <a:lnTo>
                    <a:pt x="124" y="216"/>
                  </a:lnTo>
                  <a:lnTo>
                    <a:pt x="120" y="216"/>
                  </a:lnTo>
                  <a:lnTo>
                    <a:pt x="116" y="220"/>
                  </a:lnTo>
                  <a:lnTo>
                    <a:pt x="112" y="220"/>
                  </a:lnTo>
                  <a:lnTo>
                    <a:pt x="106" y="216"/>
                  </a:lnTo>
                  <a:lnTo>
                    <a:pt x="102" y="216"/>
                  </a:lnTo>
                  <a:lnTo>
                    <a:pt x="98" y="216"/>
                  </a:lnTo>
                  <a:lnTo>
                    <a:pt x="94" y="216"/>
                  </a:lnTo>
                  <a:lnTo>
                    <a:pt x="90" y="216"/>
                  </a:lnTo>
                  <a:lnTo>
                    <a:pt x="86" y="216"/>
                  </a:lnTo>
                  <a:lnTo>
                    <a:pt x="84" y="216"/>
                  </a:lnTo>
                  <a:lnTo>
                    <a:pt x="80" y="216"/>
                  </a:lnTo>
                  <a:lnTo>
                    <a:pt x="80" y="220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2" y="224"/>
                  </a:lnTo>
                  <a:lnTo>
                    <a:pt x="68" y="224"/>
                  </a:lnTo>
                  <a:lnTo>
                    <a:pt x="64" y="224"/>
                  </a:lnTo>
                  <a:lnTo>
                    <a:pt x="60" y="224"/>
                  </a:lnTo>
                  <a:lnTo>
                    <a:pt x="56" y="224"/>
                  </a:lnTo>
                  <a:lnTo>
                    <a:pt x="56" y="228"/>
                  </a:lnTo>
                  <a:lnTo>
                    <a:pt x="54" y="228"/>
                  </a:lnTo>
                  <a:lnTo>
                    <a:pt x="50" y="232"/>
                  </a:lnTo>
                  <a:lnTo>
                    <a:pt x="46" y="232"/>
                  </a:lnTo>
                  <a:lnTo>
                    <a:pt x="42" y="232"/>
                  </a:lnTo>
                  <a:lnTo>
                    <a:pt x="42" y="228"/>
                  </a:lnTo>
                  <a:lnTo>
                    <a:pt x="38" y="228"/>
                  </a:lnTo>
                  <a:lnTo>
                    <a:pt x="38" y="224"/>
                  </a:lnTo>
                  <a:lnTo>
                    <a:pt x="34" y="224"/>
                  </a:lnTo>
                  <a:lnTo>
                    <a:pt x="30" y="224"/>
                  </a:lnTo>
                  <a:lnTo>
                    <a:pt x="30" y="220"/>
                  </a:lnTo>
                  <a:lnTo>
                    <a:pt x="34" y="220"/>
                  </a:lnTo>
                  <a:lnTo>
                    <a:pt x="30" y="220"/>
                  </a:lnTo>
                  <a:lnTo>
                    <a:pt x="30" y="216"/>
                  </a:lnTo>
                  <a:lnTo>
                    <a:pt x="28" y="216"/>
                  </a:lnTo>
                  <a:lnTo>
                    <a:pt x="28" y="220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24" y="216"/>
                  </a:lnTo>
                  <a:lnTo>
                    <a:pt x="28" y="216"/>
                  </a:lnTo>
                  <a:lnTo>
                    <a:pt x="28" y="212"/>
                  </a:lnTo>
                  <a:lnTo>
                    <a:pt x="28" y="216"/>
                  </a:lnTo>
                  <a:lnTo>
                    <a:pt x="28" y="212"/>
                  </a:lnTo>
                  <a:lnTo>
                    <a:pt x="28" y="208"/>
                  </a:lnTo>
                  <a:lnTo>
                    <a:pt x="24" y="206"/>
                  </a:lnTo>
                  <a:lnTo>
                    <a:pt x="24" y="202"/>
                  </a:lnTo>
                  <a:lnTo>
                    <a:pt x="20" y="198"/>
                  </a:lnTo>
                  <a:lnTo>
                    <a:pt x="20" y="194"/>
                  </a:lnTo>
                  <a:lnTo>
                    <a:pt x="24" y="194"/>
                  </a:lnTo>
                  <a:lnTo>
                    <a:pt x="24" y="190"/>
                  </a:lnTo>
                  <a:lnTo>
                    <a:pt x="28" y="190"/>
                  </a:lnTo>
                  <a:lnTo>
                    <a:pt x="28" y="186"/>
                  </a:lnTo>
                  <a:lnTo>
                    <a:pt x="28" y="182"/>
                  </a:lnTo>
                  <a:lnTo>
                    <a:pt x="24" y="182"/>
                  </a:lnTo>
                  <a:lnTo>
                    <a:pt x="24" y="178"/>
                  </a:lnTo>
                  <a:lnTo>
                    <a:pt x="24" y="176"/>
                  </a:lnTo>
                  <a:lnTo>
                    <a:pt x="24" y="172"/>
                  </a:lnTo>
                  <a:lnTo>
                    <a:pt x="20" y="172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16" y="164"/>
                  </a:lnTo>
                  <a:lnTo>
                    <a:pt x="16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12" y="148"/>
                  </a:lnTo>
                  <a:lnTo>
                    <a:pt x="8" y="146"/>
                  </a:lnTo>
                  <a:lnTo>
                    <a:pt x="8" y="142"/>
                  </a:lnTo>
                  <a:lnTo>
                    <a:pt x="8" y="138"/>
                  </a:lnTo>
                  <a:lnTo>
                    <a:pt x="8" y="134"/>
                  </a:lnTo>
                  <a:lnTo>
                    <a:pt x="4" y="130"/>
                  </a:lnTo>
                  <a:lnTo>
                    <a:pt x="4" y="126"/>
                  </a:lnTo>
                  <a:lnTo>
                    <a:pt x="0" y="122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close/>
                  <a:moveTo>
                    <a:pt x="180" y="134"/>
                  </a:moveTo>
                  <a:lnTo>
                    <a:pt x="180" y="130"/>
                  </a:lnTo>
                  <a:lnTo>
                    <a:pt x="182" y="130"/>
                  </a:lnTo>
                  <a:lnTo>
                    <a:pt x="180" y="126"/>
                  </a:lnTo>
                  <a:lnTo>
                    <a:pt x="180" y="122"/>
                  </a:lnTo>
                  <a:lnTo>
                    <a:pt x="176" y="122"/>
                  </a:lnTo>
                  <a:lnTo>
                    <a:pt x="176" y="120"/>
                  </a:lnTo>
                  <a:lnTo>
                    <a:pt x="172" y="120"/>
                  </a:lnTo>
                  <a:lnTo>
                    <a:pt x="172" y="116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4" y="120"/>
                  </a:lnTo>
                  <a:lnTo>
                    <a:pt x="162" y="122"/>
                  </a:lnTo>
                  <a:lnTo>
                    <a:pt x="158" y="122"/>
                  </a:lnTo>
                  <a:lnTo>
                    <a:pt x="158" y="126"/>
                  </a:lnTo>
                  <a:lnTo>
                    <a:pt x="154" y="130"/>
                  </a:lnTo>
                  <a:lnTo>
                    <a:pt x="154" y="134"/>
                  </a:lnTo>
                  <a:lnTo>
                    <a:pt x="150" y="134"/>
                  </a:lnTo>
                  <a:lnTo>
                    <a:pt x="150" y="138"/>
                  </a:lnTo>
                  <a:lnTo>
                    <a:pt x="150" y="142"/>
                  </a:lnTo>
                  <a:lnTo>
                    <a:pt x="154" y="142"/>
                  </a:lnTo>
                  <a:lnTo>
                    <a:pt x="154" y="146"/>
                  </a:lnTo>
                  <a:lnTo>
                    <a:pt x="154" y="148"/>
                  </a:lnTo>
                  <a:lnTo>
                    <a:pt x="158" y="148"/>
                  </a:lnTo>
                  <a:lnTo>
                    <a:pt x="158" y="152"/>
                  </a:lnTo>
                  <a:lnTo>
                    <a:pt x="162" y="152"/>
                  </a:lnTo>
                  <a:lnTo>
                    <a:pt x="164" y="152"/>
                  </a:lnTo>
                  <a:lnTo>
                    <a:pt x="164" y="148"/>
                  </a:lnTo>
                  <a:lnTo>
                    <a:pt x="164" y="146"/>
                  </a:lnTo>
                  <a:lnTo>
                    <a:pt x="168" y="146"/>
                  </a:lnTo>
                  <a:lnTo>
                    <a:pt x="172" y="146"/>
                  </a:lnTo>
                  <a:lnTo>
                    <a:pt x="176" y="142"/>
                  </a:lnTo>
                  <a:lnTo>
                    <a:pt x="180" y="142"/>
                  </a:lnTo>
                  <a:lnTo>
                    <a:pt x="180" y="138"/>
                  </a:lnTo>
                  <a:lnTo>
                    <a:pt x="180" y="134"/>
                  </a:lnTo>
                  <a:lnTo>
                    <a:pt x="180" y="134"/>
                  </a:lnTo>
                  <a:lnTo>
                    <a:pt x="180" y="134"/>
                  </a:lnTo>
                  <a:close/>
                  <a:moveTo>
                    <a:pt x="302" y="470"/>
                  </a:moveTo>
                  <a:lnTo>
                    <a:pt x="298" y="470"/>
                  </a:lnTo>
                  <a:lnTo>
                    <a:pt x="298" y="466"/>
                  </a:lnTo>
                  <a:lnTo>
                    <a:pt x="302" y="466"/>
                  </a:lnTo>
                  <a:lnTo>
                    <a:pt x="302" y="470"/>
                  </a:lnTo>
                  <a:lnTo>
                    <a:pt x="302" y="470"/>
                  </a:lnTo>
                  <a:lnTo>
                    <a:pt x="302" y="47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55" name="Freeform 195">
              <a:extLst>
                <a:ext uri="{FF2B5EF4-FFF2-40B4-BE49-F238E27FC236}">
                  <a16:creationId xmlns:a16="http://schemas.microsoft.com/office/drawing/2014/main" id="{96FD6DE2-2457-A36E-935F-B3ABEE5933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0489" y="2692901"/>
              <a:ext cx="619534" cy="569423"/>
            </a:xfrm>
            <a:custGeom>
              <a:avLst/>
              <a:gdLst>
                <a:gd name="T0" fmla="*/ 210 w 318"/>
                <a:gd name="T1" fmla="*/ 8 h 302"/>
                <a:gd name="T2" fmla="*/ 224 w 318"/>
                <a:gd name="T3" fmla="*/ 8 h 302"/>
                <a:gd name="T4" fmla="*/ 236 w 318"/>
                <a:gd name="T5" fmla="*/ 12 h 302"/>
                <a:gd name="T6" fmla="*/ 250 w 318"/>
                <a:gd name="T7" fmla="*/ 18 h 302"/>
                <a:gd name="T8" fmla="*/ 266 w 318"/>
                <a:gd name="T9" fmla="*/ 18 h 302"/>
                <a:gd name="T10" fmla="*/ 278 w 318"/>
                <a:gd name="T11" fmla="*/ 22 h 302"/>
                <a:gd name="T12" fmla="*/ 296 w 318"/>
                <a:gd name="T13" fmla="*/ 26 h 302"/>
                <a:gd name="T14" fmla="*/ 304 w 318"/>
                <a:gd name="T15" fmla="*/ 36 h 302"/>
                <a:gd name="T16" fmla="*/ 284 w 318"/>
                <a:gd name="T17" fmla="*/ 48 h 302"/>
                <a:gd name="T18" fmla="*/ 270 w 318"/>
                <a:gd name="T19" fmla="*/ 58 h 302"/>
                <a:gd name="T20" fmla="*/ 266 w 318"/>
                <a:gd name="T21" fmla="*/ 62 h 302"/>
                <a:gd name="T22" fmla="*/ 254 w 318"/>
                <a:gd name="T23" fmla="*/ 88 h 302"/>
                <a:gd name="T24" fmla="*/ 258 w 318"/>
                <a:gd name="T25" fmla="*/ 100 h 302"/>
                <a:gd name="T26" fmla="*/ 248 w 318"/>
                <a:gd name="T27" fmla="*/ 110 h 302"/>
                <a:gd name="T28" fmla="*/ 236 w 318"/>
                <a:gd name="T29" fmla="*/ 122 h 302"/>
                <a:gd name="T30" fmla="*/ 220 w 318"/>
                <a:gd name="T31" fmla="*/ 134 h 302"/>
                <a:gd name="T32" fmla="*/ 202 w 318"/>
                <a:gd name="T33" fmla="*/ 134 h 302"/>
                <a:gd name="T34" fmla="*/ 188 w 318"/>
                <a:gd name="T35" fmla="*/ 140 h 302"/>
                <a:gd name="T36" fmla="*/ 176 w 318"/>
                <a:gd name="T37" fmla="*/ 144 h 302"/>
                <a:gd name="T38" fmla="*/ 168 w 318"/>
                <a:gd name="T39" fmla="*/ 134 h 302"/>
                <a:gd name="T40" fmla="*/ 154 w 318"/>
                <a:gd name="T41" fmla="*/ 118 h 302"/>
                <a:gd name="T42" fmla="*/ 158 w 318"/>
                <a:gd name="T43" fmla="*/ 108 h 302"/>
                <a:gd name="T44" fmla="*/ 158 w 318"/>
                <a:gd name="T45" fmla="*/ 92 h 302"/>
                <a:gd name="T46" fmla="*/ 154 w 318"/>
                <a:gd name="T47" fmla="*/ 78 h 302"/>
                <a:gd name="T48" fmla="*/ 162 w 318"/>
                <a:gd name="T49" fmla="*/ 62 h 302"/>
                <a:gd name="T50" fmla="*/ 168 w 318"/>
                <a:gd name="T51" fmla="*/ 44 h 302"/>
                <a:gd name="T52" fmla="*/ 164 w 318"/>
                <a:gd name="T53" fmla="*/ 32 h 302"/>
                <a:gd name="T54" fmla="*/ 146 w 318"/>
                <a:gd name="T55" fmla="*/ 36 h 302"/>
                <a:gd name="T56" fmla="*/ 134 w 318"/>
                <a:gd name="T57" fmla="*/ 32 h 302"/>
                <a:gd name="T58" fmla="*/ 134 w 318"/>
                <a:gd name="T59" fmla="*/ 28 h 302"/>
                <a:gd name="T60" fmla="*/ 132 w 318"/>
                <a:gd name="T61" fmla="*/ 26 h 302"/>
                <a:gd name="T62" fmla="*/ 132 w 318"/>
                <a:gd name="T63" fmla="*/ 18 h 302"/>
                <a:gd name="T64" fmla="*/ 134 w 318"/>
                <a:gd name="T65" fmla="*/ 8 h 302"/>
                <a:gd name="T66" fmla="*/ 154 w 318"/>
                <a:gd name="T67" fmla="*/ 4 h 302"/>
                <a:gd name="T68" fmla="*/ 176 w 318"/>
                <a:gd name="T69" fmla="*/ 0 h 302"/>
                <a:gd name="T70" fmla="*/ 192 w 318"/>
                <a:gd name="T71" fmla="*/ 8 h 302"/>
                <a:gd name="T72" fmla="*/ 184 w 318"/>
                <a:gd name="T73" fmla="*/ 152 h 302"/>
                <a:gd name="T74" fmla="*/ 218 w 318"/>
                <a:gd name="T75" fmla="*/ 164 h 302"/>
                <a:gd name="T76" fmla="*/ 318 w 318"/>
                <a:gd name="T77" fmla="*/ 70 h 302"/>
                <a:gd name="T78" fmla="*/ 296 w 318"/>
                <a:gd name="T79" fmla="*/ 78 h 302"/>
                <a:gd name="T80" fmla="*/ 304 w 318"/>
                <a:gd name="T81" fmla="*/ 82 h 302"/>
                <a:gd name="T82" fmla="*/ 292 w 318"/>
                <a:gd name="T83" fmla="*/ 82 h 302"/>
                <a:gd name="T84" fmla="*/ 278 w 318"/>
                <a:gd name="T85" fmla="*/ 92 h 302"/>
                <a:gd name="T86" fmla="*/ 278 w 318"/>
                <a:gd name="T87" fmla="*/ 96 h 302"/>
                <a:gd name="T88" fmla="*/ 64 w 318"/>
                <a:gd name="T89" fmla="*/ 276 h 302"/>
                <a:gd name="T90" fmla="*/ 64 w 318"/>
                <a:gd name="T91" fmla="*/ 282 h 302"/>
                <a:gd name="T92" fmla="*/ 8 w 318"/>
                <a:gd name="T93" fmla="*/ 282 h 302"/>
                <a:gd name="T94" fmla="*/ 56 w 318"/>
                <a:gd name="T95" fmla="*/ 294 h 302"/>
                <a:gd name="T96" fmla="*/ 60 w 318"/>
                <a:gd name="T97" fmla="*/ 290 h 302"/>
                <a:gd name="T98" fmla="*/ 22 w 318"/>
                <a:gd name="T99" fmla="*/ 294 h 302"/>
                <a:gd name="T100" fmla="*/ 26 w 318"/>
                <a:gd name="T101" fmla="*/ 286 h 302"/>
                <a:gd name="T102" fmla="*/ 22 w 318"/>
                <a:gd name="T103" fmla="*/ 298 h 302"/>
                <a:gd name="T104" fmla="*/ 16 w 318"/>
                <a:gd name="T105" fmla="*/ 298 h 302"/>
                <a:gd name="T106" fmla="*/ 42 w 318"/>
                <a:gd name="T107" fmla="*/ 298 h 302"/>
                <a:gd name="T108" fmla="*/ 4 w 318"/>
                <a:gd name="T109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8" h="302">
                  <a:moveTo>
                    <a:pt x="194" y="8"/>
                  </a:moveTo>
                  <a:lnTo>
                    <a:pt x="198" y="8"/>
                  </a:lnTo>
                  <a:lnTo>
                    <a:pt x="202" y="4"/>
                  </a:lnTo>
                  <a:lnTo>
                    <a:pt x="206" y="4"/>
                  </a:lnTo>
                  <a:lnTo>
                    <a:pt x="210" y="4"/>
                  </a:lnTo>
                  <a:lnTo>
                    <a:pt x="210" y="8"/>
                  </a:lnTo>
                  <a:lnTo>
                    <a:pt x="214" y="8"/>
                  </a:lnTo>
                  <a:lnTo>
                    <a:pt x="218" y="8"/>
                  </a:lnTo>
                  <a:lnTo>
                    <a:pt x="218" y="4"/>
                  </a:lnTo>
                  <a:lnTo>
                    <a:pt x="220" y="4"/>
                  </a:lnTo>
                  <a:lnTo>
                    <a:pt x="220" y="8"/>
                  </a:lnTo>
                  <a:lnTo>
                    <a:pt x="224" y="8"/>
                  </a:lnTo>
                  <a:lnTo>
                    <a:pt x="228" y="8"/>
                  </a:lnTo>
                  <a:lnTo>
                    <a:pt x="232" y="8"/>
                  </a:lnTo>
                  <a:lnTo>
                    <a:pt x="236" y="8"/>
                  </a:lnTo>
                  <a:lnTo>
                    <a:pt x="240" y="8"/>
                  </a:lnTo>
                  <a:lnTo>
                    <a:pt x="240" y="12"/>
                  </a:lnTo>
                  <a:lnTo>
                    <a:pt x="236" y="12"/>
                  </a:lnTo>
                  <a:lnTo>
                    <a:pt x="240" y="12"/>
                  </a:lnTo>
                  <a:lnTo>
                    <a:pt x="240" y="14"/>
                  </a:lnTo>
                  <a:lnTo>
                    <a:pt x="240" y="12"/>
                  </a:lnTo>
                  <a:lnTo>
                    <a:pt x="244" y="14"/>
                  </a:lnTo>
                  <a:lnTo>
                    <a:pt x="248" y="14"/>
                  </a:lnTo>
                  <a:lnTo>
                    <a:pt x="250" y="18"/>
                  </a:lnTo>
                  <a:lnTo>
                    <a:pt x="254" y="18"/>
                  </a:lnTo>
                  <a:lnTo>
                    <a:pt x="258" y="18"/>
                  </a:lnTo>
                  <a:lnTo>
                    <a:pt x="262" y="18"/>
                  </a:lnTo>
                  <a:lnTo>
                    <a:pt x="266" y="18"/>
                  </a:lnTo>
                  <a:lnTo>
                    <a:pt x="270" y="18"/>
                  </a:lnTo>
                  <a:lnTo>
                    <a:pt x="266" y="18"/>
                  </a:lnTo>
                  <a:lnTo>
                    <a:pt x="270" y="18"/>
                  </a:lnTo>
                  <a:lnTo>
                    <a:pt x="270" y="14"/>
                  </a:lnTo>
                  <a:lnTo>
                    <a:pt x="270" y="18"/>
                  </a:lnTo>
                  <a:lnTo>
                    <a:pt x="274" y="18"/>
                  </a:lnTo>
                  <a:lnTo>
                    <a:pt x="278" y="18"/>
                  </a:lnTo>
                  <a:lnTo>
                    <a:pt x="278" y="22"/>
                  </a:lnTo>
                  <a:lnTo>
                    <a:pt x="280" y="26"/>
                  </a:lnTo>
                  <a:lnTo>
                    <a:pt x="284" y="22"/>
                  </a:lnTo>
                  <a:lnTo>
                    <a:pt x="284" y="26"/>
                  </a:lnTo>
                  <a:lnTo>
                    <a:pt x="288" y="26"/>
                  </a:lnTo>
                  <a:lnTo>
                    <a:pt x="292" y="26"/>
                  </a:lnTo>
                  <a:lnTo>
                    <a:pt x="296" y="26"/>
                  </a:lnTo>
                  <a:lnTo>
                    <a:pt x="300" y="22"/>
                  </a:lnTo>
                  <a:lnTo>
                    <a:pt x="304" y="26"/>
                  </a:lnTo>
                  <a:lnTo>
                    <a:pt x="306" y="26"/>
                  </a:lnTo>
                  <a:lnTo>
                    <a:pt x="304" y="28"/>
                  </a:lnTo>
                  <a:lnTo>
                    <a:pt x="304" y="32"/>
                  </a:lnTo>
                  <a:lnTo>
                    <a:pt x="304" y="36"/>
                  </a:lnTo>
                  <a:lnTo>
                    <a:pt x="300" y="36"/>
                  </a:lnTo>
                  <a:lnTo>
                    <a:pt x="296" y="40"/>
                  </a:lnTo>
                  <a:lnTo>
                    <a:pt x="292" y="44"/>
                  </a:lnTo>
                  <a:lnTo>
                    <a:pt x="288" y="44"/>
                  </a:lnTo>
                  <a:lnTo>
                    <a:pt x="288" y="48"/>
                  </a:lnTo>
                  <a:lnTo>
                    <a:pt x="284" y="48"/>
                  </a:lnTo>
                  <a:lnTo>
                    <a:pt x="280" y="48"/>
                  </a:lnTo>
                  <a:lnTo>
                    <a:pt x="278" y="52"/>
                  </a:lnTo>
                  <a:lnTo>
                    <a:pt x="274" y="52"/>
                  </a:lnTo>
                  <a:lnTo>
                    <a:pt x="270" y="52"/>
                  </a:lnTo>
                  <a:lnTo>
                    <a:pt x="270" y="54"/>
                  </a:lnTo>
                  <a:lnTo>
                    <a:pt x="270" y="58"/>
                  </a:lnTo>
                  <a:lnTo>
                    <a:pt x="270" y="62"/>
                  </a:lnTo>
                  <a:lnTo>
                    <a:pt x="266" y="62"/>
                  </a:lnTo>
                  <a:lnTo>
                    <a:pt x="266" y="58"/>
                  </a:lnTo>
                  <a:lnTo>
                    <a:pt x="270" y="58"/>
                  </a:lnTo>
                  <a:lnTo>
                    <a:pt x="266" y="58"/>
                  </a:lnTo>
                  <a:lnTo>
                    <a:pt x="266" y="62"/>
                  </a:lnTo>
                  <a:lnTo>
                    <a:pt x="262" y="66"/>
                  </a:lnTo>
                  <a:lnTo>
                    <a:pt x="258" y="70"/>
                  </a:lnTo>
                  <a:lnTo>
                    <a:pt x="258" y="74"/>
                  </a:lnTo>
                  <a:lnTo>
                    <a:pt x="254" y="78"/>
                  </a:lnTo>
                  <a:lnTo>
                    <a:pt x="254" y="82"/>
                  </a:lnTo>
                  <a:lnTo>
                    <a:pt x="254" y="88"/>
                  </a:lnTo>
                  <a:lnTo>
                    <a:pt x="254" y="92"/>
                  </a:lnTo>
                  <a:lnTo>
                    <a:pt x="258" y="92"/>
                  </a:lnTo>
                  <a:lnTo>
                    <a:pt x="262" y="92"/>
                  </a:lnTo>
                  <a:lnTo>
                    <a:pt x="262" y="96"/>
                  </a:lnTo>
                  <a:lnTo>
                    <a:pt x="258" y="96"/>
                  </a:lnTo>
                  <a:lnTo>
                    <a:pt x="258" y="100"/>
                  </a:lnTo>
                  <a:lnTo>
                    <a:pt x="254" y="100"/>
                  </a:lnTo>
                  <a:lnTo>
                    <a:pt x="254" y="104"/>
                  </a:lnTo>
                  <a:lnTo>
                    <a:pt x="250" y="104"/>
                  </a:lnTo>
                  <a:lnTo>
                    <a:pt x="250" y="108"/>
                  </a:lnTo>
                  <a:lnTo>
                    <a:pt x="250" y="110"/>
                  </a:lnTo>
                  <a:lnTo>
                    <a:pt x="248" y="110"/>
                  </a:lnTo>
                  <a:lnTo>
                    <a:pt x="248" y="114"/>
                  </a:lnTo>
                  <a:lnTo>
                    <a:pt x="248" y="118"/>
                  </a:lnTo>
                  <a:lnTo>
                    <a:pt x="244" y="118"/>
                  </a:lnTo>
                  <a:lnTo>
                    <a:pt x="240" y="118"/>
                  </a:lnTo>
                  <a:lnTo>
                    <a:pt x="236" y="118"/>
                  </a:lnTo>
                  <a:lnTo>
                    <a:pt x="236" y="122"/>
                  </a:lnTo>
                  <a:lnTo>
                    <a:pt x="232" y="126"/>
                  </a:lnTo>
                  <a:lnTo>
                    <a:pt x="232" y="130"/>
                  </a:lnTo>
                  <a:lnTo>
                    <a:pt x="228" y="130"/>
                  </a:lnTo>
                  <a:lnTo>
                    <a:pt x="228" y="134"/>
                  </a:lnTo>
                  <a:lnTo>
                    <a:pt x="224" y="134"/>
                  </a:lnTo>
                  <a:lnTo>
                    <a:pt x="220" y="134"/>
                  </a:lnTo>
                  <a:lnTo>
                    <a:pt x="218" y="138"/>
                  </a:lnTo>
                  <a:lnTo>
                    <a:pt x="218" y="134"/>
                  </a:lnTo>
                  <a:lnTo>
                    <a:pt x="214" y="134"/>
                  </a:lnTo>
                  <a:lnTo>
                    <a:pt x="210" y="134"/>
                  </a:lnTo>
                  <a:lnTo>
                    <a:pt x="206" y="134"/>
                  </a:lnTo>
                  <a:lnTo>
                    <a:pt x="202" y="134"/>
                  </a:lnTo>
                  <a:lnTo>
                    <a:pt x="198" y="134"/>
                  </a:lnTo>
                  <a:lnTo>
                    <a:pt x="194" y="134"/>
                  </a:lnTo>
                  <a:lnTo>
                    <a:pt x="194" y="138"/>
                  </a:lnTo>
                  <a:lnTo>
                    <a:pt x="192" y="138"/>
                  </a:lnTo>
                  <a:lnTo>
                    <a:pt x="188" y="138"/>
                  </a:lnTo>
                  <a:lnTo>
                    <a:pt x="188" y="140"/>
                  </a:lnTo>
                  <a:lnTo>
                    <a:pt x="184" y="140"/>
                  </a:lnTo>
                  <a:lnTo>
                    <a:pt x="184" y="144"/>
                  </a:lnTo>
                  <a:lnTo>
                    <a:pt x="180" y="144"/>
                  </a:lnTo>
                  <a:lnTo>
                    <a:pt x="180" y="148"/>
                  </a:lnTo>
                  <a:lnTo>
                    <a:pt x="176" y="148"/>
                  </a:lnTo>
                  <a:lnTo>
                    <a:pt x="176" y="144"/>
                  </a:lnTo>
                  <a:lnTo>
                    <a:pt x="172" y="144"/>
                  </a:lnTo>
                  <a:lnTo>
                    <a:pt x="172" y="140"/>
                  </a:lnTo>
                  <a:lnTo>
                    <a:pt x="168" y="140"/>
                  </a:lnTo>
                  <a:lnTo>
                    <a:pt x="172" y="138"/>
                  </a:lnTo>
                  <a:lnTo>
                    <a:pt x="168" y="138"/>
                  </a:lnTo>
                  <a:lnTo>
                    <a:pt x="168" y="134"/>
                  </a:lnTo>
                  <a:lnTo>
                    <a:pt x="164" y="130"/>
                  </a:lnTo>
                  <a:lnTo>
                    <a:pt x="162" y="126"/>
                  </a:lnTo>
                  <a:lnTo>
                    <a:pt x="158" y="126"/>
                  </a:lnTo>
                  <a:lnTo>
                    <a:pt x="154" y="126"/>
                  </a:lnTo>
                  <a:lnTo>
                    <a:pt x="154" y="122"/>
                  </a:lnTo>
                  <a:lnTo>
                    <a:pt x="154" y="118"/>
                  </a:lnTo>
                  <a:lnTo>
                    <a:pt x="150" y="118"/>
                  </a:lnTo>
                  <a:lnTo>
                    <a:pt x="154" y="114"/>
                  </a:lnTo>
                  <a:lnTo>
                    <a:pt x="154" y="110"/>
                  </a:lnTo>
                  <a:lnTo>
                    <a:pt x="158" y="110"/>
                  </a:lnTo>
                  <a:lnTo>
                    <a:pt x="162" y="108"/>
                  </a:lnTo>
                  <a:lnTo>
                    <a:pt x="158" y="108"/>
                  </a:lnTo>
                  <a:lnTo>
                    <a:pt x="158" y="104"/>
                  </a:lnTo>
                  <a:lnTo>
                    <a:pt x="154" y="104"/>
                  </a:lnTo>
                  <a:lnTo>
                    <a:pt x="154" y="100"/>
                  </a:lnTo>
                  <a:lnTo>
                    <a:pt x="154" y="96"/>
                  </a:lnTo>
                  <a:lnTo>
                    <a:pt x="158" y="96"/>
                  </a:lnTo>
                  <a:lnTo>
                    <a:pt x="158" y="92"/>
                  </a:lnTo>
                  <a:lnTo>
                    <a:pt x="162" y="88"/>
                  </a:lnTo>
                  <a:lnTo>
                    <a:pt x="158" y="88"/>
                  </a:lnTo>
                  <a:lnTo>
                    <a:pt x="154" y="84"/>
                  </a:lnTo>
                  <a:lnTo>
                    <a:pt x="154" y="82"/>
                  </a:lnTo>
                  <a:lnTo>
                    <a:pt x="150" y="78"/>
                  </a:lnTo>
                  <a:lnTo>
                    <a:pt x="154" y="78"/>
                  </a:lnTo>
                  <a:lnTo>
                    <a:pt x="158" y="78"/>
                  </a:lnTo>
                  <a:lnTo>
                    <a:pt x="162" y="70"/>
                  </a:lnTo>
                  <a:lnTo>
                    <a:pt x="158" y="70"/>
                  </a:lnTo>
                  <a:lnTo>
                    <a:pt x="158" y="66"/>
                  </a:lnTo>
                  <a:lnTo>
                    <a:pt x="162" y="66"/>
                  </a:lnTo>
                  <a:lnTo>
                    <a:pt x="162" y="62"/>
                  </a:lnTo>
                  <a:lnTo>
                    <a:pt x="162" y="58"/>
                  </a:lnTo>
                  <a:lnTo>
                    <a:pt x="162" y="54"/>
                  </a:lnTo>
                  <a:lnTo>
                    <a:pt x="162" y="52"/>
                  </a:lnTo>
                  <a:lnTo>
                    <a:pt x="164" y="48"/>
                  </a:lnTo>
                  <a:lnTo>
                    <a:pt x="168" y="48"/>
                  </a:lnTo>
                  <a:lnTo>
                    <a:pt x="168" y="44"/>
                  </a:lnTo>
                  <a:lnTo>
                    <a:pt x="168" y="40"/>
                  </a:lnTo>
                  <a:lnTo>
                    <a:pt x="172" y="40"/>
                  </a:lnTo>
                  <a:lnTo>
                    <a:pt x="168" y="40"/>
                  </a:lnTo>
                  <a:lnTo>
                    <a:pt x="164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2" y="32"/>
                  </a:lnTo>
                  <a:lnTo>
                    <a:pt x="158" y="32"/>
                  </a:lnTo>
                  <a:lnTo>
                    <a:pt x="158" y="36"/>
                  </a:lnTo>
                  <a:lnTo>
                    <a:pt x="154" y="36"/>
                  </a:lnTo>
                  <a:lnTo>
                    <a:pt x="150" y="36"/>
                  </a:lnTo>
                  <a:lnTo>
                    <a:pt x="146" y="36"/>
                  </a:lnTo>
                  <a:lnTo>
                    <a:pt x="142" y="36"/>
                  </a:lnTo>
                  <a:lnTo>
                    <a:pt x="142" y="32"/>
                  </a:lnTo>
                  <a:lnTo>
                    <a:pt x="142" y="28"/>
                  </a:lnTo>
                  <a:lnTo>
                    <a:pt x="138" y="28"/>
                  </a:lnTo>
                  <a:lnTo>
                    <a:pt x="138" y="32"/>
                  </a:lnTo>
                  <a:lnTo>
                    <a:pt x="134" y="32"/>
                  </a:lnTo>
                  <a:lnTo>
                    <a:pt x="132" y="36"/>
                  </a:lnTo>
                  <a:lnTo>
                    <a:pt x="132" y="32"/>
                  </a:lnTo>
                  <a:lnTo>
                    <a:pt x="132" y="28"/>
                  </a:lnTo>
                  <a:lnTo>
                    <a:pt x="134" y="28"/>
                  </a:lnTo>
                  <a:lnTo>
                    <a:pt x="134" y="26"/>
                  </a:lnTo>
                  <a:lnTo>
                    <a:pt x="134" y="28"/>
                  </a:lnTo>
                  <a:lnTo>
                    <a:pt x="132" y="28"/>
                  </a:lnTo>
                  <a:lnTo>
                    <a:pt x="132" y="26"/>
                  </a:lnTo>
                  <a:lnTo>
                    <a:pt x="134" y="26"/>
                  </a:lnTo>
                  <a:lnTo>
                    <a:pt x="132" y="26"/>
                  </a:lnTo>
                  <a:lnTo>
                    <a:pt x="132" y="22"/>
                  </a:lnTo>
                  <a:lnTo>
                    <a:pt x="132" y="26"/>
                  </a:lnTo>
                  <a:lnTo>
                    <a:pt x="134" y="22"/>
                  </a:lnTo>
                  <a:lnTo>
                    <a:pt x="132" y="22"/>
                  </a:lnTo>
                  <a:lnTo>
                    <a:pt x="134" y="22"/>
                  </a:lnTo>
                  <a:lnTo>
                    <a:pt x="134" y="18"/>
                  </a:lnTo>
                  <a:lnTo>
                    <a:pt x="132" y="22"/>
                  </a:lnTo>
                  <a:lnTo>
                    <a:pt x="132" y="18"/>
                  </a:lnTo>
                  <a:lnTo>
                    <a:pt x="128" y="18"/>
                  </a:lnTo>
                  <a:lnTo>
                    <a:pt x="128" y="14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2" y="8"/>
                  </a:lnTo>
                  <a:lnTo>
                    <a:pt x="134" y="8"/>
                  </a:lnTo>
                  <a:lnTo>
                    <a:pt x="138" y="8"/>
                  </a:lnTo>
                  <a:lnTo>
                    <a:pt x="142" y="4"/>
                  </a:lnTo>
                  <a:lnTo>
                    <a:pt x="146" y="0"/>
                  </a:lnTo>
                  <a:lnTo>
                    <a:pt x="150" y="0"/>
                  </a:lnTo>
                  <a:lnTo>
                    <a:pt x="154" y="0"/>
                  </a:lnTo>
                  <a:lnTo>
                    <a:pt x="154" y="4"/>
                  </a:lnTo>
                  <a:lnTo>
                    <a:pt x="158" y="4"/>
                  </a:lnTo>
                  <a:lnTo>
                    <a:pt x="162" y="4"/>
                  </a:lnTo>
                  <a:lnTo>
                    <a:pt x="164" y="4"/>
                  </a:lnTo>
                  <a:lnTo>
                    <a:pt x="168" y="4"/>
                  </a:lnTo>
                  <a:lnTo>
                    <a:pt x="172" y="4"/>
                  </a:lnTo>
                  <a:lnTo>
                    <a:pt x="176" y="0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2" y="8"/>
                  </a:lnTo>
                  <a:lnTo>
                    <a:pt x="194" y="8"/>
                  </a:lnTo>
                  <a:lnTo>
                    <a:pt x="194" y="8"/>
                  </a:lnTo>
                  <a:lnTo>
                    <a:pt x="194" y="8"/>
                  </a:lnTo>
                  <a:close/>
                  <a:moveTo>
                    <a:pt x="184" y="152"/>
                  </a:moveTo>
                  <a:lnTo>
                    <a:pt x="184" y="148"/>
                  </a:lnTo>
                  <a:lnTo>
                    <a:pt x="184" y="152"/>
                  </a:lnTo>
                  <a:lnTo>
                    <a:pt x="184" y="152"/>
                  </a:lnTo>
                  <a:lnTo>
                    <a:pt x="184" y="152"/>
                  </a:lnTo>
                  <a:close/>
                  <a:moveTo>
                    <a:pt x="218" y="164"/>
                  </a:moveTo>
                  <a:lnTo>
                    <a:pt x="218" y="160"/>
                  </a:lnTo>
                  <a:lnTo>
                    <a:pt x="218" y="164"/>
                  </a:lnTo>
                  <a:lnTo>
                    <a:pt x="218" y="164"/>
                  </a:lnTo>
                  <a:lnTo>
                    <a:pt x="218" y="164"/>
                  </a:lnTo>
                  <a:close/>
                  <a:moveTo>
                    <a:pt x="318" y="74"/>
                  </a:moveTo>
                  <a:lnTo>
                    <a:pt x="314" y="74"/>
                  </a:lnTo>
                  <a:lnTo>
                    <a:pt x="310" y="70"/>
                  </a:lnTo>
                  <a:lnTo>
                    <a:pt x="314" y="70"/>
                  </a:lnTo>
                  <a:lnTo>
                    <a:pt x="318" y="70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18" y="74"/>
                  </a:lnTo>
                  <a:close/>
                  <a:moveTo>
                    <a:pt x="292" y="82"/>
                  </a:moveTo>
                  <a:lnTo>
                    <a:pt x="292" y="78"/>
                  </a:lnTo>
                  <a:lnTo>
                    <a:pt x="296" y="78"/>
                  </a:lnTo>
                  <a:lnTo>
                    <a:pt x="300" y="74"/>
                  </a:lnTo>
                  <a:lnTo>
                    <a:pt x="304" y="74"/>
                  </a:lnTo>
                  <a:lnTo>
                    <a:pt x="304" y="78"/>
                  </a:lnTo>
                  <a:lnTo>
                    <a:pt x="306" y="78"/>
                  </a:lnTo>
                  <a:lnTo>
                    <a:pt x="306" y="82"/>
                  </a:lnTo>
                  <a:lnTo>
                    <a:pt x="304" y="82"/>
                  </a:lnTo>
                  <a:lnTo>
                    <a:pt x="304" y="84"/>
                  </a:lnTo>
                  <a:lnTo>
                    <a:pt x="300" y="84"/>
                  </a:lnTo>
                  <a:lnTo>
                    <a:pt x="296" y="84"/>
                  </a:lnTo>
                  <a:lnTo>
                    <a:pt x="296" y="82"/>
                  </a:lnTo>
                  <a:lnTo>
                    <a:pt x="292" y="82"/>
                  </a:lnTo>
                  <a:lnTo>
                    <a:pt x="292" y="82"/>
                  </a:lnTo>
                  <a:lnTo>
                    <a:pt x="292" y="82"/>
                  </a:lnTo>
                  <a:close/>
                  <a:moveTo>
                    <a:pt x="278" y="92"/>
                  </a:moveTo>
                  <a:lnTo>
                    <a:pt x="278" y="88"/>
                  </a:lnTo>
                  <a:lnTo>
                    <a:pt x="280" y="88"/>
                  </a:lnTo>
                  <a:lnTo>
                    <a:pt x="280" y="92"/>
                  </a:lnTo>
                  <a:lnTo>
                    <a:pt x="278" y="92"/>
                  </a:lnTo>
                  <a:lnTo>
                    <a:pt x="278" y="92"/>
                  </a:lnTo>
                  <a:lnTo>
                    <a:pt x="278" y="92"/>
                  </a:lnTo>
                  <a:close/>
                  <a:moveTo>
                    <a:pt x="278" y="96"/>
                  </a:moveTo>
                  <a:lnTo>
                    <a:pt x="280" y="96"/>
                  </a:lnTo>
                  <a:lnTo>
                    <a:pt x="278" y="96"/>
                  </a:lnTo>
                  <a:lnTo>
                    <a:pt x="278" y="96"/>
                  </a:lnTo>
                  <a:lnTo>
                    <a:pt x="278" y="96"/>
                  </a:lnTo>
                  <a:close/>
                  <a:moveTo>
                    <a:pt x="64" y="282"/>
                  </a:moveTo>
                  <a:lnTo>
                    <a:pt x="64" y="278"/>
                  </a:lnTo>
                  <a:lnTo>
                    <a:pt x="60" y="278"/>
                  </a:lnTo>
                  <a:lnTo>
                    <a:pt x="64" y="278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8" y="278"/>
                  </a:lnTo>
                  <a:lnTo>
                    <a:pt x="64" y="278"/>
                  </a:lnTo>
                  <a:lnTo>
                    <a:pt x="64" y="282"/>
                  </a:lnTo>
                  <a:lnTo>
                    <a:pt x="64" y="282"/>
                  </a:lnTo>
                  <a:lnTo>
                    <a:pt x="64" y="282"/>
                  </a:lnTo>
                  <a:close/>
                  <a:moveTo>
                    <a:pt x="8" y="286"/>
                  </a:moveTo>
                  <a:lnTo>
                    <a:pt x="4" y="286"/>
                  </a:lnTo>
                  <a:lnTo>
                    <a:pt x="4" y="282"/>
                  </a:lnTo>
                  <a:lnTo>
                    <a:pt x="4" y="278"/>
                  </a:lnTo>
                  <a:lnTo>
                    <a:pt x="4" y="282"/>
                  </a:lnTo>
                  <a:lnTo>
                    <a:pt x="8" y="282"/>
                  </a:lnTo>
                  <a:lnTo>
                    <a:pt x="8" y="286"/>
                  </a:lnTo>
                  <a:lnTo>
                    <a:pt x="8" y="286"/>
                  </a:lnTo>
                  <a:lnTo>
                    <a:pt x="8" y="286"/>
                  </a:lnTo>
                  <a:close/>
                  <a:moveTo>
                    <a:pt x="56" y="294"/>
                  </a:moveTo>
                  <a:lnTo>
                    <a:pt x="52" y="294"/>
                  </a:lnTo>
                  <a:lnTo>
                    <a:pt x="56" y="294"/>
                  </a:lnTo>
                  <a:lnTo>
                    <a:pt x="56" y="290"/>
                  </a:lnTo>
                  <a:lnTo>
                    <a:pt x="60" y="286"/>
                  </a:lnTo>
                  <a:lnTo>
                    <a:pt x="60" y="282"/>
                  </a:lnTo>
                  <a:lnTo>
                    <a:pt x="64" y="282"/>
                  </a:lnTo>
                  <a:lnTo>
                    <a:pt x="64" y="286"/>
                  </a:lnTo>
                  <a:lnTo>
                    <a:pt x="60" y="290"/>
                  </a:lnTo>
                  <a:lnTo>
                    <a:pt x="60" y="294"/>
                  </a:lnTo>
                  <a:lnTo>
                    <a:pt x="56" y="294"/>
                  </a:lnTo>
                  <a:lnTo>
                    <a:pt x="56" y="294"/>
                  </a:lnTo>
                  <a:lnTo>
                    <a:pt x="56" y="294"/>
                  </a:lnTo>
                  <a:close/>
                  <a:moveTo>
                    <a:pt x="22" y="298"/>
                  </a:moveTo>
                  <a:lnTo>
                    <a:pt x="22" y="294"/>
                  </a:lnTo>
                  <a:lnTo>
                    <a:pt x="20" y="294"/>
                  </a:lnTo>
                  <a:lnTo>
                    <a:pt x="20" y="290"/>
                  </a:lnTo>
                  <a:lnTo>
                    <a:pt x="22" y="290"/>
                  </a:lnTo>
                  <a:lnTo>
                    <a:pt x="26" y="286"/>
                  </a:lnTo>
                  <a:lnTo>
                    <a:pt x="30" y="286"/>
                  </a:lnTo>
                  <a:lnTo>
                    <a:pt x="26" y="286"/>
                  </a:lnTo>
                  <a:lnTo>
                    <a:pt x="26" y="290"/>
                  </a:lnTo>
                  <a:lnTo>
                    <a:pt x="26" y="294"/>
                  </a:lnTo>
                  <a:lnTo>
                    <a:pt x="22" y="294"/>
                  </a:lnTo>
                  <a:lnTo>
                    <a:pt x="22" y="298"/>
                  </a:lnTo>
                  <a:lnTo>
                    <a:pt x="22" y="298"/>
                  </a:lnTo>
                  <a:lnTo>
                    <a:pt x="22" y="298"/>
                  </a:lnTo>
                  <a:close/>
                  <a:moveTo>
                    <a:pt x="16" y="298"/>
                  </a:moveTo>
                  <a:lnTo>
                    <a:pt x="12" y="294"/>
                  </a:lnTo>
                  <a:lnTo>
                    <a:pt x="16" y="294"/>
                  </a:lnTo>
                  <a:lnTo>
                    <a:pt x="16" y="298"/>
                  </a:lnTo>
                  <a:lnTo>
                    <a:pt x="16" y="298"/>
                  </a:lnTo>
                  <a:lnTo>
                    <a:pt x="16" y="298"/>
                  </a:lnTo>
                  <a:close/>
                  <a:moveTo>
                    <a:pt x="38" y="302"/>
                  </a:moveTo>
                  <a:lnTo>
                    <a:pt x="34" y="298"/>
                  </a:lnTo>
                  <a:lnTo>
                    <a:pt x="34" y="294"/>
                  </a:lnTo>
                  <a:lnTo>
                    <a:pt x="38" y="294"/>
                  </a:lnTo>
                  <a:lnTo>
                    <a:pt x="42" y="294"/>
                  </a:lnTo>
                  <a:lnTo>
                    <a:pt x="42" y="298"/>
                  </a:lnTo>
                  <a:lnTo>
                    <a:pt x="38" y="302"/>
                  </a:lnTo>
                  <a:lnTo>
                    <a:pt x="38" y="302"/>
                  </a:lnTo>
                  <a:lnTo>
                    <a:pt x="38" y="302"/>
                  </a:lnTo>
                  <a:close/>
                  <a:moveTo>
                    <a:pt x="4" y="302"/>
                  </a:moveTo>
                  <a:lnTo>
                    <a:pt x="0" y="302"/>
                  </a:lnTo>
                  <a:lnTo>
                    <a:pt x="4" y="302"/>
                  </a:lnTo>
                  <a:lnTo>
                    <a:pt x="4" y="298"/>
                  </a:lnTo>
                  <a:lnTo>
                    <a:pt x="4" y="302"/>
                  </a:lnTo>
                  <a:lnTo>
                    <a:pt x="4" y="302"/>
                  </a:lnTo>
                  <a:lnTo>
                    <a:pt x="4" y="302"/>
                  </a:lnTo>
                  <a:close/>
                </a:path>
              </a:pathLst>
            </a:custGeom>
            <a:solidFill>
              <a:srgbClr val="008BE5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56" name="Freeform 197">
              <a:extLst>
                <a:ext uri="{FF2B5EF4-FFF2-40B4-BE49-F238E27FC236}">
                  <a16:creationId xmlns:a16="http://schemas.microsoft.com/office/drawing/2014/main" id="{FFFDA148-5058-81FB-63C8-EF1003266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5427" y="1731292"/>
              <a:ext cx="66239" cy="49023"/>
            </a:xfrm>
            <a:custGeom>
              <a:avLst/>
              <a:gdLst>
                <a:gd name="T0" fmla="*/ 0 w 34"/>
                <a:gd name="T1" fmla="*/ 6 h 26"/>
                <a:gd name="T2" fmla="*/ 4 w 34"/>
                <a:gd name="T3" fmla="*/ 2 h 26"/>
                <a:gd name="T4" fmla="*/ 4 w 34"/>
                <a:gd name="T5" fmla="*/ 0 h 26"/>
                <a:gd name="T6" fmla="*/ 4 w 34"/>
                <a:gd name="T7" fmla="*/ 0 h 26"/>
                <a:gd name="T8" fmla="*/ 4 w 34"/>
                <a:gd name="T9" fmla="*/ 0 h 26"/>
                <a:gd name="T10" fmla="*/ 8 w 34"/>
                <a:gd name="T11" fmla="*/ 0 h 26"/>
                <a:gd name="T12" fmla="*/ 8 w 34"/>
                <a:gd name="T13" fmla="*/ 0 h 26"/>
                <a:gd name="T14" fmla="*/ 8 w 34"/>
                <a:gd name="T15" fmla="*/ 0 h 26"/>
                <a:gd name="T16" fmla="*/ 8 w 34"/>
                <a:gd name="T17" fmla="*/ 0 h 26"/>
                <a:gd name="T18" fmla="*/ 12 w 34"/>
                <a:gd name="T19" fmla="*/ 2 h 26"/>
                <a:gd name="T20" fmla="*/ 12 w 34"/>
                <a:gd name="T21" fmla="*/ 2 h 26"/>
                <a:gd name="T22" fmla="*/ 20 w 34"/>
                <a:gd name="T23" fmla="*/ 6 h 26"/>
                <a:gd name="T24" fmla="*/ 26 w 34"/>
                <a:gd name="T25" fmla="*/ 10 h 26"/>
                <a:gd name="T26" fmla="*/ 26 w 34"/>
                <a:gd name="T27" fmla="*/ 10 h 26"/>
                <a:gd name="T28" fmla="*/ 26 w 34"/>
                <a:gd name="T29" fmla="*/ 10 h 26"/>
                <a:gd name="T30" fmla="*/ 26 w 34"/>
                <a:gd name="T31" fmla="*/ 10 h 26"/>
                <a:gd name="T32" fmla="*/ 30 w 34"/>
                <a:gd name="T33" fmla="*/ 10 h 26"/>
                <a:gd name="T34" fmla="*/ 30 w 34"/>
                <a:gd name="T35" fmla="*/ 10 h 26"/>
                <a:gd name="T36" fmla="*/ 30 w 34"/>
                <a:gd name="T37" fmla="*/ 10 h 26"/>
                <a:gd name="T38" fmla="*/ 26 w 34"/>
                <a:gd name="T39" fmla="*/ 10 h 26"/>
                <a:gd name="T40" fmla="*/ 24 w 34"/>
                <a:gd name="T41" fmla="*/ 14 h 26"/>
                <a:gd name="T42" fmla="*/ 26 w 34"/>
                <a:gd name="T43" fmla="*/ 14 h 26"/>
                <a:gd name="T44" fmla="*/ 30 w 34"/>
                <a:gd name="T45" fmla="*/ 14 h 26"/>
                <a:gd name="T46" fmla="*/ 30 w 34"/>
                <a:gd name="T47" fmla="*/ 14 h 26"/>
                <a:gd name="T48" fmla="*/ 34 w 34"/>
                <a:gd name="T49" fmla="*/ 14 h 26"/>
                <a:gd name="T50" fmla="*/ 34 w 34"/>
                <a:gd name="T51" fmla="*/ 14 h 26"/>
                <a:gd name="T52" fmla="*/ 30 w 34"/>
                <a:gd name="T53" fmla="*/ 14 h 26"/>
                <a:gd name="T54" fmla="*/ 26 w 34"/>
                <a:gd name="T55" fmla="*/ 18 h 26"/>
                <a:gd name="T56" fmla="*/ 26 w 34"/>
                <a:gd name="T57" fmla="*/ 18 h 26"/>
                <a:gd name="T58" fmla="*/ 26 w 34"/>
                <a:gd name="T59" fmla="*/ 18 h 26"/>
                <a:gd name="T60" fmla="*/ 24 w 34"/>
                <a:gd name="T61" fmla="*/ 18 h 26"/>
                <a:gd name="T62" fmla="*/ 24 w 34"/>
                <a:gd name="T63" fmla="*/ 18 h 26"/>
                <a:gd name="T64" fmla="*/ 20 w 34"/>
                <a:gd name="T65" fmla="*/ 18 h 26"/>
                <a:gd name="T66" fmla="*/ 16 w 34"/>
                <a:gd name="T67" fmla="*/ 18 h 26"/>
                <a:gd name="T68" fmla="*/ 16 w 34"/>
                <a:gd name="T69" fmla="*/ 18 h 26"/>
                <a:gd name="T70" fmla="*/ 16 w 34"/>
                <a:gd name="T71" fmla="*/ 18 h 26"/>
                <a:gd name="T72" fmla="*/ 12 w 34"/>
                <a:gd name="T73" fmla="*/ 14 h 26"/>
                <a:gd name="T74" fmla="*/ 12 w 34"/>
                <a:gd name="T75" fmla="*/ 18 h 26"/>
                <a:gd name="T76" fmla="*/ 8 w 34"/>
                <a:gd name="T77" fmla="*/ 22 h 26"/>
                <a:gd name="T78" fmla="*/ 4 w 34"/>
                <a:gd name="T79" fmla="*/ 26 h 26"/>
                <a:gd name="T80" fmla="*/ 0 w 34"/>
                <a:gd name="T81" fmla="*/ 26 h 26"/>
                <a:gd name="T82" fmla="*/ 4 w 34"/>
                <a:gd name="T83" fmla="*/ 22 h 26"/>
                <a:gd name="T84" fmla="*/ 4 w 34"/>
                <a:gd name="T85" fmla="*/ 22 h 26"/>
                <a:gd name="T86" fmla="*/ 4 w 34"/>
                <a:gd name="T87" fmla="*/ 22 h 26"/>
                <a:gd name="T88" fmla="*/ 4 w 34"/>
                <a:gd name="T89" fmla="*/ 22 h 26"/>
                <a:gd name="T90" fmla="*/ 0 w 34"/>
                <a:gd name="T91" fmla="*/ 22 h 26"/>
                <a:gd name="T92" fmla="*/ 4 w 34"/>
                <a:gd name="T93" fmla="*/ 22 h 26"/>
                <a:gd name="T94" fmla="*/ 4 w 34"/>
                <a:gd name="T95" fmla="*/ 18 h 26"/>
                <a:gd name="T96" fmla="*/ 4 w 34"/>
                <a:gd name="T97" fmla="*/ 14 h 26"/>
                <a:gd name="T98" fmla="*/ 0 w 34"/>
                <a:gd name="T99" fmla="*/ 10 h 26"/>
                <a:gd name="T100" fmla="*/ 0 w 34"/>
                <a:gd name="T101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" h="26">
                  <a:moveTo>
                    <a:pt x="0" y="10"/>
                  </a:moveTo>
                  <a:lnTo>
                    <a:pt x="0" y="10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6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4" y="6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57" name="Freeform 198">
              <a:extLst>
                <a:ext uri="{FF2B5EF4-FFF2-40B4-BE49-F238E27FC236}">
                  <a16:creationId xmlns:a16="http://schemas.microsoft.com/office/drawing/2014/main" id="{20E4BEC0-382F-A420-DDA2-1B38D082A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7990" y="3778953"/>
              <a:ext cx="27275" cy="37710"/>
            </a:xfrm>
            <a:custGeom>
              <a:avLst/>
              <a:gdLst>
                <a:gd name="T0" fmla="*/ 14 w 14"/>
                <a:gd name="T1" fmla="*/ 16 h 20"/>
                <a:gd name="T2" fmla="*/ 14 w 14"/>
                <a:gd name="T3" fmla="*/ 20 h 20"/>
                <a:gd name="T4" fmla="*/ 14 w 14"/>
                <a:gd name="T5" fmla="*/ 20 h 20"/>
                <a:gd name="T6" fmla="*/ 14 w 14"/>
                <a:gd name="T7" fmla="*/ 20 h 20"/>
                <a:gd name="T8" fmla="*/ 14 w 14"/>
                <a:gd name="T9" fmla="*/ 20 h 20"/>
                <a:gd name="T10" fmla="*/ 14 w 14"/>
                <a:gd name="T11" fmla="*/ 20 h 20"/>
                <a:gd name="T12" fmla="*/ 10 w 14"/>
                <a:gd name="T13" fmla="*/ 20 h 20"/>
                <a:gd name="T14" fmla="*/ 6 w 14"/>
                <a:gd name="T15" fmla="*/ 16 h 20"/>
                <a:gd name="T16" fmla="*/ 2 w 14"/>
                <a:gd name="T17" fmla="*/ 16 h 20"/>
                <a:gd name="T18" fmla="*/ 2 w 14"/>
                <a:gd name="T19" fmla="*/ 12 h 20"/>
                <a:gd name="T20" fmla="*/ 2 w 14"/>
                <a:gd name="T21" fmla="*/ 12 h 20"/>
                <a:gd name="T22" fmla="*/ 0 w 14"/>
                <a:gd name="T23" fmla="*/ 12 h 20"/>
                <a:gd name="T24" fmla="*/ 0 w 14"/>
                <a:gd name="T25" fmla="*/ 12 h 20"/>
                <a:gd name="T26" fmla="*/ 0 w 14"/>
                <a:gd name="T27" fmla="*/ 12 h 20"/>
                <a:gd name="T28" fmla="*/ 0 w 14"/>
                <a:gd name="T29" fmla="*/ 8 h 20"/>
                <a:gd name="T30" fmla="*/ 0 w 14"/>
                <a:gd name="T31" fmla="*/ 8 h 20"/>
                <a:gd name="T32" fmla="*/ 0 w 14"/>
                <a:gd name="T33" fmla="*/ 4 h 20"/>
                <a:gd name="T34" fmla="*/ 0 w 14"/>
                <a:gd name="T35" fmla="*/ 4 h 20"/>
                <a:gd name="T36" fmla="*/ 0 w 14"/>
                <a:gd name="T37" fmla="*/ 4 h 20"/>
                <a:gd name="T38" fmla="*/ 0 w 14"/>
                <a:gd name="T39" fmla="*/ 4 h 20"/>
                <a:gd name="T40" fmla="*/ 0 w 14"/>
                <a:gd name="T41" fmla="*/ 4 h 20"/>
                <a:gd name="T42" fmla="*/ 0 w 14"/>
                <a:gd name="T43" fmla="*/ 0 h 20"/>
                <a:gd name="T44" fmla="*/ 0 w 14"/>
                <a:gd name="T45" fmla="*/ 0 h 20"/>
                <a:gd name="T46" fmla="*/ 0 w 14"/>
                <a:gd name="T47" fmla="*/ 0 h 20"/>
                <a:gd name="T48" fmla="*/ 0 w 14"/>
                <a:gd name="T49" fmla="*/ 0 h 20"/>
                <a:gd name="T50" fmla="*/ 0 w 14"/>
                <a:gd name="T51" fmla="*/ 0 h 20"/>
                <a:gd name="T52" fmla="*/ 2 w 14"/>
                <a:gd name="T53" fmla="*/ 0 h 20"/>
                <a:gd name="T54" fmla="*/ 2 w 14"/>
                <a:gd name="T55" fmla="*/ 0 h 20"/>
                <a:gd name="T56" fmla="*/ 2 w 14"/>
                <a:gd name="T57" fmla="*/ 0 h 20"/>
                <a:gd name="T58" fmla="*/ 6 w 14"/>
                <a:gd name="T59" fmla="*/ 4 h 20"/>
                <a:gd name="T60" fmla="*/ 6 w 14"/>
                <a:gd name="T61" fmla="*/ 4 h 20"/>
                <a:gd name="T62" fmla="*/ 6 w 14"/>
                <a:gd name="T63" fmla="*/ 4 h 20"/>
                <a:gd name="T64" fmla="*/ 10 w 14"/>
                <a:gd name="T65" fmla="*/ 8 h 20"/>
                <a:gd name="T66" fmla="*/ 10 w 14"/>
                <a:gd name="T67" fmla="*/ 8 h 20"/>
                <a:gd name="T68" fmla="*/ 10 w 14"/>
                <a:gd name="T69" fmla="*/ 8 h 20"/>
                <a:gd name="T70" fmla="*/ 14 w 14"/>
                <a:gd name="T71" fmla="*/ 12 h 20"/>
                <a:gd name="T72" fmla="*/ 14 w 14"/>
                <a:gd name="T73" fmla="*/ 16 h 20"/>
                <a:gd name="T74" fmla="*/ 14 w 14"/>
                <a:gd name="T75" fmla="*/ 16 h 20"/>
                <a:gd name="T76" fmla="*/ 14 w 14"/>
                <a:gd name="T77" fmla="*/ 16 h 20"/>
                <a:gd name="T78" fmla="*/ 14 w 14"/>
                <a:gd name="T79" fmla="*/ 16 h 20"/>
                <a:gd name="T80" fmla="*/ 14 w 14"/>
                <a:gd name="T81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" h="20">
                  <a:moveTo>
                    <a:pt x="14" y="16"/>
                  </a:moveTo>
                  <a:lnTo>
                    <a:pt x="14" y="16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0" y="20"/>
                  </a:lnTo>
                  <a:lnTo>
                    <a:pt x="10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close/>
                </a:path>
              </a:pathLst>
            </a:custGeom>
            <a:solidFill>
              <a:srgbClr val="008BE5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58" name="Freeform 199">
              <a:extLst>
                <a:ext uri="{FF2B5EF4-FFF2-40B4-BE49-F238E27FC236}">
                  <a16:creationId xmlns:a16="http://schemas.microsoft.com/office/drawing/2014/main" id="{1ABA6191-7326-6068-3D08-EACD0E2136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5919" y="2726840"/>
              <a:ext cx="15586" cy="11313"/>
            </a:xfrm>
            <a:custGeom>
              <a:avLst/>
              <a:gdLst>
                <a:gd name="T0" fmla="*/ 4 w 8"/>
                <a:gd name="T1" fmla="*/ 4 h 6"/>
                <a:gd name="T2" fmla="*/ 4 w 8"/>
                <a:gd name="T3" fmla="*/ 4 h 6"/>
                <a:gd name="T4" fmla="*/ 8 w 8"/>
                <a:gd name="T5" fmla="*/ 4 h 6"/>
                <a:gd name="T6" fmla="*/ 8 w 8"/>
                <a:gd name="T7" fmla="*/ 4 h 6"/>
                <a:gd name="T8" fmla="*/ 8 w 8"/>
                <a:gd name="T9" fmla="*/ 4 h 6"/>
                <a:gd name="T10" fmla="*/ 8 w 8"/>
                <a:gd name="T11" fmla="*/ 4 h 6"/>
                <a:gd name="T12" fmla="*/ 8 w 8"/>
                <a:gd name="T13" fmla="*/ 4 h 6"/>
                <a:gd name="T14" fmla="*/ 8 w 8"/>
                <a:gd name="T15" fmla="*/ 4 h 6"/>
                <a:gd name="T16" fmla="*/ 8 w 8"/>
                <a:gd name="T17" fmla="*/ 6 h 6"/>
                <a:gd name="T18" fmla="*/ 8 w 8"/>
                <a:gd name="T19" fmla="*/ 6 h 6"/>
                <a:gd name="T20" fmla="*/ 8 w 8"/>
                <a:gd name="T21" fmla="*/ 6 h 6"/>
                <a:gd name="T22" fmla="*/ 8 w 8"/>
                <a:gd name="T23" fmla="*/ 6 h 6"/>
                <a:gd name="T24" fmla="*/ 8 w 8"/>
                <a:gd name="T25" fmla="*/ 6 h 6"/>
                <a:gd name="T26" fmla="*/ 8 w 8"/>
                <a:gd name="T27" fmla="*/ 6 h 6"/>
                <a:gd name="T28" fmla="*/ 4 w 8"/>
                <a:gd name="T29" fmla="*/ 6 h 6"/>
                <a:gd name="T30" fmla="*/ 4 w 8"/>
                <a:gd name="T31" fmla="*/ 6 h 6"/>
                <a:gd name="T32" fmla="*/ 4 w 8"/>
                <a:gd name="T33" fmla="*/ 6 h 6"/>
                <a:gd name="T34" fmla="*/ 4 w 8"/>
                <a:gd name="T35" fmla="*/ 6 h 6"/>
                <a:gd name="T36" fmla="*/ 0 w 8"/>
                <a:gd name="T37" fmla="*/ 6 h 6"/>
                <a:gd name="T38" fmla="*/ 0 w 8"/>
                <a:gd name="T39" fmla="*/ 6 h 6"/>
                <a:gd name="T40" fmla="*/ 0 w 8"/>
                <a:gd name="T41" fmla="*/ 6 h 6"/>
                <a:gd name="T42" fmla="*/ 0 w 8"/>
                <a:gd name="T43" fmla="*/ 6 h 6"/>
                <a:gd name="T44" fmla="*/ 0 w 8"/>
                <a:gd name="T45" fmla="*/ 6 h 6"/>
                <a:gd name="T46" fmla="*/ 0 w 8"/>
                <a:gd name="T47" fmla="*/ 6 h 6"/>
                <a:gd name="T48" fmla="*/ 0 w 8"/>
                <a:gd name="T49" fmla="*/ 6 h 6"/>
                <a:gd name="T50" fmla="*/ 0 w 8"/>
                <a:gd name="T51" fmla="*/ 6 h 6"/>
                <a:gd name="T52" fmla="*/ 0 w 8"/>
                <a:gd name="T53" fmla="*/ 6 h 6"/>
                <a:gd name="T54" fmla="*/ 0 w 8"/>
                <a:gd name="T55" fmla="*/ 6 h 6"/>
                <a:gd name="T56" fmla="*/ 0 w 8"/>
                <a:gd name="T57" fmla="*/ 6 h 6"/>
                <a:gd name="T58" fmla="*/ 0 w 8"/>
                <a:gd name="T59" fmla="*/ 6 h 6"/>
                <a:gd name="T60" fmla="*/ 4 w 8"/>
                <a:gd name="T61" fmla="*/ 6 h 6"/>
                <a:gd name="T62" fmla="*/ 4 w 8"/>
                <a:gd name="T63" fmla="*/ 6 h 6"/>
                <a:gd name="T64" fmla="*/ 4 w 8"/>
                <a:gd name="T65" fmla="*/ 6 h 6"/>
                <a:gd name="T66" fmla="*/ 0 w 8"/>
                <a:gd name="T67" fmla="*/ 4 h 6"/>
                <a:gd name="T68" fmla="*/ 0 w 8"/>
                <a:gd name="T69" fmla="*/ 4 h 6"/>
                <a:gd name="T70" fmla="*/ 0 w 8"/>
                <a:gd name="T71" fmla="*/ 4 h 6"/>
                <a:gd name="T72" fmla="*/ 4 w 8"/>
                <a:gd name="T73" fmla="*/ 4 h 6"/>
                <a:gd name="T74" fmla="*/ 4 w 8"/>
                <a:gd name="T75" fmla="*/ 4 h 6"/>
                <a:gd name="T76" fmla="*/ 4 w 8"/>
                <a:gd name="T77" fmla="*/ 4 h 6"/>
                <a:gd name="T78" fmla="*/ 4 w 8"/>
                <a:gd name="T79" fmla="*/ 0 h 6"/>
                <a:gd name="T80" fmla="*/ 4 w 8"/>
                <a:gd name="T81" fmla="*/ 0 h 6"/>
                <a:gd name="T82" fmla="*/ 4 w 8"/>
                <a:gd name="T83" fmla="*/ 0 h 6"/>
                <a:gd name="T84" fmla="*/ 4 w 8"/>
                <a:gd name="T85" fmla="*/ 0 h 6"/>
                <a:gd name="T86" fmla="*/ 4 w 8"/>
                <a:gd name="T87" fmla="*/ 0 h 6"/>
                <a:gd name="T88" fmla="*/ 4 w 8"/>
                <a:gd name="T89" fmla="*/ 4 h 6"/>
                <a:gd name="T90" fmla="*/ 4 w 8"/>
                <a:gd name="T91" fmla="*/ 4 h 6"/>
                <a:gd name="T92" fmla="*/ 4 w 8"/>
                <a:gd name="T93" fmla="*/ 4 h 6"/>
                <a:gd name="T94" fmla="*/ 4 w 8"/>
                <a:gd name="T95" fmla="*/ 4 h 6"/>
                <a:gd name="T96" fmla="*/ 4 w 8"/>
                <a:gd name="T97" fmla="*/ 4 h 6"/>
                <a:gd name="T98" fmla="*/ 4 w 8"/>
                <a:gd name="T99" fmla="*/ 4 h 6"/>
                <a:gd name="T100" fmla="*/ 4 w 8"/>
                <a:gd name="T10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" h="6">
                  <a:moveTo>
                    <a:pt x="4" y="4"/>
                  </a:move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59" name="Freeform 200">
              <a:extLst>
                <a:ext uri="{FF2B5EF4-FFF2-40B4-BE49-F238E27FC236}">
                  <a16:creationId xmlns:a16="http://schemas.microsoft.com/office/drawing/2014/main" id="{49544DC5-78A0-1630-FB7F-CD8ECCAF3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0683" y="5317526"/>
              <a:ext cx="167547" cy="263971"/>
            </a:xfrm>
            <a:custGeom>
              <a:avLst/>
              <a:gdLst>
                <a:gd name="T0" fmla="*/ 52 w 86"/>
                <a:gd name="T1" fmla="*/ 124 h 140"/>
                <a:gd name="T2" fmla="*/ 44 w 86"/>
                <a:gd name="T3" fmla="*/ 136 h 140"/>
                <a:gd name="T4" fmla="*/ 38 w 86"/>
                <a:gd name="T5" fmla="*/ 136 h 140"/>
                <a:gd name="T6" fmla="*/ 30 w 86"/>
                <a:gd name="T7" fmla="*/ 136 h 140"/>
                <a:gd name="T8" fmla="*/ 34 w 86"/>
                <a:gd name="T9" fmla="*/ 124 h 140"/>
                <a:gd name="T10" fmla="*/ 38 w 86"/>
                <a:gd name="T11" fmla="*/ 112 h 140"/>
                <a:gd name="T12" fmla="*/ 30 w 86"/>
                <a:gd name="T13" fmla="*/ 106 h 140"/>
                <a:gd name="T14" fmla="*/ 22 w 86"/>
                <a:gd name="T15" fmla="*/ 98 h 140"/>
                <a:gd name="T16" fmla="*/ 18 w 86"/>
                <a:gd name="T17" fmla="*/ 90 h 140"/>
                <a:gd name="T18" fmla="*/ 30 w 86"/>
                <a:gd name="T19" fmla="*/ 86 h 140"/>
                <a:gd name="T20" fmla="*/ 30 w 86"/>
                <a:gd name="T21" fmla="*/ 72 h 140"/>
                <a:gd name="T22" fmla="*/ 30 w 86"/>
                <a:gd name="T23" fmla="*/ 64 h 140"/>
                <a:gd name="T24" fmla="*/ 30 w 86"/>
                <a:gd name="T25" fmla="*/ 56 h 140"/>
                <a:gd name="T26" fmla="*/ 26 w 86"/>
                <a:gd name="T27" fmla="*/ 54 h 140"/>
                <a:gd name="T28" fmla="*/ 34 w 86"/>
                <a:gd name="T29" fmla="*/ 54 h 140"/>
                <a:gd name="T30" fmla="*/ 26 w 86"/>
                <a:gd name="T31" fmla="*/ 46 h 140"/>
                <a:gd name="T32" fmla="*/ 26 w 86"/>
                <a:gd name="T33" fmla="*/ 42 h 140"/>
                <a:gd name="T34" fmla="*/ 26 w 86"/>
                <a:gd name="T35" fmla="*/ 34 h 140"/>
                <a:gd name="T36" fmla="*/ 22 w 86"/>
                <a:gd name="T37" fmla="*/ 34 h 140"/>
                <a:gd name="T38" fmla="*/ 18 w 86"/>
                <a:gd name="T39" fmla="*/ 30 h 140"/>
                <a:gd name="T40" fmla="*/ 18 w 86"/>
                <a:gd name="T41" fmla="*/ 38 h 140"/>
                <a:gd name="T42" fmla="*/ 14 w 86"/>
                <a:gd name="T43" fmla="*/ 26 h 140"/>
                <a:gd name="T44" fmla="*/ 14 w 86"/>
                <a:gd name="T45" fmla="*/ 16 h 140"/>
                <a:gd name="T46" fmla="*/ 12 w 86"/>
                <a:gd name="T47" fmla="*/ 20 h 140"/>
                <a:gd name="T48" fmla="*/ 4 w 86"/>
                <a:gd name="T49" fmla="*/ 8 h 140"/>
                <a:gd name="T50" fmla="*/ 8 w 86"/>
                <a:gd name="T51" fmla="*/ 0 h 140"/>
                <a:gd name="T52" fmla="*/ 4 w 86"/>
                <a:gd name="T53" fmla="*/ 4 h 140"/>
                <a:gd name="T54" fmla="*/ 8 w 86"/>
                <a:gd name="T55" fmla="*/ 12 h 140"/>
                <a:gd name="T56" fmla="*/ 14 w 86"/>
                <a:gd name="T57" fmla="*/ 12 h 140"/>
                <a:gd name="T58" fmla="*/ 22 w 86"/>
                <a:gd name="T59" fmla="*/ 16 h 140"/>
                <a:gd name="T60" fmla="*/ 26 w 86"/>
                <a:gd name="T61" fmla="*/ 20 h 140"/>
                <a:gd name="T62" fmla="*/ 26 w 86"/>
                <a:gd name="T63" fmla="*/ 26 h 140"/>
                <a:gd name="T64" fmla="*/ 30 w 86"/>
                <a:gd name="T65" fmla="*/ 30 h 140"/>
                <a:gd name="T66" fmla="*/ 30 w 86"/>
                <a:gd name="T67" fmla="*/ 46 h 140"/>
                <a:gd name="T68" fmla="*/ 34 w 86"/>
                <a:gd name="T69" fmla="*/ 50 h 140"/>
                <a:gd name="T70" fmla="*/ 40 w 86"/>
                <a:gd name="T71" fmla="*/ 50 h 140"/>
                <a:gd name="T72" fmla="*/ 38 w 86"/>
                <a:gd name="T73" fmla="*/ 38 h 140"/>
                <a:gd name="T74" fmla="*/ 44 w 86"/>
                <a:gd name="T75" fmla="*/ 50 h 140"/>
                <a:gd name="T76" fmla="*/ 48 w 86"/>
                <a:gd name="T77" fmla="*/ 54 h 140"/>
                <a:gd name="T78" fmla="*/ 48 w 86"/>
                <a:gd name="T79" fmla="*/ 60 h 140"/>
                <a:gd name="T80" fmla="*/ 52 w 86"/>
                <a:gd name="T81" fmla="*/ 64 h 140"/>
                <a:gd name="T82" fmla="*/ 64 w 86"/>
                <a:gd name="T83" fmla="*/ 68 h 140"/>
                <a:gd name="T84" fmla="*/ 74 w 86"/>
                <a:gd name="T85" fmla="*/ 64 h 140"/>
                <a:gd name="T86" fmla="*/ 86 w 86"/>
                <a:gd name="T87" fmla="*/ 64 h 140"/>
                <a:gd name="T88" fmla="*/ 82 w 86"/>
                <a:gd name="T89" fmla="*/ 76 h 140"/>
                <a:gd name="T90" fmla="*/ 74 w 86"/>
                <a:gd name="T91" fmla="*/ 86 h 140"/>
                <a:gd name="T92" fmla="*/ 70 w 86"/>
                <a:gd name="T93" fmla="*/ 90 h 140"/>
                <a:gd name="T94" fmla="*/ 60 w 86"/>
                <a:gd name="T95" fmla="*/ 98 h 140"/>
                <a:gd name="T96" fmla="*/ 60 w 86"/>
                <a:gd name="T97" fmla="*/ 11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" h="140">
                  <a:moveTo>
                    <a:pt x="56" y="116"/>
                  </a:moveTo>
                  <a:lnTo>
                    <a:pt x="56" y="120"/>
                  </a:lnTo>
                  <a:lnTo>
                    <a:pt x="52" y="120"/>
                  </a:lnTo>
                  <a:lnTo>
                    <a:pt x="52" y="124"/>
                  </a:lnTo>
                  <a:lnTo>
                    <a:pt x="52" y="128"/>
                  </a:lnTo>
                  <a:lnTo>
                    <a:pt x="48" y="128"/>
                  </a:lnTo>
                  <a:lnTo>
                    <a:pt x="48" y="132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38" y="140"/>
                  </a:lnTo>
                  <a:lnTo>
                    <a:pt x="38" y="136"/>
                  </a:lnTo>
                  <a:lnTo>
                    <a:pt x="34" y="136"/>
                  </a:lnTo>
                  <a:lnTo>
                    <a:pt x="34" y="132"/>
                  </a:lnTo>
                  <a:lnTo>
                    <a:pt x="30" y="132"/>
                  </a:lnTo>
                  <a:lnTo>
                    <a:pt x="30" y="136"/>
                  </a:lnTo>
                  <a:lnTo>
                    <a:pt x="30" y="132"/>
                  </a:lnTo>
                  <a:lnTo>
                    <a:pt x="30" y="128"/>
                  </a:lnTo>
                  <a:lnTo>
                    <a:pt x="34" y="128"/>
                  </a:lnTo>
                  <a:lnTo>
                    <a:pt x="34" y="124"/>
                  </a:lnTo>
                  <a:lnTo>
                    <a:pt x="34" y="120"/>
                  </a:lnTo>
                  <a:lnTo>
                    <a:pt x="38" y="120"/>
                  </a:lnTo>
                  <a:lnTo>
                    <a:pt x="38" y="116"/>
                  </a:lnTo>
                  <a:lnTo>
                    <a:pt x="38" y="112"/>
                  </a:lnTo>
                  <a:lnTo>
                    <a:pt x="38" y="110"/>
                  </a:lnTo>
                  <a:lnTo>
                    <a:pt x="34" y="110"/>
                  </a:lnTo>
                  <a:lnTo>
                    <a:pt x="34" y="106"/>
                  </a:lnTo>
                  <a:lnTo>
                    <a:pt x="30" y="106"/>
                  </a:lnTo>
                  <a:lnTo>
                    <a:pt x="26" y="106"/>
                  </a:lnTo>
                  <a:lnTo>
                    <a:pt x="26" y="102"/>
                  </a:lnTo>
                  <a:lnTo>
                    <a:pt x="22" y="102"/>
                  </a:lnTo>
                  <a:lnTo>
                    <a:pt x="22" y="98"/>
                  </a:lnTo>
                  <a:lnTo>
                    <a:pt x="18" y="98"/>
                  </a:lnTo>
                  <a:lnTo>
                    <a:pt x="14" y="94"/>
                  </a:lnTo>
                  <a:lnTo>
                    <a:pt x="14" y="90"/>
                  </a:lnTo>
                  <a:lnTo>
                    <a:pt x="18" y="90"/>
                  </a:lnTo>
                  <a:lnTo>
                    <a:pt x="22" y="90"/>
                  </a:lnTo>
                  <a:lnTo>
                    <a:pt x="22" y="86"/>
                  </a:lnTo>
                  <a:lnTo>
                    <a:pt x="26" y="86"/>
                  </a:lnTo>
                  <a:lnTo>
                    <a:pt x="30" y="86"/>
                  </a:lnTo>
                  <a:lnTo>
                    <a:pt x="30" y="82"/>
                  </a:lnTo>
                  <a:lnTo>
                    <a:pt x="30" y="80"/>
                  </a:lnTo>
                  <a:lnTo>
                    <a:pt x="30" y="76"/>
                  </a:lnTo>
                  <a:lnTo>
                    <a:pt x="30" y="72"/>
                  </a:lnTo>
                  <a:lnTo>
                    <a:pt x="34" y="72"/>
                  </a:lnTo>
                  <a:lnTo>
                    <a:pt x="34" y="68"/>
                  </a:lnTo>
                  <a:lnTo>
                    <a:pt x="30" y="68"/>
                  </a:lnTo>
                  <a:lnTo>
                    <a:pt x="30" y="64"/>
                  </a:lnTo>
                  <a:lnTo>
                    <a:pt x="34" y="64"/>
                  </a:lnTo>
                  <a:lnTo>
                    <a:pt x="30" y="64"/>
                  </a:lnTo>
                  <a:lnTo>
                    <a:pt x="30" y="60"/>
                  </a:lnTo>
                  <a:lnTo>
                    <a:pt x="30" y="56"/>
                  </a:lnTo>
                  <a:lnTo>
                    <a:pt x="34" y="56"/>
                  </a:lnTo>
                  <a:lnTo>
                    <a:pt x="30" y="56"/>
                  </a:lnTo>
                  <a:lnTo>
                    <a:pt x="30" y="54"/>
                  </a:lnTo>
                  <a:lnTo>
                    <a:pt x="26" y="54"/>
                  </a:lnTo>
                  <a:lnTo>
                    <a:pt x="26" y="50"/>
                  </a:lnTo>
                  <a:lnTo>
                    <a:pt x="30" y="50"/>
                  </a:lnTo>
                  <a:lnTo>
                    <a:pt x="30" y="54"/>
                  </a:lnTo>
                  <a:lnTo>
                    <a:pt x="34" y="54"/>
                  </a:lnTo>
                  <a:lnTo>
                    <a:pt x="34" y="50"/>
                  </a:lnTo>
                  <a:lnTo>
                    <a:pt x="30" y="50"/>
                  </a:lnTo>
                  <a:lnTo>
                    <a:pt x="26" y="50"/>
                  </a:lnTo>
                  <a:lnTo>
                    <a:pt x="26" y="46"/>
                  </a:lnTo>
                  <a:lnTo>
                    <a:pt x="22" y="42"/>
                  </a:lnTo>
                  <a:lnTo>
                    <a:pt x="22" y="38"/>
                  </a:lnTo>
                  <a:lnTo>
                    <a:pt x="22" y="42"/>
                  </a:lnTo>
                  <a:lnTo>
                    <a:pt x="26" y="42"/>
                  </a:lnTo>
                  <a:lnTo>
                    <a:pt x="26" y="38"/>
                  </a:lnTo>
                  <a:lnTo>
                    <a:pt x="22" y="38"/>
                  </a:lnTo>
                  <a:lnTo>
                    <a:pt x="26" y="38"/>
                  </a:lnTo>
                  <a:lnTo>
                    <a:pt x="26" y="34"/>
                  </a:lnTo>
                  <a:lnTo>
                    <a:pt x="26" y="38"/>
                  </a:lnTo>
                  <a:lnTo>
                    <a:pt x="22" y="38"/>
                  </a:lnTo>
                  <a:lnTo>
                    <a:pt x="26" y="34"/>
                  </a:lnTo>
                  <a:lnTo>
                    <a:pt x="22" y="34"/>
                  </a:lnTo>
                  <a:lnTo>
                    <a:pt x="18" y="34"/>
                  </a:lnTo>
                  <a:lnTo>
                    <a:pt x="18" y="30"/>
                  </a:lnTo>
                  <a:lnTo>
                    <a:pt x="18" y="26"/>
                  </a:lnTo>
                  <a:lnTo>
                    <a:pt x="18" y="30"/>
                  </a:lnTo>
                  <a:lnTo>
                    <a:pt x="18" y="34"/>
                  </a:lnTo>
                  <a:lnTo>
                    <a:pt x="22" y="34"/>
                  </a:lnTo>
                  <a:lnTo>
                    <a:pt x="22" y="38"/>
                  </a:lnTo>
                  <a:lnTo>
                    <a:pt x="18" y="38"/>
                  </a:lnTo>
                  <a:lnTo>
                    <a:pt x="18" y="34"/>
                  </a:lnTo>
                  <a:lnTo>
                    <a:pt x="18" y="30"/>
                  </a:lnTo>
                  <a:lnTo>
                    <a:pt x="14" y="30"/>
                  </a:lnTo>
                  <a:lnTo>
                    <a:pt x="14" y="26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4" y="16"/>
                  </a:lnTo>
                  <a:lnTo>
                    <a:pt x="14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4" y="8"/>
                  </a:lnTo>
                  <a:lnTo>
                    <a:pt x="4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4" y="12"/>
                  </a:lnTo>
                  <a:lnTo>
                    <a:pt x="18" y="12"/>
                  </a:lnTo>
                  <a:lnTo>
                    <a:pt x="22" y="16"/>
                  </a:lnTo>
                  <a:lnTo>
                    <a:pt x="18" y="16"/>
                  </a:lnTo>
                  <a:lnTo>
                    <a:pt x="22" y="16"/>
                  </a:lnTo>
                  <a:lnTo>
                    <a:pt x="22" y="20"/>
                  </a:lnTo>
                  <a:lnTo>
                    <a:pt x="22" y="16"/>
                  </a:lnTo>
                  <a:lnTo>
                    <a:pt x="26" y="16"/>
                  </a:lnTo>
                  <a:lnTo>
                    <a:pt x="26" y="20"/>
                  </a:lnTo>
                  <a:lnTo>
                    <a:pt x="26" y="24"/>
                  </a:lnTo>
                  <a:lnTo>
                    <a:pt x="30" y="24"/>
                  </a:lnTo>
                  <a:lnTo>
                    <a:pt x="26" y="24"/>
                  </a:lnTo>
                  <a:lnTo>
                    <a:pt x="26" y="26"/>
                  </a:lnTo>
                  <a:lnTo>
                    <a:pt x="30" y="26"/>
                  </a:lnTo>
                  <a:lnTo>
                    <a:pt x="26" y="26"/>
                  </a:lnTo>
                  <a:lnTo>
                    <a:pt x="26" y="30"/>
                  </a:lnTo>
                  <a:lnTo>
                    <a:pt x="30" y="30"/>
                  </a:lnTo>
                  <a:lnTo>
                    <a:pt x="30" y="34"/>
                  </a:lnTo>
                  <a:lnTo>
                    <a:pt x="30" y="38"/>
                  </a:lnTo>
                  <a:lnTo>
                    <a:pt x="30" y="42"/>
                  </a:lnTo>
                  <a:lnTo>
                    <a:pt x="30" y="46"/>
                  </a:lnTo>
                  <a:lnTo>
                    <a:pt x="34" y="46"/>
                  </a:lnTo>
                  <a:lnTo>
                    <a:pt x="34" y="50"/>
                  </a:lnTo>
                  <a:lnTo>
                    <a:pt x="34" y="46"/>
                  </a:lnTo>
                  <a:lnTo>
                    <a:pt x="34" y="50"/>
                  </a:lnTo>
                  <a:lnTo>
                    <a:pt x="38" y="50"/>
                  </a:lnTo>
                  <a:lnTo>
                    <a:pt x="38" y="54"/>
                  </a:lnTo>
                  <a:lnTo>
                    <a:pt x="40" y="54"/>
                  </a:lnTo>
                  <a:lnTo>
                    <a:pt x="40" y="50"/>
                  </a:lnTo>
                  <a:lnTo>
                    <a:pt x="40" y="46"/>
                  </a:lnTo>
                  <a:lnTo>
                    <a:pt x="40" y="42"/>
                  </a:lnTo>
                  <a:lnTo>
                    <a:pt x="38" y="42"/>
                  </a:lnTo>
                  <a:lnTo>
                    <a:pt x="38" y="38"/>
                  </a:lnTo>
                  <a:lnTo>
                    <a:pt x="40" y="42"/>
                  </a:lnTo>
                  <a:lnTo>
                    <a:pt x="40" y="46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8" y="50"/>
                  </a:lnTo>
                  <a:lnTo>
                    <a:pt x="48" y="54"/>
                  </a:lnTo>
                  <a:lnTo>
                    <a:pt x="44" y="54"/>
                  </a:lnTo>
                  <a:lnTo>
                    <a:pt x="48" y="54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6" y="68"/>
                  </a:lnTo>
                  <a:lnTo>
                    <a:pt x="70" y="68"/>
                  </a:lnTo>
                  <a:lnTo>
                    <a:pt x="70" y="64"/>
                  </a:lnTo>
                  <a:lnTo>
                    <a:pt x="74" y="64"/>
                  </a:lnTo>
                  <a:lnTo>
                    <a:pt x="74" y="60"/>
                  </a:lnTo>
                  <a:lnTo>
                    <a:pt x="78" y="60"/>
                  </a:lnTo>
                  <a:lnTo>
                    <a:pt x="82" y="60"/>
                  </a:lnTo>
                  <a:lnTo>
                    <a:pt x="86" y="64"/>
                  </a:lnTo>
                  <a:lnTo>
                    <a:pt x="82" y="64"/>
                  </a:lnTo>
                  <a:lnTo>
                    <a:pt x="82" y="68"/>
                  </a:lnTo>
                  <a:lnTo>
                    <a:pt x="82" y="72"/>
                  </a:lnTo>
                  <a:lnTo>
                    <a:pt x="82" y="76"/>
                  </a:lnTo>
                  <a:lnTo>
                    <a:pt x="82" y="80"/>
                  </a:lnTo>
                  <a:lnTo>
                    <a:pt x="78" y="82"/>
                  </a:lnTo>
                  <a:lnTo>
                    <a:pt x="74" y="82"/>
                  </a:lnTo>
                  <a:lnTo>
                    <a:pt x="74" y="86"/>
                  </a:lnTo>
                  <a:lnTo>
                    <a:pt x="74" y="90"/>
                  </a:lnTo>
                  <a:lnTo>
                    <a:pt x="74" y="94"/>
                  </a:lnTo>
                  <a:lnTo>
                    <a:pt x="74" y="90"/>
                  </a:lnTo>
                  <a:lnTo>
                    <a:pt x="70" y="90"/>
                  </a:lnTo>
                  <a:lnTo>
                    <a:pt x="66" y="90"/>
                  </a:lnTo>
                  <a:lnTo>
                    <a:pt x="64" y="90"/>
                  </a:lnTo>
                  <a:lnTo>
                    <a:pt x="60" y="94"/>
                  </a:lnTo>
                  <a:lnTo>
                    <a:pt x="60" y="98"/>
                  </a:lnTo>
                  <a:lnTo>
                    <a:pt x="60" y="102"/>
                  </a:lnTo>
                  <a:lnTo>
                    <a:pt x="64" y="102"/>
                  </a:lnTo>
                  <a:lnTo>
                    <a:pt x="60" y="110"/>
                  </a:lnTo>
                  <a:lnTo>
                    <a:pt x="60" y="112"/>
                  </a:lnTo>
                  <a:lnTo>
                    <a:pt x="56" y="116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60" name="Freeform 201">
              <a:extLst>
                <a:ext uri="{FF2B5EF4-FFF2-40B4-BE49-F238E27FC236}">
                  <a16:creationId xmlns:a16="http://schemas.microsoft.com/office/drawing/2014/main" id="{4E3B35DD-0156-5F38-7626-DA7A50128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0683" y="5317526"/>
              <a:ext cx="167547" cy="263971"/>
            </a:xfrm>
            <a:custGeom>
              <a:avLst/>
              <a:gdLst>
                <a:gd name="T0" fmla="*/ 52 w 86"/>
                <a:gd name="T1" fmla="*/ 124 h 140"/>
                <a:gd name="T2" fmla="*/ 44 w 86"/>
                <a:gd name="T3" fmla="*/ 136 h 140"/>
                <a:gd name="T4" fmla="*/ 38 w 86"/>
                <a:gd name="T5" fmla="*/ 136 h 140"/>
                <a:gd name="T6" fmla="*/ 30 w 86"/>
                <a:gd name="T7" fmla="*/ 136 h 140"/>
                <a:gd name="T8" fmla="*/ 34 w 86"/>
                <a:gd name="T9" fmla="*/ 124 h 140"/>
                <a:gd name="T10" fmla="*/ 38 w 86"/>
                <a:gd name="T11" fmla="*/ 112 h 140"/>
                <a:gd name="T12" fmla="*/ 30 w 86"/>
                <a:gd name="T13" fmla="*/ 106 h 140"/>
                <a:gd name="T14" fmla="*/ 22 w 86"/>
                <a:gd name="T15" fmla="*/ 98 h 140"/>
                <a:gd name="T16" fmla="*/ 18 w 86"/>
                <a:gd name="T17" fmla="*/ 90 h 140"/>
                <a:gd name="T18" fmla="*/ 30 w 86"/>
                <a:gd name="T19" fmla="*/ 86 h 140"/>
                <a:gd name="T20" fmla="*/ 30 w 86"/>
                <a:gd name="T21" fmla="*/ 72 h 140"/>
                <a:gd name="T22" fmla="*/ 30 w 86"/>
                <a:gd name="T23" fmla="*/ 64 h 140"/>
                <a:gd name="T24" fmla="*/ 30 w 86"/>
                <a:gd name="T25" fmla="*/ 56 h 140"/>
                <a:gd name="T26" fmla="*/ 26 w 86"/>
                <a:gd name="T27" fmla="*/ 54 h 140"/>
                <a:gd name="T28" fmla="*/ 34 w 86"/>
                <a:gd name="T29" fmla="*/ 54 h 140"/>
                <a:gd name="T30" fmla="*/ 26 w 86"/>
                <a:gd name="T31" fmla="*/ 46 h 140"/>
                <a:gd name="T32" fmla="*/ 26 w 86"/>
                <a:gd name="T33" fmla="*/ 42 h 140"/>
                <a:gd name="T34" fmla="*/ 26 w 86"/>
                <a:gd name="T35" fmla="*/ 34 h 140"/>
                <a:gd name="T36" fmla="*/ 22 w 86"/>
                <a:gd name="T37" fmla="*/ 34 h 140"/>
                <a:gd name="T38" fmla="*/ 18 w 86"/>
                <a:gd name="T39" fmla="*/ 30 h 140"/>
                <a:gd name="T40" fmla="*/ 18 w 86"/>
                <a:gd name="T41" fmla="*/ 38 h 140"/>
                <a:gd name="T42" fmla="*/ 14 w 86"/>
                <a:gd name="T43" fmla="*/ 26 h 140"/>
                <a:gd name="T44" fmla="*/ 14 w 86"/>
                <a:gd name="T45" fmla="*/ 16 h 140"/>
                <a:gd name="T46" fmla="*/ 12 w 86"/>
                <a:gd name="T47" fmla="*/ 20 h 140"/>
                <a:gd name="T48" fmla="*/ 4 w 86"/>
                <a:gd name="T49" fmla="*/ 8 h 140"/>
                <a:gd name="T50" fmla="*/ 8 w 86"/>
                <a:gd name="T51" fmla="*/ 0 h 140"/>
                <a:gd name="T52" fmla="*/ 4 w 86"/>
                <a:gd name="T53" fmla="*/ 4 h 140"/>
                <a:gd name="T54" fmla="*/ 8 w 86"/>
                <a:gd name="T55" fmla="*/ 12 h 140"/>
                <a:gd name="T56" fmla="*/ 14 w 86"/>
                <a:gd name="T57" fmla="*/ 12 h 140"/>
                <a:gd name="T58" fmla="*/ 22 w 86"/>
                <a:gd name="T59" fmla="*/ 16 h 140"/>
                <a:gd name="T60" fmla="*/ 26 w 86"/>
                <a:gd name="T61" fmla="*/ 20 h 140"/>
                <a:gd name="T62" fmla="*/ 26 w 86"/>
                <a:gd name="T63" fmla="*/ 26 h 140"/>
                <a:gd name="T64" fmla="*/ 30 w 86"/>
                <a:gd name="T65" fmla="*/ 30 h 140"/>
                <a:gd name="T66" fmla="*/ 30 w 86"/>
                <a:gd name="T67" fmla="*/ 46 h 140"/>
                <a:gd name="T68" fmla="*/ 34 w 86"/>
                <a:gd name="T69" fmla="*/ 50 h 140"/>
                <a:gd name="T70" fmla="*/ 40 w 86"/>
                <a:gd name="T71" fmla="*/ 50 h 140"/>
                <a:gd name="T72" fmla="*/ 38 w 86"/>
                <a:gd name="T73" fmla="*/ 38 h 140"/>
                <a:gd name="T74" fmla="*/ 44 w 86"/>
                <a:gd name="T75" fmla="*/ 50 h 140"/>
                <a:gd name="T76" fmla="*/ 48 w 86"/>
                <a:gd name="T77" fmla="*/ 54 h 140"/>
                <a:gd name="T78" fmla="*/ 48 w 86"/>
                <a:gd name="T79" fmla="*/ 60 h 140"/>
                <a:gd name="T80" fmla="*/ 52 w 86"/>
                <a:gd name="T81" fmla="*/ 64 h 140"/>
                <a:gd name="T82" fmla="*/ 64 w 86"/>
                <a:gd name="T83" fmla="*/ 68 h 140"/>
                <a:gd name="T84" fmla="*/ 74 w 86"/>
                <a:gd name="T85" fmla="*/ 64 h 140"/>
                <a:gd name="T86" fmla="*/ 86 w 86"/>
                <a:gd name="T87" fmla="*/ 64 h 140"/>
                <a:gd name="T88" fmla="*/ 82 w 86"/>
                <a:gd name="T89" fmla="*/ 76 h 140"/>
                <a:gd name="T90" fmla="*/ 74 w 86"/>
                <a:gd name="T91" fmla="*/ 86 h 140"/>
                <a:gd name="T92" fmla="*/ 70 w 86"/>
                <a:gd name="T93" fmla="*/ 90 h 140"/>
                <a:gd name="T94" fmla="*/ 60 w 86"/>
                <a:gd name="T95" fmla="*/ 98 h 140"/>
                <a:gd name="T96" fmla="*/ 60 w 86"/>
                <a:gd name="T97" fmla="*/ 11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" h="140">
                  <a:moveTo>
                    <a:pt x="56" y="116"/>
                  </a:moveTo>
                  <a:lnTo>
                    <a:pt x="56" y="120"/>
                  </a:lnTo>
                  <a:lnTo>
                    <a:pt x="52" y="120"/>
                  </a:lnTo>
                  <a:lnTo>
                    <a:pt x="52" y="124"/>
                  </a:lnTo>
                  <a:lnTo>
                    <a:pt x="52" y="128"/>
                  </a:lnTo>
                  <a:lnTo>
                    <a:pt x="48" y="128"/>
                  </a:lnTo>
                  <a:lnTo>
                    <a:pt x="48" y="132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38" y="140"/>
                  </a:lnTo>
                  <a:lnTo>
                    <a:pt x="38" y="136"/>
                  </a:lnTo>
                  <a:lnTo>
                    <a:pt x="34" y="136"/>
                  </a:lnTo>
                  <a:lnTo>
                    <a:pt x="34" y="132"/>
                  </a:lnTo>
                  <a:lnTo>
                    <a:pt x="30" y="132"/>
                  </a:lnTo>
                  <a:lnTo>
                    <a:pt x="30" y="136"/>
                  </a:lnTo>
                  <a:lnTo>
                    <a:pt x="30" y="132"/>
                  </a:lnTo>
                  <a:lnTo>
                    <a:pt x="30" y="128"/>
                  </a:lnTo>
                  <a:lnTo>
                    <a:pt x="34" y="128"/>
                  </a:lnTo>
                  <a:lnTo>
                    <a:pt x="34" y="124"/>
                  </a:lnTo>
                  <a:lnTo>
                    <a:pt x="34" y="120"/>
                  </a:lnTo>
                  <a:lnTo>
                    <a:pt x="38" y="120"/>
                  </a:lnTo>
                  <a:lnTo>
                    <a:pt x="38" y="116"/>
                  </a:lnTo>
                  <a:lnTo>
                    <a:pt x="38" y="112"/>
                  </a:lnTo>
                  <a:lnTo>
                    <a:pt x="38" y="110"/>
                  </a:lnTo>
                  <a:lnTo>
                    <a:pt x="34" y="110"/>
                  </a:lnTo>
                  <a:lnTo>
                    <a:pt x="34" y="106"/>
                  </a:lnTo>
                  <a:lnTo>
                    <a:pt x="30" y="106"/>
                  </a:lnTo>
                  <a:lnTo>
                    <a:pt x="26" y="106"/>
                  </a:lnTo>
                  <a:lnTo>
                    <a:pt x="26" y="102"/>
                  </a:lnTo>
                  <a:lnTo>
                    <a:pt x="22" y="102"/>
                  </a:lnTo>
                  <a:lnTo>
                    <a:pt x="22" y="98"/>
                  </a:lnTo>
                  <a:lnTo>
                    <a:pt x="18" y="98"/>
                  </a:lnTo>
                  <a:lnTo>
                    <a:pt x="14" y="94"/>
                  </a:lnTo>
                  <a:lnTo>
                    <a:pt x="14" y="90"/>
                  </a:lnTo>
                  <a:lnTo>
                    <a:pt x="18" y="90"/>
                  </a:lnTo>
                  <a:lnTo>
                    <a:pt x="22" y="90"/>
                  </a:lnTo>
                  <a:lnTo>
                    <a:pt x="22" y="86"/>
                  </a:lnTo>
                  <a:lnTo>
                    <a:pt x="26" y="86"/>
                  </a:lnTo>
                  <a:lnTo>
                    <a:pt x="30" y="86"/>
                  </a:lnTo>
                  <a:lnTo>
                    <a:pt x="30" y="82"/>
                  </a:lnTo>
                  <a:lnTo>
                    <a:pt x="30" y="80"/>
                  </a:lnTo>
                  <a:lnTo>
                    <a:pt x="30" y="76"/>
                  </a:lnTo>
                  <a:lnTo>
                    <a:pt x="30" y="72"/>
                  </a:lnTo>
                  <a:lnTo>
                    <a:pt x="34" y="72"/>
                  </a:lnTo>
                  <a:lnTo>
                    <a:pt x="34" y="68"/>
                  </a:lnTo>
                  <a:lnTo>
                    <a:pt x="30" y="68"/>
                  </a:lnTo>
                  <a:lnTo>
                    <a:pt x="30" y="64"/>
                  </a:lnTo>
                  <a:lnTo>
                    <a:pt x="34" y="64"/>
                  </a:lnTo>
                  <a:lnTo>
                    <a:pt x="30" y="64"/>
                  </a:lnTo>
                  <a:lnTo>
                    <a:pt x="30" y="60"/>
                  </a:lnTo>
                  <a:lnTo>
                    <a:pt x="30" y="56"/>
                  </a:lnTo>
                  <a:lnTo>
                    <a:pt x="34" y="56"/>
                  </a:lnTo>
                  <a:lnTo>
                    <a:pt x="30" y="56"/>
                  </a:lnTo>
                  <a:lnTo>
                    <a:pt x="30" y="54"/>
                  </a:lnTo>
                  <a:lnTo>
                    <a:pt x="26" y="54"/>
                  </a:lnTo>
                  <a:lnTo>
                    <a:pt x="26" y="50"/>
                  </a:lnTo>
                  <a:lnTo>
                    <a:pt x="30" y="50"/>
                  </a:lnTo>
                  <a:lnTo>
                    <a:pt x="30" y="54"/>
                  </a:lnTo>
                  <a:lnTo>
                    <a:pt x="34" y="54"/>
                  </a:lnTo>
                  <a:lnTo>
                    <a:pt x="34" y="50"/>
                  </a:lnTo>
                  <a:lnTo>
                    <a:pt x="30" y="50"/>
                  </a:lnTo>
                  <a:lnTo>
                    <a:pt x="26" y="50"/>
                  </a:lnTo>
                  <a:lnTo>
                    <a:pt x="26" y="46"/>
                  </a:lnTo>
                  <a:lnTo>
                    <a:pt x="22" y="42"/>
                  </a:lnTo>
                  <a:lnTo>
                    <a:pt x="22" y="38"/>
                  </a:lnTo>
                  <a:lnTo>
                    <a:pt x="22" y="42"/>
                  </a:lnTo>
                  <a:lnTo>
                    <a:pt x="26" y="42"/>
                  </a:lnTo>
                  <a:lnTo>
                    <a:pt x="26" y="38"/>
                  </a:lnTo>
                  <a:lnTo>
                    <a:pt x="22" y="38"/>
                  </a:lnTo>
                  <a:lnTo>
                    <a:pt x="26" y="38"/>
                  </a:lnTo>
                  <a:lnTo>
                    <a:pt x="26" y="34"/>
                  </a:lnTo>
                  <a:lnTo>
                    <a:pt x="26" y="38"/>
                  </a:lnTo>
                  <a:lnTo>
                    <a:pt x="22" y="38"/>
                  </a:lnTo>
                  <a:lnTo>
                    <a:pt x="26" y="34"/>
                  </a:lnTo>
                  <a:lnTo>
                    <a:pt x="22" y="34"/>
                  </a:lnTo>
                  <a:lnTo>
                    <a:pt x="18" y="34"/>
                  </a:lnTo>
                  <a:lnTo>
                    <a:pt x="18" y="30"/>
                  </a:lnTo>
                  <a:lnTo>
                    <a:pt x="18" y="26"/>
                  </a:lnTo>
                  <a:lnTo>
                    <a:pt x="18" y="30"/>
                  </a:lnTo>
                  <a:lnTo>
                    <a:pt x="18" y="34"/>
                  </a:lnTo>
                  <a:lnTo>
                    <a:pt x="22" y="34"/>
                  </a:lnTo>
                  <a:lnTo>
                    <a:pt x="22" y="38"/>
                  </a:lnTo>
                  <a:lnTo>
                    <a:pt x="18" y="38"/>
                  </a:lnTo>
                  <a:lnTo>
                    <a:pt x="18" y="34"/>
                  </a:lnTo>
                  <a:lnTo>
                    <a:pt x="18" y="30"/>
                  </a:lnTo>
                  <a:lnTo>
                    <a:pt x="14" y="30"/>
                  </a:lnTo>
                  <a:lnTo>
                    <a:pt x="14" y="26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4" y="16"/>
                  </a:lnTo>
                  <a:lnTo>
                    <a:pt x="14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4" y="8"/>
                  </a:lnTo>
                  <a:lnTo>
                    <a:pt x="4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4" y="12"/>
                  </a:lnTo>
                  <a:lnTo>
                    <a:pt x="18" y="12"/>
                  </a:lnTo>
                  <a:lnTo>
                    <a:pt x="22" y="16"/>
                  </a:lnTo>
                  <a:lnTo>
                    <a:pt x="18" y="16"/>
                  </a:lnTo>
                  <a:lnTo>
                    <a:pt x="22" y="16"/>
                  </a:lnTo>
                  <a:lnTo>
                    <a:pt x="22" y="20"/>
                  </a:lnTo>
                  <a:lnTo>
                    <a:pt x="22" y="16"/>
                  </a:lnTo>
                  <a:lnTo>
                    <a:pt x="26" y="16"/>
                  </a:lnTo>
                  <a:lnTo>
                    <a:pt x="26" y="20"/>
                  </a:lnTo>
                  <a:lnTo>
                    <a:pt x="26" y="24"/>
                  </a:lnTo>
                  <a:lnTo>
                    <a:pt x="30" y="24"/>
                  </a:lnTo>
                  <a:lnTo>
                    <a:pt x="26" y="24"/>
                  </a:lnTo>
                  <a:lnTo>
                    <a:pt x="26" y="26"/>
                  </a:lnTo>
                  <a:lnTo>
                    <a:pt x="30" y="26"/>
                  </a:lnTo>
                  <a:lnTo>
                    <a:pt x="26" y="26"/>
                  </a:lnTo>
                  <a:lnTo>
                    <a:pt x="26" y="30"/>
                  </a:lnTo>
                  <a:lnTo>
                    <a:pt x="30" y="30"/>
                  </a:lnTo>
                  <a:lnTo>
                    <a:pt x="30" y="34"/>
                  </a:lnTo>
                  <a:lnTo>
                    <a:pt x="30" y="38"/>
                  </a:lnTo>
                  <a:lnTo>
                    <a:pt x="30" y="42"/>
                  </a:lnTo>
                  <a:lnTo>
                    <a:pt x="30" y="46"/>
                  </a:lnTo>
                  <a:lnTo>
                    <a:pt x="34" y="46"/>
                  </a:lnTo>
                  <a:lnTo>
                    <a:pt x="34" y="50"/>
                  </a:lnTo>
                  <a:lnTo>
                    <a:pt x="34" y="46"/>
                  </a:lnTo>
                  <a:lnTo>
                    <a:pt x="34" y="50"/>
                  </a:lnTo>
                  <a:lnTo>
                    <a:pt x="38" y="50"/>
                  </a:lnTo>
                  <a:lnTo>
                    <a:pt x="38" y="54"/>
                  </a:lnTo>
                  <a:lnTo>
                    <a:pt x="40" y="54"/>
                  </a:lnTo>
                  <a:lnTo>
                    <a:pt x="40" y="50"/>
                  </a:lnTo>
                  <a:lnTo>
                    <a:pt x="40" y="46"/>
                  </a:lnTo>
                  <a:lnTo>
                    <a:pt x="40" y="42"/>
                  </a:lnTo>
                  <a:lnTo>
                    <a:pt x="38" y="42"/>
                  </a:lnTo>
                  <a:lnTo>
                    <a:pt x="38" y="38"/>
                  </a:lnTo>
                  <a:lnTo>
                    <a:pt x="40" y="42"/>
                  </a:lnTo>
                  <a:lnTo>
                    <a:pt x="40" y="46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8" y="50"/>
                  </a:lnTo>
                  <a:lnTo>
                    <a:pt x="48" y="54"/>
                  </a:lnTo>
                  <a:lnTo>
                    <a:pt x="44" y="54"/>
                  </a:lnTo>
                  <a:lnTo>
                    <a:pt x="48" y="54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6" y="68"/>
                  </a:lnTo>
                  <a:lnTo>
                    <a:pt x="70" y="68"/>
                  </a:lnTo>
                  <a:lnTo>
                    <a:pt x="70" y="64"/>
                  </a:lnTo>
                  <a:lnTo>
                    <a:pt x="74" y="64"/>
                  </a:lnTo>
                  <a:lnTo>
                    <a:pt x="74" y="60"/>
                  </a:lnTo>
                  <a:lnTo>
                    <a:pt x="78" y="60"/>
                  </a:lnTo>
                  <a:lnTo>
                    <a:pt x="82" y="60"/>
                  </a:lnTo>
                  <a:lnTo>
                    <a:pt x="86" y="64"/>
                  </a:lnTo>
                  <a:lnTo>
                    <a:pt x="82" y="64"/>
                  </a:lnTo>
                  <a:lnTo>
                    <a:pt x="82" y="68"/>
                  </a:lnTo>
                  <a:lnTo>
                    <a:pt x="82" y="72"/>
                  </a:lnTo>
                  <a:lnTo>
                    <a:pt x="82" y="76"/>
                  </a:lnTo>
                  <a:lnTo>
                    <a:pt x="82" y="80"/>
                  </a:lnTo>
                  <a:lnTo>
                    <a:pt x="78" y="82"/>
                  </a:lnTo>
                  <a:lnTo>
                    <a:pt x="74" y="82"/>
                  </a:lnTo>
                  <a:lnTo>
                    <a:pt x="74" y="86"/>
                  </a:lnTo>
                  <a:lnTo>
                    <a:pt x="74" y="90"/>
                  </a:lnTo>
                  <a:lnTo>
                    <a:pt x="74" y="94"/>
                  </a:lnTo>
                  <a:lnTo>
                    <a:pt x="74" y="90"/>
                  </a:lnTo>
                  <a:lnTo>
                    <a:pt x="70" y="90"/>
                  </a:lnTo>
                  <a:lnTo>
                    <a:pt x="66" y="90"/>
                  </a:lnTo>
                  <a:lnTo>
                    <a:pt x="64" y="90"/>
                  </a:lnTo>
                  <a:lnTo>
                    <a:pt x="60" y="94"/>
                  </a:lnTo>
                  <a:lnTo>
                    <a:pt x="60" y="98"/>
                  </a:lnTo>
                  <a:lnTo>
                    <a:pt x="60" y="102"/>
                  </a:lnTo>
                  <a:lnTo>
                    <a:pt x="64" y="102"/>
                  </a:lnTo>
                  <a:lnTo>
                    <a:pt x="60" y="110"/>
                  </a:lnTo>
                  <a:lnTo>
                    <a:pt x="60" y="112"/>
                  </a:lnTo>
                  <a:lnTo>
                    <a:pt x="56" y="116"/>
                  </a:lnTo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61" name="Freeform 202">
              <a:extLst>
                <a:ext uri="{FF2B5EF4-FFF2-40B4-BE49-F238E27FC236}">
                  <a16:creationId xmlns:a16="http://schemas.microsoft.com/office/drawing/2014/main" id="{E1757778-BBD9-F368-3EDF-CAA3973DE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3136" y="5536245"/>
              <a:ext cx="218201" cy="230032"/>
            </a:xfrm>
            <a:custGeom>
              <a:avLst/>
              <a:gdLst>
                <a:gd name="T0" fmla="*/ 12 w 112"/>
                <a:gd name="T1" fmla="*/ 96 h 122"/>
                <a:gd name="T2" fmla="*/ 12 w 112"/>
                <a:gd name="T3" fmla="*/ 90 h 122"/>
                <a:gd name="T4" fmla="*/ 16 w 112"/>
                <a:gd name="T5" fmla="*/ 90 h 122"/>
                <a:gd name="T6" fmla="*/ 16 w 112"/>
                <a:gd name="T7" fmla="*/ 82 h 122"/>
                <a:gd name="T8" fmla="*/ 22 w 112"/>
                <a:gd name="T9" fmla="*/ 74 h 122"/>
                <a:gd name="T10" fmla="*/ 34 w 112"/>
                <a:gd name="T11" fmla="*/ 70 h 122"/>
                <a:gd name="T12" fmla="*/ 36 w 112"/>
                <a:gd name="T13" fmla="*/ 64 h 122"/>
                <a:gd name="T14" fmla="*/ 44 w 112"/>
                <a:gd name="T15" fmla="*/ 60 h 122"/>
                <a:gd name="T16" fmla="*/ 52 w 112"/>
                <a:gd name="T17" fmla="*/ 52 h 122"/>
                <a:gd name="T18" fmla="*/ 60 w 112"/>
                <a:gd name="T19" fmla="*/ 50 h 122"/>
                <a:gd name="T20" fmla="*/ 66 w 112"/>
                <a:gd name="T21" fmla="*/ 38 h 122"/>
                <a:gd name="T22" fmla="*/ 70 w 112"/>
                <a:gd name="T23" fmla="*/ 28 h 122"/>
                <a:gd name="T24" fmla="*/ 78 w 112"/>
                <a:gd name="T25" fmla="*/ 24 h 122"/>
                <a:gd name="T26" fmla="*/ 78 w 112"/>
                <a:gd name="T27" fmla="*/ 8 h 122"/>
                <a:gd name="T28" fmla="*/ 86 w 112"/>
                <a:gd name="T29" fmla="*/ 4 h 122"/>
                <a:gd name="T30" fmla="*/ 86 w 112"/>
                <a:gd name="T31" fmla="*/ 4 h 122"/>
                <a:gd name="T32" fmla="*/ 94 w 112"/>
                <a:gd name="T33" fmla="*/ 12 h 122"/>
                <a:gd name="T34" fmla="*/ 100 w 112"/>
                <a:gd name="T35" fmla="*/ 12 h 122"/>
                <a:gd name="T36" fmla="*/ 104 w 112"/>
                <a:gd name="T37" fmla="*/ 12 h 122"/>
                <a:gd name="T38" fmla="*/ 104 w 112"/>
                <a:gd name="T39" fmla="*/ 16 h 122"/>
                <a:gd name="T40" fmla="*/ 108 w 112"/>
                <a:gd name="T41" fmla="*/ 16 h 122"/>
                <a:gd name="T42" fmla="*/ 108 w 112"/>
                <a:gd name="T43" fmla="*/ 12 h 122"/>
                <a:gd name="T44" fmla="*/ 104 w 112"/>
                <a:gd name="T45" fmla="*/ 16 h 122"/>
                <a:gd name="T46" fmla="*/ 108 w 112"/>
                <a:gd name="T47" fmla="*/ 16 h 122"/>
                <a:gd name="T48" fmla="*/ 108 w 112"/>
                <a:gd name="T49" fmla="*/ 20 h 122"/>
                <a:gd name="T50" fmla="*/ 108 w 112"/>
                <a:gd name="T51" fmla="*/ 24 h 122"/>
                <a:gd name="T52" fmla="*/ 104 w 112"/>
                <a:gd name="T53" fmla="*/ 30 h 122"/>
                <a:gd name="T54" fmla="*/ 100 w 112"/>
                <a:gd name="T55" fmla="*/ 40 h 122"/>
                <a:gd name="T56" fmla="*/ 96 w 112"/>
                <a:gd name="T57" fmla="*/ 50 h 122"/>
                <a:gd name="T58" fmla="*/ 90 w 112"/>
                <a:gd name="T59" fmla="*/ 56 h 122"/>
                <a:gd name="T60" fmla="*/ 94 w 112"/>
                <a:gd name="T61" fmla="*/ 64 h 122"/>
                <a:gd name="T62" fmla="*/ 90 w 112"/>
                <a:gd name="T63" fmla="*/ 64 h 122"/>
                <a:gd name="T64" fmla="*/ 86 w 112"/>
                <a:gd name="T65" fmla="*/ 64 h 122"/>
                <a:gd name="T66" fmla="*/ 78 w 112"/>
                <a:gd name="T67" fmla="*/ 68 h 122"/>
                <a:gd name="T68" fmla="*/ 70 w 112"/>
                <a:gd name="T69" fmla="*/ 70 h 122"/>
                <a:gd name="T70" fmla="*/ 66 w 112"/>
                <a:gd name="T71" fmla="*/ 78 h 122"/>
                <a:gd name="T72" fmla="*/ 66 w 112"/>
                <a:gd name="T73" fmla="*/ 90 h 122"/>
                <a:gd name="T74" fmla="*/ 60 w 112"/>
                <a:gd name="T75" fmla="*/ 96 h 122"/>
                <a:gd name="T76" fmla="*/ 56 w 112"/>
                <a:gd name="T77" fmla="*/ 104 h 122"/>
                <a:gd name="T78" fmla="*/ 60 w 112"/>
                <a:gd name="T79" fmla="*/ 104 h 122"/>
                <a:gd name="T80" fmla="*/ 52 w 112"/>
                <a:gd name="T81" fmla="*/ 108 h 122"/>
                <a:gd name="T82" fmla="*/ 48 w 112"/>
                <a:gd name="T83" fmla="*/ 120 h 122"/>
                <a:gd name="T84" fmla="*/ 36 w 112"/>
                <a:gd name="T85" fmla="*/ 122 h 122"/>
                <a:gd name="T86" fmla="*/ 30 w 112"/>
                <a:gd name="T87" fmla="*/ 120 h 122"/>
                <a:gd name="T88" fmla="*/ 26 w 112"/>
                <a:gd name="T89" fmla="*/ 120 h 122"/>
                <a:gd name="T90" fmla="*/ 26 w 112"/>
                <a:gd name="T91" fmla="*/ 120 h 122"/>
                <a:gd name="T92" fmla="*/ 22 w 112"/>
                <a:gd name="T93" fmla="*/ 116 h 122"/>
                <a:gd name="T94" fmla="*/ 12 w 112"/>
                <a:gd name="T95" fmla="*/ 112 h 122"/>
                <a:gd name="T96" fmla="*/ 4 w 112"/>
                <a:gd name="T97" fmla="*/ 116 h 122"/>
                <a:gd name="T98" fmla="*/ 4 w 112"/>
                <a:gd name="T99" fmla="*/ 112 h 122"/>
                <a:gd name="T100" fmla="*/ 4 w 112"/>
                <a:gd name="T101" fmla="*/ 108 h 122"/>
                <a:gd name="T102" fmla="*/ 0 w 112"/>
                <a:gd name="T103" fmla="*/ 108 h 122"/>
                <a:gd name="T104" fmla="*/ 8 w 112"/>
                <a:gd name="T105" fmla="*/ 104 h 122"/>
                <a:gd name="T106" fmla="*/ 8 w 112"/>
                <a:gd name="T107" fmla="*/ 100 h 122"/>
                <a:gd name="T108" fmla="*/ 4 w 112"/>
                <a:gd name="T109" fmla="*/ 9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2" h="122">
                  <a:moveTo>
                    <a:pt x="12" y="96"/>
                  </a:moveTo>
                  <a:lnTo>
                    <a:pt x="8" y="96"/>
                  </a:lnTo>
                  <a:lnTo>
                    <a:pt x="12" y="96"/>
                  </a:lnTo>
                  <a:lnTo>
                    <a:pt x="8" y="94"/>
                  </a:lnTo>
                  <a:lnTo>
                    <a:pt x="8" y="90"/>
                  </a:lnTo>
                  <a:lnTo>
                    <a:pt x="12" y="90"/>
                  </a:lnTo>
                  <a:lnTo>
                    <a:pt x="12" y="86"/>
                  </a:lnTo>
                  <a:lnTo>
                    <a:pt x="12" y="90"/>
                  </a:lnTo>
                  <a:lnTo>
                    <a:pt x="16" y="90"/>
                  </a:lnTo>
                  <a:lnTo>
                    <a:pt x="16" y="86"/>
                  </a:lnTo>
                  <a:lnTo>
                    <a:pt x="12" y="86"/>
                  </a:lnTo>
                  <a:lnTo>
                    <a:pt x="16" y="82"/>
                  </a:lnTo>
                  <a:lnTo>
                    <a:pt x="20" y="82"/>
                  </a:lnTo>
                  <a:lnTo>
                    <a:pt x="20" y="78"/>
                  </a:lnTo>
                  <a:lnTo>
                    <a:pt x="22" y="74"/>
                  </a:lnTo>
                  <a:lnTo>
                    <a:pt x="26" y="70"/>
                  </a:lnTo>
                  <a:lnTo>
                    <a:pt x="30" y="70"/>
                  </a:lnTo>
                  <a:lnTo>
                    <a:pt x="34" y="70"/>
                  </a:lnTo>
                  <a:lnTo>
                    <a:pt x="34" y="68"/>
                  </a:lnTo>
                  <a:lnTo>
                    <a:pt x="36" y="68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0"/>
                  </a:lnTo>
                  <a:lnTo>
                    <a:pt x="60" y="50"/>
                  </a:lnTo>
                  <a:lnTo>
                    <a:pt x="64" y="40"/>
                  </a:lnTo>
                  <a:lnTo>
                    <a:pt x="66" y="40"/>
                  </a:lnTo>
                  <a:lnTo>
                    <a:pt x="66" y="38"/>
                  </a:lnTo>
                  <a:lnTo>
                    <a:pt x="66" y="34"/>
                  </a:lnTo>
                  <a:lnTo>
                    <a:pt x="66" y="30"/>
                  </a:lnTo>
                  <a:lnTo>
                    <a:pt x="70" y="28"/>
                  </a:lnTo>
                  <a:lnTo>
                    <a:pt x="74" y="28"/>
                  </a:lnTo>
                  <a:lnTo>
                    <a:pt x="74" y="24"/>
                  </a:lnTo>
                  <a:lnTo>
                    <a:pt x="78" y="24"/>
                  </a:lnTo>
                  <a:lnTo>
                    <a:pt x="78" y="20"/>
                  </a:lnTo>
                  <a:lnTo>
                    <a:pt x="78" y="16"/>
                  </a:lnTo>
                  <a:lnTo>
                    <a:pt x="78" y="8"/>
                  </a:lnTo>
                  <a:lnTo>
                    <a:pt x="82" y="8"/>
                  </a:lnTo>
                  <a:lnTo>
                    <a:pt x="82" y="4"/>
                  </a:lnTo>
                  <a:lnTo>
                    <a:pt x="86" y="4"/>
                  </a:lnTo>
                  <a:lnTo>
                    <a:pt x="86" y="0"/>
                  </a:lnTo>
                  <a:lnTo>
                    <a:pt x="90" y="0"/>
                  </a:lnTo>
                  <a:lnTo>
                    <a:pt x="86" y="4"/>
                  </a:lnTo>
                  <a:lnTo>
                    <a:pt x="90" y="8"/>
                  </a:lnTo>
                  <a:lnTo>
                    <a:pt x="94" y="8"/>
                  </a:lnTo>
                  <a:lnTo>
                    <a:pt x="94" y="12"/>
                  </a:lnTo>
                  <a:lnTo>
                    <a:pt x="94" y="16"/>
                  </a:lnTo>
                  <a:lnTo>
                    <a:pt x="96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16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08" y="24"/>
                  </a:lnTo>
                  <a:lnTo>
                    <a:pt x="108" y="20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08" y="30"/>
                  </a:lnTo>
                  <a:lnTo>
                    <a:pt x="104" y="30"/>
                  </a:lnTo>
                  <a:lnTo>
                    <a:pt x="104" y="34"/>
                  </a:lnTo>
                  <a:lnTo>
                    <a:pt x="104" y="38"/>
                  </a:lnTo>
                  <a:lnTo>
                    <a:pt x="100" y="40"/>
                  </a:lnTo>
                  <a:lnTo>
                    <a:pt x="96" y="40"/>
                  </a:lnTo>
                  <a:lnTo>
                    <a:pt x="96" y="46"/>
                  </a:lnTo>
                  <a:lnTo>
                    <a:pt x="96" y="50"/>
                  </a:lnTo>
                  <a:lnTo>
                    <a:pt x="94" y="52"/>
                  </a:lnTo>
                  <a:lnTo>
                    <a:pt x="90" y="52"/>
                  </a:lnTo>
                  <a:lnTo>
                    <a:pt x="90" y="56"/>
                  </a:lnTo>
                  <a:lnTo>
                    <a:pt x="86" y="56"/>
                  </a:lnTo>
                  <a:lnTo>
                    <a:pt x="90" y="64"/>
                  </a:lnTo>
                  <a:lnTo>
                    <a:pt x="94" y="64"/>
                  </a:lnTo>
                  <a:lnTo>
                    <a:pt x="94" y="68"/>
                  </a:lnTo>
                  <a:lnTo>
                    <a:pt x="90" y="68"/>
                  </a:lnTo>
                  <a:lnTo>
                    <a:pt x="90" y="64"/>
                  </a:lnTo>
                  <a:lnTo>
                    <a:pt x="90" y="68"/>
                  </a:lnTo>
                  <a:lnTo>
                    <a:pt x="86" y="68"/>
                  </a:lnTo>
                  <a:lnTo>
                    <a:pt x="86" y="64"/>
                  </a:lnTo>
                  <a:lnTo>
                    <a:pt x="82" y="64"/>
                  </a:lnTo>
                  <a:lnTo>
                    <a:pt x="82" y="68"/>
                  </a:lnTo>
                  <a:lnTo>
                    <a:pt x="78" y="68"/>
                  </a:lnTo>
                  <a:lnTo>
                    <a:pt x="78" y="70"/>
                  </a:lnTo>
                  <a:lnTo>
                    <a:pt x="74" y="70"/>
                  </a:lnTo>
                  <a:lnTo>
                    <a:pt x="70" y="70"/>
                  </a:lnTo>
                  <a:lnTo>
                    <a:pt x="70" y="74"/>
                  </a:lnTo>
                  <a:lnTo>
                    <a:pt x="66" y="74"/>
                  </a:lnTo>
                  <a:lnTo>
                    <a:pt x="66" y="78"/>
                  </a:lnTo>
                  <a:lnTo>
                    <a:pt x="66" y="82"/>
                  </a:lnTo>
                  <a:lnTo>
                    <a:pt x="66" y="86"/>
                  </a:lnTo>
                  <a:lnTo>
                    <a:pt x="66" y="90"/>
                  </a:lnTo>
                  <a:lnTo>
                    <a:pt x="64" y="90"/>
                  </a:lnTo>
                  <a:lnTo>
                    <a:pt x="64" y="94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8"/>
                  </a:lnTo>
                  <a:lnTo>
                    <a:pt x="60" y="108"/>
                  </a:lnTo>
                  <a:lnTo>
                    <a:pt x="60" y="104"/>
                  </a:lnTo>
                  <a:lnTo>
                    <a:pt x="60" y="108"/>
                  </a:lnTo>
                  <a:lnTo>
                    <a:pt x="56" y="108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48" y="116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0" y="122"/>
                  </a:lnTo>
                  <a:lnTo>
                    <a:pt x="36" y="122"/>
                  </a:lnTo>
                  <a:lnTo>
                    <a:pt x="34" y="122"/>
                  </a:lnTo>
                  <a:lnTo>
                    <a:pt x="34" y="120"/>
                  </a:lnTo>
                  <a:lnTo>
                    <a:pt x="30" y="120"/>
                  </a:lnTo>
                  <a:lnTo>
                    <a:pt x="30" y="122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30" y="122"/>
                  </a:lnTo>
                  <a:lnTo>
                    <a:pt x="30" y="120"/>
                  </a:lnTo>
                  <a:lnTo>
                    <a:pt x="26" y="120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22" y="116"/>
                  </a:lnTo>
                  <a:lnTo>
                    <a:pt x="20" y="116"/>
                  </a:lnTo>
                  <a:lnTo>
                    <a:pt x="16" y="112"/>
                  </a:lnTo>
                  <a:lnTo>
                    <a:pt x="12" y="112"/>
                  </a:lnTo>
                  <a:lnTo>
                    <a:pt x="12" y="116"/>
                  </a:lnTo>
                  <a:lnTo>
                    <a:pt x="8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0" y="112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4" y="112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4"/>
                  </a:lnTo>
                  <a:lnTo>
                    <a:pt x="8" y="96"/>
                  </a:lnTo>
                  <a:lnTo>
                    <a:pt x="12" y="96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62" name="Freeform 203">
              <a:extLst>
                <a:ext uri="{FF2B5EF4-FFF2-40B4-BE49-F238E27FC236}">
                  <a16:creationId xmlns:a16="http://schemas.microsoft.com/office/drawing/2014/main" id="{24FBBA12-55B0-19C0-3BD4-4EB419C63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3136" y="5536245"/>
              <a:ext cx="218201" cy="230032"/>
            </a:xfrm>
            <a:custGeom>
              <a:avLst/>
              <a:gdLst>
                <a:gd name="T0" fmla="*/ 12 w 112"/>
                <a:gd name="T1" fmla="*/ 96 h 122"/>
                <a:gd name="T2" fmla="*/ 12 w 112"/>
                <a:gd name="T3" fmla="*/ 90 h 122"/>
                <a:gd name="T4" fmla="*/ 16 w 112"/>
                <a:gd name="T5" fmla="*/ 90 h 122"/>
                <a:gd name="T6" fmla="*/ 16 w 112"/>
                <a:gd name="T7" fmla="*/ 82 h 122"/>
                <a:gd name="T8" fmla="*/ 22 w 112"/>
                <a:gd name="T9" fmla="*/ 74 h 122"/>
                <a:gd name="T10" fmla="*/ 34 w 112"/>
                <a:gd name="T11" fmla="*/ 70 h 122"/>
                <a:gd name="T12" fmla="*/ 36 w 112"/>
                <a:gd name="T13" fmla="*/ 64 h 122"/>
                <a:gd name="T14" fmla="*/ 44 w 112"/>
                <a:gd name="T15" fmla="*/ 60 h 122"/>
                <a:gd name="T16" fmla="*/ 52 w 112"/>
                <a:gd name="T17" fmla="*/ 52 h 122"/>
                <a:gd name="T18" fmla="*/ 60 w 112"/>
                <a:gd name="T19" fmla="*/ 50 h 122"/>
                <a:gd name="T20" fmla="*/ 66 w 112"/>
                <a:gd name="T21" fmla="*/ 38 h 122"/>
                <a:gd name="T22" fmla="*/ 70 w 112"/>
                <a:gd name="T23" fmla="*/ 28 h 122"/>
                <a:gd name="T24" fmla="*/ 78 w 112"/>
                <a:gd name="T25" fmla="*/ 24 h 122"/>
                <a:gd name="T26" fmla="*/ 78 w 112"/>
                <a:gd name="T27" fmla="*/ 8 h 122"/>
                <a:gd name="T28" fmla="*/ 86 w 112"/>
                <a:gd name="T29" fmla="*/ 4 h 122"/>
                <a:gd name="T30" fmla="*/ 86 w 112"/>
                <a:gd name="T31" fmla="*/ 4 h 122"/>
                <a:gd name="T32" fmla="*/ 94 w 112"/>
                <a:gd name="T33" fmla="*/ 12 h 122"/>
                <a:gd name="T34" fmla="*/ 100 w 112"/>
                <a:gd name="T35" fmla="*/ 12 h 122"/>
                <a:gd name="T36" fmla="*/ 104 w 112"/>
                <a:gd name="T37" fmla="*/ 12 h 122"/>
                <a:gd name="T38" fmla="*/ 104 w 112"/>
                <a:gd name="T39" fmla="*/ 16 h 122"/>
                <a:gd name="T40" fmla="*/ 108 w 112"/>
                <a:gd name="T41" fmla="*/ 16 h 122"/>
                <a:gd name="T42" fmla="*/ 108 w 112"/>
                <a:gd name="T43" fmla="*/ 12 h 122"/>
                <a:gd name="T44" fmla="*/ 104 w 112"/>
                <a:gd name="T45" fmla="*/ 16 h 122"/>
                <a:gd name="T46" fmla="*/ 108 w 112"/>
                <a:gd name="T47" fmla="*/ 16 h 122"/>
                <a:gd name="T48" fmla="*/ 108 w 112"/>
                <a:gd name="T49" fmla="*/ 20 h 122"/>
                <a:gd name="T50" fmla="*/ 108 w 112"/>
                <a:gd name="T51" fmla="*/ 24 h 122"/>
                <a:gd name="T52" fmla="*/ 104 w 112"/>
                <a:gd name="T53" fmla="*/ 30 h 122"/>
                <a:gd name="T54" fmla="*/ 100 w 112"/>
                <a:gd name="T55" fmla="*/ 40 h 122"/>
                <a:gd name="T56" fmla="*/ 96 w 112"/>
                <a:gd name="T57" fmla="*/ 50 h 122"/>
                <a:gd name="T58" fmla="*/ 90 w 112"/>
                <a:gd name="T59" fmla="*/ 56 h 122"/>
                <a:gd name="T60" fmla="*/ 94 w 112"/>
                <a:gd name="T61" fmla="*/ 64 h 122"/>
                <a:gd name="T62" fmla="*/ 90 w 112"/>
                <a:gd name="T63" fmla="*/ 64 h 122"/>
                <a:gd name="T64" fmla="*/ 86 w 112"/>
                <a:gd name="T65" fmla="*/ 64 h 122"/>
                <a:gd name="T66" fmla="*/ 78 w 112"/>
                <a:gd name="T67" fmla="*/ 68 h 122"/>
                <a:gd name="T68" fmla="*/ 70 w 112"/>
                <a:gd name="T69" fmla="*/ 70 h 122"/>
                <a:gd name="T70" fmla="*/ 66 w 112"/>
                <a:gd name="T71" fmla="*/ 78 h 122"/>
                <a:gd name="T72" fmla="*/ 66 w 112"/>
                <a:gd name="T73" fmla="*/ 90 h 122"/>
                <a:gd name="T74" fmla="*/ 60 w 112"/>
                <a:gd name="T75" fmla="*/ 96 h 122"/>
                <a:gd name="T76" fmla="*/ 56 w 112"/>
                <a:gd name="T77" fmla="*/ 104 h 122"/>
                <a:gd name="T78" fmla="*/ 60 w 112"/>
                <a:gd name="T79" fmla="*/ 104 h 122"/>
                <a:gd name="T80" fmla="*/ 52 w 112"/>
                <a:gd name="T81" fmla="*/ 108 h 122"/>
                <a:gd name="T82" fmla="*/ 48 w 112"/>
                <a:gd name="T83" fmla="*/ 120 h 122"/>
                <a:gd name="T84" fmla="*/ 36 w 112"/>
                <a:gd name="T85" fmla="*/ 122 h 122"/>
                <a:gd name="T86" fmla="*/ 30 w 112"/>
                <a:gd name="T87" fmla="*/ 120 h 122"/>
                <a:gd name="T88" fmla="*/ 26 w 112"/>
                <a:gd name="T89" fmla="*/ 120 h 122"/>
                <a:gd name="T90" fmla="*/ 26 w 112"/>
                <a:gd name="T91" fmla="*/ 120 h 122"/>
                <a:gd name="T92" fmla="*/ 22 w 112"/>
                <a:gd name="T93" fmla="*/ 116 h 122"/>
                <a:gd name="T94" fmla="*/ 12 w 112"/>
                <a:gd name="T95" fmla="*/ 112 h 122"/>
                <a:gd name="T96" fmla="*/ 4 w 112"/>
                <a:gd name="T97" fmla="*/ 116 h 122"/>
                <a:gd name="T98" fmla="*/ 4 w 112"/>
                <a:gd name="T99" fmla="*/ 112 h 122"/>
                <a:gd name="T100" fmla="*/ 4 w 112"/>
                <a:gd name="T101" fmla="*/ 108 h 122"/>
                <a:gd name="T102" fmla="*/ 0 w 112"/>
                <a:gd name="T103" fmla="*/ 108 h 122"/>
                <a:gd name="T104" fmla="*/ 8 w 112"/>
                <a:gd name="T105" fmla="*/ 104 h 122"/>
                <a:gd name="T106" fmla="*/ 8 w 112"/>
                <a:gd name="T107" fmla="*/ 100 h 122"/>
                <a:gd name="T108" fmla="*/ 4 w 112"/>
                <a:gd name="T109" fmla="*/ 9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2" h="122">
                  <a:moveTo>
                    <a:pt x="12" y="96"/>
                  </a:moveTo>
                  <a:lnTo>
                    <a:pt x="8" y="96"/>
                  </a:lnTo>
                  <a:lnTo>
                    <a:pt x="12" y="96"/>
                  </a:lnTo>
                  <a:lnTo>
                    <a:pt x="8" y="94"/>
                  </a:lnTo>
                  <a:lnTo>
                    <a:pt x="8" y="90"/>
                  </a:lnTo>
                  <a:lnTo>
                    <a:pt x="12" y="90"/>
                  </a:lnTo>
                  <a:lnTo>
                    <a:pt x="12" y="86"/>
                  </a:lnTo>
                  <a:lnTo>
                    <a:pt x="12" y="90"/>
                  </a:lnTo>
                  <a:lnTo>
                    <a:pt x="16" y="90"/>
                  </a:lnTo>
                  <a:lnTo>
                    <a:pt x="16" y="86"/>
                  </a:lnTo>
                  <a:lnTo>
                    <a:pt x="12" y="86"/>
                  </a:lnTo>
                  <a:lnTo>
                    <a:pt x="16" y="82"/>
                  </a:lnTo>
                  <a:lnTo>
                    <a:pt x="20" y="82"/>
                  </a:lnTo>
                  <a:lnTo>
                    <a:pt x="20" y="78"/>
                  </a:lnTo>
                  <a:lnTo>
                    <a:pt x="22" y="74"/>
                  </a:lnTo>
                  <a:lnTo>
                    <a:pt x="26" y="70"/>
                  </a:lnTo>
                  <a:lnTo>
                    <a:pt x="30" y="70"/>
                  </a:lnTo>
                  <a:lnTo>
                    <a:pt x="34" y="70"/>
                  </a:lnTo>
                  <a:lnTo>
                    <a:pt x="34" y="68"/>
                  </a:lnTo>
                  <a:lnTo>
                    <a:pt x="36" y="68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0"/>
                  </a:lnTo>
                  <a:lnTo>
                    <a:pt x="60" y="50"/>
                  </a:lnTo>
                  <a:lnTo>
                    <a:pt x="64" y="40"/>
                  </a:lnTo>
                  <a:lnTo>
                    <a:pt x="66" y="40"/>
                  </a:lnTo>
                  <a:lnTo>
                    <a:pt x="66" y="38"/>
                  </a:lnTo>
                  <a:lnTo>
                    <a:pt x="66" y="34"/>
                  </a:lnTo>
                  <a:lnTo>
                    <a:pt x="66" y="30"/>
                  </a:lnTo>
                  <a:lnTo>
                    <a:pt x="70" y="28"/>
                  </a:lnTo>
                  <a:lnTo>
                    <a:pt x="74" y="28"/>
                  </a:lnTo>
                  <a:lnTo>
                    <a:pt x="74" y="24"/>
                  </a:lnTo>
                  <a:lnTo>
                    <a:pt x="78" y="24"/>
                  </a:lnTo>
                  <a:lnTo>
                    <a:pt x="78" y="20"/>
                  </a:lnTo>
                  <a:lnTo>
                    <a:pt x="78" y="16"/>
                  </a:lnTo>
                  <a:lnTo>
                    <a:pt x="78" y="8"/>
                  </a:lnTo>
                  <a:lnTo>
                    <a:pt x="82" y="8"/>
                  </a:lnTo>
                  <a:lnTo>
                    <a:pt x="82" y="4"/>
                  </a:lnTo>
                  <a:lnTo>
                    <a:pt x="86" y="4"/>
                  </a:lnTo>
                  <a:lnTo>
                    <a:pt x="86" y="0"/>
                  </a:lnTo>
                  <a:lnTo>
                    <a:pt x="90" y="0"/>
                  </a:lnTo>
                  <a:lnTo>
                    <a:pt x="86" y="4"/>
                  </a:lnTo>
                  <a:lnTo>
                    <a:pt x="90" y="8"/>
                  </a:lnTo>
                  <a:lnTo>
                    <a:pt x="94" y="8"/>
                  </a:lnTo>
                  <a:lnTo>
                    <a:pt x="94" y="12"/>
                  </a:lnTo>
                  <a:lnTo>
                    <a:pt x="94" y="16"/>
                  </a:lnTo>
                  <a:lnTo>
                    <a:pt x="96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16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08" y="24"/>
                  </a:lnTo>
                  <a:lnTo>
                    <a:pt x="108" y="20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08" y="30"/>
                  </a:lnTo>
                  <a:lnTo>
                    <a:pt x="104" y="30"/>
                  </a:lnTo>
                  <a:lnTo>
                    <a:pt x="104" y="34"/>
                  </a:lnTo>
                  <a:lnTo>
                    <a:pt x="104" y="38"/>
                  </a:lnTo>
                  <a:lnTo>
                    <a:pt x="100" y="40"/>
                  </a:lnTo>
                  <a:lnTo>
                    <a:pt x="96" y="40"/>
                  </a:lnTo>
                  <a:lnTo>
                    <a:pt x="96" y="46"/>
                  </a:lnTo>
                  <a:lnTo>
                    <a:pt x="96" y="50"/>
                  </a:lnTo>
                  <a:lnTo>
                    <a:pt x="94" y="52"/>
                  </a:lnTo>
                  <a:lnTo>
                    <a:pt x="90" y="52"/>
                  </a:lnTo>
                  <a:lnTo>
                    <a:pt x="90" y="56"/>
                  </a:lnTo>
                  <a:lnTo>
                    <a:pt x="86" y="56"/>
                  </a:lnTo>
                  <a:lnTo>
                    <a:pt x="90" y="64"/>
                  </a:lnTo>
                  <a:lnTo>
                    <a:pt x="94" y="64"/>
                  </a:lnTo>
                  <a:lnTo>
                    <a:pt x="94" y="68"/>
                  </a:lnTo>
                  <a:lnTo>
                    <a:pt x="90" y="68"/>
                  </a:lnTo>
                  <a:lnTo>
                    <a:pt x="90" y="64"/>
                  </a:lnTo>
                  <a:lnTo>
                    <a:pt x="90" y="68"/>
                  </a:lnTo>
                  <a:lnTo>
                    <a:pt x="86" y="68"/>
                  </a:lnTo>
                  <a:lnTo>
                    <a:pt x="86" y="64"/>
                  </a:lnTo>
                  <a:lnTo>
                    <a:pt x="82" y="64"/>
                  </a:lnTo>
                  <a:lnTo>
                    <a:pt x="82" y="68"/>
                  </a:lnTo>
                  <a:lnTo>
                    <a:pt x="78" y="68"/>
                  </a:lnTo>
                  <a:lnTo>
                    <a:pt x="78" y="70"/>
                  </a:lnTo>
                  <a:lnTo>
                    <a:pt x="74" y="70"/>
                  </a:lnTo>
                  <a:lnTo>
                    <a:pt x="70" y="70"/>
                  </a:lnTo>
                  <a:lnTo>
                    <a:pt x="70" y="74"/>
                  </a:lnTo>
                  <a:lnTo>
                    <a:pt x="66" y="74"/>
                  </a:lnTo>
                  <a:lnTo>
                    <a:pt x="66" y="78"/>
                  </a:lnTo>
                  <a:lnTo>
                    <a:pt x="66" y="82"/>
                  </a:lnTo>
                  <a:lnTo>
                    <a:pt x="66" y="86"/>
                  </a:lnTo>
                  <a:lnTo>
                    <a:pt x="66" y="90"/>
                  </a:lnTo>
                  <a:lnTo>
                    <a:pt x="64" y="90"/>
                  </a:lnTo>
                  <a:lnTo>
                    <a:pt x="64" y="94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8"/>
                  </a:lnTo>
                  <a:lnTo>
                    <a:pt x="60" y="108"/>
                  </a:lnTo>
                  <a:lnTo>
                    <a:pt x="60" y="104"/>
                  </a:lnTo>
                  <a:lnTo>
                    <a:pt x="60" y="108"/>
                  </a:lnTo>
                  <a:lnTo>
                    <a:pt x="56" y="108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48" y="116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0" y="122"/>
                  </a:lnTo>
                  <a:lnTo>
                    <a:pt x="36" y="122"/>
                  </a:lnTo>
                  <a:lnTo>
                    <a:pt x="34" y="122"/>
                  </a:lnTo>
                  <a:lnTo>
                    <a:pt x="34" y="120"/>
                  </a:lnTo>
                  <a:lnTo>
                    <a:pt x="30" y="120"/>
                  </a:lnTo>
                  <a:lnTo>
                    <a:pt x="30" y="122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30" y="122"/>
                  </a:lnTo>
                  <a:lnTo>
                    <a:pt x="30" y="120"/>
                  </a:lnTo>
                  <a:lnTo>
                    <a:pt x="26" y="120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22" y="116"/>
                  </a:lnTo>
                  <a:lnTo>
                    <a:pt x="20" y="116"/>
                  </a:lnTo>
                  <a:lnTo>
                    <a:pt x="16" y="112"/>
                  </a:lnTo>
                  <a:lnTo>
                    <a:pt x="12" y="112"/>
                  </a:lnTo>
                  <a:lnTo>
                    <a:pt x="12" y="116"/>
                  </a:lnTo>
                  <a:lnTo>
                    <a:pt x="8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0" y="112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4" y="112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4"/>
                  </a:lnTo>
                  <a:lnTo>
                    <a:pt x="8" y="96"/>
                  </a:lnTo>
                  <a:lnTo>
                    <a:pt x="12" y="96"/>
                  </a:lnTo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63" name="Freeform 204">
              <a:extLst>
                <a:ext uri="{FF2B5EF4-FFF2-40B4-BE49-F238E27FC236}">
                  <a16:creationId xmlns:a16="http://schemas.microsoft.com/office/drawing/2014/main" id="{42DED185-EC5D-89C1-F289-F3E5AAC1F8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06489" y="4397399"/>
              <a:ext cx="264958" cy="139528"/>
            </a:xfrm>
            <a:custGeom>
              <a:avLst/>
              <a:gdLst>
                <a:gd name="T0" fmla="*/ 6 w 136"/>
                <a:gd name="T1" fmla="*/ 8 h 74"/>
                <a:gd name="T2" fmla="*/ 8 w 136"/>
                <a:gd name="T3" fmla="*/ 4 h 74"/>
                <a:gd name="T4" fmla="*/ 14 w 136"/>
                <a:gd name="T5" fmla="*/ 10 h 74"/>
                <a:gd name="T6" fmla="*/ 14 w 136"/>
                <a:gd name="T7" fmla="*/ 12 h 74"/>
                <a:gd name="T8" fmla="*/ 48 w 136"/>
                <a:gd name="T9" fmla="*/ 26 h 74"/>
                <a:gd name="T10" fmla="*/ 30 w 136"/>
                <a:gd name="T11" fmla="*/ 12 h 74"/>
                <a:gd name="T12" fmla="*/ 48 w 136"/>
                <a:gd name="T13" fmla="*/ 26 h 74"/>
                <a:gd name="T14" fmla="*/ 48 w 136"/>
                <a:gd name="T15" fmla="*/ 26 h 74"/>
                <a:gd name="T16" fmla="*/ 0 w 136"/>
                <a:gd name="T17" fmla="*/ 14 h 74"/>
                <a:gd name="T18" fmla="*/ 2 w 136"/>
                <a:gd name="T19" fmla="*/ 18 h 74"/>
                <a:gd name="T20" fmla="*/ 2 w 136"/>
                <a:gd name="T21" fmla="*/ 18 h 74"/>
                <a:gd name="T22" fmla="*/ 6 w 136"/>
                <a:gd name="T23" fmla="*/ 20 h 74"/>
                <a:gd name="T24" fmla="*/ 10 w 136"/>
                <a:gd name="T25" fmla="*/ 16 h 74"/>
                <a:gd name="T26" fmla="*/ 10 w 136"/>
                <a:gd name="T27" fmla="*/ 22 h 74"/>
                <a:gd name="T28" fmla="*/ 18 w 136"/>
                <a:gd name="T29" fmla="*/ 28 h 74"/>
                <a:gd name="T30" fmla="*/ 12 w 136"/>
                <a:gd name="T31" fmla="*/ 22 h 74"/>
                <a:gd name="T32" fmla="*/ 18 w 136"/>
                <a:gd name="T33" fmla="*/ 22 h 74"/>
                <a:gd name="T34" fmla="*/ 18 w 136"/>
                <a:gd name="T35" fmla="*/ 28 h 74"/>
                <a:gd name="T36" fmla="*/ 18 w 136"/>
                <a:gd name="T37" fmla="*/ 28 h 74"/>
                <a:gd name="T38" fmla="*/ 12 w 136"/>
                <a:gd name="T39" fmla="*/ 28 h 74"/>
                <a:gd name="T40" fmla="*/ 12 w 136"/>
                <a:gd name="T41" fmla="*/ 28 h 74"/>
                <a:gd name="T42" fmla="*/ 12 w 136"/>
                <a:gd name="T43" fmla="*/ 28 h 74"/>
                <a:gd name="T44" fmla="*/ 20 w 136"/>
                <a:gd name="T45" fmla="*/ 28 h 74"/>
                <a:gd name="T46" fmla="*/ 22 w 136"/>
                <a:gd name="T47" fmla="*/ 28 h 74"/>
                <a:gd name="T48" fmla="*/ 22 w 136"/>
                <a:gd name="T49" fmla="*/ 28 h 74"/>
                <a:gd name="T50" fmla="*/ 132 w 136"/>
                <a:gd name="T51" fmla="*/ 56 h 74"/>
                <a:gd name="T52" fmla="*/ 134 w 136"/>
                <a:gd name="T53" fmla="*/ 60 h 74"/>
                <a:gd name="T54" fmla="*/ 134 w 136"/>
                <a:gd name="T55" fmla="*/ 60 h 74"/>
                <a:gd name="T56" fmla="*/ 48 w 136"/>
                <a:gd name="T57" fmla="*/ 68 h 74"/>
                <a:gd name="T58" fmla="*/ 58 w 136"/>
                <a:gd name="T59" fmla="*/ 74 h 74"/>
                <a:gd name="T60" fmla="*/ 58 w 136"/>
                <a:gd name="T61" fmla="*/ 74 h 74"/>
                <a:gd name="T62" fmla="*/ 70 w 136"/>
                <a:gd name="T63" fmla="*/ 42 h 74"/>
                <a:gd name="T64" fmla="*/ 58 w 136"/>
                <a:gd name="T65" fmla="*/ 22 h 74"/>
                <a:gd name="T66" fmla="*/ 64 w 136"/>
                <a:gd name="T67" fmla="*/ 28 h 74"/>
                <a:gd name="T68" fmla="*/ 68 w 136"/>
                <a:gd name="T69" fmla="*/ 34 h 74"/>
                <a:gd name="T70" fmla="*/ 68 w 136"/>
                <a:gd name="T71" fmla="*/ 34 h 74"/>
                <a:gd name="T72" fmla="*/ 60 w 136"/>
                <a:gd name="T73" fmla="*/ 46 h 74"/>
                <a:gd name="T74" fmla="*/ 44 w 136"/>
                <a:gd name="T75" fmla="*/ 38 h 74"/>
                <a:gd name="T76" fmla="*/ 62 w 136"/>
                <a:gd name="T77" fmla="*/ 46 h 74"/>
                <a:gd name="T78" fmla="*/ 62 w 136"/>
                <a:gd name="T79" fmla="*/ 46 h 74"/>
                <a:gd name="T80" fmla="*/ 84 w 136"/>
                <a:gd name="T81" fmla="*/ 60 h 74"/>
                <a:gd name="T82" fmla="*/ 68 w 136"/>
                <a:gd name="T83" fmla="*/ 50 h 74"/>
                <a:gd name="T84" fmla="*/ 84 w 136"/>
                <a:gd name="T85" fmla="*/ 56 h 74"/>
                <a:gd name="T86" fmla="*/ 84 w 136"/>
                <a:gd name="T87" fmla="*/ 5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6" h="74">
                  <a:moveTo>
                    <a:pt x="14" y="12"/>
                  </a:moveTo>
                  <a:lnTo>
                    <a:pt x="6" y="8"/>
                  </a:lnTo>
                  <a:lnTo>
                    <a:pt x="0" y="0"/>
                  </a:lnTo>
                  <a:lnTo>
                    <a:pt x="8" y="4"/>
                  </a:lnTo>
                  <a:lnTo>
                    <a:pt x="10" y="6"/>
                  </a:lnTo>
                  <a:lnTo>
                    <a:pt x="14" y="10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close/>
                  <a:moveTo>
                    <a:pt x="48" y="26"/>
                  </a:moveTo>
                  <a:lnTo>
                    <a:pt x="34" y="18"/>
                  </a:lnTo>
                  <a:lnTo>
                    <a:pt x="30" y="12"/>
                  </a:lnTo>
                  <a:lnTo>
                    <a:pt x="48" y="22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close/>
                  <a:moveTo>
                    <a:pt x="2" y="18"/>
                  </a:moveTo>
                  <a:lnTo>
                    <a:pt x="0" y="14"/>
                  </a:lnTo>
                  <a:lnTo>
                    <a:pt x="6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close/>
                  <a:moveTo>
                    <a:pt x="10" y="22"/>
                  </a:moveTo>
                  <a:lnTo>
                    <a:pt x="6" y="20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close/>
                  <a:moveTo>
                    <a:pt x="18" y="28"/>
                  </a:moveTo>
                  <a:lnTo>
                    <a:pt x="14" y="22"/>
                  </a:lnTo>
                  <a:lnTo>
                    <a:pt x="12" y="22"/>
                  </a:lnTo>
                  <a:lnTo>
                    <a:pt x="12" y="18"/>
                  </a:lnTo>
                  <a:lnTo>
                    <a:pt x="18" y="22"/>
                  </a:lnTo>
                  <a:lnTo>
                    <a:pt x="20" y="26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28"/>
                  </a:lnTo>
                  <a:close/>
                  <a:moveTo>
                    <a:pt x="12" y="28"/>
                  </a:moveTo>
                  <a:lnTo>
                    <a:pt x="12" y="28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close/>
                  <a:moveTo>
                    <a:pt x="22" y="28"/>
                  </a:moveTo>
                  <a:lnTo>
                    <a:pt x="20" y="28"/>
                  </a:lnTo>
                  <a:lnTo>
                    <a:pt x="24" y="26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close/>
                  <a:moveTo>
                    <a:pt x="134" y="60"/>
                  </a:moveTo>
                  <a:lnTo>
                    <a:pt x="132" y="56"/>
                  </a:lnTo>
                  <a:lnTo>
                    <a:pt x="136" y="56"/>
                  </a:lnTo>
                  <a:lnTo>
                    <a:pt x="134" y="60"/>
                  </a:lnTo>
                  <a:lnTo>
                    <a:pt x="134" y="60"/>
                  </a:lnTo>
                  <a:lnTo>
                    <a:pt x="134" y="60"/>
                  </a:lnTo>
                  <a:close/>
                  <a:moveTo>
                    <a:pt x="58" y="74"/>
                  </a:moveTo>
                  <a:lnTo>
                    <a:pt x="48" y="68"/>
                  </a:lnTo>
                  <a:lnTo>
                    <a:pt x="56" y="72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close/>
                  <a:moveTo>
                    <a:pt x="68" y="34"/>
                  </a:moveTo>
                  <a:lnTo>
                    <a:pt x="70" y="42"/>
                  </a:lnTo>
                  <a:lnTo>
                    <a:pt x="62" y="34"/>
                  </a:lnTo>
                  <a:lnTo>
                    <a:pt x="58" y="22"/>
                  </a:lnTo>
                  <a:lnTo>
                    <a:pt x="62" y="24"/>
                  </a:lnTo>
                  <a:lnTo>
                    <a:pt x="64" y="28"/>
                  </a:lnTo>
                  <a:lnTo>
                    <a:pt x="64" y="30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close/>
                  <a:moveTo>
                    <a:pt x="62" y="46"/>
                  </a:moveTo>
                  <a:lnTo>
                    <a:pt x="60" y="46"/>
                  </a:lnTo>
                  <a:lnTo>
                    <a:pt x="48" y="44"/>
                  </a:lnTo>
                  <a:lnTo>
                    <a:pt x="44" y="38"/>
                  </a:lnTo>
                  <a:lnTo>
                    <a:pt x="56" y="40"/>
                  </a:lnTo>
                  <a:lnTo>
                    <a:pt x="62" y="46"/>
                  </a:lnTo>
                  <a:lnTo>
                    <a:pt x="62" y="46"/>
                  </a:lnTo>
                  <a:lnTo>
                    <a:pt x="62" y="46"/>
                  </a:lnTo>
                  <a:close/>
                  <a:moveTo>
                    <a:pt x="84" y="56"/>
                  </a:moveTo>
                  <a:lnTo>
                    <a:pt x="84" y="60"/>
                  </a:lnTo>
                  <a:lnTo>
                    <a:pt x="76" y="56"/>
                  </a:lnTo>
                  <a:lnTo>
                    <a:pt x="68" y="50"/>
                  </a:lnTo>
                  <a:lnTo>
                    <a:pt x="80" y="54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64" name="Freeform 205">
              <a:extLst>
                <a:ext uri="{FF2B5EF4-FFF2-40B4-BE49-F238E27FC236}">
                  <a16:creationId xmlns:a16="http://schemas.microsoft.com/office/drawing/2014/main" id="{403502F4-8201-5307-1846-95F3B4CFDF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83162" y="4653828"/>
              <a:ext cx="74032" cy="82962"/>
            </a:xfrm>
            <a:custGeom>
              <a:avLst/>
              <a:gdLst>
                <a:gd name="T0" fmla="*/ 38 w 38"/>
                <a:gd name="T1" fmla="*/ 0 h 44"/>
                <a:gd name="T2" fmla="*/ 30 w 38"/>
                <a:gd name="T3" fmla="*/ 8 h 44"/>
                <a:gd name="T4" fmla="*/ 36 w 38"/>
                <a:gd name="T5" fmla="*/ 4 h 44"/>
                <a:gd name="T6" fmla="*/ 36 w 38"/>
                <a:gd name="T7" fmla="*/ 8 h 44"/>
                <a:gd name="T8" fmla="*/ 28 w 38"/>
                <a:gd name="T9" fmla="*/ 8 h 44"/>
                <a:gd name="T10" fmla="*/ 28 w 38"/>
                <a:gd name="T11" fmla="*/ 8 h 44"/>
                <a:gd name="T12" fmla="*/ 20 w 38"/>
                <a:gd name="T13" fmla="*/ 14 h 44"/>
                <a:gd name="T14" fmla="*/ 16 w 38"/>
                <a:gd name="T15" fmla="*/ 8 h 44"/>
                <a:gd name="T16" fmla="*/ 22 w 38"/>
                <a:gd name="T17" fmla="*/ 4 h 44"/>
                <a:gd name="T18" fmla="*/ 38 w 38"/>
                <a:gd name="T19" fmla="*/ 0 h 44"/>
                <a:gd name="T20" fmla="*/ 38 w 38"/>
                <a:gd name="T21" fmla="*/ 0 h 44"/>
                <a:gd name="T22" fmla="*/ 38 w 38"/>
                <a:gd name="T23" fmla="*/ 0 h 44"/>
                <a:gd name="T24" fmla="*/ 38 w 38"/>
                <a:gd name="T25" fmla="*/ 0 h 44"/>
                <a:gd name="T26" fmla="*/ 2 w 38"/>
                <a:gd name="T27" fmla="*/ 30 h 44"/>
                <a:gd name="T28" fmla="*/ 0 w 38"/>
                <a:gd name="T29" fmla="*/ 26 h 44"/>
                <a:gd name="T30" fmla="*/ 4 w 38"/>
                <a:gd name="T31" fmla="*/ 20 h 44"/>
                <a:gd name="T32" fmla="*/ 12 w 38"/>
                <a:gd name="T33" fmla="*/ 16 h 44"/>
                <a:gd name="T34" fmla="*/ 16 w 38"/>
                <a:gd name="T35" fmla="*/ 22 h 44"/>
                <a:gd name="T36" fmla="*/ 18 w 38"/>
                <a:gd name="T37" fmla="*/ 28 h 44"/>
                <a:gd name="T38" fmla="*/ 16 w 38"/>
                <a:gd name="T39" fmla="*/ 28 h 44"/>
                <a:gd name="T40" fmla="*/ 10 w 38"/>
                <a:gd name="T41" fmla="*/ 32 h 44"/>
                <a:gd name="T42" fmla="*/ 2 w 38"/>
                <a:gd name="T43" fmla="*/ 30 h 44"/>
                <a:gd name="T44" fmla="*/ 2 w 38"/>
                <a:gd name="T45" fmla="*/ 30 h 44"/>
                <a:gd name="T46" fmla="*/ 2 w 38"/>
                <a:gd name="T47" fmla="*/ 30 h 44"/>
                <a:gd name="T48" fmla="*/ 10 w 38"/>
                <a:gd name="T49" fmla="*/ 44 h 44"/>
                <a:gd name="T50" fmla="*/ 10 w 38"/>
                <a:gd name="T51" fmla="*/ 44 h 44"/>
                <a:gd name="T52" fmla="*/ 10 w 38"/>
                <a:gd name="T53" fmla="*/ 42 h 44"/>
                <a:gd name="T54" fmla="*/ 16 w 38"/>
                <a:gd name="T55" fmla="*/ 42 h 44"/>
                <a:gd name="T56" fmla="*/ 10 w 38"/>
                <a:gd name="T57" fmla="*/ 44 h 44"/>
                <a:gd name="T58" fmla="*/ 10 w 38"/>
                <a:gd name="T59" fmla="*/ 44 h 44"/>
                <a:gd name="T60" fmla="*/ 10 w 38"/>
                <a:gd name="T61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8" h="44">
                  <a:moveTo>
                    <a:pt x="38" y="0"/>
                  </a:moveTo>
                  <a:lnTo>
                    <a:pt x="30" y="8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0" y="14"/>
                  </a:lnTo>
                  <a:lnTo>
                    <a:pt x="16" y="8"/>
                  </a:lnTo>
                  <a:lnTo>
                    <a:pt x="22" y="4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close/>
                  <a:moveTo>
                    <a:pt x="2" y="30"/>
                  </a:moveTo>
                  <a:lnTo>
                    <a:pt x="0" y="26"/>
                  </a:lnTo>
                  <a:lnTo>
                    <a:pt x="4" y="20"/>
                  </a:lnTo>
                  <a:lnTo>
                    <a:pt x="12" y="16"/>
                  </a:lnTo>
                  <a:lnTo>
                    <a:pt x="16" y="22"/>
                  </a:lnTo>
                  <a:lnTo>
                    <a:pt x="18" y="28"/>
                  </a:lnTo>
                  <a:lnTo>
                    <a:pt x="16" y="28"/>
                  </a:lnTo>
                  <a:lnTo>
                    <a:pt x="10" y="32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close/>
                  <a:moveTo>
                    <a:pt x="10" y="44"/>
                  </a:moveTo>
                  <a:lnTo>
                    <a:pt x="10" y="44"/>
                  </a:lnTo>
                  <a:lnTo>
                    <a:pt x="10" y="42"/>
                  </a:lnTo>
                  <a:lnTo>
                    <a:pt x="16" y="42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65" name="Freeform 206">
              <a:extLst>
                <a:ext uri="{FF2B5EF4-FFF2-40B4-BE49-F238E27FC236}">
                  <a16:creationId xmlns:a16="http://schemas.microsoft.com/office/drawing/2014/main" id="{C5B0EA71-23EE-3EFB-A087-77A738E0EC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83136" y="4612347"/>
              <a:ext cx="81825" cy="139528"/>
            </a:xfrm>
            <a:custGeom>
              <a:avLst/>
              <a:gdLst>
                <a:gd name="T0" fmla="*/ 8 w 42"/>
                <a:gd name="T1" fmla="*/ 6 h 74"/>
                <a:gd name="T2" fmla="*/ 12 w 42"/>
                <a:gd name="T3" fmla="*/ 12 h 74"/>
                <a:gd name="T4" fmla="*/ 4 w 42"/>
                <a:gd name="T5" fmla="*/ 14 h 74"/>
                <a:gd name="T6" fmla="*/ 0 w 42"/>
                <a:gd name="T7" fmla="*/ 0 h 74"/>
                <a:gd name="T8" fmla="*/ 6 w 42"/>
                <a:gd name="T9" fmla="*/ 6 h 74"/>
                <a:gd name="T10" fmla="*/ 6 w 42"/>
                <a:gd name="T11" fmla="*/ 4 h 74"/>
                <a:gd name="T12" fmla="*/ 8 w 42"/>
                <a:gd name="T13" fmla="*/ 6 h 74"/>
                <a:gd name="T14" fmla="*/ 8 w 42"/>
                <a:gd name="T15" fmla="*/ 6 h 74"/>
                <a:gd name="T16" fmla="*/ 8 w 42"/>
                <a:gd name="T17" fmla="*/ 6 h 74"/>
                <a:gd name="T18" fmla="*/ 28 w 42"/>
                <a:gd name="T19" fmla="*/ 48 h 74"/>
                <a:gd name="T20" fmla="*/ 24 w 42"/>
                <a:gd name="T21" fmla="*/ 44 h 74"/>
                <a:gd name="T22" fmla="*/ 26 w 42"/>
                <a:gd name="T23" fmla="*/ 42 h 74"/>
                <a:gd name="T24" fmla="*/ 30 w 42"/>
                <a:gd name="T25" fmla="*/ 44 h 74"/>
                <a:gd name="T26" fmla="*/ 28 w 42"/>
                <a:gd name="T27" fmla="*/ 48 h 74"/>
                <a:gd name="T28" fmla="*/ 28 w 42"/>
                <a:gd name="T29" fmla="*/ 48 h 74"/>
                <a:gd name="T30" fmla="*/ 28 w 42"/>
                <a:gd name="T31" fmla="*/ 48 h 74"/>
                <a:gd name="T32" fmla="*/ 40 w 42"/>
                <a:gd name="T33" fmla="*/ 64 h 74"/>
                <a:gd name="T34" fmla="*/ 36 w 42"/>
                <a:gd name="T35" fmla="*/ 62 h 74"/>
                <a:gd name="T36" fmla="*/ 36 w 42"/>
                <a:gd name="T37" fmla="*/ 60 h 74"/>
                <a:gd name="T38" fmla="*/ 40 w 42"/>
                <a:gd name="T39" fmla="*/ 62 h 74"/>
                <a:gd name="T40" fmla="*/ 40 w 42"/>
                <a:gd name="T41" fmla="*/ 64 h 74"/>
                <a:gd name="T42" fmla="*/ 40 w 42"/>
                <a:gd name="T43" fmla="*/ 64 h 74"/>
                <a:gd name="T44" fmla="*/ 40 w 42"/>
                <a:gd name="T45" fmla="*/ 64 h 74"/>
                <a:gd name="T46" fmla="*/ 42 w 42"/>
                <a:gd name="T47" fmla="*/ 74 h 74"/>
                <a:gd name="T48" fmla="*/ 40 w 42"/>
                <a:gd name="T49" fmla="*/ 72 h 74"/>
                <a:gd name="T50" fmla="*/ 40 w 42"/>
                <a:gd name="T51" fmla="*/ 70 h 74"/>
                <a:gd name="T52" fmla="*/ 42 w 42"/>
                <a:gd name="T53" fmla="*/ 72 h 74"/>
                <a:gd name="T54" fmla="*/ 42 w 42"/>
                <a:gd name="T55" fmla="*/ 74 h 74"/>
                <a:gd name="T56" fmla="*/ 42 w 42"/>
                <a:gd name="T57" fmla="*/ 74 h 74"/>
                <a:gd name="T58" fmla="*/ 42 w 42"/>
                <a:gd name="T59" fmla="*/ 74 h 74"/>
                <a:gd name="T60" fmla="*/ 18 w 42"/>
                <a:gd name="T61" fmla="*/ 12 h 74"/>
                <a:gd name="T62" fmla="*/ 18 w 42"/>
                <a:gd name="T63" fmla="*/ 12 h 74"/>
                <a:gd name="T64" fmla="*/ 22 w 42"/>
                <a:gd name="T65" fmla="*/ 10 h 74"/>
                <a:gd name="T66" fmla="*/ 18 w 42"/>
                <a:gd name="T67" fmla="*/ 12 h 74"/>
                <a:gd name="T68" fmla="*/ 18 w 42"/>
                <a:gd name="T69" fmla="*/ 12 h 74"/>
                <a:gd name="T70" fmla="*/ 18 w 42"/>
                <a:gd name="T71" fmla="*/ 12 h 74"/>
                <a:gd name="T72" fmla="*/ 14 w 42"/>
                <a:gd name="T73" fmla="*/ 28 h 74"/>
                <a:gd name="T74" fmla="*/ 12 w 42"/>
                <a:gd name="T75" fmla="*/ 22 h 74"/>
                <a:gd name="T76" fmla="*/ 10 w 42"/>
                <a:gd name="T77" fmla="*/ 20 h 74"/>
                <a:gd name="T78" fmla="*/ 12 w 42"/>
                <a:gd name="T79" fmla="*/ 18 h 74"/>
                <a:gd name="T80" fmla="*/ 18 w 42"/>
                <a:gd name="T81" fmla="*/ 26 h 74"/>
                <a:gd name="T82" fmla="*/ 14 w 42"/>
                <a:gd name="T83" fmla="*/ 28 h 74"/>
                <a:gd name="T84" fmla="*/ 14 w 42"/>
                <a:gd name="T85" fmla="*/ 28 h 74"/>
                <a:gd name="T86" fmla="*/ 14 w 42"/>
                <a:gd name="T87" fmla="*/ 28 h 74"/>
                <a:gd name="T88" fmla="*/ 24 w 42"/>
                <a:gd name="T89" fmla="*/ 24 h 74"/>
                <a:gd name="T90" fmla="*/ 20 w 42"/>
                <a:gd name="T91" fmla="*/ 24 h 74"/>
                <a:gd name="T92" fmla="*/ 24 w 42"/>
                <a:gd name="T93" fmla="*/ 20 h 74"/>
                <a:gd name="T94" fmla="*/ 26 w 42"/>
                <a:gd name="T95" fmla="*/ 24 h 74"/>
                <a:gd name="T96" fmla="*/ 24 w 42"/>
                <a:gd name="T97" fmla="*/ 24 h 74"/>
                <a:gd name="T98" fmla="*/ 24 w 42"/>
                <a:gd name="T99" fmla="*/ 24 h 74"/>
                <a:gd name="T100" fmla="*/ 24 w 42"/>
                <a:gd name="T101" fmla="*/ 24 h 74"/>
                <a:gd name="T102" fmla="*/ 28 w 42"/>
                <a:gd name="T103" fmla="*/ 32 h 74"/>
                <a:gd name="T104" fmla="*/ 24 w 42"/>
                <a:gd name="T105" fmla="*/ 30 h 74"/>
                <a:gd name="T106" fmla="*/ 24 w 42"/>
                <a:gd name="T107" fmla="*/ 28 h 74"/>
                <a:gd name="T108" fmla="*/ 28 w 42"/>
                <a:gd name="T109" fmla="*/ 32 h 74"/>
                <a:gd name="T110" fmla="*/ 28 w 42"/>
                <a:gd name="T111" fmla="*/ 32 h 74"/>
                <a:gd name="T112" fmla="*/ 28 w 42"/>
                <a:gd name="T113" fmla="*/ 3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" h="74">
                  <a:moveTo>
                    <a:pt x="8" y="6"/>
                  </a:moveTo>
                  <a:lnTo>
                    <a:pt x="12" y="12"/>
                  </a:lnTo>
                  <a:lnTo>
                    <a:pt x="4" y="14"/>
                  </a:lnTo>
                  <a:lnTo>
                    <a:pt x="0" y="0"/>
                  </a:lnTo>
                  <a:lnTo>
                    <a:pt x="6" y="6"/>
                  </a:lnTo>
                  <a:lnTo>
                    <a:pt x="6" y="4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close/>
                  <a:moveTo>
                    <a:pt x="28" y="48"/>
                  </a:moveTo>
                  <a:lnTo>
                    <a:pt x="24" y="44"/>
                  </a:lnTo>
                  <a:lnTo>
                    <a:pt x="26" y="42"/>
                  </a:lnTo>
                  <a:lnTo>
                    <a:pt x="30" y="44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  <a:moveTo>
                    <a:pt x="40" y="64"/>
                  </a:moveTo>
                  <a:lnTo>
                    <a:pt x="36" y="62"/>
                  </a:lnTo>
                  <a:lnTo>
                    <a:pt x="36" y="60"/>
                  </a:lnTo>
                  <a:lnTo>
                    <a:pt x="40" y="62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close/>
                  <a:moveTo>
                    <a:pt x="42" y="74"/>
                  </a:moveTo>
                  <a:lnTo>
                    <a:pt x="40" y="72"/>
                  </a:lnTo>
                  <a:lnTo>
                    <a:pt x="40" y="70"/>
                  </a:lnTo>
                  <a:lnTo>
                    <a:pt x="42" y="72"/>
                  </a:lnTo>
                  <a:lnTo>
                    <a:pt x="42" y="74"/>
                  </a:lnTo>
                  <a:lnTo>
                    <a:pt x="42" y="74"/>
                  </a:lnTo>
                  <a:lnTo>
                    <a:pt x="42" y="74"/>
                  </a:lnTo>
                  <a:close/>
                  <a:moveTo>
                    <a:pt x="18" y="12"/>
                  </a:moveTo>
                  <a:lnTo>
                    <a:pt x="18" y="12"/>
                  </a:lnTo>
                  <a:lnTo>
                    <a:pt x="22" y="10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close/>
                  <a:moveTo>
                    <a:pt x="14" y="28"/>
                  </a:moveTo>
                  <a:lnTo>
                    <a:pt x="12" y="22"/>
                  </a:lnTo>
                  <a:lnTo>
                    <a:pt x="10" y="20"/>
                  </a:lnTo>
                  <a:lnTo>
                    <a:pt x="12" y="18"/>
                  </a:lnTo>
                  <a:lnTo>
                    <a:pt x="18" y="26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4" y="28"/>
                  </a:lnTo>
                  <a:close/>
                  <a:moveTo>
                    <a:pt x="24" y="24"/>
                  </a:moveTo>
                  <a:lnTo>
                    <a:pt x="20" y="24"/>
                  </a:lnTo>
                  <a:lnTo>
                    <a:pt x="24" y="20"/>
                  </a:lnTo>
                  <a:lnTo>
                    <a:pt x="26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close/>
                  <a:moveTo>
                    <a:pt x="28" y="32"/>
                  </a:moveTo>
                  <a:lnTo>
                    <a:pt x="24" y="30"/>
                  </a:lnTo>
                  <a:lnTo>
                    <a:pt x="24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66" name="Freeform 207">
              <a:extLst>
                <a:ext uri="{FF2B5EF4-FFF2-40B4-BE49-F238E27FC236}">
                  <a16:creationId xmlns:a16="http://schemas.microsoft.com/office/drawing/2014/main" id="{F1DA7F2B-0AC5-C3F6-EDBA-234F85E11E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13000" y="4763187"/>
              <a:ext cx="116893" cy="64107"/>
            </a:xfrm>
            <a:custGeom>
              <a:avLst/>
              <a:gdLst>
                <a:gd name="T0" fmla="*/ 22 w 60"/>
                <a:gd name="T1" fmla="*/ 14 h 34"/>
                <a:gd name="T2" fmla="*/ 42 w 60"/>
                <a:gd name="T3" fmla="*/ 30 h 34"/>
                <a:gd name="T4" fmla="*/ 42 w 60"/>
                <a:gd name="T5" fmla="*/ 34 h 34"/>
                <a:gd name="T6" fmla="*/ 36 w 60"/>
                <a:gd name="T7" fmla="*/ 34 h 34"/>
                <a:gd name="T8" fmla="*/ 30 w 60"/>
                <a:gd name="T9" fmla="*/ 28 h 34"/>
                <a:gd name="T10" fmla="*/ 18 w 60"/>
                <a:gd name="T11" fmla="*/ 22 h 34"/>
                <a:gd name="T12" fmla="*/ 6 w 60"/>
                <a:gd name="T13" fmla="*/ 10 h 34"/>
                <a:gd name="T14" fmla="*/ 0 w 60"/>
                <a:gd name="T15" fmla="*/ 0 h 34"/>
                <a:gd name="T16" fmla="*/ 18 w 60"/>
                <a:gd name="T17" fmla="*/ 10 h 34"/>
                <a:gd name="T18" fmla="*/ 22 w 60"/>
                <a:gd name="T19" fmla="*/ 14 h 34"/>
                <a:gd name="T20" fmla="*/ 22 w 60"/>
                <a:gd name="T21" fmla="*/ 14 h 34"/>
                <a:gd name="T22" fmla="*/ 22 w 60"/>
                <a:gd name="T23" fmla="*/ 14 h 34"/>
                <a:gd name="T24" fmla="*/ 48 w 60"/>
                <a:gd name="T25" fmla="*/ 16 h 34"/>
                <a:gd name="T26" fmla="*/ 44 w 60"/>
                <a:gd name="T27" fmla="*/ 12 h 34"/>
                <a:gd name="T28" fmla="*/ 46 w 60"/>
                <a:gd name="T29" fmla="*/ 12 h 34"/>
                <a:gd name="T30" fmla="*/ 44 w 60"/>
                <a:gd name="T31" fmla="*/ 8 h 34"/>
                <a:gd name="T32" fmla="*/ 48 w 60"/>
                <a:gd name="T33" fmla="*/ 8 h 34"/>
                <a:gd name="T34" fmla="*/ 48 w 60"/>
                <a:gd name="T35" fmla="*/ 12 h 34"/>
                <a:gd name="T36" fmla="*/ 50 w 60"/>
                <a:gd name="T37" fmla="*/ 14 h 34"/>
                <a:gd name="T38" fmla="*/ 48 w 60"/>
                <a:gd name="T39" fmla="*/ 16 h 34"/>
                <a:gd name="T40" fmla="*/ 48 w 60"/>
                <a:gd name="T41" fmla="*/ 16 h 34"/>
                <a:gd name="T42" fmla="*/ 48 w 60"/>
                <a:gd name="T43" fmla="*/ 16 h 34"/>
                <a:gd name="T44" fmla="*/ 58 w 60"/>
                <a:gd name="T45" fmla="*/ 24 h 34"/>
                <a:gd name="T46" fmla="*/ 54 w 60"/>
                <a:gd name="T47" fmla="*/ 18 h 34"/>
                <a:gd name="T48" fmla="*/ 60 w 60"/>
                <a:gd name="T49" fmla="*/ 20 h 34"/>
                <a:gd name="T50" fmla="*/ 60 w 60"/>
                <a:gd name="T51" fmla="*/ 24 h 34"/>
                <a:gd name="T52" fmla="*/ 58 w 60"/>
                <a:gd name="T53" fmla="*/ 24 h 34"/>
                <a:gd name="T54" fmla="*/ 58 w 60"/>
                <a:gd name="T55" fmla="*/ 24 h 34"/>
                <a:gd name="T56" fmla="*/ 58 w 60"/>
                <a:gd name="T57" fmla="*/ 2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" h="34">
                  <a:moveTo>
                    <a:pt x="22" y="14"/>
                  </a:moveTo>
                  <a:lnTo>
                    <a:pt x="42" y="30"/>
                  </a:lnTo>
                  <a:lnTo>
                    <a:pt x="42" y="34"/>
                  </a:lnTo>
                  <a:lnTo>
                    <a:pt x="36" y="34"/>
                  </a:lnTo>
                  <a:lnTo>
                    <a:pt x="30" y="28"/>
                  </a:lnTo>
                  <a:lnTo>
                    <a:pt x="18" y="22"/>
                  </a:lnTo>
                  <a:lnTo>
                    <a:pt x="6" y="10"/>
                  </a:lnTo>
                  <a:lnTo>
                    <a:pt x="0" y="0"/>
                  </a:lnTo>
                  <a:lnTo>
                    <a:pt x="18" y="10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close/>
                  <a:moveTo>
                    <a:pt x="48" y="16"/>
                  </a:moveTo>
                  <a:lnTo>
                    <a:pt x="44" y="12"/>
                  </a:lnTo>
                  <a:lnTo>
                    <a:pt x="46" y="12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50" y="14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close/>
                  <a:moveTo>
                    <a:pt x="58" y="24"/>
                  </a:moveTo>
                  <a:lnTo>
                    <a:pt x="54" y="18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4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67" name="Freeform 209">
              <a:extLst>
                <a:ext uri="{FF2B5EF4-FFF2-40B4-BE49-F238E27FC236}">
                  <a16:creationId xmlns:a16="http://schemas.microsoft.com/office/drawing/2014/main" id="{670401AE-1B6C-875B-EB0C-57F6BAB76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42735" y="4506758"/>
              <a:ext cx="3896" cy="3771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2 h 2"/>
                <a:gd name="T4" fmla="*/ 2 w 2"/>
                <a:gd name="T5" fmla="*/ 2 h 2"/>
                <a:gd name="T6" fmla="*/ 0 w 2"/>
                <a:gd name="T7" fmla="*/ 2 h 2"/>
                <a:gd name="T8" fmla="*/ 2 w 2"/>
                <a:gd name="T9" fmla="*/ 0 h 2"/>
                <a:gd name="T10" fmla="*/ 2 w 2"/>
                <a:gd name="T11" fmla="*/ 0 h 2"/>
                <a:gd name="T12" fmla="*/ 2 w 2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68" name="Freeform 210">
              <a:extLst>
                <a:ext uri="{FF2B5EF4-FFF2-40B4-BE49-F238E27FC236}">
                  <a16:creationId xmlns:a16="http://schemas.microsoft.com/office/drawing/2014/main" id="{8A7D3ADB-FD24-2EAA-6D16-BCA3386D6A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41531" y="3684677"/>
              <a:ext cx="7793" cy="15084"/>
            </a:xfrm>
            <a:custGeom>
              <a:avLst/>
              <a:gdLst>
                <a:gd name="T0" fmla="*/ 0 w 4"/>
                <a:gd name="T1" fmla="*/ 8 h 8"/>
                <a:gd name="T2" fmla="*/ 0 w 4"/>
                <a:gd name="T3" fmla="*/ 6 h 8"/>
                <a:gd name="T4" fmla="*/ 4 w 4"/>
                <a:gd name="T5" fmla="*/ 0 h 8"/>
                <a:gd name="T6" fmla="*/ 0 w 4"/>
                <a:gd name="T7" fmla="*/ 8 h 8"/>
                <a:gd name="T8" fmla="*/ 0 w 4"/>
                <a:gd name="T9" fmla="*/ 8 h 8"/>
                <a:gd name="T10" fmla="*/ 0 w 4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8">
                  <a:moveTo>
                    <a:pt x="0" y="8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69" name="Freeform 211">
              <a:extLst>
                <a:ext uri="{FF2B5EF4-FFF2-40B4-BE49-F238E27FC236}">
                  <a16:creationId xmlns:a16="http://schemas.microsoft.com/office/drawing/2014/main" id="{4E0C1A95-445A-743D-974D-3103A3D04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8806" y="3643196"/>
              <a:ext cx="3896" cy="7542"/>
            </a:xfrm>
            <a:custGeom>
              <a:avLst/>
              <a:gdLst>
                <a:gd name="T0" fmla="*/ 2 w 2"/>
                <a:gd name="T1" fmla="*/ 0 h 4"/>
                <a:gd name="T2" fmla="*/ 2 w 2"/>
                <a:gd name="T3" fmla="*/ 4 h 4"/>
                <a:gd name="T4" fmla="*/ 0 w 2"/>
                <a:gd name="T5" fmla="*/ 2 h 4"/>
                <a:gd name="T6" fmla="*/ 2 w 2"/>
                <a:gd name="T7" fmla="*/ 0 h 4"/>
                <a:gd name="T8" fmla="*/ 2 w 2"/>
                <a:gd name="T9" fmla="*/ 0 h 4"/>
                <a:gd name="T10" fmla="*/ 2 w 2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2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70" name="Freeform 212">
              <a:extLst>
                <a:ext uri="{FF2B5EF4-FFF2-40B4-BE49-F238E27FC236}">
                  <a16:creationId xmlns:a16="http://schemas.microsoft.com/office/drawing/2014/main" id="{A81B635C-D454-8A9E-7184-0FE2738EF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1505" y="3914709"/>
              <a:ext cx="3896" cy="3771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0 w 2"/>
                <a:gd name="T5" fmla="*/ 2 h 2"/>
                <a:gd name="T6" fmla="*/ 0 w 2"/>
                <a:gd name="T7" fmla="*/ 0 h 2"/>
                <a:gd name="T8" fmla="*/ 2 w 2"/>
                <a:gd name="T9" fmla="*/ 0 h 2"/>
                <a:gd name="T10" fmla="*/ 2 w 2"/>
                <a:gd name="T11" fmla="*/ 0 h 2"/>
                <a:gd name="T12" fmla="*/ 2 w 2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71" name="Freeform 214">
              <a:extLst>
                <a:ext uri="{FF2B5EF4-FFF2-40B4-BE49-F238E27FC236}">
                  <a16:creationId xmlns:a16="http://schemas.microsoft.com/office/drawing/2014/main" id="{EF6321FE-9F60-C9B9-C94D-B280E89B21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1039" y="3892083"/>
              <a:ext cx="3896" cy="3771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0 h 2"/>
                <a:gd name="T4" fmla="*/ 2 w 2"/>
                <a:gd name="T5" fmla="*/ 0 h 2"/>
                <a:gd name="T6" fmla="*/ 0 w 2"/>
                <a:gd name="T7" fmla="*/ 2 h 2"/>
                <a:gd name="T8" fmla="*/ 0 w 2"/>
                <a:gd name="T9" fmla="*/ 2 h 2"/>
                <a:gd name="T10" fmla="*/ 0 w 2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72" name="Freeform 215">
              <a:extLst>
                <a:ext uri="{FF2B5EF4-FFF2-40B4-BE49-F238E27FC236}">
                  <a16:creationId xmlns:a16="http://schemas.microsoft.com/office/drawing/2014/main" id="{9D82D3D5-55A1-A4C7-30B7-A835448C01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90385" y="5958598"/>
              <a:ext cx="93515" cy="45252"/>
            </a:xfrm>
            <a:custGeom>
              <a:avLst/>
              <a:gdLst>
                <a:gd name="T0" fmla="*/ 30 w 48"/>
                <a:gd name="T1" fmla="*/ 12 h 24"/>
                <a:gd name="T2" fmla="*/ 26 w 48"/>
                <a:gd name="T3" fmla="*/ 6 h 24"/>
                <a:gd name="T4" fmla="*/ 30 w 48"/>
                <a:gd name="T5" fmla="*/ 0 h 24"/>
                <a:gd name="T6" fmla="*/ 38 w 48"/>
                <a:gd name="T7" fmla="*/ 0 h 24"/>
                <a:gd name="T8" fmla="*/ 38 w 48"/>
                <a:gd name="T9" fmla="*/ 2 h 24"/>
                <a:gd name="T10" fmla="*/ 36 w 48"/>
                <a:gd name="T11" fmla="*/ 2 h 24"/>
                <a:gd name="T12" fmla="*/ 40 w 48"/>
                <a:gd name="T13" fmla="*/ 8 h 24"/>
                <a:gd name="T14" fmla="*/ 40 w 48"/>
                <a:gd name="T15" fmla="*/ 2 h 24"/>
                <a:gd name="T16" fmla="*/ 44 w 48"/>
                <a:gd name="T17" fmla="*/ 2 h 24"/>
                <a:gd name="T18" fmla="*/ 46 w 48"/>
                <a:gd name="T19" fmla="*/ 6 h 24"/>
                <a:gd name="T20" fmla="*/ 42 w 48"/>
                <a:gd name="T21" fmla="*/ 6 h 24"/>
                <a:gd name="T22" fmla="*/ 48 w 48"/>
                <a:gd name="T23" fmla="*/ 8 h 24"/>
                <a:gd name="T24" fmla="*/ 38 w 48"/>
                <a:gd name="T25" fmla="*/ 14 h 24"/>
                <a:gd name="T26" fmla="*/ 30 w 48"/>
                <a:gd name="T27" fmla="*/ 12 h 24"/>
                <a:gd name="T28" fmla="*/ 34 w 48"/>
                <a:gd name="T29" fmla="*/ 18 h 24"/>
                <a:gd name="T30" fmla="*/ 26 w 48"/>
                <a:gd name="T31" fmla="*/ 16 h 24"/>
                <a:gd name="T32" fmla="*/ 28 w 48"/>
                <a:gd name="T33" fmla="*/ 20 h 24"/>
                <a:gd name="T34" fmla="*/ 24 w 48"/>
                <a:gd name="T35" fmla="*/ 20 h 24"/>
                <a:gd name="T36" fmla="*/ 24 w 48"/>
                <a:gd name="T37" fmla="*/ 24 h 24"/>
                <a:gd name="T38" fmla="*/ 20 w 48"/>
                <a:gd name="T39" fmla="*/ 18 h 24"/>
                <a:gd name="T40" fmla="*/ 26 w 48"/>
                <a:gd name="T41" fmla="*/ 8 h 24"/>
                <a:gd name="T42" fmla="*/ 30 w 48"/>
                <a:gd name="T43" fmla="*/ 12 h 24"/>
                <a:gd name="T44" fmla="*/ 30 w 48"/>
                <a:gd name="T45" fmla="*/ 12 h 24"/>
                <a:gd name="T46" fmla="*/ 30 w 48"/>
                <a:gd name="T47" fmla="*/ 12 h 24"/>
                <a:gd name="T48" fmla="*/ 10 w 48"/>
                <a:gd name="T49" fmla="*/ 12 h 24"/>
                <a:gd name="T50" fmla="*/ 14 w 48"/>
                <a:gd name="T51" fmla="*/ 8 h 24"/>
                <a:gd name="T52" fmla="*/ 6 w 48"/>
                <a:gd name="T53" fmla="*/ 8 h 24"/>
                <a:gd name="T54" fmla="*/ 14 w 48"/>
                <a:gd name="T55" fmla="*/ 8 h 24"/>
                <a:gd name="T56" fmla="*/ 6 w 48"/>
                <a:gd name="T57" fmla="*/ 2 h 24"/>
                <a:gd name="T58" fmla="*/ 14 w 48"/>
                <a:gd name="T59" fmla="*/ 4 h 24"/>
                <a:gd name="T60" fmla="*/ 14 w 48"/>
                <a:gd name="T61" fmla="*/ 2 h 24"/>
                <a:gd name="T62" fmla="*/ 26 w 48"/>
                <a:gd name="T63" fmla="*/ 2 h 24"/>
                <a:gd name="T64" fmla="*/ 10 w 48"/>
                <a:gd name="T65" fmla="*/ 20 h 24"/>
                <a:gd name="T66" fmla="*/ 6 w 48"/>
                <a:gd name="T67" fmla="*/ 22 h 24"/>
                <a:gd name="T68" fmla="*/ 2 w 48"/>
                <a:gd name="T69" fmla="*/ 18 h 24"/>
                <a:gd name="T70" fmla="*/ 8 w 48"/>
                <a:gd name="T71" fmla="*/ 14 h 24"/>
                <a:gd name="T72" fmla="*/ 8 w 48"/>
                <a:gd name="T73" fmla="*/ 10 h 24"/>
                <a:gd name="T74" fmla="*/ 10 w 48"/>
                <a:gd name="T75" fmla="*/ 12 h 24"/>
                <a:gd name="T76" fmla="*/ 10 w 48"/>
                <a:gd name="T77" fmla="*/ 12 h 24"/>
                <a:gd name="T78" fmla="*/ 10 w 48"/>
                <a:gd name="T79" fmla="*/ 12 h 24"/>
                <a:gd name="T80" fmla="*/ 2 w 48"/>
                <a:gd name="T81" fmla="*/ 14 h 24"/>
                <a:gd name="T82" fmla="*/ 0 w 48"/>
                <a:gd name="T83" fmla="*/ 12 h 24"/>
                <a:gd name="T84" fmla="*/ 4 w 48"/>
                <a:gd name="T85" fmla="*/ 12 h 24"/>
                <a:gd name="T86" fmla="*/ 2 w 48"/>
                <a:gd name="T87" fmla="*/ 14 h 24"/>
                <a:gd name="T88" fmla="*/ 2 w 48"/>
                <a:gd name="T89" fmla="*/ 14 h 24"/>
                <a:gd name="T90" fmla="*/ 2 w 48"/>
                <a:gd name="T91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" h="24">
                  <a:moveTo>
                    <a:pt x="30" y="12"/>
                  </a:moveTo>
                  <a:lnTo>
                    <a:pt x="26" y="6"/>
                  </a:lnTo>
                  <a:lnTo>
                    <a:pt x="30" y="0"/>
                  </a:lnTo>
                  <a:lnTo>
                    <a:pt x="38" y="0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40" y="8"/>
                  </a:lnTo>
                  <a:lnTo>
                    <a:pt x="40" y="2"/>
                  </a:lnTo>
                  <a:lnTo>
                    <a:pt x="44" y="2"/>
                  </a:lnTo>
                  <a:lnTo>
                    <a:pt x="46" y="6"/>
                  </a:lnTo>
                  <a:lnTo>
                    <a:pt x="42" y="6"/>
                  </a:lnTo>
                  <a:lnTo>
                    <a:pt x="48" y="8"/>
                  </a:lnTo>
                  <a:lnTo>
                    <a:pt x="38" y="14"/>
                  </a:lnTo>
                  <a:lnTo>
                    <a:pt x="30" y="12"/>
                  </a:lnTo>
                  <a:lnTo>
                    <a:pt x="34" y="18"/>
                  </a:lnTo>
                  <a:lnTo>
                    <a:pt x="26" y="16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0" y="18"/>
                  </a:lnTo>
                  <a:lnTo>
                    <a:pt x="26" y="8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close/>
                  <a:moveTo>
                    <a:pt x="10" y="12"/>
                  </a:moveTo>
                  <a:lnTo>
                    <a:pt x="14" y="8"/>
                  </a:lnTo>
                  <a:lnTo>
                    <a:pt x="6" y="8"/>
                  </a:lnTo>
                  <a:lnTo>
                    <a:pt x="14" y="8"/>
                  </a:lnTo>
                  <a:lnTo>
                    <a:pt x="6" y="2"/>
                  </a:lnTo>
                  <a:lnTo>
                    <a:pt x="14" y="4"/>
                  </a:lnTo>
                  <a:lnTo>
                    <a:pt x="14" y="2"/>
                  </a:lnTo>
                  <a:lnTo>
                    <a:pt x="26" y="2"/>
                  </a:lnTo>
                  <a:lnTo>
                    <a:pt x="10" y="20"/>
                  </a:lnTo>
                  <a:lnTo>
                    <a:pt x="6" y="22"/>
                  </a:lnTo>
                  <a:lnTo>
                    <a:pt x="2" y="18"/>
                  </a:lnTo>
                  <a:lnTo>
                    <a:pt x="8" y="14"/>
                  </a:lnTo>
                  <a:lnTo>
                    <a:pt x="8" y="10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close/>
                  <a:moveTo>
                    <a:pt x="2" y="14"/>
                  </a:moveTo>
                  <a:lnTo>
                    <a:pt x="0" y="12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close/>
                </a:path>
              </a:pathLst>
            </a:custGeom>
            <a:solidFill>
              <a:srgbClr val="008BE5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73" name="Freeform 216">
              <a:extLst>
                <a:ext uri="{FF2B5EF4-FFF2-40B4-BE49-F238E27FC236}">
                  <a16:creationId xmlns:a16="http://schemas.microsoft.com/office/drawing/2014/main" id="{99EB50E9-0A06-27FC-35B7-7E91DCA39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8042" y="3081315"/>
              <a:ext cx="3896" cy="7542"/>
            </a:xfrm>
            <a:custGeom>
              <a:avLst/>
              <a:gdLst>
                <a:gd name="T0" fmla="*/ 2 w 2"/>
                <a:gd name="T1" fmla="*/ 0 h 4"/>
                <a:gd name="T2" fmla="*/ 2 w 2"/>
                <a:gd name="T3" fmla="*/ 2 h 4"/>
                <a:gd name="T4" fmla="*/ 0 w 2"/>
                <a:gd name="T5" fmla="*/ 4 h 4"/>
                <a:gd name="T6" fmla="*/ 2 w 2"/>
                <a:gd name="T7" fmla="*/ 0 h 4"/>
                <a:gd name="T8" fmla="*/ 2 w 2"/>
                <a:gd name="T9" fmla="*/ 0 h 4"/>
                <a:gd name="T10" fmla="*/ 2 w 2"/>
                <a:gd name="T11" fmla="*/ 0 h 4"/>
                <a:gd name="T12" fmla="*/ 2 w 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2" y="2"/>
                  </a:lnTo>
                  <a:lnTo>
                    <a:pt x="0" y="4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74" name="Freeform 217">
              <a:extLst>
                <a:ext uri="{FF2B5EF4-FFF2-40B4-BE49-F238E27FC236}">
                  <a16:creationId xmlns:a16="http://schemas.microsoft.com/office/drawing/2014/main" id="{EE9095E8-EA85-3426-FED7-9971AADCB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7706" y="3703532"/>
              <a:ext cx="66239" cy="64107"/>
            </a:xfrm>
            <a:custGeom>
              <a:avLst/>
              <a:gdLst>
                <a:gd name="T0" fmla="*/ 4 w 34"/>
                <a:gd name="T1" fmla="*/ 8 h 34"/>
                <a:gd name="T2" fmla="*/ 4 w 34"/>
                <a:gd name="T3" fmla="*/ 8 h 34"/>
                <a:gd name="T4" fmla="*/ 0 w 34"/>
                <a:gd name="T5" fmla="*/ 8 h 34"/>
                <a:gd name="T6" fmla="*/ 4 w 34"/>
                <a:gd name="T7" fmla="*/ 4 h 34"/>
                <a:gd name="T8" fmla="*/ 8 w 34"/>
                <a:gd name="T9" fmla="*/ 0 h 34"/>
                <a:gd name="T10" fmla="*/ 12 w 34"/>
                <a:gd name="T11" fmla="*/ 0 h 34"/>
                <a:gd name="T12" fmla="*/ 12 w 34"/>
                <a:gd name="T13" fmla="*/ 4 h 34"/>
                <a:gd name="T14" fmla="*/ 16 w 34"/>
                <a:gd name="T15" fmla="*/ 4 h 34"/>
                <a:gd name="T16" fmla="*/ 18 w 34"/>
                <a:gd name="T17" fmla="*/ 8 h 34"/>
                <a:gd name="T18" fmla="*/ 18 w 34"/>
                <a:gd name="T19" fmla="*/ 8 h 34"/>
                <a:gd name="T20" fmla="*/ 18 w 34"/>
                <a:gd name="T21" fmla="*/ 8 h 34"/>
                <a:gd name="T22" fmla="*/ 18 w 34"/>
                <a:gd name="T23" fmla="*/ 12 h 34"/>
                <a:gd name="T24" fmla="*/ 18 w 34"/>
                <a:gd name="T25" fmla="*/ 16 h 34"/>
                <a:gd name="T26" fmla="*/ 18 w 34"/>
                <a:gd name="T27" fmla="*/ 16 h 34"/>
                <a:gd name="T28" fmla="*/ 22 w 34"/>
                <a:gd name="T29" fmla="*/ 16 h 34"/>
                <a:gd name="T30" fmla="*/ 22 w 34"/>
                <a:gd name="T31" fmla="*/ 16 h 34"/>
                <a:gd name="T32" fmla="*/ 26 w 34"/>
                <a:gd name="T33" fmla="*/ 16 h 34"/>
                <a:gd name="T34" fmla="*/ 30 w 34"/>
                <a:gd name="T35" fmla="*/ 20 h 34"/>
                <a:gd name="T36" fmla="*/ 34 w 34"/>
                <a:gd name="T37" fmla="*/ 20 h 34"/>
                <a:gd name="T38" fmla="*/ 34 w 34"/>
                <a:gd name="T39" fmla="*/ 20 h 34"/>
                <a:gd name="T40" fmla="*/ 34 w 34"/>
                <a:gd name="T41" fmla="*/ 20 h 34"/>
                <a:gd name="T42" fmla="*/ 34 w 34"/>
                <a:gd name="T43" fmla="*/ 22 h 34"/>
                <a:gd name="T44" fmla="*/ 34 w 34"/>
                <a:gd name="T45" fmla="*/ 22 h 34"/>
                <a:gd name="T46" fmla="*/ 34 w 34"/>
                <a:gd name="T47" fmla="*/ 22 h 34"/>
                <a:gd name="T48" fmla="*/ 34 w 34"/>
                <a:gd name="T49" fmla="*/ 22 h 34"/>
                <a:gd name="T50" fmla="*/ 30 w 34"/>
                <a:gd name="T51" fmla="*/ 26 h 34"/>
                <a:gd name="T52" fmla="*/ 30 w 34"/>
                <a:gd name="T53" fmla="*/ 26 h 34"/>
                <a:gd name="T54" fmla="*/ 26 w 34"/>
                <a:gd name="T55" fmla="*/ 26 h 34"/>
                <a:gd name="T56" fmla="*/ 22 w 34"/>
                <a:gd name="T57" fmla="*/ 26 h 34"/>
                <a:gd name="T58" fmla="*/ 22 w 34"/>
                <a:gd name="T59" fmla="*/ 26 h 34"/>
                <a:gd name="T60" fmla="*/ 22 w 34"/>
                <a:gd name="T61" fmla="*/ 26 h 34"/>
                <a:gd name="T62" fmla="*/ 22 w 34"/>
                <a:gd name="T63" fmla="*/ 26 h 34"/>
                <a:gd name="T64" fmla="*/ 22 w 34"/>
                <a:gd name="T65" fmla="*/ 30 h 34"/>
                <a:gd name="T66" fmla="*/ 22 w 34"/>
                <a:gd name="T67" fmla="*/ 30 h 34"/>
                <a:gd name="T68" fmla="*/ 18 w 34"/>
                <a:gd name="T69" fmla="*/ 30 h 34"/>
                <a:gd name="T70" fmla="*/ 18 w 34"/>
                <a:gd name="T71" fmla="*/ 30 h 34"/>
                <a:gd name="T72" fmla="*/ 18 w 34"/>
                <a:gd name="T73" fmla="*/ 30 h 34"/>
                <a:gd name="T74" fmla="*/ 18 w 34"/>
                <a:gd name="T75" fmla="*/ 34 h 34"/>
                <a:gd name="T76" fmla="*/ 18 w 34"/>
                <a:gd name="T77" fmla="*/ 34 h 34"/>
                <a:gd name="T78" fmla="*/ 18 w 34"/>
                <a:gd name="T79" fmla="*/ 34 h 34"/>
                <a:gd name="T80" fmla="*/ 18 w 34"/>
                <a:gd name="T81" fmla="*/ 34 h 34"/>
                <a:gd name="T82" fmla="*/ 18 w 34"/>
                <a:gd name="T83" fmla="*/ 34 h 34"/>
                <a:gd name="T84" fmla="*/ 16 w 34"/>
                <a:gd name="T85" fmla="*/ 34 h 34"/>
                <a:gd name="T86" fmla="*/ 16 w 34"/>
                <a:gd name="T87" fmla="*/ 34 h 34"/>
                <a:gd name="T88" fmla="*/ 16 w 34"/>
                <a:gd name="T89" fmla="*/ 30 h 34"/>
                <a:gd name="T90" fmla="*/ 12 w 34"/>
                <a:gd name="T91" fmla="*/ 22 h 34"/>
                <a:gd name="T92" fmla="*/ 8 w 34"/>
                <a:gd name="T93" fmla="*/ 20 h 34"/>
                <a:gd name="T94" fmla="*/ 8 w 34"/>
                <a:gd name="T95" fmla="*/ 20 h 34"/>
                <a:gd name="T96" fmla="*/ 8 w 34"/>
                <a:gd name="T97" fmla="*/ 20 h 34"/>
                <a:gd name="T98" fmla="*/ 8 w 34"/>
                <a:gd name="T99" fmla="*/ 1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" h="34">
                  <a:moveTo>
                    <a:pt x="8" y="12"/>
                  </a:moveTo>
                  <a:lnTo>
                    <a:pt x="8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26"/>
                  </a:lnTo>
                  <a:lnTo>
                    <a:pt x="12" y="26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75" name="Freeform 218">
              <a:extLst>
                <a:ext uri="{FF2B5EF4-FFF2-40B4-BE49-F238E27FC236}">
                  <a16:creationId xmlns:a16="http://schemas.microsoft.com/office/drawing/2014/main" id="{1913E81D-97AC-55F2-0BF4-8D1D6AF060B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5932" y="4163596"/>
              <a:ext cx="85722" cy="105588"/>
            </a:xfrm>
            <a:custGeom>
              <a:avLst/>
              <a:gdLst>
                <a:gd name="T0" fmla="*/ 24 w 44"/>
                <a:gd name="T1" fmla="*/ 0 h 56"/>
                <a:gd name="T2" fmla="*/ 28 w 44"/>
                <a:gd name="T3" fmla="*/ 0 h 56"/>
                <a:gd name="T4" fmla="*/ 32 w 44"/>
                <a:gd name="T5" fmla="*/ 4 h 56"/>
                <a:gd name="T6" fmla="*/ 32 w 44"/>
                <a:gd name="T7" fmla="*/ 4 h 56"/>
                <a:gd name="T8" fmla="*/ 36 w 44"/>
                <a:gd name="T9" fmla="*/ 6 h 56"/>
                <a:gd name="T10" fmla="*/ 36 w 44"/>
                <a:gd name="T11" fmla="*/ 6 h 56"/>
                <a:gd name="T12" fmla="*/ 40 w 44"/>
                <a:gd name="T13" fmla="*/ 10 h 56"/>
                <a:gd name="T14" fmla="*/ 36 w 44"/>
                <a:gd name="T15" fmla="*/ 6 h 56"/>
                <a:gd name="T16" fmla="*/ 44 w 44"/>
                <a:gd name="T17" fmla="*/ 6 h 56"/>
                <a:gd name="T18" fmla="*/ 40 w 44"/>
                <a:gd name="T19" fmla="*/ 10 h 56"/>
                <a:gd name="T20" fmla="*/ 36 w 44"/>
                <a:gd name="T21" fmla="*/ 14 h 56"/>
                <a:gd name="T22" fmla="*/ 32 w 44"/>
                <a:gd name="T23" fmla="*/ 14 h 56"/>
                <a:gd name="T24" fmla="*/ 36 w 44"/>
                <a:gd name="T25" fmla="*/ 22 h 56"/>
                <a:gd name="T26" fmla="*/ 32 w 44"/>
                <a:gd name="T27" fmla="*/ 26 h 56"/>
                <a:gd name="T28" fmla="*/ 32 w 44"/>
                <a:gd name="T29" fmla="*/ 30 h 56"/>
                <a:gd name="T30" fmla="*/ 28 w 44"/>
                <a:gd name="T31" fmla="*/ 30 h 56"/>
                <a:gd name="T32" fmla="*/ 28 w 44"/>
                <a:gd name="T33" fmla="*/ 36 h 56"/>
                <a:gd name="T34" fmla="*/ 22 w 44"/>
                <a:gd name="T35" fmla="*/ 36 h 56"/>
                <a:gd name="T36" fmla="*/ 24 w 44"/>
                <a:gd name="T37" fmla="*/ 40 h 56"/>
                <a:gd name="T38" fmla="*/ 24 w 44"/>
                <a:gd name="T39" fmla="*/ 40 h 56"/>
                <a:gd name="T40" fmla="*/ 28 w 44"/>
                <a:gd name="T41" fmla="*/ 40 h 56"/>
                <a:gd name="T42" fmla="*/ 24 w 44"/>
                <a:gd name="T43" fmla="*/ 44 h 56"/>
                <a:gd name="T44" fmla="*/ 22 w 44"/>
                <a:gd name="T45" fmla="*/ 48 h 56"/>
                <a:gd name="T46" fmla="*/ 18 w 44"/>
                <a:gd name="T47" fmla="*/ 44 h 56"/>
                <a:gd name="T48" fmla="*/ 18 w 44"/>
                <a:gd name="T49" fmla="*/ 52 h 56"/>
                <a:gd name="T50" fmla="*/ 14 w 44"/>
                <a:gd name="T51" fmla="*/ 56 h 56"/>
                <a:gd name="T52" fmla="*/ 18 w 44"/>
                <a:gd name="T53" fmla="*/ 52 h 56"/>
                <a:gd name="T54" fmla="*/ 14 w 44"/>
                <a:gd name="T55" fmla="*/ 48 h 56"/>
                <a:gd name="T56" fmla="*/ 14 w 44"/>
                <a:gd name="T57" fmla="*/ 48 h 56"/>
                <a:gd name="T58" fmla="*/ 10 w 44"/>
                <a:gd name="T59" fmla="*/ 44 h 56"/>
                <a:gd name="T60" fmla="*/ 6 w 44"/>
                <a:gd name="T61" fmla="*/ 48 h 56"/>
                <a:gd name="T62" fmla="*/ 2 w 44"/>
                <a:gd name="T63" fmla="*/ 52 h 56"/>
                <a:gd name="T64" fmla="*/ 2 w 44"/>
                <a:gd name="T65" fmla="*/ 48 h 56"/>
                <a:gd name="T66" fmla="*/ 0 w 44"/>
                <a:gd name="T67" fmla="*/ 44 h 56"/>
                <a:gd name="T68" fmla="*/ 0 w 44"/>
                <a:gd name="T69" fmla="*/ 36 h 56"/>
                <a:gd name="T70" fmla="*/ 0 w 44"/>
                <a:gd name="T71" fmla="*/ 30 h 56"/>
                <a:gd name="T72" fmla="*/ 2 w 44"/>
                <a:gd name="T73" fmla="*/ 26 h 56"/>
                <a:gd name="T74" fmla="*/ 0 w 44"/>
                <a:gd name="T75" fmla="*/ 18 h 56"/>
                <a:gd name="T76" fmla="*/ 2 w 44"/>
                <a:gd name="T77" fmla="*/ 10 h 56"/>
                <a:gd name="T78" fmla="*/ 6 w 44"/>
                <a:gd name="T79" fmla="*/ 6 h 56"/>
                <a:gd name="T80" fmla="*/ 10 w 44"/>
                <a:gd name="T81" fmla="*/ 4 h 56"/>
                <a:gd name="T82" fmla="*/ 14 w 44"/>
                <a:gd name="T83" fmla="*/ 0 h 56"/>
                <a:gd name="T84" fmla="*/ 18 w 44"/>
                <a:gd name="T85" fmla="*/ 4 h 56"/>
                <a:gd name="T86" fmla="*/ 22 w 44"/>
                <a:gd name="T87" fmla="*/ 0 h 56"/>
                <a:gd name="T88" fmla="*/ 22 w 44"/>
                <a:gd name="T8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" h="56">
                  <a:moveTo>
                    <a:pt x="22" y="0"/>
                  </a:moveTo>
                  <a:lnTo>
                    <a:pt x="24" y="0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6"/>
                  </a:lnTo>
                  <a:lnTo>
                    <a:pt x="36" y="6"/>
                  </a:lnTo>
                  <a:lnTo>
                    <a:pt x="32" y="6"/>
                  </a:lnTo>
                  <a:lnTo>
                    <a:pt x="36" y="6"/>
                  </a:lnTo>
                  <a:lnTo>
                    <a:pt x="36" y="10"/>
                  </a:lnTo>
                  <a:lnTo>
                    <a:pt x="40" y="10"/>
                  </a:lnTo>
                  <a:lnTo>
                    <a:pt x="36" y="10"/>
                  </a:lnTo>
                  <a:lnTo>
                    <a:pt x="36" y="6"/>
                  </a:lnTo>
                  <a:lnTo>
                    <a:pt x="40" y="6"/>
                  </a:lnTo>
                  <a:lnTo>
                    <a:pt x="44" y="6"/>
                  </a:lnTo>
                  <a:lnTo>
                    <a:pt x="44" y="10"/>
                  </a:lnTo>
                  <a:lnTo>
                    <a:pt x="40" y="10"/>
                  </a:lnTo>
                  <a:lnTo>
                    <a:pt x="40" y="14"/>
                  </a:lnTo>
                  <a:lnTo>
                    <a:pt x="36" y="14"/>
                  </a:lnTo>
                  <a:lnTo>
                    <a:pt x="36" y="10"/>
                  </a:lnTo>
                  <a:lnTo>
                    <a:pt x="32" y="14"/>
                  </a:lnTo>
                  <a:lnTo>
                    <a:pt x="32" y="18"/>
                  </a:lnTo>
                  <a:lnTo>
                    <a:pt x="36" y="22"/>
                  </a:lnTo>
                  <a:lnTo>
                    <a:pt x="32" y="22"/>
                  </a:lnTo>
                  <a:lnTo>
                    <a:pt x="32" y="26"/>
                  </a:lnTo>
                  <a:lnTo>
                    <a:pt x="28" y="30"/>
                  </a:lnTo>
                  <a:lnTo>
                    <a:pt x="32" y="30"/>
                  </a:lnTo>
                  <a:lnTo>
                    <a:pt x="32" y="32"/>
                  </a:lnTo>
                  <a:lnTo>
                    <a:pt x="28" y="30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2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2" y="40"/>
                  </a:lnTo>
                  <a:lnTo>
                    <a:pt x="24" y="40"/>
                  </a:lnTo>
                  <a:lnTo>
                    <a:pt x="28" y="44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2" y="44"/>
                  </a:lnTo>
                  <a:lnTo>
                    <a:pt x="18" y="44"/>
                  </a:lnTo>
                  <a:lnTo>
                    <a:pt x="18" y="48"/>
                  </a:lnTo>
                  <a:lnTo>
                    <a:pt x="18" y="52"/>
                  </a:lnTo>
                  <a:lnTo>
                    <a:pt x="18" y="56"/>
                  </a:lnTo>
                  <a:lnTo>
                    <a:pt x="14" y="56"/>
                  </a:lnTo>
                  <a:lnTo>
                    <a:pt x="18" y="56"/>
                  </a:lnTo>
                  <a:lnTo>
                    <a:pt x="18" y="52"/>
                  </a:lnTo>
                  <a:lnTo>
                    <a:pt x="18" y="48"/>
                  </a:lnTo>
                  <a:lnTo>
                    <a:pt x="14" y="48"/>
                  </a:lnTo>
                  <a:lnTo>
                    <a:pt x="14" y="44"/>
                  </a:lnTo>
                  <a:lnTo>
                    <a:pt x="14" y="48"/>
                  </a:lnTo>
                  <a:lnTo>
                    <a:pt x="10" y="48"/>
                  </a:lnTo>
                  <a:lnTo>
                    <a:pt x="10" y="44"/>
                  </a:lnTo>
                  <a:lnTo>
                    <a:pt x="6" y="44"/>
                  </a:lnTo>
                  <a:lnTo>
                    <a:pt x="6" y="48"/>
                  </a:lnTo>
                  <a:lnTo>
                    <a:pt x="2" y="48"/>
                  </a:lnTo>
                  <a:lnTo>
                    <a:pt x="2" y="52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2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2" y="26"/>
                  </a:lnTo>
                  <a:lnTo>
                    <a:pt x="2" y="22"/>
                  </a:lnTo>
                  <a:lnTo>
                    <a:pt x="0" y="18"/>
                  </a:lnTo>
                  <a:lnTo>
                    <a:pt x="2" y="14"/>
                  </a:lnTo>
                  <a:lnTo>
                    <a:pt x="2" y="10"/>
                  </a:lnTo>
                  <a:lnTo>
                    <a:pt x="2" y="6"/>
                  </a:lnTo>
                  <a:lnTo>
                    <a:pt x="6" y="6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4" y="4"/>
                  </a:lnTo>
                  <a:lnTo>
                    <a:pt x="18" y="4"/>
                  </a:lnTo>
                  <a:lnTo>
                    <a:pt x="22" y="4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76" name="Freeform 219">
              <a:extLst>
                <a:ext uri="{FF2B5EF4-FFF2-40B4-BE49-F238E27FC236}">
                  <a16:creationId xmlns:a16="http://schemas.microsoft.com/office/drawing/2014/main" id="{568B48F4-3E86-2F49-C438-C68F25E29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1382" y="1961324"/>
              <a:ext cx="89618" cy="82962"/>
            </a:xfrm>
            <a:custGeom>
              <a:avLst/>
              <a:gdLst>
                <a:gd name="T0" fmla="*/ 18 w 46"/>
                <a:gd name="T1" fmla="*/ 40 h 44"/>
                <a:gd name="T2" fmla="*/ 18 w 46"/>
                <a:gd name="T3" fmla="*/ 40 h 44"/>
                <a:gd name="T4" fmla="*/ 18 w 46"/>
                <a:gd name="T5" fmla="*/ 36 h 44"/>
                <a:gd name="T6" fmla="*/ 16 w 46"/>
                <a:gd name="T7" fmla="*/ 32 h 44"/>
                <a:gd name="T8" fmla="*/ 16 w 46"/>
                <a:gd name="T9" fmla="*/ 32 h 44"/>
                <a:gd name="T10" fmla="*/ 12 w 46"/>
                <a:gd name="T11" fmla="*/ 30 h 44"/>
                <a:gd name="T12" fmla="*/ 12 w 46"/>
                <a:gd name="T13" fmla="*/ 26 h 44"/>
                <a:gd name="T14" fmla="*/ 12 w 46"/>
                <a:gd name="T15" fmla="*/ 26 h 44"/>
                <a:gd name="T16" fmla="*/ 8 w 46"/>
                <a:gd name="T17" fmla="*/ 18 h 44"/>
                <a:gd name="T18" fmla="*/ 4 w 46"/>
                <a:gd name="T19" fmla="*/ 14 h 44"/>
                <a:gd name="T20" fmla="*/ 0 w 46"/>
                <a:gd name="T21" fmla="*/ 14 h 44"/>
                <a:gd name="T22" fmla="*/ 4 w 46"/>
                <a:gd name="T23" fmla="*/ 14 h 44"/>
                <a:gd name="T24" fmla="*/ 4 w 46"/>
                <a:gd name="T25" fmla="*/ 14 h 44"/>
                <a:gd name="T26" fmla="*/ 0 w 46"/>
                <a:gd name="T27" fmla="*/ 14 h 44"/>
                <a:gd name="T28" fmla="*/ 4 w 46"/>
                <a:gd name="T29" fmla="*/ 10 h 44"/>
                <a:gd name="T30" fmla="*/ 8 w 46"/>
                <a:gd name="T31" fmla="*/ 10 h 44"/>
                <a:gd name="T32" fmla="*/ 8 w 46"/>
                <a:gd name="T33" fmla="*/ 10 h 44"/>
                <a:gd name="T34" fmla="*/ 8 w 46"/>
                <a:gd name="T35" fmla="*/ 6 h 44"/>
                <a:gd name="T36" fmla="*/ 12 w 46"/>
                <a:gd name="T37" fmla="*/ 6 h 44"/>
                <a:gd name="T38" fmla="*/ 16 w 46"/>
                <a:gd name="T39" fmla="*/ 2 h 44"/>
                <a:gd name="T40" fmla="*/ 16 w 46"/>
                <a:gd name="T41" fmla="*/ 2 h 44"/>
                <a:gd name="T42" fmla="*/ 18 w 46"/>
                <a:gd name="T43" fmla="*/ 2 h 44"/>
                <a:gd name="T44" fmla="*/ 18 w 46"/>
                <a:gd name="T45" fmla="*/ 2 h 44"/>
                <a:gd name="T46" fmla="*/ 18 w 46"/>
                <a:gd name="T47" fmla="*/ 2 h 44"/>
                <a:gd name="T48" fmla="*/ 18 w 46"/>
                <a:gd name="T49" fmla="*/ 6 h 44"/>
                <a:gd name="T50" fmla="*/ 18 w 46"/>
                <a:gd name="T51" fmla="*/ 2 h 44"/>
                <a:gd name="T52" fmla="*/ 22 w 46"/>
                <a:gd name="T53" fmla="*/ 2 h 44"/>
                <a:gd name="T54" fmla="*/ 26 w 46"/>
                <a:gd name="T55" fmla="*/ 6 h 44"/>
                <a:gd name="T56" fmla="*/ 26 w 46"/>
                <a:gd name="T57" fmla="*/ 10 h 44"/>
                <a:gd name="T58" fmla="*/ 26 w 46"/>
                <a:gd name="T59" fmla="*/ 10 h 44"/>
                <a:gd name="T60" fmla="*/ 30 w 46"/>
                <a:gd name="T61" fmla="*/ 14 h 44"/>
                <a:gd name="T62" fmla="*/ 38 w 46"/>
                <a:gd name="T63" fmla="*/ 14 h 44"/>
                <a:gd name="T64" fmla="*/ 42 w 46"/>
                <a:gd name="T65" fmla="*/ 18 h 44"/>
                <a:gd name="T66" fmla="*/ 42 w 46"/>
                <a:gd name="T67" fmla="*/ 18 h 44"/>
                <a:gd name="T68" fmla="*/ 42 w 46"/>
                <a:gd name="T69" fmla="*/ 22 h 44"/>
                <a:gd name="T70" fmla="*/ 46 w 46"/>
                <a:gd name="T71" fmla="*/ 22 h 44"/>
                <a:gd name="T72" fmla="*/ 42 w 46"/>
                <a:gd name="T73" fmla="*/ 26 h 44"/>
                <a:gd name="T74" fmla="*/ 46 w 46"/>
                <a:gd name="T75" fmla="*/ 26 h 44"/>
                <a:gd name="T76" fmla="*/ 46 w 46"/>
                <a:gd name="T77" fmla="*/ 30 h 44"/>
                <a:gd name="T78" fmla="*/ 46 w 46"/>
                <a:gd name="T79" fmla="*/ 30 h 44"/>
                <a:gd name="T80" fmla="*/ 42 w 46"/>
                <a:gd name="T81" fmla="*/ 30 h 44"/>
                <a:gd name="T82" fmla="*/ 42 w 46"/>
                <a:gd name="T83" fmla="*/ 30 h 44"/>
                <a:gd name="T84" fmla="*/ 42 w 46"/>
                <a:gd name="T85" fmla="*/ 32 h 44"/>
                <a:gd name="T86" fmla="*/ 42 w 46"/>
                <a:gd name="T87" fmla="*/ 32 h 44"/>
                <a:gd name="T88" fmla="*/ 42 w 46"/>
                <a:gd name="T89" fmla="*/ 36 h 44"/>
                <a:gd name="T90" fmla="*/ 38 w 46"/>
                <a:gd name="T91" fmla="*/ 40 h 44"/>
                <a:gd name="T92" fmla="*/ 34 w 46"/>
                <a:gd name="T93" fmla="*/ 36 h 44"/>
                <a:gd name="T94" fmla="*/ 34 w 46"/>
                <a:gd name="T95" fmla="*/ 36 h 44"/>
                <a:gd name="T96" fmla="*/ 26 w 46"/>
                <a:gd name="T97" fmla="*/ 36 h 44"/>
                <a:gd name="T98" fmla="*/ 26 w 46"/>
                <a:gd name="T99" fmla="*/ 40 h 44"/>
                <a:gd name="T100" fmla="*/ 26 w 46"/>
                <a:gd name="T101" fmla="*/ 40 h 44"/>
                <a:gd name="T102" fmla="*/ 26 w 46"/>
                <a:gd name="T103" fmla="*/ 44 h 44"/>
                <a:gd name="T104" fmla="*/ 22 w 46"/>
                <a:gd name="T105" fmla="*/ 44 h 44"/>
                <a:gd name="T106" fmla="*/ 18 w 46"/>
                <a:gd name="T107" fmla="*/ 44 h 44"/>
                <a:gd name="T108" fmla="*/ 18 w 46"/>
                <a:gd name="T10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6" h="44">
                  <a:moveTo>
                    <a:pt x="18" y="44"/>
                  </a:moveTo>
                  <a:lnTo>
                    <a:pt x="18" y="44"/>
                  </a:lnTo>
                  <a:lnTo>
                    <a:pt x="18" y="44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8" y="22"/>
                  </a:lnTo>
                  <a:lnTo>
                    <a:pt x="8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2" y="32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4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77" name="Freeform 220">
              <a:extLst>
                <a:ext uri="{FF2B5EF4-FFF2-40B4-BE49-F238E27FC236}">
                  <a16:creationId xmlns:a16="http://schemas.microsoft.com/office/drawing/2014/main" id="{0640848F-4033-9224-21BE-397A5E9B2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8955" y="2564686"/>
              <a:ext cx="222097" cy="388414"/>
            </a:xfrm>
            <a:custGeom>
              <a:avLst/>
              <a:gdLst>
                <a:gd name="T0" fmla="*/ 36 w 114"/>
                <a:gd name="T1" fmla="*/ 146 h 206"/>
                <a:gd name="T2" fmla="*/ 48 w 114"/>
                <a:gd name="T3" fmla="*/ 134 h 206"/>
                <a:gd name="T4" fmla="*/ 44 w 114"/>
                <a:gd name="T5" fmla="*/ 130 h 206"/>
                <a:gd name="T6" fmla="*/ 36 w 114"/>
                <a:gd name="T7" fmla="*/ 120 h 206"/>
                <a:gd name="T8" fmla="*/ 30 w 114"/>
                <a:gd name="T9" fmla="*/ 108 h 206"/>
                <a:gd name="T10" fmla="*/ 22 w 114"/>
                <a:gd name="T11" fmla="*/ 94 h 206"/>
                <a:gd name="T12" fmla="*/ 14 w 114"/>
                <a:gd name="T13" fmla="*/ 82 h 206"/>
                <a:gd name="T14" fmla="*/ 10 w 114"/>
                <a:gd name="T15" fmla="*/ 76 h 206"/>
                <a:gd name="T16" fmla="*/ 10 w 114"/>
                <a:gd name="T17" fmla="*/ 64 h 206"/>
                <a:gd name="T18" fmla="*/ 10 w 114"/>
                <a:gd name="T19" fmla="*/ 68 h 206"/>
                <a:gd name="T20" fmla="*/ 2 w 114"/>
                <a:gd name="T21" fmla="*/ 52 h 206"/>
                <a:gd name="T22" fmla="*/ 6 w 114"/>
                <a:gd name="T23" fmla="*/ 46 h 206"/>
                <a:gd name="T24" fmla="*/ 10 w 114"/>
                <a:gd name="T25" fmla="*/ 30 h 206"/>
                <a:gd name="T26" fmla="*/ 14 w 114"/>
                <a:gd name="T27" fmla="*/ 26 h 206"/>
                <a:gd name="T28" fmla="*/ 30 w 114"/>
                <a:gd name="T29" fmla="*/ 24 h 206"/>
                <a:gd name="T30" fmla="*/ 36 w 114"/>
                <a:gd name="T31" fmla="*/ 16 h 206"/>
                <a:gd name="T32" fmla="*/ 44 w 114"/>
                <a:gd name="T33" fmla="*/ 12 h 206"/>
                <a:gd name="T34" fmla="*/ 60 w 114"/>
                <a:gd name="T35" fmla="*/ 4 h 206"/>
                <a:gd name="T36" fmla="*/ 70 w 114"/>
                <a:gd name="T37" fmla="*/ 4 h 206"/>
                <a:gd name="T38" fmla="*/ 84 w 114"/>
                <a:gd name="T39" fmla="*/ 4 h 206"/>
                <a:gd name="T40" fmla="*/ 92 w 114"/>
                <a:gd name="T41" fmla="*/ 16 h 206"/>
                <a:gd name="T42" fmla="*/ 88 w 114"/>
                <a:gd name="T43" fmla="*/ 34 h 206"/>
                <a:gd name="T44" fmla="*/ 76 w 114"/>
                <a:gd name="T45" fmla="*/ 34 h 206"/>
                <a:gd name="T46" fmla="*/ 62 w 114"/>
                <a:gd name="T47" fmla="*/ 38 h 206"/>
                <a:gd name="T48" fmla="*/ 62 w 114"/>
                <a:gd name="T49" fmla="*/ 50 h 206"/>
                <a:gd name="T50" fmla="*/ 62 w 114"/>
                <a:gd name="T51" fmla="*/ 52 h 206"/>
                <a:gd name="T52" fmla="*/ 52 w 114"/>
                <a:gd name="T53" fmla="*/ 56 h 206"/>
                <a:gd name="T54" fmla="*/ 62 w 114"/>
                <a:gd name="T55" fmla="*/ 68 h 206"/>
                <a:gd name="T56" fmla="*/ 74 w 114"/>
                <a:gd name="T57" fmla="*/ 82 h 206"/>
                <a:gd name="T58" fmla="*/ 84 w 114"/>
                <a:gd name="T59" fmla="*/ 86 h 206"/>
                <a:gd name="T60" fmla="*/ 80 w 114"/>
                <a:gd name="T61" fmla="*/ 100 h 206"/>
                <a:gd name="T62" fmla="*/ 80 w 114"/>
                <a:gd name="T63" fmla="*/ 112 h 206"/>
                <a:gd name="T64" fmla="*/ 84 w 114"/>
                <a:gd name="T65" fmla="*/ 112 h 206"/>
                <a:gd name="T66" fmla="*/ 88 w 114"/>
                <a:gd name="T67" fmla="*/ 100 h 206"/>
                <a:gd name="T68" fmla="*/ 104 w 114"/>
                <a:gd name="T69" fmla="*/ 104 h 206"/>
                <a:gd name="T70" fmla="*/ 110 w 114"/>
                <a:gd name="T71" fmla="*/ 116 h 206"/>
                <a:gd name="T72" fmla="*/ 106 w 114"/>
                <a:gd name="T73" fmla="*/ 126 h 206"/>
                <a:gd name="T74" fmla="*/ 100 w 114"/>
                <a:gd name="T75" fmla="*/ 122 h 206"/>
                <a:gd name="T76" fmla="*/ 88 w 114"/>
                <a:gd name="T77" fmla="*/ 122 h 206"/>
                <a:gd name="T78" fmla="*/ 88 w 114"/>
                <a:gd name="T79" fmla="*/ 126 h 206"/>
                <a:gd name="T80" fmla="*/ 84 w 114"/>
                <a:gd name="T81" fmla="*/ 142 h 206"/>
                <a:gd name="T82" fmla="*/ 88 w 114"/>
                <a:gd name="T83" fmla="*/ 142 h 206"/>
                <a:gd name="T84" fmla="*/ 100 w 114"/>
                <a:gd name="T85" fmla="*/ 146 h 206"/>
                <a:gd name="T86" fmla="*/ 92 w 114"/>
                <a:gd name="T87" fmla="*/ 150 h 206"/>
                <a:gd name="T88" fmla="*/ 100 w 114"/>
                <a:gd name="T89" fmla="*/ 156 h 206"/>
                <a:gd name="T90" fmla="*/ 100 w 114"/>
                <a:gd name="T91" fmla="*/ 172 h 206"/>
                <a:gd name="T92" fmla="*/ 104 w 114"/>
                <a:gd name="T93" fmla="*/ 190 h 206"/>
                <a:gd name="T94" fmla="*/ 96 w 114"/>
                <a:gd name="T95" fmla="*/ 202 h 206"/>
                <a:gd name="T96" fmla="*/ 100 w 114"/>
                <a:gd name="T97" fmla="*/ 198 h 206"/>
                <a:gd name="T98" fmla="*/ 80 w 114"/>
                <a:gd name="T99" fmla="*/ 202 h 206"/>
                <a:gd name="T100" fmla="*/ 66 w 114"/>
                <a:gd name="T101" fmla="*/ 202 h 206"/>
                <a:gd name="T102" fmla="*/ 52 w 114"/>
                <a:gd name="T103" fmla="*/ 190 h 206"/>
                <a:gd name="T104" fmla="*/ 32 w 114"/>
                <a:gd name="T105" fmla="*/ 186 h 206"/>
                <a:gd name="T106" fmla="*/ 30 w 114"/>
                <a:gd name="T107" fmla="*/ 164 h 206"/>
                <a:gd name="T108" fmla="*/ 32 w 114"/>
                <a:gd name="T109" fmla="*/ 16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4" h="206">
                  <a:moveTo>
                    <a:pt x="36" y="156"/>
                  </a:moveTo>
                  <a:lnTo>
                    <a:pt x="36" y="152"/>
                  </a:lnTo>
                  <a:lnTo>
                    <a:pt x="40" y="152"/>
                  </a:lnTo>
                  <a:lnTo>
                    <a:pt x="36" y="150"/>
                  </a:lnTo>
                  <a:lnTo>
                    <a:pt x="36" y="146"/>
                  </a:lnTo>
                  <a:lnTo>
                    <a:pt x="40" y="142"/>
                  </a:lnTo>
                  <a:lnTo>
                    <a:pt x="40" y="138"/>
                  </a:lnTo>
                  <a:lnTo>
                    <a:pt x="40" y="134"/>
                  </a:lnTo>
                  <a:lnTo>
                    <a:pt x="44" y="134"/>
                  </a:lnTo>
                  <a:lnTo>
                    <a:pt x="48" y="134"/>
                  </a:lnTo>
                  <a:lnTo>
                    <a:pt x="52" y="134"/>
                  </a:lnTo>
                  <a:lnTo>
                    <a:pt x="52" y="130"/>
                  </a:lnTo>
                  <a:lnTo>
                    <a:pt x="48" y="126"/>
                  </a:lnTo>
                  <a:lnTo>
                    <a:pt x="44" y="126"/>
                  </a:lnTo>
                  <a:lnTo>
                    <a:pt x="44" y="130"/>
                  </a:lnTo>
                  <a:lnTo>
                    <a:pt x="44" y="126"/>
                  </a:lnTo>
                  <a:lnTo>
                    <a:pt x="40" y="126"/>
                  </a:lnTo>
                  <a:lnTo>
                    <a:pt x="40" y="122"/>
                  </a:lnTo>
                  <a:lnTo>
                    <a:pt x="36" y="122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32" y="116"/>
                  </a:lnTo>
                  <a:lnTo>
                    <a:pt x="32" y="112"/>
                  </a:lnTo>
                  <a:lnTo>
                    <a:pt x="32" y="108"/>
                  </a:lnTo>
                  <a:lnTo>
                    <a:pt x="30" y="108"/>
                  </a:lnTo>
                  <a:lnTo>
                    <a:pt x="30" y="104"/>
                  </a:lnTo>
                  <a:lnTo>
                    <a:pt x="26" y="104"/>
                  </a:lnTo>
                  <a:lnTo>
                    <a:pt x="26" y="100"/>
                  </a:lnTo>
                  <a:lnTo>
                    <a:pt x="22" y="100"/>
                  </a:lnTo>
                  <a:lnTo>
                    <a:pt x="22" y="94"/>
                  </a:lnTo>
                  <a:lnTo>
                    <a:pt x="18" y="94"/>
                  </a:lnTo>
                  <a:lnTo>
                    <a:pt x="18" y="90"/>
                  </a:lnTo>
                  <a:lnTo>
                    <a:pt x="14" y="90"/>
                  </a:lnTo>
                  <a:lnTo>
                    <a:pt x="14" y="86"/>
                  </a:lnTo>
                  <a:lnTo>
                    <a:pt x="14" y="82"/>
                  </a:lnTo>
                  <a:lnTo>
                    <a:pt x="10" y="82"/>
                  </a:lnTo>
                  <a:lnTo>
                    <a:pt x="10" y="80"/>
                  </a:lnTo>
                  <a:lnTo>
                    <a:pt x="10" y="76"/>
                  </a:lnTo>
                  <a:lnTo>
                    <a:pt x="14" y="76"/>
                  </a:lnTo>
                  <a:lnTo>
                    <a:pt x="10" y="76"/>
                  </a:lnTo>
                  <a:lnTo>
                    <a:pt x="10" y="72"/>
                  </a:lnTo>
                  <a:lnTo>
                    <a:pt x="10" y="68"/>
                  </a:lnTo>
                  <a:lnTo>
                    <a:pt x="14" y="68"/>
                  </a:lnTo>
                  <a:lnTo>
                    <a:pt x="14" y="64"/>
                  </a:lnTo>
                  <a:lnTo>
                    <a:pt x="10" y="64"/>
                  </a:lnTo>
                  <a:lnTo>
                    <a:pt x="10" y="68"/>
                  </a:lnTo>
                  <a:lnTo>
                    <a:pt x="10" y="72"/>
                  </a:lnTo>
                  <a:lnTo>
                    <a:pt x="10" y="68"/>
                  </a:lnTo>
                  <a:lnTo>
                    <a:pt x="10" y="72"/>
                  </a:lnTo>
                  <a:lnTo>
                    <a:pt x="10" y="68"/>
                  </a:lnTo>
                  <a:lnTo>
                    <a:pt x="10" y="64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6" y="56"/>
                  </a:lnTo>
                  <a:lnTo>
                    <a:pt x="2" y="52"/>
                  </a:lnTo>
                  <a:lnTo>
                    <a:pt x="0" y="52"/>
                  </a:lnTo>
                  <a:lnTo>
                    <a:pt x="0" y="50"/>
                  </a:lnTo>
                  <a:lnTo>
                    <a:pt x="2" y="50"/>
                  </a:lnTo>
                  <a:lnTo>
                    <a:pt x="2" y="46"/>
                  </a:lnTo>
                  <a:lnTo>
                    <a:pt x="6" y="46"/>
                  </a:lnTo>
                  <a:lnTo>
                    <a:pt x="6" y="42"/>
                  </a:lnTo>
                  <a:lnTo>
                    <a:pt x="10" y="38"/>
                  </a:lnTo>
                  <a:lnTo>
                    <a:pt x="10" y="34"/>
                  </a:lnTo>
                  <a:lnTo>
                    <a:pt x="14" y="30"/>
                  </a:lnTo>
                  <a:lnTo>
                    <a:pt x="10" y="30"/>
                  </a:lnTo>
                  <a:lnTo>
                    <a:pt x="10" y="26"/>
                  </a:lnTo>
                  <a:lnTo>
                    <a:pt x="14" y="30"/>
                  </a:lnTo>
                  <a:lnTo>
                    <a:pt x="14" y="26"/>
                  </a:lnTo>
                  <a:lnTo>
                    <a:pt x="10" y="26"/>
                  </a:lnTo>
                  <a:lnTo>
                    <a:pt x="14" y="26"/>
                  </a:lnTo>
                  <a:lnTo>
                    <a:pt x="18" y="30"/>
                  </a:lnTo>
                  <a:lnTo>
                    <a:pt x="18" y="26"/>
                  </a:lnTo>
                  <a:lnTo>
                    <a:pt x="22" y="26"/>
                  </a:lnTo>
                  <a:lnTo>
                    <a:pt x="26" y="24"/>
                  </a:lnTo>
                  <a:lnTo>
                    <a:pt x="30" y="24"/>
                  </a:lnTo>
                  <a:lnTo>
                    <a:pt x="30" y="26"/>
                  </a:lnTo>
                  <a:lnTo>
                    <a:pt x="30" y="24"/>
                  </a:lnTo>
                  <a:lnTo>
                    <a:pt x="30" y="20"/>
                  </a:lnTo>
                  <a:lnTo>
                    <a:pt x="32" y="20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2" y="0"/>
                  </a:lnTo>
                  <a:lnTo>
                    <a:pt x="66" y="0"/>
                  </a:lnTo>
                  <a:lnTo>
                    <a:pt x="70" y="0"/>
                  </a:lnTo>
                  <a:lnTo>
                    <a:pt x="70" y="4"/>
                  </a:lnTo>
                  <a:lnTo>
                    <a:pt x="74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88" y="12"/>
                  </a:lnTo>
                  <a:lnTo>
                    <a:pt x="92" y="16"/>
                  </a:lnTo>
                  <a:lnTo>
                    <a:pt x="92" y="20"/>
                  </a:lnTo>
                  <a:lnTo>
                    <a:pt x="88" y="24"/>
                  </a:lnTo>
                  <a:lnTo>
                    <a:pt x="88" y="26"/>
                  </a:lnTo>
                  <a:lnTo>
                    <a:pt x="84" y="30"/>
                  </a:lnTo>
                  <a:lnTo>
                    <a:pt x="88" y="34"/>
                  </a:lnTo>
                  <a:lnTo>
                    <a:pt x="92" y="34"/>
                  </a:lnTo>
                  <a:lnTo>
                    <a:pt x="88" y="34"/>
                  </a:lnTo>
                  <a:lnTo>
                    <a:pt x="84" y="34"/>
                  </a:lnTo>
                  <a:lnTo>
                    <a:pt x="80" y="34"/>
                  </a:lnTo>
                  <a:lnTo>
                    <a:pt x="76" y="34"/>
                  </a:lnTo>
                  <a:lnTo>
                    <a:pt x="74" y="34"/>
                  </a:lnTo>
                  <a:lnTo>
                    <a:pt x="70" y="34"/>
                  </a:lnTo>
                  <a:lnTo>
                    <a:pt x="66" y="34"/>
                  </a:lnTo>
                  <a:lnTo>
                    <a:pt x="66" y="38"/>
                  </a:lnTo>
                  <a:lnTo>
                    <a:pt x="62" y="38"/>
                  </a:lnTo>
                  <a:lnTo>
                    <a:pt x="62" y="42"/>
                  </a:lnTo>
                  <a:lnTo>
                    <a:pt x="60" y="42"/>
                  </a:lnTo>
                  <a:lnTo>
                    <a:pt x="60" y="46"/>
                  </a:lnTo>
                  <a:lnTo>
                    <a:pt x="62" y="46"/>
                  </a:lnTo>
                  <a:lnTo>
                    <a:pt x="62" y="50"/>
                  </a:lnTo>
                  <a:lnTo>
                    <a:pt x="66" y="50"/>
                  </a:lnTo>
                  <a:lnTo>
                    <a:pt x="70" y="50"/>
                  </a:lnTo>
                  <a:lnTo>
                    <a:pt x="70" y="52"/>
                  </a:lnTo>
                  <a:lnTo>
                    <a:pt x="66" y="52"/>
                  </a:lnTo>
                  <a:lnTo>
                    <a:pt x="62" y="52"/>
                  </a:lnTo>
                  <a:lnTo>
                    <a:pt x="60" y="50"/>
                  </a:lnTo>
                  <a:lnTo>
                    <a:pt x="56" y="50"/>
                  </a:lnTo>
                  <a:lnTo>
                    <a:pt x="52" y="50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2" y="64"/>
                  </a:lnTo>
                  <a:lnTo>
                    <a:pt x="62" y="68"/>
                  </a:lnTo>
                  <a:lnTo>
                    <a:pt x="66" y="72"/>
                  </a:lnTo>
                  <a:lnTo>
                    <a:pt x="66" y="76"/>
                  </a:lnTo>
                  <a:lnTo>
                    <a:pt x="66" y="80"/>
                  </a:lnTo>
                  <a:lnTo>
                    <a:pt x="70" y="80"/>
                  </a:lnTo>
                  <a:lnTo>
                    <a:pt x="74" y="82"/>
                  </a:lnTo>
                  <a:lnTo>
                    <a:pt x="74" y="86"/>
                  </a:lnTo>
                  <a:lnTo>
                    <a:pt x="74" y="82"/>
                  </a:lnTo>
                  <a:lnTo>
                    <a:pt x="76" y="82"/>
                  </a:lnTo>
                  <a:lnTo>
                    <a:pt x="80" y="86"/>
                  </a:lnTo>
                  <a:lnTo>
                    <a:pt x="84" y="86"/>
                  </a:lnTo>
                  <a:lnTo>
                    <a:pt x="84" y="90"/>
                  </a:lnTo>
                  <a:lnTo>
                    <a:pt x="84" y="94"/>
                  </a:lnTo>
                  <a:lnTo>
                    <a:pt x="80" y="94"/>
                  </a:lnTo>
                  <a:lnTo>
                    <a:pt x="80" y="96"/>
                  </a:lnTo>
                  <a:lnTo>
                    <a:pt x="80" y="100"/>
                  </a:lnTo>
                  <a:lnTo>
                    <a:pt x="80" y="104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0" y="108"/>
                  </a:lnTo>
                  <a:lnTo>
                    <a:pt x="80" y="112"/>
                  </a:lnTo>
                  <a:lnTo>
                    <a:pt x="84" y="112"/>
                  </a:lnTo>
                  <a:lnTo>
                    <a:pt x="84" y="116"/>
                  </a:lnTo>
                  <a:lnTo>
                    <a:pt x="88" y="120"/>
                  </a:lnTo>
                  <a:lnTo>
                    <a:pt x="88" y="116"/>
                  </a:lnTo>
                  <a:lnTo>
                    <a:pt x="84" y="112"/>
                  </a:lnTo>
                  <a:lnTo>
                    <a:pt x="88" y="112"/>
                  </a:lnTo>
                  <a:lnTo>
                    <a:pt x="88" y="108"/>
                  </a:lnTo>
                  <a:lnTo>
                    <a:pt x="84" y="108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92" y="100"/>
                  </a:lnTo>
                  <a:lnTo>
                    <a:pt x="96" y="96"/>
                  </a:lnTo>
                  <a:lnTo>
                    <a:pt x="100" y="96"/>
                  </a:lnTo>
                  <a:lnTo>
                    <a:pt x="104" y="100"/>
                  </a:lnTo>
                  <a:lnTo>
                    <a:pt x="104" y="104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6" y="112"/>
                  </a:lnTo>
                  <a:lnTo>
                    <a:pt x="106" y="116"/>
                  </a:lnTo>
                  <a:lnTo>
                    <a:pt x="110" y="116"/>
                  </a:lnTo>
                  <a:lnTo>
                    <a:pt x="114" y="120"/>
                  </a:lnTo>
                  <a:lnTo>
                    <a:pt x="114" y="122"/>
                  </a:lnTo>
                  <a:lnTo>
                    <a:pt x="110" y="122"/>
                  </a:lnTo>
                  <a:lnTo>
                    <a:pt x="106" y="122"/>
                  </a:lnTo>
                  <a:lnTo>
                    <a:pt x="106" y="126"/>
                  </a:lnTo>
                  <a:lnTo>
                    <a:pt x="110" y="126"/>
                  </a:lnTo>
                  <a:lnTo>
                    <a:pt x="106" y="126"/>
                  </a:lnTo>
                  <a:lnTo>
                    <a:pt x="104" y="126"/>
                  </a:lnTo>
                  <a:lnTo>
                    <a:pt x="100" y="126"/>
                  </a:lnTo>
                  <a:lnTo>
                    <a:pt x="100" y="122"/>
                  </a:lnTo>
                  <a:lnTo>
                    <a:pt x="96" y="122"/>
                  </a:lnTo>
                  <a:lnTo>
                    <a:pt x="96" y="126"/>
                  </a:lnTo>
                  <a:lnTo>
                    <a:pt x="96" y="122"/>
                  </a:lnTo>
                  <a:lnTo>
                    <a:pt x="92" y="122"/>
                  </a:lnTo>
                  <a:lnTo>
                    <a:pt x="88" y="122"/>
                  </a:lnTo>
                  <a:lnTo>
                    <a:pt x="88" y="120"/>
                  </a:lnTo>
                  <a:lnTo>
                    <a:pt x="88" y="122"/>
                  </a:lnTo>
                  <a:lnTo>
                    <a:pt x="88" y="126"/>
                  </a:lnTo>
                  <a:lnTo>
                    <a:pt x="84" y="126"/>
                  </a:lnTo>
                  <a:lnTo>
                    <a:pt x="88" y="126"/>
                  </a:lnTo>
                  <a:lnTo>
                    <a:pt x="84" y="126"/>
                  </a:lnTo>
                  <a:lnTo>
                    <a:pt x="84" y="130"/>
                  </a:lnTo>
                  <a:lnTo>
                    <a:pt x="84" y="134"/>
                  </a:lnTo>
                  <a:lnTo>
                    <a:pt x="84" y="138"/>
                  </a:lnTo>
                  <a:lnTo>
                    <a:pt x="84" y="142"/>
                  </a:lnTo>
                  <a:lnTo>
                    <a:pt x="88" y="142"/>
                  </a:lnTo>
                  <a:lnTo>
                    <a:pt x="88" y="146"/>
                  </a:lnTo>
                  <a:lnTo>
                    <a:pt x="88" y="142"/>
                  </a:lnTo>
                  <a:lnTo>
                    <a:pt x="88" y="138"/>
                  </a:lnTo>
                  <a:lnTo>
                    <a:pt x="88" y="142"/>
                  </a:lnTo>
                  <a:lnTo>
                    <a:pt x="92" y="142"/>
                  </a:lnTo>
                  <a:lnTo>
                    <a:pt x="96" y="138"/>
                  </a:lnTo>
                  <a:lnTo>
                    <a:pt x="96" y="142"/>
                  </a:lnTo>
                  <a:lnTo>
                    <a:pt x="96" y="146"/>
                  </a:lnTo>
                  <a:lnTo>
                    <a:pt x="100" y="146"/>
                  </a:lnTo>
                  <a:lnTo>
                    <a:pt x="100" y="150"/>
                  </a:lnTo>
                  <a:lnTo>
                    <a:pt x="96" y="150"/>
                  </a:lnTo>
                  <a:lnTo>
                    <a:pt x="92" y="150"/>
                  </a:lnTo>
                  <a:lnTo>
                    <a:pt x="92" y="146"/>
                  </a:lnTo>
                  <a:lnTo>
                    <a:pt x="92" y="150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6" y="152"/>
                  </a:lnTo>
                  <a:lnTo>
                    <a:pt x="100" y="156"/>
                  </a:lnTo>
                  <a:lnTo>
                    <a:pt x="104" y="160"/>
                  </a:lnTo>
                  <a:lnTo>
                    <a:pt x="104" y="164"/>
                  </a:lnTo>
                  <a:lnTo>
                    <a:pt x="100" y="164"/>
                  </a:lnTo>
                  <a:lnTo>
                    <a:pt x="100" y="168"/>
                  </a:lnTo>
                  <a:lnTo>
                    <a:pt x="100" y="172"/>
                  </a:lnTo>
                  <a:lnTo>
                    <a:pt x="100" y="176"/>
                  </a:lnTo>
                  <a:lnTo>
                    <a:pt x="100" y="178"/>
                  </a:lnTo>
                  <a:lnTo>
                    <a:pt x="100" y="182"/>
                  </a:lnTo>
                  <a:lnTo>
                    <a:pt x="100" y="186"/>
                  </a:lnTo>
                  <a:lnTo>
                    <a:pt x="104" y="190"/>
                  </a:lnTo>
                  <a:lnTo>
                    <a:pt x="104" y="194"/>
                  </a:lnTo>
                  <a:lnTo>
                    <a:pt x="104" y="198"/>
                  </a:lnTo>
                  <a:lnTo>
                    <a:pt x="104" y="202"/>
                  </a:lnTo>
                  <a:lnTo>
                    <a:pt x="100" y="202"/>
                  </a:lnTo>
                  <a:lnTo>
                    <a:pt x="96" y="202"/>
                  </a:lnTo>
                  <a:lnTo>
                    <a:pt x="100" y="198"/>
                  </a:lnTo>
                  <a:lnTo>
                    <a:pt x="100" y="202"/>
                  </a:lnTo>
                  <a:lnTo>
                    <a:pt x="100" y="198"/>
                  </a:lnTo>
                  <a:lnTo>
                    <a:pt x="104" y="198"/>
                  </a:lnTo>
                  <a:lnTo>
                    <a:pt x="100" y="198"/>
                  </a:lnTo>
                  <a:lnTo>
                    <a:pt x="96" y="198"/>
                  </a:lnTo>
                  <a:lnTo>
                    <a:pt x="92" y="202"/>
                  </a:lnTo>
                  <a:lnTo>
                    <a:pt x="88" y="202"/>
                  </a:lnTo>
                  <a:lnTo>
                    <a:pt x="84" y="202"/>
                  </a:lnTo>
                  <a:lnTo>
                    <a:pt x="80" y="202"/>
                  </a:lnTo>
                  <a:lnTo>
                    <a:pt x="76" y="206"/>
                  </a:lnTo>
                  <a:lnTo>
                    <a:pt x="74" y="206"/>
                  </a:lnTo>
                  <a:lnTo>
                    <a:pt x="70" y="206"/>
                  </a:lnTo>
                  <a:lnTo>
                    <a:pt x="66" y="206"/>
                  </a:lnTo>
                  <a:lnTo>
                    <a:pt x="66" y="202"/>
                  </a:lnTo>
                  <a:lnTo>
                    <a:pt x="62" y="202"/>
                  </a:lnTo>
                  <a:lnTo>
                    <a:pt x="60" y="202"/>
                  </a:lnTo>
                  <a:lnTo>
                    <a:pt x="56" y="198"/>
                  </a:lnTo>
                  <a:lnTo>
                    <a:pt x="52" y="194"/>
                  </a:lnTo>
                  <a:lnTo>
                    <a:pt x="52" y="190"/>
                  </a:lnTo>
                  <a:lnTo>
                    <a:pt x="48" y="190"/>
                  </a:lnTo>
                  <a:lnTo>
                    <a:pt x="44" y="190"/>
                  </a:lnTo>
                  <a:lnTo>
                    <a:pt x="40" y="186"/>
                  </a:lnTo>
                  <a:lnTo>
                    <a:pt x="36" y="186"/>
                  </a:lnTo>
                  <a:lnTo>
                    <a:pt x="32" y="186"/>
                  </a:lnTo>
                  <a:lnTo>
                    <a:pt x="32" y="182"/>
                  </a:lnTo>
                  <a:lnTo>
                    <a:pt x="32" y="178"/>
                  </a:lnTo>
                  <a:lnTo>
                    <a:pt x="30" y="172"/>
                  </a:lnTo>
                  <a:lnTo>
                    <a:pt x="30" y="168"/>
                  </a:lnTo>
                  <a:lnTo>
                    <a:pt x="30" y="164"/>
                  </a:lnTo>
                  <a:lnTo>
                    <a:pt x="32" y="160"/>
                  </a:lnTo>
                  <a:lnTo>
                    <a:pt x="32" y="156"/>
                  </a:lnTo>
                  <a:lnTo>
                    <a:pt x="36" y="156"/>
                  </a:lnTo>
                  <a:lnTo>
                    <a:pt x="32" y="156"/>
                  </a:lnTo>
                  <a:lnTo>
                    <a:pt x="32" y="160"/>
                  </a:lnTo>
                  <a:lnTo>
                    <a:pt x="36" y="160"/>
                  </a:lnTo>
                  <a:lnTo>
                    <a:pt x="36" y="156"/>
                  </a:lnTo>
                  <a:lnTo>
                    <a:pt x="36" y="156"/>
                  </a:lnTo>
                  <a:lnTo>
                    <a:pt x="36" y="156"/>
                  </a:lnTo>
                  <a:close/>
                </a:path>
              </a:pathLst>
            </a:custGeom>
            <a:solidFill>
              <a:srgbClr val="BDD7EE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78" name="Freeform 221">
              <a:extLst>
                <a:ext uri="{FF2B5EF4-FFF2-40B4-BE49-F238E27FC236}">
                  <a16:creationId xmlns:a16="http://schemas.microsoft.com/office/drawing/2014/main" id="{A99C6E94-FBF4-5D0A-AB89-3BE1BB6BE0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8463" y="2572228"/>
              <a:ext cx="101307" cy="135756"/>
            </a:xfrm>
            <a:custGeom>
              <a:avLst/>
              <a:gdLst>
                <a:gd name="T0" fmla="*/ 40 w 52"/>
                <a:gd name="T1" fmla="*/ 20 h 72"/>
                <a:gd name="T2" fmla="*/ 36 w 52"/>
                <a:gd name="T3" fmla="*/ 22 h 72"/>
                <a:gd name="T4" fmla="*/ 40 w 52"/>
                <a:gd name="T5" fmla="*/ 26 h 72"/>
                <a:gd name="T6" fmla="*/ 44 w 52"/>
                <a:gd name="T7" fmla="*/ 22 h 72"/>
                <a:gd name="T8" fmla="*/ 40 w 52"/>
                <a:gd name="T9" fmla="*/ 26 h 72"/>
                <a:gd name="T10" fmla="*/ 44 w 52"/>
                <a:gd name="T11" fmla="*/ 34 h 72"/>
                <a:gd name="T12" fmla="*/ 52 w 52"/>
                <a:gd name="T13" fmla="*/ 34 h 72"/>
                <a:gd name="T14" fmla="*/ 48 w 52"/>
                <a:gd name="T15" fmla="*/ 38 h 72"/>
                <a:gd name="T16" fmla="*/ 48 w 52"/>
                <a:gd name="T17" fmla="*/ 42 h 72"/>
                <a:gd name="T18" fmla="*/ 44 w 52"/>
                <a:gd name="T19" fmla="*/ 46 h 72"/>
                <a:gd name="T20" fmla="*/ 40 w 52"/>
                <a:gd name="T21" fmla="*/ 50 h 72"/>
                <a:gd name="T22" fmla="*/ 40 w 52"/>
                <a:gd name="T23" fmla="*/ 50 h 72"/>
                <a:gd name="T24" fmla="*/ 40 w 52"/>
                <a:gd name="T25" fmla="*/ 56 h 72"/>
                <a:gd name="T26" fmla="*/ 36 w 52"/>
                <a:gd name="T27" fmla="*/ 52 h 72"/>
                <a:gd name="T28" fmla="*/ 32 w 52"/>
                <a:gd name="T29" fmla="*/ 56 h 72"/>
                <a:gd name="T30" fmla="*/ 36 w 52"/>
                <a:gd name="T31" fmla="*/ 60 h 72"/>
                <a:gd name="T32" fmla="*/ 40 w 52"/>
                <a:gd name="T33" fmla="*/ 64 h 72"/>
                <a:gd name="T34" fmla="*/ 32 w 52"/>
                <a:gd name="T35" fmla="*/ 68 h 72"/>
                <a:gd name="T36" fmla="*/ 28 w 52"/>
                <a:gd name="T37" fmla="*/ 64 h 72"/>
                <a:gd name="T38" fmla="*/ 26 w 52"/>
                <a:gd name="T39" fmla="*/ 68 h 72"/>
                <a:gd name="T40" fmla="*/ 22 w 52"/>
                <a:gd name="T41" fmla="*/ 72 h 72"/>
                <a:gd name="T42" fmla="*/ 18 w 52"/>
                <a:gd name="T43" fmla="*/ 68 h 72"/>
                <a:gd name="T44" fmla="*/ 18 w 52"/>
                <a:gd name="T45" fmla="*/ 64 h 72"/>
                <a:gd name="T46" fmla="*/ 14 w 52"/>
                <a:gd name="T47" fmla="*/ 60 h 72"/>
                <a:gd name="T48" fmla="*/ 10 w 52"/>
                <a:gd name="T49" fmla="*/ 64 h 72"/>
                <a:gd name="T50" fmla="*/ 6 w 52"/>
                <a:gd name="T51" fmla="*/ 60 h 72"/>
                <a:gd name="T52" fmla="*/ 6 w 52"/>
                <a:gd name="T53" fmla="*/ 60 h 72"/>
                <a:gd name="T54" fmla="*/ 10 w 52"/>
                <a:gd name="T55" fmla="*/ 64 h 72"/>
                <a:gd name="T56" fmla="*/ 4 w 52"/>
                <a:gd name="T57" fmla="*/ 64 h 72"/>
                <a:gd name="T58" fmla="*/ 0 w 52"/>
                <a:gd name="T59" fmla="*/ 60 h 72"/>
                <a:gd name="T60" fmla="*/ 0 w 52"/>
                <a:gd name="T61" fmla="*/ 52 h 72"/>
                <a:gd name="T62" fmla="*/ 0 w 52"/>
                <a:gd name="T63" fmla="*/ 46 h 72"/>
                <a:gd name="T64" fmla="*/ 0 w 52"/>
                <a:gd name="T65" fmla="*/ 38 h 72"/>
                <a:gd name="T66" fmla="*/ 4 w 52"/>
                <a:gd name="T67" fmla="*/ 30 h 72"/>
                <a:gd name="T68" fmla="*/ 4 w 52"/>
                <a:gd name="T69" fmla="*/ 22 h 72"/>
                <a:gd name="T70" fmla="*/ 6 w 52"/>
                <a:gd name="T71" fmla="*/ 20 h 72"/>
                <a:gd name="T72" fmla="*/ 14 w 52"/>
                <a:gd name="T73" fmla="*/ 20 h 72"/>
                <a:gd name="T74" fmla="*/ 14 w 52"/>
                <a:gd name="T75" fmla="*/ 20 h 72"/>
                <a:gd name="T76" fmla="*/ 14 w 52"/>
                <a:gd name="T77" fmla="*/ 20 h 72"/>
                <a:gd name="T78" fmla="*/ 18 w 52"/>
                <a:gd name="T79" fmla="*/ 22 h 72"/>
                <a:gd name="T80" fmla="*/ 18 w 52"/>
                <a:gd name="T81" fmla="*/ 16 h 72"/>
                <a:gd name="T82" fmla="*/ 22 w 52"/>
                <a:gd name="T83" fmla="*/ 12 h 72"/>
                <a:gd name="T84" fmla="*/ 26 w 52"/>
                <a:gd name="T85" fmla="*/ 16 h 72"/>
                <a:gd name="T86" fmla="*/ 22 w 52"/>
                <a:gd name="T87" fmla="*/ 12 h 72"/>
                <a:gd name="T88" fmla="*/ 22 w 52"/>
                <a:gd name="T89" fmla="*/ 4 h 72"/>
                <a:gd name="T90" fmla="*/ 28 w 52"/>
                <a:gd name="T91" fmla="*/ 4 h 72"/>
                <a:gd name="T92" fmla="*/ 32 w 52"/>
                <a:gd name="T93" fmla="*/ 4 h 72"/>
                <a:gd name="T94" fmla="*/ 32 w 52"/>
                <a:gd name="T95" fmla="*/ 0 h 72"/>
                <a:gd name="T96" fmla="*/ 36 w 52"/>
                <a:gd name="T97" fmla="*/ 4 h 72"/>
                <a:gd name="T98" fmla="*/ 40 w 52"/>
                <a:gd name="T99" fmla="*/ 8 h 72"/>
                <a:gd name="T100" fmla="*/ 44 w 52"/>
                <a:gd name="T101" fmla="*/ 4 h 72"/>
                <a:gd name="T102" fmla="*/ 48 w 52"/>
                <a:gd name="T103" fmla="*/ 0 h 72"/>
                <a:gd name="T104" fmla="*/ 48 w 52"/>
                <a:gd name="T105" fmla="*/ 8 h 72"/>
                <a:gd name="T106" fmla="*/ 40 w 52"/>
                <a:gd name="T107" fmla="*/ 12 h 72"/>
                <a:gd name="T108" fmla="*/ 36 w 52"/>
                <a:gd name="T109" fmla="*/ 16 h 72"/>
                <a:gd name="T110" fmla="*/ 36 w 52"/>
                <a:gd name="T111" fmla="*/ 1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" h="72">
                  <a:moveTo>
                    <a:pt x="36" y="16"/>
                  </a:moveTo>
                  <a:lnTo>
                    <a:pt x="40" y="20"/>
                  </a:lnTo>
                  <a:lnTo>
                    <a:pt x="40" y="22"/>
                  </a:lnTo>
                  <a:lnTo>
                    <a:pt x="36" y="22"/>
                  </a:lnTo>
                  <a:lnTo>
                    <a:pt x="36" y="26"/>
                  </a:lnTo>
                  <a:lnTo>
                    <a:pt x="40" y="26"/>
                  </a:lnTo>
                  <a:lnTo>
                    <a:pt x="40" y="22"/>
                  </a:lnTo>
                  <a:lnTo>
                    <a:pt x="44" y="22"/>
                  </a:lnTo>
                  <a:lnTo>
                    <a:pt x="44" y="26"/>
                  </a:lnTo>
                  <a:lnTo>
                    <a:pt x="40" y="26"/>
                  </a:lnTo>
                  <a:lnTo>
                    <a:pt x="44" y="30"/>
                  </a:lnTo>
                  <a:lnTo>
                    <a:pt x="44" y="34"/>
                  </a:lnTo>
                  <a:lnTo>
                    <a:pt x="48" y="34"/>
                  </a:lnTo>
                  <a:lnTo>
                    <a:pt x="52" y="34"/>
                  </a:lnTo>
                  <a:lnTo>
                    <a:pt x="48" y="34"/>
                  </a:lnTo>
                  <a:lnTo>
                    <a:pt x="48" y="38"/>
                  </a:lnTo>
                  <a:lnTo>
                    <a:pt x="52" y="38"/>
                  </a:lnTo>
                  <a:lnTo>
                    <a:pt x="48" y="42"/>
                  </a:lnTo>
                  <a:lnTo>
                    <a:pt x="44" y="42"/>
                  </a:lnTo>
                  <a:lnTo>
                    <a:pt x="44" y="46"/>
                  </a:lnTo>
                  <a:lnTo>
                    <a:pt x="40" y="46"/>
                  </a:lnTo>
                  <a:lnTo>
                    <a:pt x="40" y="50"/>
                  </a:lnTo>
                  <a:lnTo>
                    <a:pt x="40" y="52"/>
                  </a:lnTo>
                  <a:lnTo>
                    <a:pt x="40" y="50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6" y="68"/>
                  </a:lnTo>
                  <a:lnTo>
                    <a:pt x="22" y="68"/>
                  </a:lnTo>
                  <a:lnTo>
                    <a:pt x="22" y="72"/>
                  </a:lnTo>
                  <a:lnTo>
                    <a:pt x="22" y="68"/>
                  </a:lnTo>
                  <a:lnTo>
                    <a:pt x="18" y="68"/>
                  </a:lnTo>
                  <a:lnTo>
                    <a:pt x="22" y="64"/>
                  </a:lnTo>
                  <a:lnTo>
                    <a:pt x="18" y="64"/>
                  </a:lnTo>
                  <a:lnTo>
                    <a:pt x="14" y="64"/>
                  </a:lnTo>
                  <a:lnTo>
                    <a:pt x="14" y="60"/>
                  </a:lnTo>
                  <a:lnTo>
                    <a:pt x="14" y="64"/>
                  </a:lnTo>
                  <a:lnTo>
                    <a:pt x="10" y="64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10" y="60"/>
                  </a:lnTo>
                  <a:lnTo>
                    <a:pt x="10" y="64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4" y="56"/>
                  </a:lnTo>
                  <a:lnTo>
                    <a:pt x="0" y="52"/>
                  </a:lnTo>
                  <a:lnTo>
                    <a:pt x="0" y="50"/>
                  </a:lnTo>
                  <a:lnTo>
                    <a:pt x="0" y="46"/>
                  </a:lnTo>
                  <a:lnTo>
                    <a:pt x="0" y="42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10" y="20"/>
                  </a:lnTo>
                  <a:lnTo>
                    <a:pt x="14" y="20"/>
                  </a:lnTo>
                  <a:lnTo>
                    <a:pt x="14" y="16"/>
                  </a:lnTo>
                  <a:lnTo>
                    <a:pt x="14" y="20"/>
                  </a:lnTo>
                  <a:lnTo>
                    <a:pt x="18" y="20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8" y="22"/>
                  </a:lnTo>
                  <a:lnTo>
                    <a:pt x="18" y="20"/>
                  </a:lnTo>
                  <a:lnTo>
                    <a:pt x="18" y="16"/>
                  </a:lnTo>
                  <a:lnTo>
                    <a:pt x="18" y="12"/>
                  </a:lnTo>
                  <a:lnTo>
                    <a:pt x="22" y="12"/>
                  </a:lnTo>
                  <a:lnTo>
                    <a:pt x="22" y="16"/>
                  </a:lnTo>
                  <a:lnTo>
                    <a:pt x="26" y="16"/>
                  </a:lnTo>
                  <a:lnTo>
                    <a:pt x="26" y="12"/>
                  </a:lnTo>
                  <a:lnTo>
                    <a:pt x="22" y="12"/>
                  </a:lnTo>
                  <a:lnTo>
                    <a:pt x="22" y="8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79" name="Freeform 222">
              <a:extLst>
                <a:ext uri="{FF2B5EF4-FFF2-40B4-BE49-F238E27FC236}">
                  <a16:creationId xmlns:a16="http://schemas.microsoft.com/office/drawing/2014/main" id="{BF9AF22E-AEAC-3C8D-69D4-2740C10496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52651" y="2489266"/>
              <a:ext cx="218201" cy="98046"/>
            </a:xfrm>
            <a:custGeom>
              <a:avLst/>
              <a:gdLst>
                <a:gd name="T0" fmla="*/ 100 w 112"/>
                <a:gd name="T1" fmla="*/ 52 h 52"/>
                <a:gd name="T2" fmla="*/ 96 w 112"/>
                <a:gd name="T3" fmla="*/ 48 h 52"/>
                <a:gd name="T4" fmla="*/ 86 w 112"/>
                <a:gd name="T5" fmla="*/ 48 h 52"/>
                <a:gd name="T6" fmla="*/ 74 w 112"/>
                <a:gd name="T7" fmla="*/ 52 h 52"/>
                <a:gd name="T8" fmla="*/ 66 w 112"/>
                <a:gd name="T9" fmla="*/ 48 h 52"/>
                <a:gd name="T10" fmla="*/ 58 w 112"/>
                <a:gd name="T11" fmla="*/ 44 h 52"/>
                <a:gd name="T12" fmla="*/ 56 w 112"/>
                <a:gd name="T13" fmla="*/ 40 h 52"/>
                <a:gd name="T14" fmla="*/ 52 w 112"/>
                <a:gd name="T15" fmla="*/ 48 h 52"/>
                <a:gd name="T16" fmla="*/ 52 w 112"/>
                <a:gd name="T17" fmla="*/ 38 h 52"/>
                <a:gd name="T18" fmla="*/ 44 w 112"/>
                <a:gd name="T19" fmla="*/ 40 h 52"/>
                <a:gd name="T20" fmla="*/ 34 w 112"/>
                <a:gd name="T21" fmla="*/ 44 h 52"/>
                <a:gd name="T22" fmla="*/ 26 w 112"/>
                <a:gd name="T23" fmla="*/ 52 h 52"/>
                <a:gd name="T24" fmla="*/ 18 w 112"/>
                <a:gd name="T25" fmla="*/ 44 h 52"/>
                <a:gd name="T26" fmla="*/ 18 w 112"/>
                <a:gd name="T27" fmla="*/ 40 h 52"/>
                <a:gd name="T28" fmla="*/ 12 w 112"/>
                <a:gd name="T29" fmla="*/ 44 h 52"/>
                <a:gd name="T30" fmla="*/ 4 w 112"/>
                <a:gd name="T31" fmla="*/ 48 h 52"/>
                <a:gd name="T32" fmla="*/ 4 w 112"/>
                <a:gd name="T33" fmla="*/ 44 h 52"/>
                <a:gd name="T34" fmla="*/ 12 w 112"/>
                <a:gd name="T35" fmla="*/ 38 h 52"/>
                <a:gd name="T36" fmla="*/ 18 w 112"/>
                <a:gd name="T37" fmla="*/ 30 h 52"/>
                <a:gd name="T38" fmla="*/ 30 w 112"/>
                <a:gd name="T39" fmla="*/ 26 h 52"/>
                <a:gd name="T40" fmla="*/ 42 w 112"/>
                <a:gd name="T41" fmla="*/ 18 h 52"/>
                <a:gd name="T42" fmla="*/ 44 w 112"/>
                <a:gd name="T43" fmla="*/ 10 h 52"/>
                <a:gd name="T44" fmla="*/ 44 w 112"/>
                <a:gd name="T45" fmla="*/ 14 h 52"/>
                <a:gd name="T46" fmla="*/ 52 w 112"/>
                <a:gd name="T47" fmla="*/ 10 h 52"/>
                <a:gd name="T48" fmla="*/ 56 w 112"/>
                <a:gd name="T49" fmla="*/ 4 h 52"/>
                <a:gd name="T50" fmla="*/ 52 w 112"/>
                <a:gd name="T51" fmla="*/ 10 h 52"/>
                <a:gd name="T52" fmla="*/ 56 w 112"/>
                <a:gd name="T53" fmla="*/ 6 h 52"/>
                <a:gd name="T54" fmla="*/ 56 w 112"/>
                <a:gd name="T55" fmla="*/ 4 h 52"/>
                <a:gd name="T56" fmla="*/ 58 w 112"/>
                <a:gd name="T57" fmla="*/ 4 h 52"/>
                <a:gd name="T58" fmla="*/ 70 w 112"/>
                <a:gd name="T59" fmla="*/ 6 h 52"/>
                <a:gd name="T60" fmla="*/ 78 w 112"/>
                <a:gd name="T61" fmla="*/ 6 h 52"/>
                <a:gd name="T62" fmla="*/ 86 w 112"/>
                <a:gd name="T63" fmla="*/ 10 h 52"/>
                <a:gd name="T64" fmla="*/ 88 w 112"/>
                <a:gd name="T65" fmla="*/ 18 h 52"/>
                <a:gd name="T66" fmla="*/ 96 w 112"/>
                <a:gd name="T67" fmla="*/ 22 h 52"/>
                <a:gd name="T68" fmla="*/ 104 w 112"/>
                <a:gd name="T69" fmla="*/ 26 h 52"/>
                <a:gd name="T70" fmla="*/ 104 w 112"/>
                <a:gd name="T71" fmla="*/ 34 h 52"/>
                <a:gd name="T72" fmla="*/ 104 w 112"/>
                <a:gd name="T73" fmla="*/ 38 h 52"/>
                <a:gd name="T74" fmla="*/ 112 w 112"/>
                <a:gd name="T75" fmla="*/ 44 h 52"/>
                <a:gd name="T76" fmla="*/ 112 w 112"/>
                <a:gd name="T77" fmla="*/ 48 h 52"/>
                <a:gd name="T78" fmla="*/ 108 w 112"/>
                <a:gd name="T79" fmla="*/ 52 h 52"/>
                <a:gd name="T80" fmla="*/ 48 w 112"/>
                <a:gd name="T81" fmla="*/ 18 h 52"/>
                <a:gd name="T82" fmla="*/ 42 w 112"/>
                <a:gd name="T83" fmla="*/ 26 h 52"/>
                <a:gd name="T84" fmla="*/ 48 w 112"/>
                <a:gd name="T85" fmla="*/ 22 h 52"/>
                <a:gd name="T86" fmla="*/ 52 w 112"/>
                <a:gd name="T87" fmla="*/ 18 h 52"/>
                <a:gd name="T88" fmla="*/ 52 w 112"/>
                <a:gd name="T89" fmla="*/ 40 h 52"/>
                <a:gd name="T90" fmla="*/ 52 w 112"/>
                <a:gd name="T91" fmla="*/ 40 h 52"/>
                <a:gd name="T92" fmla="*/ 58 w 112"/>
                <a:gd name="T93" fmla="*/ 38 h 52"/>
                <a:gd name="T94" fmla="*/ 58 w 112"/>
                <a:gd name="T95" fmla="*/ 34 h 52"/>
                <a:gd name="T96" fmla="*/ 52 w 112"/>
                <a:gd name="T97" fmla="*/ 3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2" h="52">
                  <a:moveTo>
                    <a:pt x="108" y="52"/>
                  </a:moveTo>
                  <a:lnTo>
                    <a:pt x="104" y="52"/>
                  </a:lnTo>
                  <a:lnTo>
                    <a:pt x="100" y="52"/>
                  </a:lnTo>
                  <a:lnTo>
                    <a:pt x="100" y="48"/>
                  </a:lnTo>
                  <a:lnTo>
                    <a:pt x="100" y="44"/>
                  </a:lnTo>
                  <a:lnTo>
                    <a:pt x="96" y="48"/>
                  </a:lnTo>
                  <a:lnTo>
                    <a:pt x="92" y="48"/>
                  </a:lnTo>
                  <a:lnTo>
                    <a:pt x="88" y="48"/>
                  </a:lnTo>
                  <a:lnTo>
                    <a:pt x="86" y="48"/>
                  </a:lnTo>
                  <a:lnTo>
                    <a:pt x="82" y="52"/>
                  </a:lnTo>
                  <a:lnTo>
                    <a:pt x="78" y="52"/>
                  </a:lnTo>
                  <a:lnTo>
                    <a:pt x="74" y="52"/>
                  </a:lnTo>
                  <a:lnTo>
                    <a:pt x="70" y="52"/>
                  </a:lnTo>
                  <a:lnTo>
                    <a:pt x="66" y="52"/>
                  </a:lnTo>
                  <a:lnTo>
                    <a:pt x="66" y="48"/>
                  </a:lnTo>
                  <a:lnTo>
                    <a:pt x="66" y="44"/>
                  </a:lnTo>
                  <a:lnTo>
                    <a:pt x="62" y="44"/>
                  </a:lnTo>
                  <a:lnTo>
                    <a:pt x="58" y="44"/>
                  </a:lnTo>
                  <a:lnTo>
                    <a:pt x="56" y="44"/>
                  </a:lnTo>
                  <a:lnTo>
                    <a:pt x="58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38"/>
                  </a:lnTo>
                  <a:lnTo>
                    <a:pt x="48" y="38"/>
                  </a:lnTo>
                  <a:lnTo>
                    <a:pt x="48" y="40"/>
                  </a:lnTo>
                  <a:lnTo>
                    <a:pt x="44" y="40"/>
                  </a:lnTo>
                  <a:lnTo>
                    <a:pt x="42" y="44"/>
                  </a:lnTo>
                  <a:lnTo>
                    <a:pt x="38" y="44"/>
                  </a:lnTo>
                  <a:lnTo>
                    <a:pt x="34" y="44"/>
                  </a:lnTo>
                  <a:lnTo>
                    <a:pt x="34" y="48"/>
                  </a:lnTo>
                  <a:lnTo>
                    <a:pt x="30" y="48"/>
                  </a:lnTo>
                  <a:lnTo>
                    <a:pt x="26" y="52"/>
                  </a:lnTo>
                  <a:lnTo>
                    <a:pt x="22" y="48"/>
                  </a:lnTo>
                  <a:lnTo>
                    <a:pt x="18" y="48"/>
                  </a:lnTo>
                  <a:lnTo>
                    <a:pt x="18" y="44"/>
                  </a:lnTo>
                  <a:lnTo>
                    <a:pt x="22" y="44"/>
                  </a:lnTo>
                  <a:lnTo>
                    <a:pt x="18" y="44"/>
                  </a:lnTo>
                  <a:lnTo>
                    <a:pt x="18" y="40"/>
                  </a:lnTo>
                  <a:lnTo>
                    <a:pt x="18" y="44"/>
                  </a:lnTo>
                  <a:lnTo>
                    <a:pt x="14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4" y="34"/>
                  </a:lnTo>
                  <a:lnTo>
                    <a:pt x="18" y="30"/>
                  </a:lnTo>
                  <a:lnTo>
                    <a:pt x="22" y="30"/>
                  </a:lnTo>
                  <a:lnTo>
                    <a:pt x="26" y="26"/>
                  </a:lnTo>
                  <a:lnTo>
                    <a:pt x="30" y="26"/>
                  </a:lnTo>
                  <a:lnTo>
                    <a:pt x="34" y="22"/>
                  </a:lnTo>
                  <a:lnTo>
                    <a:pt x="38" y="22"/>
                  </a:lnTo>
                  <a:lnTo>
                    <a:pt x="42" y="18"/>
                  </a:lnTo>
                  <a:lnTo>
                    <a:pt x="42" y="14"/>
                  </a:lnTo>
                  <a:lnTo>
                    <a:pt x="42" y="10"/>
                  </a:lnTo>
                  <a:lnTo>
                    <a:pt x="44" y="10"/>
                  </a:lnTo>
                  <a:lnTo>
                    <a:pt x="48" y="10"/>
                  </a:lnTo>
                  <a:lnTo>
                    <a:pt x="48" y="14"/>
                  </a:lnTo>
                  <a:lnTo>
                    <a:pt x="44" y="14"/>
                  </a:lnTo>
                  <a:lnTo>
                    <a:pt x="48" y="14"/>
                  </a:lnTo>
                  <a:lnTo>
                    <a:pt x="48" y="10"/>
                  </a:lnTo>
                  <a:lnTo>
                    <a:pt x="52" y="10"/>
                  </a:lnTo>
                  <a:lnTo>
                    <a:pt x="52" y="6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6"/>
                  </a:lnTo>
                  <a:lnTo>
                    <a:pt x="52" y="6"/>
                  </a:lnTo>
                  <a:lnTo>
                    <a:pt x="52" y="10"/>
                  </a:lnTo>
                  <a:lnTo>
                    <a:pt x="56" y="6"/>
                  </a:lnTo>
                  <a:lnTo>
                    <a:pt x="56" y="10"/>
                  </a:lnTo>
                  <a:lnTo>
                    <a:pt x="56" y="6"/>
                  </a:lnTo>
                  <a:lnTo>
                    <a:pt x="58" y="6"/>
                  </a:lnTo>
                  <a:lnTo>
                    <a:pt x="58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58" y="0"/>
                  </a:lnTo>
                  <a:lnTo>
                    <a:pt x="58" y="4"/>
                  </a:lnTo>
                  <a:lnTo>
                    <a:pt x="62" y="4"/>
                  </a:lnTo>
                  <a:lnTo>
                    <a:pt x="66" y="4"/>
                  </a:lnTo>
                  <a:lnTo>
                    <a:pt x="70" y="6"/>
                  </a:lnTo>
                  <a:lnTo>
                    <a:pt x="74" y="4"/>
                  </a:lnTo>
                  <a:lnTo>
                    <a:pt x="74" y="6"/>
                  </a:lnTo>
                  <a:lnTo>
                    <a:pt x="78" y="6"/>
                  </a:lnTo>
                  <a:lnTo>
                    <a:pt x="78" y="4"/>
                  </a:lnTo>
                  <a:lnTo>
                    <a:pt x="82" y="6"/>
                  </a:lnTo>
                  <a:lnTo>
                    <a:pt x="86" y="10"/>
                  </a:lnTo>
                  <a:lnTo>
                    <a:pt x="86" y="14"/>
                  </a:lnTo>
                  <a:lnTo>
                    <a:pt x="86" y="18"/>
                  </a:lnTo>
                  <a:lnTo>
                    <a:pt x="88" y="18"/>
                  </a:lnTo>
                  <a:lnTo>
                    <a:pt x="88" y="22"/>
                  </a:lnTo>
                  <a:lnTo>
                    <a:pt x="92" y="22"/>
                  </a:lnTo>
                  <a:lnTo>
                    <a:pt x="96" y="22"/>
                  </a:lnTo>
                  <a:lnTo>
                    <a:pt x="100" y="22"/>
                  </a:lnTo>
                  <a:lnTo>
                    <a:pt x="104" y="22"/>
                  </a:lnTo>
                  <a:lnTo>
                    <a:pt x="104" y="26"/>
                  </a:lnTo>
                  <a:lnTo>
                    <a:pt x="100" y="30"/>
                  </a:lnTo>
                  <a:lnTo>
                    <a:pt x="104" y="30"/>
                  </a:lnTo>
                  <a:lnTo>
                    <a:pt x="104" y="34"/>
                  </a:lnTo>
                  <a:lnTo>
                    <a:pt x="108" y="34"/>
                  </a:lnTo>
                  <a:lnTo>
                    <a:pt x="108" y="38"/>
                  </a:lnTo>
                  <a:lnTo>
                    <a:pt x="104" y="38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8" y="52"/>
                  </a:lnTo>
                  <a:close/>
                  <a:moveTo>
                    <a:pt x="52" y="18"/>
                  </a:moveTo>
                  <a:lnTo>
                    <a:pt x="48" y="18"/>
                  </a:lnTo>
                  <a:lnTo>
                    <a:pt x="44" y="22"/>
                  </a:lnTo>
                  <a:lnTo>
                    <a:pt x="42" y="22"/>
                  </a:lnTo>
                  <a:lnTo>
                    <a:pt x="42" y="26"/>
                  </a:lnTo>
                  <a:lnTo>
                    <a:pt x="44" y="26"/>
                  </a:lnTo>
                  <a:lnTo>
                    <a:pt x="44" y="22"/>
                  </a:lnTo>
                  <a:lnTo>
                    <a:pt x="48" y="22"/>
                  </a:lnTo>
                  <a:lnTo>
                    <a:pt x="52" y="22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close/>
                  <a:moveTo>
                    <a:pt x="52" y="38"/>
                  </a:moveTo>
                  <a:lnTo>
                    <a:pt x="52" y="40"/>
                  </a:lnTo>
                  <a:lnTo>
                    <a:pt x="52" y="38"/>
                  </a:lnTo>
                  <a:lnTo>
                    <a:pt x="56" y="38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38"/>
                  </a:lnTo>
                  <a:lnTo>
                    <a:pt x="58" y="38"/>
                  </a:lnTo>
                  <a:lnTo>
                    <a:pt x="58" y="34"/>
                  </a:lnTo>
                  <a:lnTo>
                    <a:pt x="62" y="34"/>
                  </a:lnTo>
                  <a:lnTo>
                    <a:pt x="58" y="34"/>
                  </a:lnTo>
                  <a:lnTo>
                    <a:pt x="56" y="34"/>
                  </a:lnTo>
                  <a:lnTo>
                    <a:pt x="52" y="34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80" name="Freeform 223">
              <a:extLst>
                <a:ext uri="{FF2B5EF4-FFF2-40B4-BE49-F238E27FC236}">
                  <a16:creationId xmlns:a16="http://schemas.microsoft.com/office/drawing/2014/main" id="{D5ECEDC5-13E0-29C6-CA23-6FB459C91D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5647" y="2598625"/>
              <a:ext cx="89618" cy="169696"/>
            </a:xfrm>
            <a:custGeom>
              <a:avLst/>
              <a:gdLst>
                <a:gd name="T0" fmla="*/ 46 w 46"/>
                <a:gd name="T1" fmla="*/ 8 h 90"/>
                <a:gd name="T2" fmla="*/ 46 w 46"/>
                <a:gd name="T3" fmla="*/ 8 h 90"/>
                <a:gd name="T4" fmla="*/ 42 w 46"/>
                <a:gd name="T5" fmla="*/ 12 h 90"/>
                <a:gd name="T6" fmla="*/ 42 w 46"/>
                <a:gd name="T7" fmla="*/ 16 h 90"/>
                <a:gd name="T8" fmla="*/ 46 w 46"/>
                <a:gd name="T9" fmla="*/ 16 h 90"/>
                <a:gd name="T10" fmla="*/ 42 w 46"/>
                <a:gd name="T11" fmla="*/ 16 h 90"/>
                <a:gd name="T12" fmla="*/ 38 w 46"/>
                <a:gd name="T13" fmla="*/ 20 h 90"/>
                <a:gd name="T14" fmla="*/ 34 w 46"/>
                <a:gd name="T15" fmla="*/ 28 h 90"/>
                <a:gd name="T16" fmla="*/ 34 w 46"/>
                <a:gd name="T17" fmla="*/ 28 h 90"/>
                <a:gd name="T18" fmla="*/ 38 w 46"/>
                <a:gd name="T19" fmla="*/ 24 h 90"/>
                <a:gd name="T20" fmla="*/ 34 w 46"/>
                <a:gd name="T21" fmla="*/ 28 h 90"/>
                <a:gd name="T22" fmla="*/ 34 w 46"/>
                <a:gd name="T23" fmla="*/ 24 h 90"/>
                <a:gd name="T24" fmla="*/ 34 w 46"/>
                <a:gd name="T25" fmla="*/ 20 h 90"/>
                <a:gd name="T26" fmla="*/ 34 w 46"/>
                <a:gd name="T27" fmla="*/ 24 h 90"/>
                <a:gd name="T28" fmla="*/ 30 w 46"/>
                <a:gd name="T29" fmla="*/ 24 h 90"/>
                <a:gd name="T30" fmla="*/ 26 w 46"/>
                <a:gd name="T31" fmla="*/ 28 h 90"/>
                <a:gd name="T32" fmla="*/ 26 w 46"/>
                <a:gd name="T33" fmla="*/ 30 h 90"/>
                <a:gd name="T34" fmla="*/ 24 w 46"/>
                <a:gd name="T35" fmla="*/ 42 h 90"/>
                <a:gd name="T36" fmla="*/ 24 w 46"/>
                <a:gd name="T37" fmla="*/ 50 h 90"/>
                <a:gd name="T38" fmla="*/ 24 w 46"/>
                <a:gd name="T39" fmla="*/ 50 h 90"/>
                <a:gd name="T40" fmla="*/ 26 w 46"/>
                <a:gd name="T41" fmla="*/ 64 h 90"/>
                <a:gd name="T42" fmla="*/ 26 w 46"/>
                <a:gd name="T43" fmla="*/ 76 h 90"/>
                <a:gd name="T44" fmla="*/ 20 w 46"/>
                <a:gd name="T45" fmla="*/ 82 h 90"/>
                <a:gd name="T46" fmla="*/ 12 w 46"/>
                <a:gd name="T47" fmla="*/ 90 h 90"/>
                <a:gd name="T48" fmla="*/ 8 w 46"/>
                <a:gd name="T49" fmla="*/ 90 h 90"/>
                <a:gd name="T50" fmla="*/ 4 w 46"/>
                <a:gd name="T51" fmla="*/ 82 h 90"/>
                <a:gd name="T52" fmla="*/ 4 w 46"/>
                <a:gd name="T53" fmla="*/ 76 h 90"/>
                <a:gd name="T54" fmla="*/ 4 w 46"/>
                <a:gd name="T55" fmla="*/ 68 h 90"/>
                <a:gd name="T56" fmla="*/ 4 w 46"/>
                <a:gd name="T57" fmla="*/ 62 h 90"/>
                <a:gd name="T58" fmla="*/ 4 w 46"/>
                <a:gd name="T59" fmla="*/ 58 h 90"/>
                <a:gd name="T60" fmla="*/ 4 w 46"/>
                <a:gd name="T61" fmla="*/ 54 h 90"/>
                <a:gd name="T62" fmla="*/ 4 w 46"/>
                <a:gd name="T63" fmla="*/ 46 h 90"/>
                <a:gd name="T64" fmla="*/ 8 w 46"/>
                <a:gd name="T65" fmla="*/ 42 h 90"/>
                <a:gd name="T66" fmla="*/ 8 w 46"/>
                <a:gd name="T67" fmla="*/ 38 h 90"/>
                <a:gd name="T68" fmla="*/ 8 w 46"/>
                <a:gd name="T69" fmla="*/ 34 h 90"/>
                <a:gd name="T70" fmla="*/ 8 w 46"/>
                <a:gd name="T71" fmla="*/ 30 h 90"/>
                <a:gd name="T72" fmla="*/ 4 w 46"/>
                <a:gd name="T73" fmla="*/ 28 h 90"/>
                <a:gd name="T74" fmla="*/ 0 w 46"/>
                <a:gd name="T75" fmla="*/ 34 h 90"/>
                <a:gd name="T76" fmla="*/ 4 w 46"/>
                <a:gd name="T77" fmla="*/ 24 h 90"/>
                <a:gd name="T78" fmla="*/ 4 w 46"/>
                <a:gd name="T79" fmla="*/ 24 h 90"/>
                <a:gd name="T80" fmla="*/ 12 w 46"/>
                <a:gd name="T81" fmla="*/ 16 h 90"/>
                <a:gd name="T82" fmla="*/ 16 w 46"/>
                <a:gd name="T83" fmla="*/ 4 h 90"/>
                <a:gd name="T84" fmla="*/ 16 w 46"/>
                <a:gd name="T85" fmla="*/ 8 h 90"/>
                <a:gd name="T86" fmla="*/ 24 w 46"/>
                <a:gd name="T87" fmla="*/ 4 h 90"/>
                <a:gd name="T88" fmla="*/ 20 w 46"/>
                <a:gd name="T89" fmla="*/ 8 h 90"/>
                <a:gd name="T90" fmla="*/ 20 w 46"/>
                <a:gd name="T91" fmla="*/ 12 h 90"/>
                <a:gd name="T92" fmla="*/ 20 w 46"/>
                <a:gd name="T93" fmla="*/ 8 h 90"/>
                <a:gd name="T94" fmla="*/ 24 w 46"/>
                <a:gd name="T95" fmla="*/ 4 h 90"/>
                <a:gd name="T96" fmla="*/ 34 w 46"/>
                <a:gd name="T97" fmla="*/ 4 h 90"/>
                <a:gd name="T98" fmla="*/ 34 w 46"/>
                <a:gd name="T99" fmla="*/ 0 h 90"/>
                <a:gd name="T100" fmla="*/ 42 w 46"/>
                <a:gd name="T101" fmla="*/ 4 h 90"/>
                <a:gd name="T102" fmla="*/ 46 w 46"/>
                <a:gd name="T103" fmla="*/ 8 h 90"/>
                <a:gd name="T104" fmla="*/ 12 w 46"/>
                <a:gd name="T105" fmla="*/ 20 h 90"/>
                <a:gd name="T106" fmla="*/ 8 w 46"/>
                <a:gd name="T107" fmla="*/ 24 h 90"/>
                <a:gd name="T108" fmla="*/ 12 w 46"/>
                <a:gd name="T109" fmla="*/ 28 h 90"/>
                <a:gd name="T110" fmla="*/ 12 w 46"/>
                <a:gd name="T111" fmla="*/ 24 h 90"/>
                <a:gd name="T112" fmla="*/ 16 w 46"/>
                <a:gd name="T113" fmla="*/ 2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6" h="90">
                  <a:moveTo>
                    <a:pt x="46" y="8"/>
                  </a:move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8" y="28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6" y="24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8"/>
                  </a:lnTo>
                  <a:lnTo>
                    <a:pt x="24" y="38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4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62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4" y="82"/>
                  </a:lnTo>
                  <a:lnTo>
                    <a:pt x="24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81" name="Freeform 224">
              <a:extLst>
                <a:ext uri="{FF2B5EF4-FFF2-40B4-BE49-F238E27FC236}">
                  <a16:creationId xmlns:a16="http://schemas.microsoft.com/office/drawing/2014/main" id="{09F38B7B-46E9-17DF-4AB0-7B4E127E9B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1641" y="2662732"/>
              <a:ext cx="109100" cy="52794"/>
            </a:xfrm>
            <a:custGeom>
              <a:avLst/>
              <a:gdLst>
                <a:gd name="T0" fmla="*/ 8 w 56"/>
                <a:gd name="T1" fmla="*/ 28 h 28"/>
                <a:gd name="T2" fmla="*/ 4 w 56"/>
                <a:gd name="T3" fmla="*/ 24 h 28"/>
                <a:gd name="T4" fmla="*/ 0 w 56"/>
                <a:gd name="T5" fmla="*/ 24 h 28"/>
                <a:gd name="T6" fmla="*/ 4 w 56"/>
                <a:gd name="T7" fmla="*/ 20 h 28"/>
                <a:gd name="T8" fmla="*/ 4 w 56"/>
                <a:gd name="T9" fmla="*/ 20 h 28"/>
                <a:gd name="T10" fmla="*/ 8 w 56"/>
                <a:gd name="T11" fmla="*/ 16 h 28"/>
                <a:gd name="T12" fmla="*/ 12 w 56"/>
                <a:gd name="T13" fmla="*/ 12 h 28"/>
                <a:gd name="T14" fmla="*/ 24 w 56"/>
                <a:gd name="T15" fmla="*/ 12 h 28"/>
                <a:gd name="T16" fmla="*/ 30 w 56"/>
                <a:gd name="T17" fmla="*/ 8 h 28"/>
                <a:gd name="T18" fmla="*/ 34 w 56"/>
                <a:gd name="T19" fmla="*/ 8 h 28"/>
                <a:gd name="T20" fmla="*/ 34 w 56"/>
                <a:gd name="T21" fmla="*/ 12 h 28"/>
                <a:gd name="T22" fmla="*/ 38 w 56"/>
                <a:gd name="T23" fmla="*/ 12 h 28"/>
                <a:gd name="T24" fmla="*/ 38 w 56"/>
                <a:gd name="T25" fmla="*/ 12 h 28"/>
                <a:gd name="T26" fmla="*/ 42 w 56"/>
                <a:gd name="T27" fmla="*/ 12 h 28"/>
                <a:gd name="T28" fmla="*/ 42 w 56"/>
                <a:gd name="T29" fmla="*/ 12 h 28"/>
                <a:gd name="T30" fmla="*/ 42 w 56"/>
                <a:gd name="T31" fmla="*/ 12 h 28"/>
                <a:gd name="T32" fmla="*/ 42 w 56"/>
                <a:gd name="T33" fmla="*/ 12 h 28"/>
                <a:gd name="T34" fmla="*/ 42 w 56"/>
                <a:gd name="T35" fmla="*/ 8 h 28"/>
                <a:gd name="T36" fmla="*/ 42 w 56"/>
                <a:gd name="T37" fmla="*/ 8 h 28"/>
                <a:gd name="T38" fmla="*/ 42 w 56"/>
                <a:gd name="T39" fmla="*/ 8 h 28"/>
                <a:gd name="T40" fmla="*/ 42 w 56"/>
                <a:gd name="T41" fmla="*/ 8 h 28"/>
                <a:gd name="T42" fmla="*/ 42 w 56"/>
                <a:gd name="T43" fmla="*/ 4 h 28"/>
                <a:gd name="T44" fmla="*/ 34 w 56"/>
                <a:gd name="T45" fmla="*/ 8 h 28"/>
                <a:gd name="T46" fmla="*/ 38 w 56"/>
                <a:gd name="T47" fmla="*/ 4 h 28"/>
                <a:gd name="T48" fmla="*/ 42 w 56"/>
                <a:gd name="T49" fmla="*/ 4 h 28"/>
                <a:gd name="T50" fmla="*/ 42 w 56"/>
                <a:gd name="T51" fmla="*/ 8 h 28"/>
                <a:gd name="T52" fmla="*/ 42 w 56"/>
                <a:gd name="T53" fmla="*/ 8 h 28"/>
                <a:gd name="T54" fmla="*/ 42 w 56"/>
                <a:gd name="T55" fmla="*/ 8 h 28"/>
                <a:gd name="T56" fmla="*/ 46 w 56"/>
                <a:gd name="T57" fmla="*/ 4 h 28"/>
                <a:gd name="T58" fmla="*/ 46 w 56"/>
                <a:gd name="T59" fmla="*/ 4 h 28"/>
                <a:gd name="T60" fmla="*/ 52 w 56"/>
                <a:gd name="T61" fmla="*/ 4 h 28"/>
                <a:gd name="T62" fmla="*/ 56 w 56"/>
                <a:gd name="T63" fmla="*/ 0 h 28"/>
                <a:gd name="T64" fmla="*/ 56 w 56"/>
                <a:gd name="T65" fmla="*/ 0 h 28"/>
                <a:gd name="T66" fmla="*/ 56 w 56"/>
                <a:gd name="T67" fmla="*/ 0 h 28"/>
                <a:gd name="T68" fmla="*/ 52 w 56"/>
                <a:gd name="T69" fmla="*/ 4 h 28"/>
                <a:gd name="T70" fmla="*/ 48 w 56"/>
                <a:gd name="T71" fmla="*/ 8 h 28"/>
                <a:gd name="T72" fmla="*/ 48 w 56"/>
                <a:gd name="T73" fmla="*/ 8 h 28"/>
                <a:gd name="T74" fmla="*/ 52 w 56"/>
                <a:gd name="T75" fmla="*/ 8 h 28"/>
                <a:gd name="T76" fmla="*/ 52 w 56"/>
                <a:gd name="T77" fmla="*/ 8 h 28"/>
                <a:gd name="T78" fmla="*/ 52 w 56"/>
                <a:gd name="T79" fmla="*/ 8 h 28"/>
                <a:gd name="T80" fmla="*/ 52 w 56"/>
                <a:gd name="T81" fmla="*/ 12 h 28"/>
                <a:gd name="T82" fmla="*/ 52 w 56"/>
                <a:gd name="T83" fmla="*/ 20 h 28"/>
                <a:gd name="T84" fmla="*/ 48 w 56"/>
                <a:gd name="T85" fmla="*/ 20 h 28"/>
                <a:gd name="T86" fmla="*/ 48 w 56"/>
                <a:gd name="T87" fmla="*/ 20 h 28"/>
                <a:gd name="T88" fmla="*/ 46 w 56"/>
                <a:gd name="T89" fmla="*/ 24 h 28"/>
                <a:gd name="T90" fmla="*/ 38 w 56"/>
                <a:gd name="T91" fmla="*/ 24 h 28"/>
                <a:gd name="T92" fmla="*/ 34 w 56"/>
                <a:gd name="T93" fmla="*/ 24 h 28"/>
                <a:gd name="T94" fmla="*/ 30 w 56"/>
                <a:gd name="T95" fmla="*/ 24 h 28"/>
                <a:gd name="T96" fmla="*/ 26 w 56"/>
                <a:gd name="T97" fmla="*/ 24 h 28"/>
                <a:gd name="T98" fmla="*/ 20 w 56"/>
                <a:gd name="T99" fmla="*/ 24 h 28"/>
                <a:gd name="T100" fmla="*/ 12 w 56"/>
                <a:gd name="T101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6" h="28"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42" y="8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82" name="Freeform 225">
              <a:extLst>
                <a:ext uri="{FF2B5EF4-FFF2-40B4-BE49-F238E27FC236}">
                  <a16:creationId xmlns:a16="http://schemas.microsoft.com/office/drawing/2014/main" id="{732CA9AB-252B-22DC-8396-0EA849846A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5266" y="2587312"/>
              <a:ext cx="144168" cy="135756"/>
            </a:xfrm>
            <a:custGeom>
              <a:avLst/>
              <a:gdLst>
                <a:gd name="T0" fmla="*/ 34 w 74"/>
                <a:gd name="T1" fmla="*/ 64 h 72"/>
                <a:gd name="T2" fmla="*/ 30 w 74"/>
                <a:gd name="T3" fmla="*/ 56 h 72"/>
                <a:gd name="T4" fmla="*/ 26 w 74"/>
                <a:gd name="T5" fmla="*/ 48 h 72"/>
                <a:gd name="T6" fmla="*/ 18 w 74"/>
                <a:gd name="T7" fmla="*/ 56 h 72"/>
                <a:gd name="T8" fmla="*/ 10 w 74"/>
                <a:gd name="T9" fmla="*/ 56 h 72"/>
                <a:gd name="T10" fmla="*/ 14 w 74"/>
                <a:gd name="T11" fmla="*/ 48 h 72"/>
                <a:gd name="T12" fmla="*/ 22 w 74"/>
                <a:gd name="T13" fmla="*/ 46 h 72"/>
                <a:gd name="T14" fmla="*/ 22 w 74"/>
                <a:gd name="T15" fmla="*/ 34 h 72"/>
                <a:gd name="T16" fmla="*/ 22 w 74"/>
                <a:gd name="T17" fmla="*/ 26 h 72"/>
                <a:gd name="T18" fmla="*/ 18 w 74"/>
                <a:gd name="T19" fmla="*/ 22 h 72"/>
                <a:gd name="T20" fmla="*/ 10 w 74"/>
                <a:gd name="T21" fmla="*/ 18 h 72"/>
                <a:gd name="T22" fmla="*/ 8 w 74"/>
                <a:gd name="T23" fmla="*/ 18 h 72"/>
                <a:gd name="T24" fmla="*/ 0 w 74"/>
                <a:gd name="T25" fmla="*/ 16 h 72"/>
                <a:gd name="T26" fmla="*/ 4 w 74"/>
                <a:gd name="T27" fmla="*/ 12 h 72"/>
                <a:gd name="T28" fmla="*/ 14 w 74"/>
                <a:gd name="T29" fmla="*/ 12 h 72"/>
                <a:gd name="T30" fmla="*/ 10 w 74"/>
                <a:gd name="T31" fmla="*/ 8 h 72"/>
                <a:gd name="T32" fmla="*/ 8 w 74"/>
                <a:gd name="T33" fmla="*/ 0 h 72"/>
                <a:gd name="T34" fmla="*/ 10 w 74"/>
                <a:gd name="T35" fmla="*/ 0 h 72"/>
                <a:gd name="T36" fmla="*/ 18 w 74"/>
                <a:gd name="T37" fmla="*/ 4 h 72"/>
                <a:gd name="T38" fmla="*/ 30 w 74"/>
                <a:gd name="T39" fmla="*/ 8 h 72"/>
                <a:gd name="T40" fmla="*/ 34 w 74"/>
                <a:gd name="T41" fmla="*/ 8 h 72"/>
                <a:gd name="T42" fmla="*/ 44 w 74"/>
                <a:gd name="T43" fmla="*/ 8 h 72"/>
                <a:gd name="T44" fmla="*/ 44 w 74"/>
                <a:gd name="T45" fmla="*/ 12 h 72"/>
                <a:gd name="T46" fmla="*/ 56 w 74"/>
                <a:gd name="T47" fmla="*/ 12 h 72"/>
                <a:gd name="T48" fmla="*/ 60 w 74"/>
                <a:gd name="T49" fmla="*/ 18 h 72"/>
                <a:gd name="T50" fmla="*/ 68 w 74"/>
                <a:gd name="T51" fmla="*/ 22 h 72"/>
                <a:gd name="T52" fmla="*/ 70 w 74"/>
                <a:gd name="T53" fmla="*/ 30 h 72"/>
                <a:gd name="T54" fmla="*/ 70 w 74"/>
                <a:gd name="T55" fmla="*/ 34 h 72"/>
                <a:gd name="T56" fmla="*/ 68 w 74"/>
                <a:gd name="T57" fmla="*/ 42 h 72"/>
                <a:gd name="T58" fmla="*/ 60 w 74"/>
                <a:gd name="T59" fmla="*/ 38 h 72"/>
                <a:gd name="T60" fmla="*/ 56 w 74"/>
                <a:gd name="T61" fmla="*/ 30 h 72"/>
                <a:gd name="T62" fmla="*/ 44 w 74"/>
                <a:gd name="T63" fmla="*/ 26 h 72"/>
                <a:gd name="T64" fmla="*/ 52 w 74"/>
                <a:gd name="T65" fmla="*/ 38 h 72"/>
                <a:gd name="T66" fmla="*/ 44 w 74"/>
                <a:gd name="T67" fmla="*/ 48 h 72"/>
                <a:gd name="T68" fmla="*/ 44 w 74"/>
                <a:gd name="T69" fmla="*/ 60 h 72"/>
                <a:gd name="T70" fmla="*/ 40 w 74"/>
                <a:gd name="T71" fmla="*/ 68 h 72"/>
                <a:gd name="T72" fmla="*/ 34 w 74"/>
                <a:gd name="T73" fmla="*/ 72 h 72"/>
                <a:gd name="T74" fmla="*/ 22 w 74"/>
                <a:gd name="T75" fmla="*/ 12 h 72"/>
                <a:gd name="T76" fmla="*/ 30 w 74"/>
                <a:gd name="T77" fmla="*/ 16 h 72"/>
                <a:gd name="T78" fmla="*/ 38 w 74"/>
                <a:gd name="T79" fmla="*/ 18 h 72"/>
                <a:gd name="T80" fmla="*/ 44 w 74"/>
                <a:gd name="T81" fmla="*/ 16 h 72"/>
                <a:gd name="T82" fmla="*/ 44 w 74"/>
                <a:gd name="T83" fmla="*/ 16 h 72"/>
                <a:gd name="T84" fmla="*/ 38 w 74"/>
                <a:gd name="T85" fmla="*/ 12 h 72"/>
                <a:gd name="T86" fmla="*/ 30 w 74"/>
                <a:gd name="T87" fmla="*/ 12 h 72"/>
                <a:gd name="T88" fmla="*/ 26 w 74"/>
                <a:gd name="T8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" h="72">
                  <a:moveTo>
                    <a:pt x="34" y="72"/>
                  </a:moveTo>
                  <a:lnTo>
                    <a:pt x="34" y="68"/>
                  </a:lnTo>
                  <a:lnTo>
                    <a:pt x="34" y="64"/>
                  </a:lnTo>
                  <a:lnTo>
                    <a:pt x="34" y="60"/>
                  </a:lnTo>
                  <a:lnTo>
                    <a:pt x="34" y="56"/>
                  </a:lnTo>
                  <a:lnTo>
                    <a:pt x="30" y="56"/>
                  </a:lnTo>
                  <a:lnTo>
                    <a:pt x="30" y="52"/>
                  </a:lnTo>
                  <a:lnTo>
                    <a:pt x="30" y="48"/>
                  </a:lnTo>
                  <a:lnTo>
                    <a:pt x="26" y="48"/>
                  </a:lnTo>
                  <a:lnTo>
                    <a:pt x="22" y="48"/>
                  </a:lnTo>
                  <a:lnTo>
                    <a:pt x="22" y="52"/>
                  </a:lnTo>
                  <a:lnTo>
                    <a:pt x="18" y="56"/>
                  </a:lnTo>
                  <a:lnTo>
                    <a:pt x="14" y="60"/>
                  </a:lnTo>
                  <a:lnTo>
                    <a:pt x="14" y="56"/>
                  </a:lnTo>
                  <a:lnTo>
                    <a:pt x="10" y="56"/>
                  </a:lnTo>
                  <a:lnTo>
                    <a:pt x="10" y="52"/>
                  </a:lnTo>
                  <a:lnTo>
                    <a:pt x="14" y="52"/>
                  </a:lnTo>
                  <a:lnTo>
                    <a:pt x="14" y="48"/>
                  </a:lnTo>
                  <a:lnTo>
                    <a:pt x="18" y="48"/>
                  </a:lnTo>
                  <a:lnTo>
                    <a:pt x="18" y="46"/>
                  </a:lnTo>
                  <a:lnTo>
                    <a:pt x="22" y="46"/>
                  </a:lnTo>
                  <a:lnTo>
                    <a:pt x="22" y="42"/>
                  </a:lnTo>
                  <a:lnTo>
                    <a:pt x="22" y="38"/>
                  </a:lnTo>
                  <a:lnTo>
                    <a:pt x="22" y="34"/>
                  </a:lnTo>
                  <a:lnTo>
                    <a:pt x="18" y="30"/>
                  </a:lnTo>
                  <a:lnTo>
                    <a:pt x="22" y="30"/>
                  </a:lnTo>
                  <a:lnTo>
                    <a:pt x="22" y="26"/>
                  </a:lnTo>
                  <a:lnTo>
                    <a:pt x="18" y="26"/>
                  </a:lnTo>
                  <a:lnTo>
                    <a:pt x="22" y="26"/>
                  </a:lnTo>
                  <a:lnTo>
                    <a:pt x="18" y="22"/>
                  </a:lnTo>
                  <a:lnTo>
                    <a:pt x="14" y="22"/>
                  </a:lnTo>
                  <a:lnTo>
                    <a:pt x="14" y="18"/>
                  </a:lnTo>
                  <a:lnTo>
                    <a:pt x="10" y="18"/>
                  </a:lnTo>
                  <a:lnTo>
                    <a:pt x="8" y="18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4" y="12"/>
                  </a:lnTo>
                  <a:lnTo>
                    <a:pt x="10" y="8"/>
                  </a:lnTo>
                  <a:lnTo>
                    <a:pt x="10" y="12"/>
                  </a:lnTo>
                  <a:lnTo>
                    <a:pt x="10" y="8"/>
                  </a:lnTo>
                  <a:lnTo>
                    <a:pt x="10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4"/>
                  </a:lnTo>
                  <a:lnTo>
                    <a:pt x="14" y="4"/>
                  </a:lnTo>
                  <a:lnTo>
                    <a:pt x="18" y="4"/>
                  </a:lnTo>
                  <a:lnTo>
                    <a:pt x="22" y="8"/>
                  </a:lnTo>
                  <a:lnTo>
                    <a:pt x="26" y="8"/>
                  </a:lnTo>
                  <a:lnTo>
                    <a:pt x="30" y="8"/>
                  </a:lnTo>
                  <a:lnTo>
                    <a:pt x="34" y="8"/>
                  </a:lnTo>
                  <a:lnTo>
                    <a:pt x="38" y="8"/>
                  </a:lnTo>
                  <a:lnTo>
                    <a:pt x="34" y="8"/>
                  </a:lnTo>
                  <a:lnTo>
                    <a:pt x="38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6"/>
                  </a:lnTo>
                  <a:lnTo>
                    <a:pt x="60" y="18"/>
                  </a:lnTo>
                  <a:lnTo>
                    <a:pt x="64" y="18"/>
                  </a:lnTo>
                  <a:lnTo>
                    <a:pt x="64" y="22"/>
                  </a:lnTo>
                  <a:lnTo>
                    <a:pt x="68" y="22"/>
                  </a:lnTo>
                  <a:lnTo>
                    <a:pt x="68" y="26"/>
                  </a:lnTo>
                  <a:lnTo>
                    <a:pt x="68" y="30"/>
                  </a:lnTo>
                  <a:lnTo>
                    <a:pt x="70" y="30"/>
                  </a:lnTo>
                  <a:lnTo>
                    <a:pt x="70" y="34"/>
                  </a:lnTo>
                  <a:lnTo>
                    <a:pt x="74" y="34"/>
                  </a:lnTo>
                  <a:lnTo>
                    <a:pt x="70" y="34"/>
                  </a:lnTo>
                  <a:lnTo>
                    <a:pt x="68" y="34"/>
                  </a:lnTo>
                  <a:lnTo>
                    <a:pt x="68" y="38"/>
                  </a:lnTo>
                  <a:lnTo>
                    <a:pt x="68" y="42"/>
                  </a:lnTo>
                  <a:lnTo>
                    <a:pt x="64" y="42"/>
                  </a:lnTo>
                  <a:lnTo>
                    <a:pt x="64" y="38"/>
                  </a:lnTo>
                  <a:lnTo>
                    <a:pt x="60" y="38"/>
                  </a:lnTo>
                  <a:lnTo>
                    <a:pt x="56" y="38"/>
                  </a:lnTo>
                  <a:lnTo>
                    <a:pt x="56" y="34"/>
                  </a:lnTo>
                  <a:lnTo>
                    <a:pt x="56" y="30"/>
                  </a:lnTo>
                  <a:lnTo>
                    <a:pt x="52" y="30"/>
                  </a:lnTo>
                  <a:lnTo>
                    <a:pt x="48" y="26"/>
                  </a:lnTo>
                  <a:lnTo>
                    <a:pt x="44" y="26"/>
                  </a:lnTo>
                  <a:lnTo>
                    <a:pt x="48" y="30"/>
                  </a:lnTo>
                  <a:lnTo>
                    <a:pt x="52" y="34"/>
                  </a:lnTo>
                  <a:lnTo>
                    <a:pt x="52" y="38"/>
                  </a:lnTo>
                  <a:lnTo>
                    <a:pt x="48" y="42"/>
                  </a:lnTo>
                  <a:lnTo>
                    <a:pt x="44" y="46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38" y="68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2"/>
                  </a:lnTo>
                  <a:close/>
                  <a:moveTo>
                    <a:pt x="26" y="12"/>
                  </a:moveTo>
                  <a:lnTo>
                    <a:pt x="22" y="12"/>
                  </a:lnTo>
                  <a:lnTo>
                    <a:pt x="26" y="12"/>
                  </a:lnTo>
                  <a:lnTo>
                    <a:pt x="26" y="16"/>
                  </a:lnTo>
                  <a:lnTo>
                    <a:pt x="30" y="16"/>
                  </a:lnTo>
                  <a:lnTo>
                    <a:pt x="34" y="16"/>
                  </a:lnTo>
                  <a:lnTo>
                    <a:pt x="38" y="16"/>
                  </a:lnTo>
                  <a:lnTo>
                    <a:pt x="38" y="18"/>
                  </a:lnTo>
                  <a:lnTo>
                    <a:pt x="40" y="18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0" y="18"/>
                  </a:lnTo>
                  <a:lnTo>
                    <a:pt x="44" y="18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38" y="12"/>
                  </a:lnTo>
                  <a:lnTo>
                    <a:pt x="34" y="12"/>
                  </a:lnTo>
                  <a:lnTo>
                    <a:pt x="30" y="16"/>
                  </a:lnTo>
                  <a:lnTo>
                    <a:pt x="30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83" name="Freeform 226">
              <a:extLst>
                <a:ext uri="{FF2B5EF4-FFF2-40B4-BE49-F238E27FC236}">
                  <a16:creationId xmlns:a16="http://schemas.microsoft.com/office/drawing/2014/main" id="{B214648F-7F2B-058D-B95C-5531C818F0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0333" y="2723069"/>
              <a:ext cx="132479" cy="52794"/>
            </a:xfrm>
            <a:custGeom>
              <a:avLst/>
              <a:gdLst>
                <a:gd name="T0" fmla="*/ 68 w 68"/>
                <a:gd name="T1" fmla="*/ 0 h 28"/>
                <a:gd name="T2" fmla="*/ 68 w 68"/>
                <a:gd name="T3" fmla="*/ 2 h 28"/>
                <a:gd name="T4" fmla="*/ 68 w 68"/>
                <a:gd name="T5" fmla="*/ 2 h 28"/>
                <a:gd name="T6" fmla="*/ 56 w 68"/>
                <a:gd name="T7" fmla="*/ 10 h 28"/>
                <a:gd name="T8" fmla="*/ 54 w 68"/>
                <a:gd name="T9" fmla="*/ 14 h 28"/>
                <a:gd name="T10" fmla="*/ 46 w 68"/>
                <a:gd name="T11" fmla="*/ 16 h 28"/>
                <a:gd name="T12" fmla="*/ 42 w 68"/>
                <a:gd name="T13" fmla="*/ 16 h 28"/>
                <a:gd name="T14" fmla="*/ 34 w 68"/>
                <a:gd name="T15" fmla="*/ 20 h 28"/>
                <a:gd name="T16" fmla="*/ 30 w 68"/>
                <a:gd name="T17" fmla="*/ 24 h 28"/>
                <a:gd name="T18" fmla="*/ 28 w 68"/>
                <a:gd name="T19" fmla="*/ 28 h 28"/>
                <a:gd name="T20" fmla="*/ 24 w 68"/>
                <a:gd name="T21" fmla="*/ 28 h 28"/>
                <a:gd name="T22" fmla="*/ 24 w 68"/>
                <a:gd name="T23" fmla="*/ 28 h 28"/>
                <a:gd name="T24" fmla="*/ 20 w 68"/>
                <a:gd name="T25" fmla="*/ 28 h 28"/>
                <a:gd name="T26" fmla="*/ 16 w 68"/>
                <a:gd name="T27" fmla="*/ 28 h 28"/>
                <a:gd name="T28" fmla="*/ 12 w 68"/>
                <a:gd name="T29" fmla="*/ 28 h 28"/>
                <a:gd name="T30" fmla="*/ 8 w 68"/>
                <a:gd name="T31" fmla="*/ 28 h 28"/>
                <a:gd name="T32" fmla="*/ 8 w 68"/>
                <a:gd name="T33" fmla="*/ 28 h 28"/>
                <a:gd name="T34" fmla="*/ 12 w 68"/>
                <a:gd name="T35" fmla="*/ 28 h 28"/>
                <a:gd name="T36" fmla="*/ 12 w 68"/>
                <a:gd name="T37" fmla="*/ 28 h 28"/>
                <a:gd name="T38" fmla="*/ 12 w 68"/>
                <a:gd name="T39" fmla="*/ 24 h 28"/>
                <a:gd name="T40" fmla="*/ 12 w 68"/>
                <a:gd name="T41" fmla="*/ 24 h 28"/>
                <a:gd name="T42" fmla="*/ 8 w 68"/>
                <a:gd name="T43" fmla="*/ 24 h 28"/>
                <a:gd name="T44" fmla="*/ 8 w 68"/>
                <a:gd name="T45" fmla="*/ 24 h 28"/>
                <a:gd name="T46" fmla="*/ 4 w 68"/>
                <a:gd name="T47" fmla="*/ 24 h 28"/>
                <a:gd name="T48" fmla="*/ 0 w 68"/>
                <a:gd name="T49" fmla="*/ 20 h 28"/>
                <a:gd name="T50" fmla="*/ 0 w 68"/>
                <a:gd name="T51" fmla="*/ 20 h 28"/>
                <a:gd name="T52" fmla="*/ 4 w 68"/>
                <a:gd name="T53" fmla="*/ 16 h 28"/>
                <a:gd name="T54" fmla="*/ 4 w 68"/>
                <a:gd name="T55" fmla="*/ 14 h 28"/>
                <a:gd name="T56" fmla="*/ 8 w 68"/>
                <a:gd name="T57" fmla="*/ 10 h 28"/>
                <a:gd name="T58" fmla="*/ 8 w 68"/>
                <a:gd name="T59" fmla="*/ 10 h 28"/>
                <a:gd name="T60" fmla="*/ 8 w 68"/>
                <a:gd name="T61" fmla="*/ 16 h 28"/>
                <a:gd name="T62" fmla="*/ 8 w 68"/>
                <a:gd name="T63" fmla="*/ 16 h 28"/>
                <a:gd name="T64" fmla="*/ 12 w 68"/>
                <a:gd name="T65" fmla="*/ 16 h 28"/>
                <a:gd name="T66" fmla="*/ 12 w 68"/>
                <a:gd name="T67" fmla="*/ 16 h 28"/>
                <a:gd name="T68" fmla="*/ 16 w 68"/>
                <a:gd name="T69" fmla="*/ 16 h 28"/>
                <a:gd name="T70" fmla="*/ 16 w 68"/>
                <a:gd name="T71" fmla="*/ 16 h 28"/>
                <a:gd name="T72" fmla="*/ 20 w 68"/>
                <a:gd name="T73" fmla="*/ 14 h 28"/>
                <a:gd name="T74" fmla="*/ 28 w 68"/>
                <a:gd name="T75" fmla="*/ 10 h 28"/>
                <a:gd name="T76" fmla="*/ 30 w 68"/>
                <a:gd name="T77" fmla="*/ 6 h 28"/>
                <a:gd name="T78" fmla="*/ 34 w 68"/>
                <a:gd name="T79" fmla="*/ 2 h 28"/>
                <a:gd name="T80" fmla="*/ 42 w 68"/>
                <a:gd name="T81" fmla="*/ 6 h 28"/>
                <a:gd name="T82" fmla="*/ 42 w 68"/>
                <a:gd name="T83" fmla="*/ 6 h 28"/>
                <a:gd name="T84" fmla="*/ 50 w 68"/>
                <a:gd name="T85" fmla="*/ 6 h 28"/>
                <a:gd name="T86" fmla="*/ 50 w 68"/>
                <a:gd name="T87" fmla="*/ 6 h 28"/>
                <a:gd name="T88" fmla="*/ 50 w 68"/>
                <a:gd name="T89" fmla="*/ 6 h 28"/>
                <a:gd name="T90" fmla="*/ 46 w 68"/>
                <a:gd name="T91" fmla="*/ 6 h 28"/>
                <a:gd name="T92" fmla="*/ 46 w 68"/>
                <a:gd name="T93" fmla="*/ 6 h 28"/>
                <a:gd name="T94" fmla="*/ 50 w 68"/>
                <a:gd name="T95" fmla="*/ 2 h 28"/>
                <a:gd name="T96" fmla="*/ 54 w 68"/>
                <a:gd name="T97" fmla="*/ 2 h 28"/>
                <a:gd name="T98" fmla="*/ 56 w 68"/>
                <a:gd name="T99" fmla="*/ 0 h 28"/>
                <a:gd name="T100" fmla="*/ 64 w 68"/>
                <a:gd name="T101" fmla="*/ 0 h 28"/>
                <a:gd name="T102" fmla="*/ 64 w 68"/>
                <a:gd name="T103" fmla="*/ 2 h 28"/>
                <a:gd name="T104" fmla="*/ 68 w 68"/>
                <a:gd name="T10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8" h="28">
                  <a:moveTo>
                    <a:pt x="68" y="0"/>
                  </a:move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4" y="2"/>
                  </a:lnTo>
                  <a:lnTo>
                    <a:pt x="64" y="6"/>
                  </a:lnTo>
                  <a:lnTo>
                    <a:pt x="60" y="6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0" y="14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38" y="16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0" y="20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20" y="14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4" y="6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8" y="2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F57E5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84" name="Freeform 227">
              <a:extLst>
                <a:ext uri="{FF2B5EF4-FFF2-40B4-BE49-F238E27FC236}">
                  <a16:creationId xmlns:a16="http://schemas.microsoft.com/office/drawing/2014/main" id="{BD402464-A6E3-B992-7DC2-5DE1DFC791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67317" y="2957566"/>
              <a:ext cx="806563" cy="1006861"/>
            </a:xfrm>
            <a:custGeom>
              <a:avLst/>
              <a:gdLst>
                <a:gd name="T0" fmla="*/ 34 w 414"/>
                <a:gd name="T1" fmla="*/ 226 h 534"/>
                <a:gd name="T2" fmla="*/ 26 w 414"/>
                <a:gd name="T3" fmla="*/ 198 h 534"/>
                <a:gd name="T4" fmla="*/ 30 w 414"/>
                <a:gd name="T5" fmla="*/ 162 h 534"/>
                <a:gd name="T6" fmla="*/ 60 w 414"/>
                <a:gd name="T7" fmla="*/ 146 h 534"/>
                <a:gd name="T8" fmla="*/ 90 w 414"/>
                <a:gd name="T9" fmla="*/ 106 h 534"/>
                <a:gd name="T10" fmla="*/ 92 w 414"/>
                <a:gd name="T11" fmla="*/ 80 h 534"/>
                <a:gd name="T12" fmla="*/ 76 w 414"/>
                <a:gd name="T13" fmla="*/ 42 h 534"/>
                <a:gd name="T14" fmla="*/ 122 w 414"/>
                <a:gd name="T15" fmla="*/ 20 h 534"/>
                <a:gd name="T16" fmla="*/ 140 w 414"/>
                <a:gd name="T17" fmla="*/ 28 h 534"/>
                <a:gd name="T18" fmla="*/ 156 w 414"/>
                <a:gd name="T19" fmla="*/ 68 h 534"/>
                <a:gd name="T20" fmla="*/ 148 w 414"/>
                <a:gd name="T21" fmla="*/ 94 h 534"/>
                <a:gd name="T22" fmla="*/ 178 w 414"/>
                <a:gd name="T23" fmla="*/ 116 h 534"/>
                <a:gd name="T24" fmla="*/ 170 w 414"/>
                <a:gd name="T25" fmla="*/ 150 h 534"/>
                <a:gd name="T26" fmla="*/ 212 w 414"/>
                <a:gd name="T27" fmla="*/ 170 h 534"/>
                <a:gd name="T28" fmla="*/ 242 w 414"/>
                <a:gd name="T29" fmla="*/ 184 h 534"/>
                <a:gd name="T30" fmla="*/ 278 w 414"/>
                <a:gd name="T31" fmla="*/ 188 h 534"/>
                <a:gd name="T32" fmla="*/ 290 w 414"/>
                <a:gd name="T33" fmla="*/ 162 h 534"/>
                <a:gd name="T34" fmla="*/ 316 w 414"/>
                <a:gd name="T35" fmla="*/ 184 h 534"/>
                <a:gd name="T36" fmla="*/ 334 w 414"/>
                <a:gd name="T37" fmla="*/ 166 h 534"/>
                <a:gd name="T38" fmla="*/ 372 w 414"/>
                <a:gd name="T39" fmla="*/ 140 h 534"/>
                <a:gd name="T40" fmla="*/ 394 w 414"/>
                <a:gd name="T41" fmla="*/ 140 h 534"/>
                <a:gd name="T42" fmla="*/ 410 w 414"/>
                <a:gd name="T43" fmla="*/ 166 h 534"/>
                <a:gd name="T44" fmla="*/ 380 w 414"/>
                <a:gd name="T45" fmla="*/ 188 h 534"/>
                <a:gd name="T46" fmla="*/ 364 w 414"/>
                <a:gd name="T47" fmla="*/ 236 h 534"/>
                <a:gd name="T48" fmla="*/ 350 w 414"/>
                <a:gd name="T49" fmla="*/ 256 h 534"/>
                <a:gd name="T50" fmla="*/ 338 w 414"/>
                <a:gd name="T51" fmla="*/ 248 h 534"/>
                <a:gd name="T52" fmla="*/ 328 w 414"/>
                <a:gd name="T53" fmla="*/ 244 h 534"/>
                <a:gd name="T54" fmla="*/ 342 w 414"/>
                <a:gd name="T55" fmla="*/ 218 h 534"/>
                <a:gd name="T56" fmla="*/ 304 w 414"/>
                <a:gd name="T57" fmla="*/ 198 h 534"/>
                <a:gd name="T58" fmla="*/ 286 w 414"/>
                <a:gd name="T59" fmla="*/ 184 h 534"/>
                <a:gd name="T60" fmla="*/ 286 w 414"/>
                <a:gd name="T61" fmla="*/ 214 h 534"/>
                <a:gd name="T62" fmla="*/ 286 w 414"/>
                <a:gd name="T63" fmla="*/ 236 h 534"/>
                <a:gd name="T64" fmla="*/ 290 w 414"/>
                <a:gd name="T65" fmla="*/ 270 h 534"/>
                <a:gd name="T66" fmla="*/ 282 w 414"/>
                <a:gd name="T67" fmla="*/ 274 h 534"/>
                <a:gd name="T68" fmla="*/ 268 w 414"/>
                <a:gd name="T69" fmla="*/ 278 h 534"/>
                <a:gd name="T70" fmla="*/ 248 w 414"/>
                <a:gd name="T71" fmla="*/ 306 h 534"/>
                <a:gd name="T72" fmla="*/ 230 w 414"/>
                <a:gd name="T73" fmla="*/ 318 h 534"/>
                <a:gd name="T74" fmla="*/ 200 w 414"/>
                <a:gd name="T75" fmla="*/ 352 h 534"/>
                <a:gd name="T76" fmla="*/ 178 w 414"/>
                <a:gd name="T77" fmla="*/ 378 h 534"/>
                <a:gd name="T78" fmla="*/ 170 w 414"/>
                <a:gd name="T79" fmla="*/ 412 h 534"/>
                <a:gd name="T80" fmla="*/ 162 w 414"/>
                <a:gd name="T81" fmla="*/ 442 h 534"/>
                <a:gd name="T82" fmla="*/ 152 w 414"/>
                <a:gd name="T83" fmla="*/ 478 h 534"/>
                <a:gd name="T84" fmla="*/ 126 w 414"/>
                <a:gd name="T85" fmla="*/ 508 h 534"/>
                <a:gd name="T86" fmla="*/ 114 w 414"/>
                <a:gd name="T87" fmla="*/ 486 h 534"/>
                <a:gd name="T88" fmla="*/ 96 w 414"/>
                <a:gd name="T89" fmla="*/ 442 h 534"/>
                <a:gd name="T90" fmla="*/ 86 w 414"/>
                <a:gd name="T91" fmla="*/ 396 h 534"/>
                <a:gd name="T92" fmla="*/ 70 w 414"/>
                <a:gd name="T93" fmla="*/ 358 h 534"/>
                <a:gd name="T94" fmla="*/ 62 w 414"/>
                <a:gd name="T95" fmla="*/ 322 h 534"/>
                <a:gd name="T96" fmla="*/ 62 w 414"/>
                <a:gd name="T97" fmla="*/ 286 h 534"/>
                <a:gd name="T98" fmla="*/ 60 w 414"/>
                <a:gd name="T99" fmla="*/ 270 h 534"/>
                <a:gd name="T100" fmla="*/ 56 w 414"/>
                <a:gd name="T101" fmla="*/ 270 h 534"/>
                <a:gd name="T102" fmla="*/ 22 w 414"/>
                <a:gd name="T103" fmla="*/ 282 h 534"/>
                <a:gd name="T104" fmla="*/ 30 w 414"/>
                <a:gd name="T105" fmla="*/ 256 h 534"/>
                <a:gd name="T106" fmla="*/ 4 w 414"/>
                <a:gd name="T107" fmla="*/ 240 h 534"/>
                <a:gd name="T108" fmla="*/ 346 w 414"/>
                <a:gd name="T109" fmla="*/ 442 h 534"/>
                <a:gd name="T110" fmla="*/ 346 w 414"/>
                <a:gd name="T111" fmla="*/ 490 h 534"/>
                <a:gd name="T112" fmla="*/ 354 w 414"/>
                <a:gd name="T113" fmla="*/ 512 h 534"/>
                <a:gd name="T114" fmla="*/ 350 w 414"/>
                <a:gd name="T115" fmla="*/ 426 h 534"/>
                <a:gd name="T116" fmla="*/ 346 w 414"/>
                <a:gd name="T117" fmla="*/ 438 h 534"/>
                <a:gd name="T118" fmla="*/ 346 w 414"/>
                <a:gd name="T119" fmla="*/ 442 h 534"/>
                <a:gd name="T120" fmla="*/ 360 w 414"/>
                <a:gd name="T121" fmla="*/ 528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14" h="534">
                  <a:moveTo>
                    <a:pt x="0" y="236"/>
                  </a:moveTo>
                  <a:lnTo>
                    <a:pt x="0" y="232"/>
                  </a:lnTo>
                  <a:lnTo>
                    <a:pt x="4" y="232"/>
                  </a:lnTo>
                  <a:lnTo>
                    <a:pt x="6" y="232"/>
                  </a:lnTo>
                  <a:lnTo>
                    <a:pt x="6" y="228"/>
                  </a:lnTo>
                  <a:lnTo>
                    <a:pt x="6" y="226"/>
                  </a:lnTo>
                  <a:lnTo>
                    <a:pt x="10" y="226"/>
                  </a:lnTo>
                  <a:lnTo>
                    <a:pt x="10" y="228"/>
                  </a:lnTo>
                  <a:lnTo>
                    <a:pt x="14" y="228"/>
                  </a:lnTo>
                  <a:lnTo>
                    <a:pt x="18" y="228"/>
                  </a:lnTo>
                  <a:lnTo>
                    <a:pt x="22" y="228"/>
                  </a:lnTo>
                  <a:lnTo>
                    <a:pt x="26" y="228"/>
                  </a:lnTo>
                  <a:lnTo>
                    <a:pt x="26" y="226"/>
                  </a:lnTo>
                  <a:lnTo>
                    <a:pt x="30" y="226"/>
                  </a:lnTo>
                  <a:lnTo>
                    <a:pt x="34" y="226"/>
                  </a:lnTo>
                  <a:lnTo>
                    <a:pt x="34" y="228"/>
                  </a:lnTo>
                  <a:lnTo>
                    <a:pt x="36" y="228"/>
                  </a:lnTo>
                  <a:lnTo>
                    <a:pt x="36" y="226"/>
                  </a:lnTo>
                  <a:lnTo>
                    <a:pt x="40" y="226"/>
                  </a:lnTo>
                  <a:lnTo>
                    <a:pt x="36" y="226"/>
                  </a:lnTo>
                  <a:lnTo>
                    <a:pt x="36" y="222"/>
                  </a:lnTo>
                  <a:lnTo>
                    <a:pt x="40" y="222"/>
                  </a:lnTo>
                  <a:lnTo>
                    <a:pt x="36" y="218"/>
                  </a:lnTo>
                  <a:lnTo>
                    <a:pt x="36" y="214"/>
                  </a:lnTo>
                  <a:lnTo>
                    <a:pt x="36" y="210"/>
                  </a:lnTo>
                  <a:lnTo>
                    <a:pt x="34" y="210"/>
                  </a:lnTo>
                  <a:lnTo>
                    <a:pt x="34" y="206"/>
                  </a:lnTo>
                  <a:lnTo>
                    <a:pt x="34" y="202"/>
                  </a:lnTo>
                  <a:lnTo>
                    <a:pt x="30" y="202"/>
                  </a:lnTo>
                  <a:lnTo>
                    <a:pt x="26" y="198"/>
                  </a:lnTo>
                  <a:lnTo>
                    <a:pt x="26" y="196"/>
                  </a:lnTo>
                  <a:lnTo>
                    <a:pt x="26" y="192"/>
                  </a:lnTo>
                  <a:lnTo>
                    <a:pt x="26" y="188"/>
                  </a:lnTo>
                  <a:lnTo>
                    <a:pt x="26" y="184"/>
                  </a:lnTo>
                  <a:lnTo>
                    <a:pt x="22" y="184"/>
                  </a:lnTo>
                  <a:lnTo>
                    <a:pt x="18" y="184"/>
                  </a:lnTo>
                  <a:lnTo>
                    <a:pt x="18" y="180"/>
                  </a:lnTo>
                  <a:lnTo>
                    <a:pt x="18" y="176"/>
                  </a:lnTo>
                  <a:lnTo>
                    <a:pt x="18" y="172"/>
                  </a:lnTo>
                  <a:lnTo>
                    <a:pt x="22" y="172"/>
                  </a:lnTo>
                  <a:lnTo>
                    <a:pt x="22" y="170"/>
                  </a:lnTo>
                  <a:lnTo>
                    <a:pt x="26" y="170"/>
                  </a:lnTo>
                  <a:lnTo>
                    <a:pt x="26" y="166"/>
                  </a:lnTo>
                  <a:lnTo>
                    <a:pt x="26" y="162"/>
                  </a:lnTo>
                  <a:lnTo>
                    <a:pt x="30" y="162"/>
                  </a:lnTo>
                  <a:lnTo>
                    <a:pt x="30" y="158"/>
                  </a:lnTo>
                  <a:lnTo>
                    <a:pt x="34" y="158"/>
                  </a:lnTo>
                  <a:lnTo>
                    <a:pt x="34" y="162"/>
                  </a:lnTo>
                  <a:lnTo>
                    <a:pt x="34" y="166"/>
                  </a:lnTo>
                  <a:lnTo>
                    <a:pt x="36" y="166"/>
                  </a:lnTo>
                  <a:lnTo>
                    <a:pt x="40" y="166"/>
                  </a:lnTo>
                  <a:lnTo>
                    <a:pt x="40" y="162"/>
                  </a:lnTo>
                  <a:lnTo>
                    <a:pt x="44" y="162"/>
                  </a:lnTo>
                  <a:lnTo>
                    <a:pt x="48" y="162"/>
                  </a:lnTo>
                  <a:lnTo>
                    <a:pt x="52" y="162"/>
                  </a:lnTo>
                  <a:lnTo>
                    <a:pt x="52" y="158"/>
                  </a:lnTo>
                  <a:lnTo>
                    <a:pt x="56" y="154"/>
                  </a:lnTo>
                  <a:lnTo>
                    <a:pt x="56" y="150"/>
                  </a:lnTo>
                  <a:lnTo>
                    <a:pt x="56" y="146"/>
                  </a:lnTo>
                  <a:lnTo>
                    <a:pt x="60" y="146"/>
                  </a:lnTo>
                  <a:lnTo>
                    <a:pt x="60" y="142"/>
                  </a:lnTo>
                  <a:lnTo>
                    <a:pt x="62" y="142"/>
                  </a:lnTo>
                  <a:lnTo>
                    <a:pt x="66" y="142"/>
                  </a:lnTo>
                  <a:lnTo>
                    <a:pt x="66" y="140"/>
                  </a:lnTo>
                  <a:lnTo>
                    <a:pt x="70" y="132"/>
                  </a:lnTo>
                  <a:lnTo>
                    <a:pt x="70" y="128"/>
                  </a:lnTo>
                  <a:lnTo>
                    <a:pt x="74" y="124"/>
                  </a:lnTo>
                  <a:lnTo>
                    <a:pt x="78" y="124"/>
                  </a:lnTo>
                  <a:lnTo>
                    <a:pt x="82" y="120"/>
                  </a:lnTo>
                  <a:lnTo>
                    <a:pt x="82" y="116"/>
                  </a:lnTo>
                  <a:lnTo>
                    <a:pt x="78" y="116"/>
                  </a:lnTo>
                  <a:lnTo>
                    <a:pt x="82" y="112"/>
                  </a:lnTo>
                  <a:lnTo>
                    <a:pt x="86" y="110"/>
                  </a:lnTo>
                  <a:lnTo>
                    <a:pt x="86" y="106"/>
                  </a:lnTo>
                  <a:lnTo>
                    <a:pt x="90" y="106"/>
                  </a:lnTo>
                  <a:lnTo>
                    <a:pt x="92" y="102"/>
                  </a:lnTo>
                  <a:lnTo>
                    <a:pt x="90" y="102"/>
                  </a:lnTo>
                  <a:lnTo>
                    <a:pt x="90" y="106"/>
                  </a:lnTo>
                  <a:lnTo>
                    <a:pt x="90" y="102"/>
                  </a:lnTo>
                  <a:lnTo>
                    <a:pt x="90" y="98"/>
                  </a:lnTo>
                  <a:lnTo>
                    <a:pt x="90" y="94"/>
                  </a:lnTo>
                  <a:lnTo>
                    <a:pt x="90" y="90"/>
                  </a:lnTo>
                  <a:lnTo>
                    <a:pt x="90" y="86"/>
                  </a:lnTo>
                  <a:lnTo>
                    <a:pt x="92" y="86"/>
                  </a:lnTo>
                  <a:lnTo>
                    <a:pt x="96" y="86"/>
                  </a:lnTo>
                  <a:lnTo>
                    <a:pt x="100" y="86"/>
                  </a:lnTo>
                  <a:lnTo>
                    <a:pt x="100" y="82"/>
                  </a:lnTo>
                  <a:lnTo>
                    <a:pt x="100" y="80"/>
                  </a:lnTo>
                  <a:lnTo>
                    <a:pt x="96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0" y="80"/>
                  </a:lnTo>
                  <a:lnTo>
                    <a:pt x="88" y="78"/>
                  </a:lnTo>
                  <a:lnTo>
                    <a:pt x="86" y="78"/>
                  </a:lnTo>
                  <a:lnTo>
                    <a:pt x="84" y="76"/>
                  </a:lnTo>
                  <a:lnTo>
                    <a:pt x="82" y="76"/>
                  </a:lnTo>
                  <a:lnTo>
                    <a:pt x="80" y="72"/>
                  </a:lnTo>
                  <a:lnTo>
                    <a:pt x="78" y="72"/>
                  </a:lnTo>
                  <a:lnTo>
                    <a:pt x="76" y="70"/>
                  </a:lnTo>
                  <a:lnTo>
                    <a:pt x="76" y="66"/>
                  </a:lnTo>
                  <a:lnTo>
                    <a:pt x="76" y="62"/>
                  </a:lnTo>
                  <a:lnTo>
                    <a:pt x="76" y="58"/>
                  </a:lnTo>
                  <a:lnTo>
                    <a:pt x="74" y="54"/>
                  </a:lnTo>
                  <a:lnTo>
                    <a:pt x="74" y="48"/>
                  </a:lnTo>
                  <a:lnTo>
                    <a:pt x="76" y="42"/>
                  </a:lnTo>
                  <a:lnTo>
                    <a:pt x="84" y="36"/>
                  </a:lnTo>
                  <a:lnTo>
                    <a:pt x="66" y="22"/>
                  </a:lnTo>
                  <a:lnTo>
                    <a:pt x="62" y="18"/>
                  </a:lnTo>
                  <a:lnTo>
                    <a:pt x="66" y="10"/>
                  </a:lnTo>
                  <a:lnTo>
                    <a:pt x="78" y="4"/>
                  </a:lnTo>
                  <a:lnTo>
                    <a:pt x="88" y="2"/>
                  </a:lnTo>
                  <a:lnTo>
                    <a:pt x="92" y="0"/>
                  </a:lnTo>
                  <a:lnTo>
                    <a:pt x="100" y="0"/>
                  </a:lnTo>
                  <a:lnTo>
                    <a:pt x="104" y="4"/>
                  </a:lnTo>
                  <a:lnTo>
                    <a:pt x="114" y="12"/>
                  </a:lnTo>
                  <a:lnTo>
                    <a:pt x="118" y="18"/>
                  </a:lnTo>
                  <a:lnTo>
                    <a:pt x="118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2" y="20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8" y="22"/>
                  </a:lnTo>
                  <a:lnTo>
                    <a:pt x="126" y="26"/>
                  </a:lnTo>
                  <a:lnTo>
                    <a:pt x="126" y="26"/>
                  </a:lnTo>
                  <a:lnTo>
                    <a:pt x="130" y="26"/>
                  </a:lnTo>
                  <a:lnTo>
                    <a:pt x="132" y="28"/>
                  </a:lnTo>
                  <a:lnTo>
                    <a:pt x="132" y="28"/>
                  </a:lnTo>
                  <a:lnTo>
                    <a:pt x="132" y="28"/>
                  </a:lnTo>
                  <a:lnTo>
                    <a:pt x="130" y="28"/>
                  </a:lnTo>
                  <a:lnTo>
                    <a:pt x="130" y="28"/>
                  </a:lnTo>
                  <a:lnTo>
                    <a:pt x="132" y="30"/>
                  </a:lnTo>
                  <a:lnTo>
                    <a:pt x="132" y="30"/>
                  </a:lnTo>
                  <a:lnTo>
                    <a:pt x="132" y="30"/>
                  </a:lnTo>
                  <a:lnTo>
                    <a:pt x="140" y="28"/>
                  </a:lnTo>
                  <a:lnTo>
                    <a:pt x="142" y="26"/>
                  </a:lnTo>
                  <a:lnTo>
                    <a:pt x="148" y="24"/>
                  </a:lnTo>
                  <a:lnTo>
                    <a:pt x="152" y="24"/>
                  </a:lnTo>
                  <a:lnTo>
                    <a:pt x="158" y="22"/>
                  </a:lnTo>
                  <a:lnTo>
                    <a:pt x="168" y="30"/>
                  </a:lnTo>
                  <a:lnTo>
                    <a:pt x="168" y="36"/>
                  </a:lnTo>
                  <a:lnTo>
                    <a:pt x="166" y="44"/>
                  </a:lnTo>
                  <a:lnTo>
                    <a:pt x="158" y="52"/>
                  </a:lnTo>
                  <a:lnTo>
                    <a:pt x="156" y="54"/>
                  </a:lnTo>
                  <a:lnTo>
                    <a:pt x="148" y="54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6" y="64"/>
                  </a:lnTo>
                  <a:lnTo>
                    <a:pt x="156" y="68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0" y="76"/>
                  </a:lnTo>
                  <a:lnTo>
                    <a:pt x="156" y="80"/>
                  </a:lnTo>
                  <a:lnTo>
                    <a:pt x="156" y="76"/>
                  </a:lnTo>
                  <a:lnTo>
                    <a:pt x="152" y="80"/>
                  </a:lnTo>
                  <a:lnTo>
                    <a:pt x="148" y="80"/>
                  </a:lnTo>
                  <a:lnTo>
                    <a:pt x="148" y="76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2"/>
                  </a:lnTo>
                  <a:lnTo>
                    <a:pt x="144" y="86"/>
                  </a:lnTo>
                  <a:lnTo>
                    <a:pt x="148" y="86"/>
                  </a:lnTo>
                  <a:lnTo>
                    <a:pt x="148" y="90"/>
                  </a:lnTo>
                  <a:lnTo>
                    <a:pt x="148" y="94"/>
                  </a:lnTo>
                  <a:lnTo>
                    <a:pt x="148" y="98"/>
                  </a:lnTo>
                  <a:lnTo>
                    <a:pt x="148" y="102"/>
                  </a:lnTo>
                  <a:lnTo>
                    <a:pt x="148" y="98"/>
                  </a:lnTo>
                  <a:lnTo>
                    <a:pt x="152" y="98"/>
                  </a:lnTo>
                  <a:lnTo>
                    <a:pt x="156" y="98"/>
                  </a:lnTo>
                  <a:lnTo>
                    <a:pt x="156" y="102"/>
                  </a:lnTo>
                  <a:lnTo>
                    <a:pt x="156" y="106"/>
                  </a:lnTo>
                  <a:lnTo>
                    <a:pt x="160" y="106"/>
                  </a:lnTo>
                  <a:lnTo>
                    <a:pt x="162" y="106"/>
                  </a:lnTo>
                  <a:lnTo>
                    <a:pt x="166" y="110"/>
                  </a:lnTo>
                  <a:lnTo>
                    <a:pt x="170" y="110"/>
                  </a:lnTo>
                  <a:lnTo>
                    <a:pt x="166" y="112"/>
                  </a:lnTo>
                  <a:lnTo>
                    <a:pt x="170" y="112"/>
                  </a:lnTo>
                  <a:lnTo>
                    <a:pt x="174" y="116"/>
                  </a:lnTo>
                  <a:lnTo>
                    <a:pt x="178" y="116"/>
                  </a:lnTo>
                  <a:lnTo>
                    <a:pt x="178" y="120"/>
                  </a:lnTo>
                  <a:lnTo>
                    <a:pt x="182" y="120"/>
                  </a:lnTo>
                  <a:lnTo>
                    <a:pt x="178" y="120"/>
                  </a:lnTo>
                  <a:lnTo>
                    <a:pt x="174" y="124"/>
                  </a:lnTo>
                  <a:lnTo>
                    <a:pt x="174" y="128"/>
                  </a:lnTo>
                  <a:lnTo>
                    <a:pt x="170" y="128"/>
                  </a:lnTo>
                  <a:lnTo>
                    <a:pt x="170" y="132"/>
                  </a:lnTo>
                  <a:lnTo>
                    <a:pt x="166" y="136"/>
                  </a:lnTo>
                  <a:lnTo>
                    <a:pt x="170" y="136"/>
                  </a:lnTo>
                  <a:lnTo>
                    <a:pt x="170" y="140"/>
                  </a:lnTo>
                  <a:lnTo>
                    <a:pt x="166" y="140"/>
                  </a:lnTo>
                  <a:lnTo>
                    <a:pt x="166" y="142"/>
                  </a:lnTo>
                  <a:lnTo>
                    <a:pt x="166" y="146"/>
                  </a:lnTo>
                  <a:lnTo>
                    <a:pt x="170" y="146"/>
                  </a:lnTo>
                  <a:lnTo>
                    <a:pt x="170" y="150"/>
                  </a:lnTo>
                  <a:lnTo>
                    <a:pt x="174" y="150"/>
                  </a:lnTo>
                  <a:lnTo>
                    <a:pt x="174" y="146"/>
                  </a:lnTo>
                  <a:lnTo>
                    <a:pt x="174" y="150"/>
                  </a:lnTo>
                  <a:lnTo>
                    <a:pt x="178" y="150"/>
                  </a:lnTo>
                  <a:lnTo>
                    <a:pt x="182" y="154"/>
                  </a:lnTo>
                  <a:lnTo>
                    <a:pt x="186" y="158"/>
                  </a:lnTo>
                  <a:lnTo>
                    <a:pt x="190" y="162"/>
                  </a:lnTo>
                  <a:lnTo>
                    <a:pt x="192" y="162"/>
                  </a:lnTo>
                  <a:lnTo>
                    <a:pt x="196" y="162"/>
                  </a:lnTo>
                  <a:lnTo>
                    <a:pt x="196" y="166"/>
                  </a:lnTo>
                  <a:lnTo>
                    <a:pt x="200" y="166"/>
                  </a:lnTo>
                  <a:lnTo>
                    <a:pt x="204" y="166"/>
                  </a:lnTo>
                  <a:lnTo>
                    <a:pt x="204" y="170"/>
                  </a:lnTo>
                  <a:lnTo>
                    <a:pt x="208" y="170"/>
                  </a:lnTo>
                  <a:lnTo>
                    <a:pt x="212" y="170"/>
                  </a:lnTo>
                  <a:lnTo>
                    <a:pt x="212" y="172"/>
                  </a:lnTo>
                  <a:lnTo>
                    <a:pt x="212" y="170"/>
                  </a:lnTo>
                  <a:lnTo>
                    <a:pt x="216" y="170"/>
                  </a:lnTo>
                  <a:lnTo>
                    <a:pt x="218" y="170"/>
                  </a:lnTo>
                  <a:lnTo>
                    <a:pt x="218" y="172"/>
                  </a:lnTo>
                  <a:lnTo>
                    <a:pt x="218" y="170"/>
                  </a:lnTo>
                  <a:lnTo>
                    <a:pt x="222" y="170"/>
                  </a:lnTo>
                  <a:lnTo>
                    <a:pt x="226" y="172"/>
                  </a:lnTo>
                  <a:lnTo>
                    <a:pt x="230" y="172"/>
                  </a:lnTo>
                  <a:lnTo>
                    <a:pt x="230" y="176"/>
                  </a:lnTo>
                  <a:lnTo>
                    <a:pt x="234" y="176"/>
                  </a:lnTo>
                  <a:lnTo>
                    <a:pt x="234" y="180"/>
                  </a:lnTo>
                  <a:lnTo>
                    <a:pt x="238" y="180"/>
                  </a:lnTo>
                  <a:lnTo>
                    <a:pt x="238" y="184"/>
                  </a:lnTo>
                  <a:lnTo>
                    <a:pt x="242" y="184"/>
                  </a:lnTo>
                  <a:lnTo>
                    <a:pt x="242" y="180"/>
                  </a:lnTo>
                  <a:lnTo>
                    <a:pt x="246" y="180"/>
                  </a:lnTo>
                  <a:lnTo>
                    <a:pt x="246" y="184"/>
                  </a:lnTo>
                  <a:lnTo>
                    <a:pt x="248" y="188"/>
                  </a:lnTo>
                  <a:lnTo>
                    <a:pt x="248" y="184"/>
                  </a:lnTo>
                  <a:lnTo>
                    <a:pt x="252" y="184"/>
                  </a:lnTo>
                  <a:lnTo>
                    <a:pt x="256" y="184"/>
                  </a:lnTo>
                  <a:lnTo>
                    <a:pt x="256" y="188"/>
                  </a:lnTo>
                  <a:lnTo>
                    <a:pt x="260" y="188"/>
                  </a:lnTo>
                  <a:lnTo>
                    <a:pt x="264" y="188"/>
                  </a:lnTo>
                  <a:lnTo>
                    <a:pt x="268" y="188"/>
                  </a:lnTo>
                  <a:lnTo>
                    <a:pt x="268" y="192"/>
                  </a:lnTo>
                  <a:lnTo>
                    <a:pt x="272" y="188"/>
                  </a:lnTo>
                  <a:lnTo>
                    <a:pt x="274" y="188"/>
                  </a:lnTo>
                  <a:lnTo>
                    <a:pt x="278" y="188"/>
                  </a:lnTo>
                  <a:lnTo>
                    <a:pt x="278" y="192"/>
                  </a:lnTo>
                  <a:lnTo>
                    <a:pt x="278" y="188"/>
                  </a:lnTo>
                  <a:lnTo>
                    <a:pt x="282" y="184"/>
                  </a:lnTo>
                  <a:lnTo>
                    <a:pt x="282" y="180"/>
                  </a:lnTo>
                  <a:lnTo>
                    <a:pt x="278" y="180"/>
                  </a:lnTo>
                  <a:lnTo>
                    <a:pt x="278" y="176"/>
                  </a:lnTo>
                  <a:lnTo>
                    <a:pt x="278" y="172"/>
                  </a:lnTo>
                  <a:lnTo>
                    <a:pt x="278" y="170"/>
                  </a:lnTo>
                  <a:lnTo>
                    <a:pt x="282" y="166"/>
                  </a:lnTo>
                  <a:lnTo>
                    <a:pt x="282" y="162"/>
                  </a:lnTo>
                  <a:lnTo>
                    <a:pt x="278" y="162"/>
                  </a:lnTo>
                  <a:lnTo>
                    <a:pt x="282" y="162"/>
                  </a:lnTo>
                  <a:lnTo>
                    <a:pt x="286" y="158"/>
                  </a:lnTo>
                  <a:lnTo>
                    <a:pt x="290" y="158"/>
                  </a:lnTo>
                  <a:lnTo>
                    <a:pt x="290" y="162"/>
                  </a:lnTo>
                  <a:lnTo>
                    <a:pt x="290" y="166"/>
                  </a:lnTo>
                  <a:lnTo>
                    <a:pt x="290" y="170"/>
                  </a:lnTo>
                  <a:lnTo>
                    <a:pt x="290" y="172"/>
                  </a:lnTo>
                  <a:lnTo>
                    <a:pt x="290" y="176"/>
                  </a:lnTo>
                  <a:lnTo>
                    <a:pt x="290" y="180"/>
                  </a:lnTo>
                  <a:lnTo>
                    <a:pt x="294" y="180"/>
                  </a:lnTo>
                  <a:lnTo>
                    <a:pt x="298" y="180"/>
                  </a:lnTo>
                  <a:lnTo>
                    <a:pt x="302" y="180"/>
                  </a:lnTo>
                  <a:lnTo>
                    <a:pt x="302" y="184"/>
                  </a:lnTo>
                  <a:lnTo>
                    <a:pt x="304" y="184"/>
                  </a:lnTo>
                  <a:lnTo>
                    <a:pt x="308" y="184"/>
                  </a:lnTo>
                  <a:lnTo>
                    <a:pt x="308" y="180"/>
                  </a:lnTo>
                  <a:lnTo>
                    <a:pt x="312" y="180"/>
                  </a:lnTo>
                  <a:lnTo>
                    <a:pt x="316" y="180"/>
                  </a:lnTo>
                  <a:lnTo>
                    <a:pt x="316" y="184"/>
                  </a:lnTo>
                  <a:lnTo>
                    <a:pt x="320" y="184"/>
                  </a:lnTo>
                  <a:lnTo>
                    <a:pt x="324" y="180"/>
                  </a:lnTo>
                  <a:lnTo>
                    <a:pt x="324" y="184"/>
                  </a:lnTo>
                  <a:lnTo>
                    <a:pt x="328" y="184"/>
                  </a:lnTo>
                  <a:lnTo>
                    <a:pt x="328" y="180"/>
                  </a:lnTo>
                  <a:lnTo>
                    <a:pt x="332" y="180"/>
                  </a:lnTo>
                  <a:lnTo>
                    <a:pt x="334" y="180"/>
                  </a:lnTo>
                  <a:lnTo>
                    <a:pt x="338" y="180"/>
                  </a:lnTo>
                  <a:lnTo>
                    <a:pt x="334" y="176"/>
                  </a:lnTo>
                  <a:lnTo>
                    <a:pt x="338" y="172"/>
                  </a:lnTo>
                  <a:lnTo>
                    <a:pt x="334" y="172"/>
                  </a:lnTo>
                  <a:lnTo>
                    <a:pt x="334" y="170"/>
                  </a:lnTo>
                  <a:lnTo>
                    <a:pt x="332" y="170"/>
                  </a:lnTo>
                  <a:lnTo>
                    <a:pt x="332" y="166"/>
                  </a:lnTo>
                  <a:lnTo>
                    <a:pt x="334" y="166"/>
                  </a:lnTo>
                  <a:lnTo>
                    <a:pt x="338" y="166"/>
                  </a:lnTo>
                  <a:lnTo>
                    <a:pt x="338" y="162"/>
                  </a:lnTo>
                  <a:lnTo>
                    <a:pt x="338" y="166"/>
                  </a:lnTo>
                  <a:lnTo>
                    <a:pt x="342" y="162"/>
                  </a:lnTo>
                  <a:lnTo>
                    <a:pt x="346" y="162"/>
                  </a:lnTo>
                  <a:lnTo>
                    <a:pt x="346" y="158"/>
                  </a:lnTo>
                  <a:lnTo>
                    <a:pt x="350" y="154"/>
                  </a:lnTo>
                  <a:lnTo>
                    <a:pt x="354" y="154"/>
                  </a:lnTo>
                  <a:lnTo>
                    <a:pt x="354" y="150"/>
                  </a:lnTo>
                  <a:lnTo>
                    <a:pt x="358" y="146"/>
                  </a:lnTo>
                  <a:lnTo>
                    <a:pt x="360" y="146"/>
                  </a:lnTo>
                  <a:lnTo>
                    <a:pt x="364" y="146"/>
                  </a:lnTo>
                  <a:lnTo>
                    <a:pt x="364" y="142"/>
                  </a:lnTo>
                  <a:lnTo>
                    <a:pt x="368" y="140"/>
                  </a:lnTo>
                  <a:lnTo>
                    <a:pt x="372" y="140"/>
                  </a:lnTo>
                  <a:lnTo>
                    <a:pt x="372" y="136"/>
                  </a:lnTo>
                  <a:lnTo>
                    <a:pt x="376" y="136"/>
                  </a:lnTo>
                  <a:lnTo>
                    <a:pt x="376" y="140"/>
                  </a:lnTo>
                  <a:lnTo>
                    <a:pt x="380" y="140"/>
                  </a:lnTo>
                  <a:lnTo>
                    <a:pt x="384" y="142"/>
                  </a:lnTo>
                  <a:lnTo>
                    <a:pt x="384" y="140"/>
                  </a:lnTo>
                  <a:lnTo>
                    <a:pt x="388" y="140"/>
                  </a:lnTo>
                  <a:lnTo>
                    <a:pt x="388" y="136"/>
                  </a:lnTo>
                  <a:lnTo>
                    <a:pt x="390" y="136"/>
                  </a:lnTo>
                  <a:lnTo>
                    <a:pt x="394" y="132"/>
                  </a:lnTo>
                  <a:lnTo>
                    <a:pt x="394" y="136"/>
                  </a:lnTo>
                  <a:lnTo>
                    <a:pt x="394" y="140"/>
                  </a:lnTo>
                  <a:lnTo>
                    <a:pt x="398" y="136"/>
                  </a:lnTo>
                  <a:lnTo>
                    <a:pt x="398" y="140"/>
                  </a:lnTo>
                  <a:lnTo>
                    <a:pt x="394" y="140"/>
                  </a:lnTo>
                  <a:lnTo>
                    <a:pt x="394" y="142"/>
                  </a:lnTo>
                  <a:lnTo>
                    <a:pt x="398" y="142"/>
                  </a:lnTo>
                  <a:lnTo>
                    <a:pt x="398" y="140"/>
                  </a:lnTo>
                  <a:lnTo>
                    <a:pt x="398" y="142"/>
                  </a:lnTo>
                  <a:lnTo>
                    <a:pt x="402" y="146"/>
                  </a:lnTo>
                  <a:lnTo>
                    <a:pt x="398" y="150"/>
                  </a:lnTo>
                  <a:lnTo>
                    <a:pt x="398" y="154"/>
                  </a:lnTo>
                  <a:lnTo>
                    <a:pt x="402" y="150"/>
                  </a:lnTo>
                  <a:lnTo>
                    <a:pt x="402" y="154"/>
                  </a:lnTo>
                  <a:lnTo>
                    <a:pt x="406" y="154"/>
                  </a:lnTo>
                  <a:lnTo>
                    <a:pt x="410" y="154"/>
                  </a:lnTo>
                  <a:lnTo>
                    <a:pt x="410" y="158"/>
                  </a:lnTo>
                  <a:lnTo>
                    <a:pt x="414" y="162"/>
                  </a:lnTo>
                  <a:lnTo>
                    <a:pt x="410" y="162"/>
                  </a:lnTo>
                  <a:lnTo>
                    <a:pt x="410" y="166"/>
                  </a:lnTo>
                  <a:lnTo>
                    <a:pt x="406" y="166"/>
                  </a:lnTo>
                  <a:lnTo>
                    <a:pt x="406" y="170"/>
                  </a:lnTo>
                  <a:lnTo>
                    <a:pt x="406" y="172"/>
                  </a:lnTo>
                  <a:lnTo>
                    <a:pt x="410" y="176"/>
                  </a:lnTo>
                  <a:lnTo>
                    <a:pt x="406" y="176"/>
                  </a:lnTo>
                  <a:lnTo>
                    <a:pt x="406" y="172"/>
                  </a:lnTo>
                  <a:lnTo>
                    <a:pt x="402" y="172"/>
                  </a:lnTo>
                  <a:lnTo>
                    <a:pt x="398" y="172"/>
                  </a:lnTo>
                  <a:lnTo>
                    <a:pt x="394" y="172"/>
                  </a:lnTo>
                  <a:lnTo>
                    <a:pt x="390" y="176"/>
                  </a:lnTo>
                  <a:lnTo>
                    <a:pt x="388" y="180"/>
                  </a:lnTo>
                  <a:lnTo>
                    <a:pt x="384" y="180"/>
                  </a:lnTo>
                  <a:lnTo>
                    <a:pt x="384" y="184"/>
                  </a:lnTo>
                  <a:lnTo>
                    <a:pt x="380" y="184"/>
                  </a:lnTo>
                  <a:lnTo>
                    <a:pt x="380" y="188"/>
                  </a:lnTo>
                  <a:lnTo>
                    <a:pt x="380" y="192"/>
                  </a:lnTo>
                  <a:lnTo>
                    <a:pt x="380" y="196"/>
                  </a:lnTo>
                  <a:lnTo>
                    <a:pt x="380" y="198"/>
                  </a:lnTo>
                  <a:lnTo>
                    <a:pt x="380" y="202"/>
                  </a:lnTo>
                  <a:lnTo>
                    <a:pt x="376" y="202"/>
                  </a:lnTo>
                  <a:lnTo>
                    <a:pt x="376" y="206"/>
                  </a:lnTo>
                  <a:lnTo>
                    <a:pt x="372" y="206"/>
                  </a:lnTo>
                  <a:lnTo>
                    <a:pt x="372" y="210"/>
                  </a:lnTo>
                  <a:lnTo>
                    <a:pt x="376" y="214"/>
                  </a:lnTo>
                  <a:lnTo>
                    <a:pt x="372" y="218"/>
                  </a:lnTo>
                  <a:lnTo>
                    <a:pt x="372" y="222"/>
                  </a:lnTo>
                  <a:lnTo>
                    <a:pt x="368" y="226"/>
                  </a:lnTo>
                  <a:lnTo>
                    <a:pt x="368" y="228"/>
                  </a:lnTo>
                  <a:lnTo>
                    <a:pt x="368" y="232"/>
                  </a:lnTo>
                  <a:lnTo>
                    <a:pt x="364" y="236"/>
                  </a:lnTo>
                  <a:lnTo>
                    <a:pt x="364" y="232"/>
                  </a:lnTo>
                  <a:lnTo>
                    <a:pt x="360" y="232"/>
                  </a:lnTo>
                  <a:lnTo>
                    <a:pt x="358" y="232"/>
                  </a:lnTo>
                  <a:lnTo>
                    <a:pt x="354" y="232"/>
                  </a:lnTo>
                  <a:lnTo>
                    <a:pt x="354" y="228"/>
                  </a:lnTo>
                  <a:lnTo>
                    <a:pt x="354" y="232"/>
                  </a:lnTo>
                  <a:lnTo>
                    <a:pt x="354" y="236"/>
                  </a:lnTo>
                  <a:lnTo>
                    <a:pt x="358" y="240"/>
                  </a:lnTo>
                  <a:lnTo>
                    <a:pt x="354" y="244"/>
                  </a:lnTo>
                  <a:lnTo>
                    <a:pt x="354" y="248"/>
                  </a:lnTo>
                  <a:lnTo>
                    <a:pt x="354" y="252"/>
                  </a:lnTo>
                  <a:lnTo>
                    <a:pt x="354" y="248"/>
                  </a:lnTo>
                  <a:lnTo>
                    <a:pt x="350" y="248"/>
                  </a:lnTo>
                  <a:lnTo>
                    <a:pt x="350" y="252"/>
                  </a:lnTo>
                  <a:lnTo>
                    <a:pt x="350" y="256"/>
                  </a:lnTo>
                  <a:lnTo>
                    <a:pt x="350" y="258"/>
                  </a:lnTo>
                  <a:lnTo>
                    <a:pt x="354" y="258"/>
                  </a:lnTo>
                  <a:lnTo>
                    <a:pt x="354" y="262"/>
                  </a:lnTo>
                  <a:lnTo>
                    <a:pt x="354" y="266"/>
                  </a:lnTo>
                  <a:lnTo>
                    <a:pt x="350" y="266"/>
                  </a:lnTo>
                  <a:lnTo>
                    <a:pt x="350" y="262"/>
                  </a:lnTo>
                  <a:lnTo>
                    <a:pt x="350" y="266"/>
                  </a:lnTo>
                  <a:lnTo>
                    <a:pt x="346" y="266"/>
                  </a:lnTo>
                  <a:lnTo>
                    <a:pt x="342" y="270"/>
                  </a:lnTo>
                  <a:lnTo>
                    <a:pt x="342" y="266"/>
                  </a:lnTo>
                  <a:lnTo>
                    <a:pt x="342" y="262"/>
                  </a:lnTo>
                  <a:lnTo>
                    <a:pt x="342" y="258"/>
                  </a:lnTo>
                  <a:lnTo>
                    <a:pt x="342" y="256"/>
                  </a:lnTo>
                  <a:lnTo>
                    <a:pt x="342" y="252"/>
                  </a:lnTo>
                  <a:lnTo>
                    <a:pt x="338" y="248"/>
                  </a:lnTo>
                  <a:lnTo>
                    <a:pt x="342" y="248"/>
                  </a:lnTo>
                  <a:lnTo>
                    <a:pt x="342" y="244"/>
                  </a:lnTo>
                  <a:lnTo>
                    <a:pt x="338" y="244"/>
                  </a:lnTo>
                  <a:lnTo>
                    <a:pt x="338" y="240"/>
                  </a:lnTo>
                  <a:lnTo>
                    <a:pt x="338" y="236"/>
                  </a:lnTo>
                  <a:lnTo>
                    <a:pt x="334" y="240"/>
                  </a:lnTo>
                  <a:lnTo>
                    <a:pt x="334" y="236"/>
                  </a:lnTo>
                  <a:lnTo>
                    <a:pt x="334" y="240"/>
                  </a:lnTo>
                  <a:lnTo>
                    <a:pt x="334" y="244"/>
                  </a:lnTo>
                  <a:lnTo>
                    <a:pt x="332" y="244"/>
                  </a:lnTo>
                  <a:lnTo>
                    <a:pt x="332" y="248"/>
                  </a:lnTo>
                  <a:lnTo>
                    <a:pt x="332" y="252"/>
                  </a:lnTo>
                  <a:lnTo>
                    <a:pt x="328" y="252"/>
                  </a:lnTo>
                  <a:lnTo>
                    <a:pt x="328" y="248"/>
                  </a:lnTo>
                  <a:lnTo>
                    <a:pt x="328" y="244"/>
                  </a:lnTo>
                  <a:lnTo>
                    <a:pt x="328" y="248"/>
                  </a:lnTo>
                  <a:lnTo>
                    <a:pt x="324" y="244"/>
                  </a:lnTo>
                  <a:lnTo>
                    <a:pt x="324" y="240"/>
                  </a:lnTo>
                  <a:lnTo>
                    <a:pt x="324" y="236"/>
                  </a:lnTo>
                  <a:lnTo>
                    <a:pt x="324" y="232"/>
                  </a:lnTo>
                  <a:lnTo>
                    <a:pt x="328" y="228"/>
                  </a:lnTo>
                  <a:lnTo>
                    <a:pt x="328" y="232"/>
                  </a:lnTo>
                  <a:lnTo>
                    <a:pt x="328" y="228"/>
                  </a:lnTo>
                  <a:lnTo>
                    <a:pt x="332" y="228"/>
                  </a:lnTo>
                  <a:lnTo>
                    <a:pt x="334" y="228"/>
                  </a:lnTo>
                  <a:lnTo>
                    <a:pt x="334" y="226"/>
                  </a:lnTo>
                  <a:lnTo>
                    <a:pt x="338" y="226"/>
                  </a:lnTo>
                  <a:lnTo>
                    <a:pt x="338" y="222"/>
                  </a:lnTo>
                  <a:lnTo>
                    <a:pt x="338" y="218"/>
                  </a:lnTo>
                  <a:lnTo>
                    <a:pt x="342" y="218"/>
                  </a:lnTo>
                  <a:lnTo>
                    <a:pt x="342" y="214"/>
                  </a:lnTo>
                  <a:lnTo>
                    <a:pt x="338" y="214"/>
                  </a:lnTo>
                  <a:lnTo>
                    <a:pt x="338" y="210"/>
                  </a:lnTo>
                  <a:lnTo>
                    <a:pt x="334" y="210"/>
                  </a:lnTo>
                  <a:lnTo>
                    <a:pt x="332" y="210"/>
                  </a:lnTo>
                  <a:lnTo>
                    <a:pt x="328" y="210"/>
                  </a:lnTo>
                  <a:lnTo>
                    <a:pt x="324" y="210"/>
                  </a:lnTo>
                  <a:lnTo>
                    <a:pt x="320" y="210"/>
                  </a:lnTo>
                  <a:lnTo>
                    <a:pt x="316" y="210"/>
                  </a:lnTo>
                  <a:lnTo>
                    <a:pt x="312" y="210"/>
                  </a:lnTo>
                  <a:lnTo>
                    <a:pt x="308" y="210"/>
                  </a:lnTo>
                  <a:lnTo>
                    <a:pt x="304" y="210"/>
                  </a:lnTo>
                  <a:lnTo>
                    <a:pt x="304" y="206"/>
                  </a:lnTo>
                  <a:lnTo>
                    <a:pt x="304" y="202"/>
                  </a:lnTo>
                  <a:lnTo>
                    <a:pt x="304" y="198"/>
                  </a:lnTo>
                  <a:lnTo>
                    <a:pt x="304" y="196"/>
                  </a:lnTo>
                  <a:lnTo>
                    <a:pt x="302" y="196"/>
                  </a:lnTo>
                  <a:lnTo>
                    <a:pt x="302" y="192"/>
                  </a:lnTo>
                  <a:lnTo>
                    <a:pt x="302" y="196"/>
                  </a:lnTo>
                  <a:lnTo>
                    <a:pt x="298" y="196"/>
                  </a:lnTo>
                  <a:lnTo>
                    <a:pt x="294" y="196"/>
                  </a:lnTo>
                  <a:lnTo>
                    <a:pt x="294" y="192"/>
                  </a:lnTo>
                  <a:lnTo>
                    <a:pt x="294" y="188"/>
                  </a:lnTo>
                  <a:lnTo>
                    <a:pt x="290" y="188"/>
                  </a:lnTo>
                  <a:lnTo>
                    <a:pt x="290" y="192"/>
                  </a:lnTo>
                  <a:lnTo>
                    <a:pt x="294" y="192"/>
                  </a:lnTo>
                  <a:lnTo>
                    <a:pt x="290" y="192"/>
                  </a:lnTo>
                  <a:lnTo>
                    <a:pt x="290" y="188"/>
                  </a:lnTo>
                  <a:lnTo>
                    <a:pt x="286" y="188"/>
                  </a:lnTo>
                  <a:lnTo>
                    <a:pt x="286" y="184"/>
                  </a:lnTo>
                  <a:lnTo>
                    <a:pt x="282" y="188"/>
                  </a:lnTo>
                  <a:lnTo>
                    <a:pt x="286" y="188"/>
                  </a:lnTo>
                  <a:lnTo>
                    <a:pt x="286" y="192"/>
                  </a:lnTo>
                  <a:lnTo>
                    <a:pt x="282" y="192"/>
                  </a:lnTo>
                  <a:lnTo>
                    <a:pt x="282" y="196"/>
                  </a:lnTo>
                  <a:lnTo>
                    <a:pt x="278" y="198"/>
                  </a:lnTo>
                  <a:lnTo>
                    <a:pt x="282" y="198"/>
                  </a:lnTo>
                  <a:lnTo>
                    <a:pt x="286" y="202"/>
                  </a:lnTo>
                  <a:lnTo>
                    <a:pt x="286" y="206"/>
                  </a:lnTo>
                  <a:lnTo>
                    <a:pt x="290" y="206"/>
                  </a:lnTo>
                  <a:lnTo>
                    <a:pt x="290" y="210"/>
                  </a:lnTo>
                  <a:lnTo>
                    <a:pt x="294" y="210"/>
                  </a:lnTo>
                  <a:lnTo>
                    <a:pt x="290" y="210"/>
                  </a:lnTo>
                  <a:lnTo>
                    <a:pt x="286" y="210"/>
                  </a:lnTo>
                  <a:lnTo>
                    <a:pt x="286" y="214"/>
                  </a:lnTo>
                  <a:lnTo>
                    <a:pt x="282" y="214"/>
                  </a:lnTo>
                  <a:lnTo>
                    <a:pt x="282" y="218"/>
                  </a:lnTo>
                  <a:lnTo>
                    <a:pt x="282" y="214"/>
                  </a:lnTo>
                  <a:lnTo>
                    <a:pt x="278" y="218"/>
                  </a:lnTo>
                  <a:lnTo>
                    <a:pt x="282" y="218"/>
                  </a:lnTo>
                  <a:lnTo>
                    <a:pt x="278" y="218"/>
                  </a:lnTo>
                  <a:lnTo>
                    <a:pt x="278" y="222"/>
                  </a:lnTo>
                  <a:lnTo>
                    <a:pt x="282" y="226"/>
                  </a:lnTo>
                  <a:lnTo>
                    <a:pt x="286" y="226"/>
                  </a:lnTo>
                  <a:lnTo>
                    <a:pt x="286" y="228"/>
                  </a:lnTo>
                  <a:lnTo>
                    <a:pt x="286" y="226"/>
                  </a:lnTo>
                  <a:lnTo>
                    <a:pt x="290" y="226"/>
                  </a:lnTo>
                  <a:lnTo>
                    <a:pt x="290" y="228"/>
                  </a:lnTo>
                  <a:lnTo>
                    <a:pt x="290" y="232"/>
                  </a:lnTo>
                  <a:lnTo>
                    <a:pt x="286" y="236"/>
                  </a:lnTo>
                  <a:lnTo>
                    <a:pt x="286" y="240"/>
                  </a:lnTo>
                  <a:lnTo>
                    <a:pt x="290" y="240"/>
                  </a:lnTo>
                  <a:lnTo>
                    <a:pt x="290" y="244"/>
                  </a:lnTo>
                  <a:lnTo>
                    <a:pt x="290" y="248"/>
                  </a:lnTo>
                  <a:lnTo>
                    <a:pt x="294" y="248"/>
                  </a:lnTo>
                  <a:lnTo>
                    <a:pt x="290" y="248"/>
                  </a:lnTo>
                  <a:lnTo>
                    <a:pt x="290" y="252"/>
                  </a:lnTo>
                  <a:lnTo>
                    <a:pt x="294" y="262"/>
                  </a:lnTo>
                  <a:lnTo>
                    <a:pt x="294" y="266"/>
                  </a:lnTo>
                  <a:lnTo>
                    <a:pt x="294" y="270"/>
                  </a:lnTo>
                  <a:lnTo>
                    <a:pt x="294" y="274"/>
                  </a:lnTo>
                  <a:lnTo>
                    <a:pt x="290" y="274"/>
                  </a:lnTo>
                  <a:lnTo>
                    <a:pt x="290" y="278"/>
                  </a:lnTo>
                  <a:lnTo>
                    <a:pt x="290" y="274"/>
                  </a:lnTo>
                  <a:lnTo>
                    <a:pt x="290" y="270"/>
                  </a:lnTo>
                  <a:lnTo>
                    <a:pt x="290" y="266"/>
                  </a:lnTo>
                  <a:lnTo>
                    <a:pt x="290" y="270"/>
                  </a:lnTo>
                  <a:lnTo>
                    <a:pt x="286" y="270"/>
                  </a:lnTo>
                  <a:lnTo>
                    <a:pt x="286" y="266"/>
                  </a:lnTo>
                  <a:lnTo>
                    <a:pt x="290" y="266"/>
                  </a:lnTo>
                  <a:lnTo>
                    <a:pt x="286" y="266"/>
                  </a:lnTo>
                  <a:lnTo>
                    <a:pt x="286" y="270"/>
                  </a:lnTo>
                  <a:lnTo>
                    <a:pt x="286" y="274"/>
                  </a:lnTo>
                  <a:lnTo>
                    <a:pt x="286" y="278"/>
                  </a:lnTo>
                  <a:lnTo>
                    <a:pt x="286" y="274"/>
                  </a:lnTo>
                  <a:lnTo>
                    <a:pt x="286" y="270"/>
                  </a:lnTo>
                  <a:lnTo>
                    <a:pt x="286" y="274"/>
                  </a:lnTo>
                  <a:lnTo>
                    <a:pt x="282" y="274"/>
                  </a:lnTo>
                  <a:lnTo>
                    <a:pt x="282" y="270"/>
                  </a:lnTo>
                  <a:lnTo>
                    <a:pt x="282" y="274"/>
                  </a:lnTo>
                  <a:lnTo>
                    <a:pt x="282" y="278"/>
                  </a:lnTo>
                  <a:lnTo>
                    <a:pt x="282" y="274"/>
                  </a:lnTo>
                  <a:lnTo>
                    <a:pt x="282" y="270"/>
                  </a:lnTo>
                  <a:lnTo>
                    <a:pt x="278" y="270"/>
                  </a:lnTo>
                  <a:lnTo>
                    <a:pt x="282" y="266"/>
                  </a:lnTo>
                  <a:lnTo>
                    <a:pt x="278" y="262"/>
                  </a:lnTo>
                  <a:lnTo>
                    <a:pt x="278" y="258"/>
                  </a:lnTo>
                  <a:lnTo>
                    <a:pt x="278" y="262"/>
                  </a:lnTo>
                  <a:lnTo>
                    <a:pt x="278" y="266"/>
                  </a:lnTo>
                  <a:lnTo>
                    <a:pt x="282" y="266"/>
                  </a:lnTo>
                  <a:lnTo>
                    <a:pt x="278" y="266"/>
                  </a:lnTo>
                  <a:lnTo>
                    <a:pt x="278" y="270"/>
                  </a:lnTo>
                  <a:lnTo>
                    <a:pt x="274" y="274"/>
                  </a:lnTo>
                  <a:lnTo>
                    <a:pt x="272" y="274"/>
                  </a:lnTo>
                  <a:lnTo>
                    <a:pt x="268" y="278"/>
                  </a:lnTo>
                  <a:lnTo>
                    <a:pt x="264" y="278"/>
                  </a:lnTo>
                  <a:lnTo>
                    <a:pt x="264" y="282"/>
                  </a:lnTo>
                  <a:lnTo>
                    <a:pt x="264" y="286"/>
                  </a:lnTo>
                  <a:lnTo>
                    <a:pt x="264" y="288"/>
                  </a:lnTo>
                  <a:lnTo>
                    <a:pt x="264" y="292"/>
                  </a:lnTo>
                  <a:lnTo>
                    <a:pt x="260" y="292"/>
                  </a:lnTo>
                  <a:lnTo>
                    <a:pt x="260" y="296"/>
                  </a:lnTo>
                  <a:lnTo>
                    <a:pt x="260" y="300"/>
                  </a:lnTo>
                  <a:lnTo>
                    <a:pt x="256" y="300"/>
                  </a:lnTo>
                  <a:lnTo>
                    <a:pt x="256" y="302"/>
                  </a:lnTo>
                  <a:lnTo>
                    <a:pt x="252" y="302"/>
                  </a:lnTo>
                  <a:lnTo>
                    <a:pt x="256" y="302"/>
                  </a:lnTo>
                  <a:lnTo>
                    <a:pt x="252" y="302"/>
                  </a:lnTo>
                  <a:lnTo>
                    <a:pt x="252" y="306"/>
                  </a:lnTo>
                  <a:lnTo>
                    <a:pt x="248" y="306"/>
                  </a:lnTo>
                  <a:lnTo>
                    <a:pt x="246" y="306"/>
                  </a:lnTo>
                  <a:lnTo>
                    <a:pt x="242" y="310"/>
                  </a:lnTo>
                  <a:lnTo>
                    <a:pt x="242" y="306"/>
                  </a:lnTo>
                  <a:lnTo>
                    <a:pt x="246" y="306"/>
                  </a:lnTo>
                  <a:lnTo>
                    <a:pt x="242" y="302"/>
                  </a:lnTo>
                  <a:lnTo>
                    <a:pt x="242" y="306"/>
                  </a:lnTo>
                  <a:lnTo>
                    <a:pt x="238" y="306"/>
                  </a:lnTo>
                  <a:lnTo>
                    <a:pt x="238" y="310"/>
                  </a:lnTo>
                  <a:lnTo>
                    <a:pt x="242" y="310"/>
                  </a:lnTo>
                  <a:lnTo>
                    <a:pt x="242" y="306"/>
                  </a:lnTo>
                  <a:lnTo>
                    <a:pt x="242" y="310"/>
                  </a:lnTo>
                  <a:lnTo>
                    <a:pt x="238" y="310"/>
                  </a:lnTo>
                  <a:lnTo>
                    <a:pt x="238" y="314"/>
                  </a:lnTo>
                  <a:lnTo>
                    <a:pt x="234" y="318"/>
                  </a:lnTo>
                  <a:lnTo>
                    <a:pt x="230" y="318"/>
                  </a:lnTo>
                  <a:lnTo>
                    <a:pt x="234" y="318"/>
                  </a:lnTo>
                  <a:lnTo>
                    <a:pt x="230" y="322"/>
                  </a:lnTo>
                  <a:lnTo>
                    <a:pt x="230" y="326"/>
                  </a:lnTo>
                  <a:lnTo>
                    <a:pt x="226" y="330"/>
                  </a:lnTo>
                  <a:lnTo>
                    <a:pt x="222" y="332"/>
                  </a:lnTo>
                  <a:lnTo>
                    <a:pt x="218" y="332"/>
                  </a:lnTo>
                  <a:lnTo>
                    <a:pt x="218" y="336"/>
                  </a:lnTo>
                  <a:lnTo>
                    <a:pt x="216" y="336"/>
                  </a:lnTo>
                  <a:lnTo>
                    <a:pt x="216" y="340"/>
                  </a:lnTo>
                  <a:lnTo>
                    <a:pt x="212" y="340"/>
                  </a:lnTo>
                  <a:lnTo>
                    <a:pt x="212" y="344"/>
                  </a:lnTo>
                  <a:lnTo>
                    <a:pt x="208" y="348"/>
                  </a:lnTo>
                  <a:lnTo>
                    <a:pt x="204" y="348"/>
                  </a:lnTo>
                  <a:lnTo>
                    <a:pt x="204" y="352"/>
                  </a:lnTo>
                  <a:lnTo>
                    <a:pt x="200" y="352"/>
                  </a:lnTo>
                  <a:lnTo>
                    <a:pt x="200" y="356"/>
                  </a:lnTo>
                  <a:lnTo>
                    <a:pt x="196" y="356"/>
                  </a:lnTo>
                  <a:lnTo>
                    <a:pt x="196" y="358"/>
                  </a:lnTo>
                  <a:lnTo>
                    <a:pt x="200" y="358"/>
                  </a:lnTo>
                  <a:lnTo>
                    <a:pt x="196" y="358"/>
                  </a:lnTo>
                  <a:lnTo>
                    <a:pt x="196" y="362"/>
                  </a:lnTo>
                  <a:lnTo>
                    <a:pt x="196" y="366"/>
                  </a:lnTo>
                  <a:lnTo>
                    <a:pt x="192" y="366"/>
                  </a:lnTo>
                  <a:lnTo>
                    <a:pt x="190" y="366"/>
                  </a:lnTo>
                  <a:lnTo>
                    <a:pt x="186" y="366"/>
                  </a:lnTo>
                  <a:lnTo>
                    <a:pt x="182" y="366"/>
                  </a:lnTo>
                  <a:lnTo>
                    <a:pt x="182" y="370"/>
                  </a:lnTo>
                  <a:lnTo>
                    <a:pt x="182" y="374"/>
                  </a:lnTo>
                  <a:lnTo>
                    <a:pt x="178" y="374"/>
                  </a:lnTo>
                  <a:lnTo>
                    <a:pt x="178" y="378"/>
                  </a:lnTo>
                  <a:lnTo>
                    <a:pt x="178" y="374"/>
                  </a:lnTo>
                  <a:lnTo>
                    <a:pt x="178" y="378"/>
                  </a:lnTo>
                  <a:lnTo>
                    <a:pt x="178" y="374"/>
                  </a:lnTo>
                  <a:lnTo>
                    <a:pt x="174" y="374"/>
                  </a:lnTo>
                  <a:lnTo>
                    <a:pt x="170" y="378"/>
                  </a:lnTo>
                  <a:lnTo>
                    <a:pt x="166" y="382"/>
                  </a:lnTo>
                  <a:lnTo>
                    <a:pt x="166" y="386"/>
                  </a:lnTo>
                  <a:lnTo>
                    <a:pt x="166" y="388"/>
                  </a:lnTo>
                  <a:lnTo>
                    <a:pt x="166" y="392"/>
                  </a:lnTo>
                  <a:lnTo>
                    <a:pt x="166" y="396"/>
                  </a:lnTo>
                  <a:lnTo>
                    <a:pt x="166" y="400"/>
                  </a:lnTo>
                  <a:lnTo>
                    <a:pt x="166" y="404"/>
                  </a:lnTo>
                  <a:lnTo>
                    <a:pt x="166" y="408"/>
                  </a:lnTo>
                  <a:lnTo>
                    <a:pt x="166" y="412"/>
                  </a:lnTo>
                  <a:lnTo>
                    <a:pt x="170" y="412"/>
                  </a:lnTo>
                  <a:lnTo>
                    <a:pt x="166" y="412"/>
                  </a:lnTo>
                  <a:lnTo>
                    <a:pt x="166" y="416"/>
                  </a:lnTo>
                  <a:lnTo>
                    <a:pt x="170" y="416"/>
                  </a:lnTo>
                  <a:lnTo>
                    <a:pt x="170" y="418"/>
                  </a:lnTo>
                  <a:lnTo>
                    <a:pt x="170" y="416"/>
                  </a:lnTo>
                  <a:lnTo>
                    <a:pt x="166" y="412"/>
                  </a:lnTo>
                  <a:lnTo>
                    <a:pt x="166" y="416"/>
                  </a:lnTo>
                  <a:lnTo>
                    <a:pt x="170" y="418"/>
                  </a:lnTo>
                  <a:lnTo>
                    <a:pt x="170" y="422"/>
                  </a:lnTo>
                  <a:lnTo>
                    <a:pt x="170" y="426"/>
                  </a:lnTo>
                  <a:lnTo>
                    <a:pt x="170" y="430"/>
                  </a:lnTo>
                  <a:lnTo>
                    <a:pt x="166" y="430"/>
                  </a:lnTo>
                  <a:lnTo>
                    <a:pt x="166" y="434"/>
                  </a:lnTo>
                  <a:lnTo>
                    <a:pt x="166" y="438"/>
                  </a:lnTo>
                  <a:lnTo>
                    <a:pt x="162" y="442"/>
                  </a:lnTo>
                  <a:lnTo>
                    <a:pt x="162" y="446"/>
                  </a:lnTo>
                  <a:lnTo>
                    <a:pt x="162" y="448"/>
                  </a:lnTo>
                  <a:lnTo>
                    <a:pt x="162" y="452"/>
                  </a:lnTo>
                  <a:lnTo>
                    <a:pt x="162" y="456"/>
                  </a:lnTo>
                  <a:lnTo>
                    <a:pt x="162" y="460"/>
                  </a:lnTo>
                  <a:lnTo>
                    <a:pt x="162" y="464"/>
                  </a:lnTo>
                  <a:lnTo>
                    <a:pt x="162" y="468"/>
                  </a:lnTo>
                  <a:lnTo>
                    <a:pt x="162" y="472"/>
                  </a:lnTo>
                  <a:lnTo>
                    <a:pt x="160" y="472"/>
                  </a:lnTo>
                  <a:lnTo>
                    <a:pt x="162" y="472"/>
                  </a:lnTo>
                  <a:lnTo>
                    <a:pt x="160" y="472"/>
                  </a:lnTo>
                  <a:lnTo>
                    <a:pt x="156" y="472"/>
                  </a:lnTo>
                  <a:lnTo>
                    <a:pt x="156" y="474"/>
                  </a:lnTo>
                  <a:lnTo>
                    <a:pt x="156" y="478"/>
                  </a:lnTo>
                  <a:lnTo>
                    <a:pt x="152" y="478"/>
                  </a:lnTo>
                  <a:lnTo>
                    <a:pt x="152" y="482"/>
                  </a:lnTo>
                  <a:lnTo>
                    <a:pt x="148" y="486"/>
                  </a:lnTo>
                  <a:lnTo>
                    <a:pt x="152" y="486"/>
                  </a:lnTo>
                  <a:lnTo>
                    <a:pt x="152" y="490"/>
                  </a:lnTo>
                  <a:lnTo>
                    <a:pt x="156" y="490"/>
                  </a:lnTo>
                  <a:lnTo>
                    <a:pt x="152" y="490"/>
                  </a:lnTo>
                  <a:lnTo>
                    <a:pt x="148" y="490"/>
                  </a:lnTo>
                  <a:lnTo>
                    <a:pt x="144" y="494"/>
                  </a:lnTo>
                  <a:lnTo>
                    <a:pt x="140" y="494"/>
                  </a:lnTo>
                  <a:lnTo>
                    <a:pt x="140" y="498"/>
                  </a:lnTo>
                  <a:lnTo>
                    <a:pt x="140" y="502"/>
                  </a:lnTo>
                  <a:lnTo>
                    <a:pt x="136" y="504"/>
                  </a:lnTo>
                  <a:lnTo>
                    <a:pt x="134" y="508"/>
                  </a:lnTo>
                  <a:lnTo>
                    <a:pt x="130" y="508"/>
                  </a:lnTo>
                  <a:lnTo>
                    <a:pt x="126" y="508"/>
                  </a:lnTo>
                  <a:lnTo>
                    <a:pt x="126" y="504"/>
                  </a:lnTo>
                  <a:lnTo>
                    <a:pt x="122" y="504"/>
                  </a:lnTo>
                  <a:lnTo>
                    <a:pt x="122" y="502"/>
                  </a:lnTo>
                  <a:lnTo>
                    <a:pt x="118" y="502"/>
                  </a:lnTo>
                  <a:lnTo>
                    <a:pt x="118" y="498"/>
                  </a:lnTo>
                  <a:lnTo>
                    <a:pt x="118" y="494"/>
                  </a:lnTo>
                  <a:lnTo>
                    <a:pt x="114" y="494"/>
                  </a:lnTo>
                  <a:lnTo>
                    <a:pt x="114" y="490"/>
                  </a:lnTo>
                  <a:lnTo>
                    <a:pt x="114" y="486"/>
                  </a:lnTo>
                  <a:lnTo>
                    <a:pt x="114" y="482"/>
                  </a:lnTo>
                  <a:lnTo>
                    <a:pt x="110" y="478"/>
                  </a:lnTo>
                  <a:lnTo>
                    <a:pt x="114" y="478"/>
                  </a:lnTo>
                  <a:lnTo>
                    <a:pt x="110" y="478"/>
                  </a:lnTo>
                  <a:lnTo>
                    <a:pt x="114" y="482"/>
                  </a:lnTo>
                  <a:lnTo>
                    <a:pt x="114" y="486"/>
                  </a:lnTo>
                  <a:lnTo>
                    <a:pt x="114" y="482"/>
                  </a:lnTo>
                  <a:lnTo>
                    <a:pt x="114" y="478"/>
                  </a:lnTo>
                  <a:lnTo>
                    <a:pt x="110" y="478"/>
                  </a:lnTo>
                  <a:lnTo>
                    <a:pt x="110" y="474"/>
                  </a:lnTo>
                  <a:lnTo>
                    <a:pt x="110" y="478"/>
                  </a:lnTo>
                  <a:lnTo>
                    <a:pt x="110" y="474"/>
                  </a:lnTo>
                  <a:lnTo>
                    <a:pt x="110" y="472"/>
                  </a:lnTo>
                  <a:lnTo>
                    <a:pt x="110" y="468"/>
                  </a:lnTo>
                  <a:lnTo>
                    <a:pt x="106" y="464"/>
                  </a:lnTo>
                  <a:lnTo>
                    <a:pt x="106" y="460"/>
                  </a:lnTo>
                  <a:lnTo>
                    <a:pt x="104" y="452"/>
                  </a:lnTo>
                  <a:lnTo>
                    <a:pt x="104" y="448"/>
                  </a:lnTo>
                  <a:lnTo>
                    <a:pt x="100" y="446"/>
                  </a:lnTo>
                  <a:lnTo>
                    <a:pt x="100" y="442"/>
                  </a:lnTo>
                  <a:lnTo>
                    <a:pt x="96" y="442"/>
                  </a:lnTo>
                  <a:lnTo>
                    <a:pt x="96" y="438"/>
                  </a:lnTo>
                  <a:lnTo>
                    <a:pt x="96" y="434"/>
                  </a:lnTo>
                  <a:lnTo>
                    <a:pt x="92" y="430"/>
                  </a:lnTo>
                  <a:lnTo>
                    <a:pt x="92" y="426"/>
                  </a:lnTo>
                  <a:lnTo>
                    <a:pt x="92" y="422"/>
                  </a:lnTo>
                  <a:lnTo>
                    <a:pt x="92" y="418"/>
                  </a:lnTo>
                  <a:lnTo>
                    <a:pt x="90" y="416"/>
                  </a:lnTo>
                  <a:lnTo>
                    <a:pt x="90" y="412"/>
                  </a:lnTo>
                  <a:lnTo>
                    <a:pt x="90" y="408"/>
                  </a:lnTo>
                  <a:lnTo>
                    <a:pt x="90" y="404"/>
                  </a:lnTo>
                  <a:lnTo>
                    <a:pt x="86" y="404"/>
                  </a:lnTo>
                  <a:lnTo>
                    <a:pt x="86" y="400"/>
                  </a:lnTo>
                  <a:lnTo>
                    <a:pt x="86" y="396"/>
                  </a:lnTo>
                  <a:lnTo>
                    <a:pt x="86" y="400"/>
                  </a:lnTo>
                  <a:lnTo>
                    <a:pt x="86" y="396"/>
                  </a:lnTo>
                  <a:lnTo>
                    <a:pt x="82" y="396"/>
                  </a:lnTo>
                  <a:lnTo>
                    <a:pt x="82" y="392"/>
                  </a:lnTo>
                  <a:lnTo>
                    <a:pt x="82" y="388"/>
                  </a:lnTo>
                  <a:lnTo>
                    <a:pt x="78" y="386"/>
                  </a:lnTo>
                  <a:lnTo>
                    <a:pt x="78" y="382"/>
                  </a:lnTo>
                  <a:lnTo>
                    <a:pt x="82" y="386"/>
                  </a:lnTo>
                  <a:lnTo>
                    <a:pt x="82" y="382"/>
                  </a:lnTo>
                  <a:lnTo>
                    <a:pt x="78" y="382"/>
                  </a:lnTo>
                  <a:lnTo>
                    <a:pt x="78" y="378"/>
                  </a:lnTo>
                  <a:lnTo>
                    <a:pt x="74" y="378"/>
                  </a:lnTo>
                  <a:lnTo>
                    <a:pt x="74" y="374"/>
                  </a:lnTo>
                  <a:lnTo>
                    <a:pt x="74" y="370"/>
                  </a:lnTo>
                  <a:lnTo>
                    <a:pt x="70" y="366"/>
                  </a:lnTo>
                  <a:lnTo>
                    <a:pt x="70" y="362"/>
                  </a:lnTo>
                  <a:lnTo>
                    <a:pt x="70" y="358"/>
                  </a:lnTo>
                  <a:lnTo>
                    <a:pt x="70" y="356"/>
                  </a:lnTo>
                  <a:lnTo>
                    <a:pt x="70" y="352"/>
                  </a:lnTo>
                  <a:lnTo>
                    <a:pt x="70" y="348"/>
                  </a:lnTo>
                  <a:lnTo>
                    <a:pt x="70" y="344"/>
                  </a:lnTo>
                  <a:lnTo>
                    <a:pt x="66" y="344"/>
                  </a:lnTo>
                  <a:lnTo>
                    <a:pt x="66" y="340"/>
                  </a:lnTo>
                  <a:lnTo>
                    <a:pt x="66" y="336"/>
                  </a:lnTo>
                  <a:lnTo>
                    <a:pt x="66" y="332"/>
                  </a:lnTo>
                  <a:lnTo>
                    <a:pt x="66" y="330"/>
                  </a:lnTo>
                  <a:lnTo>
                    <a:pt x="62" y="326"/>
                  </a:lnTo>
                  <a:lnTo>
                    <a:pt x="66" y="326"/>
                  </a:lnTo>
                  <a:lnTo>
                    <a:pt x="66" y="322"/>
                  </a:lnTo>
                  <a:lnTo>
                    <a:pt x="66" y="318"/>
                  </a:lnTo>
                  <a:lnTo>
                    <a:pt x="66" y="322"/>
                  </a:lnTo>
                  <a:lnTo>
                    <a:pt x="62" y="322"/>
                  </a:lnTo>
                  <a:lnTo>
                    <a:pt x="62" y="318"/>
                  </a:lnTo>
                  <a:lnTo>
                    <a:pt x="62" y="314"/>
                  </a:lnTo>
                  <a:lnTo>
                    <a:pt x="66" y="314"/>
                  </a:lnTo>
                  <a:lnTo>
                    <a:pt x="66" y="318"/>
                  </a:lnTo>
                  <a:lnTo>
                    <a:pt x="66" y="314"/>
                  </a:lnTo>
                  <a:lnTo>
                    <a:pt x="62" y="314"/>
                  </a:lnTo>
                  <a:lnTo>
                    <a:pt x="62" y="310"/>
                  </a:lnTo>
                  <a:lnTo>
                    <a:pt x="62" y="306"/>
                  </a:lnTo>
                  <a:lnTo>
                    <a:pt x="62" y="302"/>
                  </a:lnTo>
                  <a:lnTo>
                    <a:pt x="62" y="300"/>
                  </a:lnTo>
                  <a:lnTo>
                    <a:pt x="62" y="296"/>
                  </a:lnTo>
                  <a:lnTo>
                    <a:pt x="66" y="296"/>
                  </a:lnTo>
                  <a:lnTo>
                    <a:pt x="66" y="288"/>
                  </a:lnTo>
                  <a:lnTo>
                    <a:pt x="62" y="288"/>
                  </a:lnTo>
                  <a:lnTo>
                    <a:pt x="62" y="286"/>
                  </a:lnTo>
                  <a:lnTo>
                    <a:pt x="62" y="282"/>
                  </a:lnTo>
                  <a:lnTo>
                    <a:pt x="60" y="282"/>
                  </a:lnTo>
                  <a:lnTo>
                    <a:pt x="60" y="278"/>
                  </a:lnTo>
                  <a:lnTo>
                    <a:pt x="62" y="278"/>
                  </a:lnTo>
                  <a:lnTo>
                    <a:pt x="60" y="278"/>
                  </a:lnTo>
                  <a:lnTo>
                    <a:pt x="62" y="278"/>
                  </a:lnTo>
                  <a:lnTo>
                    <a:pt x="62" y="274"/>
                  </a:lnTo>
                  <a:lnTo>
                    <a:pt x="66" y="274"/>
                  </a:lnTo>
                  <a:lnTo>
                    <a:pt x="70" y="274"/>
                  </a:lnTo>
                  <a:lnTo>
                    <a:pt x="66" y="274"/>
                  </a:lnTo>
                  <a:lnTo>
                    <a:pt x="62" y="274"/>
                  </a:lnTo>
                  <a:lnTo>
                    <a:pt x="60" y="274"/>
                  </a:lnTo>
                  <a:lnTo>
                    <a:pt x="60" y="270"/>
                  </a:lnTo>
                  <a:lnTo>
                    <a:pt x="62" y="270"/>
                  </a:lnTo>
                  <a:lnTo>
                    <a:pt x="60" y="270"/>
                  </a:lnTo>
                  <a:lnTo>
                    <a:pt x="60" y="266"/>
                  </a:lnTo>
                  <a:lnTo>
                    <a:pt x="62" y="262"/>
                  </a:lnTo>
                  <a:lnTo>
                    <a:pt x="62" y="266"/>
                  </a:lnTo>
                  <a:lnTo>
                    <a:pt x="62" y="262"/>
                  </a:lnTo>
                  <a:lnTo>
                    <a:pt x="66" y="262"/>
                  </a:lnTo>
                  <a:lnTo>
                    <a:pt x="62" y="262"/>
                  </a:lnTo>
                  <a:lnTo>
                    <a:pt x="60" y="262"/>
                  </a:lnTo>
                  <a:lnTo>
                    <a:pt x="56" y="262"/>
                  </a:lnTo>
                  <a:lnTo>
                    <a:pt x="56" y="266"/>
                  </a:lnTo>
                  <a:lnTo>
                    <a:pt x="56" y="270"/>
                  </a:lnTo>
                  <a:lnTo>
                    <a:pt x="52" y="270"/>
                  </a:lnTo>
                  <a:lnTo>
                    <a:pt x="56" y="270"/>
                  </a:lnTo>
                  <a:lnTo>
                    <a:pt x="52" y="270"/>
                  </a:lnTo>
                  <a:lnTo>
                    <a:pt x="52" y="274"/>
                  </a:lnTo>
                  <a:lnTo>
                    <a:pt x="56" y="270"/>
                  </a:lnTo>
                  <a:lnTo>
                    <a:pt x="56" y="274"/>
                  </a:lnTo>
                  <a:lnTo>
                    <a:pt x="56" y="278"/>
                  </a:lnTo>
                  <a:lnTo>
                    <a:pt x="56" y="282"/>
                  </a:lnTo>
                  <a:lnTo>
                    <a:pt x="52" y="282"/>
                  </a:lnTo>
                  <a:lnTo>
                    <a:pt x="52" y="286"/>
                  </a:lnTo>
                  <a:lnTo>
                    <a:pt x="48" y="286"/>
                  </a:lnTo>
                  <a:lnTo>
                    <a:pt x="44" y="288"/>
                  </a:lnTo>
                  <a:lnTo>
                    <a:pt x="40" y="288"/>
                  </a:lnTo>
                  <a:lnTo>
                    <a:pt x="36" y="292"/>
                  </a:lnTo>
                  <a:lnTo>
                    <a:pt x="34" y="288"/>
                  </a:lnTo>
                  <a:lnTo>
                    <a:pt x="30" y="288"/>
                  </a:lnTo>
                  <a:lnTo>
                    <a:pt x="30" y="286"/>
                  </a:lnTo>
                  <a:lnTo>
                    <a:pt x="26" y="286"/>
                  </a:lnTo>
                  <a:lnTo>
                    <a:pt x="26" y="282"/>
                  </a:lnTo>
                  <a:lnTo>
                    <a:pt x="22" y="282"/>
                  </a:lnTo>
                  <a:lnTo>
                    <a:pt x="22" y="278"/>
                  </a:lnTo>
                  <a:lnTo>
                    <a:pt x="18" y="274"/>
                  </a:lnTo>
                  <a:lnTo>
                    <a:pt x="14" y="270"/>
                  </a:lnTo>
                  <a:lnTo>
                    <a:pt x="10" y="266"/>
                  </a:lnTo>
                  <a:lnTo>
                    <a:pt x="10" y="262"/>
                  </a:lnTo>
                  <a:lnTo>
                    <a:pt x="10" y="258"/>
                  </a:lnTo>
                  <a:lnTo>
                    <a:pt x="10" y="262"/>
                  </a:lnTo>
                  <a:lnTo>
                    <a:pt x="14" y="262"/>
                  </a:lnTo>
                  <a:lnTo>
                    <a:pt x="10" y="262"/>
                  </a:lnTo>
                  <a:lnTo>
                    <a:pt x="14" y="262"/>
                  </a:lnTo>
                  <a:lnTo>
                    <a:pt x="18" y="262"/>
                  </a:lnTo>
                  <a:lnTo>
                    <a:pt x="22" y="262"/>
                  </a:lnTo>
                  <a:lnTo>
                    <a:pt x="22" y="258"/>
                  </a:lnTo>
                  <a:lnTo>
                    <a:pt x="26" y="258"/>
                  </a:lnTo>
                  <a:lnTo>
                    <a:pt x="30" y="256"/>
                  </a:lnTo>
                  <a:lnTo>
                    <a:pt x="30" y="252"/>
                  </a:lnTo>
                  <a:lnTo>
                    <a:pt x="34" y="252"/>
                  </a:lnTo>
                  <a:lnTo>
                    <a:pt x="34" y="248"/>
                  </a:lnTo>
                  <a:lnTo>
                    <a:pt x="30" y="248"/>
                  </a:lnTo>
                  <a:lnTo>
                    <a:pt x="30" y="252"/>
                  </a:lnTo>
                  <a:lnTo>
                    <a:pt x="22" y="252"/>
                  </a:lnTo>
                  <a:lnTo>
                    <a:pt x="22" y="256"/>
                  </a:lnTo>
                  <a:lnTo>
                    <a:pt x="18" y="256"/>
                  </a:lnTo>
                  <a:lnTo>
                    <a:pt x="14" y="256"/>
                  </a:lnTo>
                  <a:lnTo>
                    <a:pt x="14" y="252"/>
                  </a:lnTo>
                  <a:lnTo>
                    <a:pt x="10" y="252"/>
                  </a:lnTo>
                  <a:lnTo>
                    <a:pt x="6" y="252"/>
                  </a:lnTo>
                  <a:lnTo>
                    <a:pt x="6" y="248"/>
                  </a:lnTo>
                  <a:lnTo>
                    <a:pt x="4" y="244"/>
                  </a:lnTo>
                  <a:lnTo>
                    <a:pt x="4" y="240"/>
                  </a:lnTo>
                  <a:lnTo>
                    <a:pt x="4" y="236"/>
                  </a:lnTo>
                  <a:lnTo>
                    <a:pt x="6" y="236"/>
                  </a:lnTo>
                  <a:lnTo>
                    <a:pt x="4" y="236"/>
                  </a:lnTo>
                  <a:lnTo>
                    <a:pt x="0" y="240"/>
                  </a:lnTo>
                  <a:lnTo>
                    <a:pt x="0" y="236"/>
                  </a:lnTo>
                  <a:lnTo>
                    <a:pt x="0" y="236"/>
                  </a:lnTo>
                  <a:lnTo>
                    <a:pt x="0" y="236"/>
                  </a:lnTo>
                  <a:close/>
                  <a:moveTo>
                    <a:pt x="282" y="270"/>
                  </a:moveTo>
                  <a:lnTo>
                    <a:pt x="282" y="274"/>
                  </a:lnTo>
                  <a:lnTo>
                    <a:pt x="278" y="274"/>
                  </a:lnTo>
                  <a:lnTo>
                    <a:pt x="278" y="270"/>
                  </a:lnTo>
                  <a:lnTo>
                    <a:pt x="282" y="270"/>
                  </a:lnTo>
                  <a:lnTo>
                    <a:pt x="282" y="270"/>
                  </a:lnTo>
                  <a:lnTo>
                    <a:pt x="282" y="270"/>
                  </a:lnTo>
                  <a:close/>
                  <a:moveTo>
                    <a:pt x="346" y="442"/>
                  </a:moveTo>
                  <a:lnTo>
                    <a:pt x="346" y="438"/>
                  </a:lnTo>
                  <a:lnTo>
                    <a:pt x="350" y="438"/>
                  </a:lnTo>
                  <a:lnTo>
                    <a:pt x="346" y="442"/>
                  </a:lnTo>
                  <a:lnTo>
                    <a:pt x="346" y="442"/>
                  </a:lnTo>
                  <a:lnTo>
                    <a:pt x="346" y="442"/>
                  </a:lnTo>
                  <a:close/>
                  <a:moveTo>
                    <a:pt x="346" y="452"/>
                  </a:moveTo>
                  <a:lnTo>
                    <a:pt x="342" y="452"/>
                  </a:lnTo>
                  <a:lnTo>
                    <a:pt x="346" y="452"/>
                  </a:lnTo>
                  <a:lnTo>
                    <a:pt x="346" y="452"/>
                  </a:lnTo>
                  <a:lnTo>
                    <a:pt x="346" y="452"/>
                  </a:lnTo>
                  <a:close/>
                  <a:moveTo>
                    <a:pt x="346" y="490"/>
                  </a:moveTo>
                  <a:lnTo>
                    <a:pt x="346" y="494"/>
                  </a:lnTo>
                  <a:lnTo>
                    <a:pt x="346" y="490"/>
                  </a:lnTo>
                  <a:lnTo>
                    <a:pt x="346" y="490"/>
                  </a:lnTo>
                  <a:lnTo>
                    <a:pt x="346" y="490"/>
                  </a:lnTo>
                  <a:close/>
                  <a:moveTo>
                    <a:pt x="66" y="504"/>
                  </a:moveTo>
                  <a:lnTo>
                    <a:pt x="66" y="508"/>
                  </a:lnTo>
                  <a:lnTo>
                    <a:pt x="66" y="504"/>
                  </a:lnTo>
                  <a:lnTo>
                    <a:pt x="66" y="504"/>
                  </a:lnTo>
                  <a:lnTo>
                    <a:pt x="66" y="504"/>
                  </a:lnTo>
                  <a:close/>
                  <a:moveTo>
                    <a:pt x="358" y="508"/>
                  </a:moveTo>
                  <a:lnTo>
                    <a:pt x="358" y="512"/>
                  </a:lnTo>
                  <a:lnTo>
                    <a:pt x="358" y="508"/>
                  </a:lnTo>
                  <a:lnTo>
                    <a:pt x="358" y="508"/>
                  </a:lnTo>
                  <a:lnTo>
                    <a:pt x="358" y="508"/>
                  </a:lnTo>
                  <a:close/>
                  <a:moveTo>
                    <a:pt x="354" y="512"/>
                  </a:moveTo>
                  <a:lnTo>
                    <a:pt x="358" y="512"/>
                  </a:lnTo>
                  <a:lnTo>
                    <a:pt x="354" y="512"/>
                  </a:lnTo>
                  <a:lnTo>
                    <a:pt x="354" y="512"/>
                  </a:lnTo>
                  <a:lnTo>
                    <a:pt x="354" y="512"/>
                  </a:lnTo>
                  <a:close/>
                  <a:moveTo>
                    <a:pt x="360" y="524"/>
                  </a:moveTo>
                  <a:lnTo>
                    <a:pt x="358" y="524"/>
                  </a:lnTo>
                  <a:lnTo>
                    <a:pt x="360" y="524"/>
                  </a:lnTo>
                  <a:lnTo>
                    <a:pt x="360" y="520"/>
                  </a:lnTo>
                  <a:lnTo>
                    <a:pt x="360" y="524"/>
                  </a:lnTo>
                  <a:lnTo>
                    <a:pt x="360" y="524"/>
                  </a:lnTo>
                  <a:lnTo>
                    <a:pt x="360" y="524"/>
                  </a:lnTo>
                  <a:close/>
                  <a:moveTo>
                    <a:pt x="346" y="426"/>
                  </a:moveTo>
                  <a:lnTo>
                    <a:pt x="346" y="422"/>
                  </a:lnTo>
                  <a:lnTo>
                    <a:pt x="346" y="418"/>
                  </a:lnTo>
                  <a:lnTo>
                    <a:pt x="350" y="418"/>
                  </a:lnTo>
                  <a:lnTo>
                    <a:pt x="350" y="416"/>
                  </a:lnTo>
                  <a:lnTo>
                    <a:pt x="350" y="418"/>
                  </a:lnTo>
                  <a:lnTo>
                    <a:pt x="350" y="422"/>
                  </a:lnTo>
                  <a:lnTo>
                    <a:pt x="350" y="426"/>
                  </a:lnTo>
                  <a:lnTo>
                    <a:pt x="350" y="422"/>
                  </a:lnTo>
                  <a:lnTo>
                    <a:pt x="346" y="426"/>
                  </a:lnTo>
                  <a:lnTo>
                    <a:pt x="346" y="426"/>
                  </a:lnTo>
                  <a:lnTo>
                    <a:pt x="346" y="426"/>
                  </a:lnTo>
                  <a:close/>
                  <a:moveTo>
                    <a:pt x="346" y="438"/>
                  </a:moveTo>
                  <a:lnTo>
                    <a:pt x="346" y="434"/>
                  </a:lnTo>
                  <a:lnTo>
                    <a:pt x="346" y="430"/>
                  </a:lnTo>
                  <a:lnTo>
                    <a:pt x="346" y="426"/>
                  </a:lnTo>
                  <a:lnTo>
                    <a:pt x="350" y="426"/>
                  </a:lnTo>
                  <a:lnTo>
                    <a:pt x="350" y="430"/>
                  </a:lnTo>
                  <a:lnTo>
                    <a:pt x="350" y="434"/>
                  </a:lnTo>
                  <a:lnTo>
                    <a:pt x="346" y="434"/>
                  </a:lnTo>
                  <a:lnTo>
                    <a:pt x="346" y="438"/>
                  </a:lnTo>
                  <a:lnTo>
                    <a:pt x="350" y="438"/>
                  </a:lnTo>
                  <a:lnTo>
                    <a:pt x="346" y="438"/>
                  </a:lnTo>
                  <a:lnTo>
                    <a:pt x="346" y="438"/>
                  </a:lnTo>
                  <a:lnTo>
                    <a:pt x="346" y="438"/>
                  </a:lnTo>
                  <a:close/>
                  <a:moveTo>
                    <a:pt x="346" y="442"/>
                  </a:moveTo>
                  <a:lnTo>
                    <a:pt x="346" y="446"/>
                  </a:lnTo>
                  <a:lnTo>
                    <a:pt x="346" y="448"/>
                  </a:lnTo>
                  <a:lnTo>
                    <a:pt x="346" y="452"/>
                  </a:lnTo>
                  <a:lnTo>
                    <a:pt x="342" y="448"/>
                  </a:lnTo>
                  <a:lnTo>
                    <a:pt x="342" y="446"/>
                  </a:lnTo>
                  <a:lnTo>
                    <a:pt x="346" y="446"/>
                  </a:lnTo>
                  <a:lnTo>
                    <a:pt x="346" y="442"/>
                  </a:lnTo>
                  <a:lnTo>
                    <a:pt x="346" y="438"/>
                  </a:lnTo>
                  <a:lnTo>
                    <a:pt x="346" y="442"/>
                  </a:lnTo>
                  <a:lnTo>
                    <a:pt x="346" y="438"/>
                  </a:lnTo>
                  <a:lnTo>
                    <a:pt x="346" y="442"/>
                  </a:lnTo>
                  <a:lnTo>
                    <a:pt x="346" y="442"/>
                  </a:lnTo>
                  <a:lnTo>
                    <a:pt x="346" y="442"/>
                  </a:lnTo>
                  <a:close/>
                  <a:moveTo>
                    <a:pt x="342" y="464"/>
                  </a:moveTo>
                  <a:lnTo>
                    <a:pt x="342" y="468"/>
                  </a:lnTo>
                  <a:lnTo>
                    <a:pt x="338" y="468"/>
                  </a:lnTo>
                  <a:lnTo>
                    <a:pt x="338" y="464"/>
                  </a:lnTo>
                  <a:lnTo>
                    <a:pt x="342" y="464"/>
                  </a:lnTo>
                  <a:lnTo>
                    <a:pt x="342" y="460"/>
                  </a:lnTo>
                  <a:lnTo>
                    <a:pt x="342" y="464"/>
                  </a:lnTo>
                  <a:lnTo>
                    <a:pt x="342" y="464"/>
                  </a:lnTo>
                  <a:lnTo>
                    <a:pt x="342" y="464"/>
                  </a:lnTo>
                  <a:close/>
                  <a:moveTo>
                    <a:pt x="360" y="528"/>
                  </a:moveTo>
                  <a:lnTo>
                    <a:pt x="360" y="532"/>
                  </a:lnTo>
                  <a:lnTo>
                    <a:pt x="360" y="534"/>
                  </a:lnTo>
                  <a:lnTo>
                    <a:pt x="360" y="532"/>
                  </a:lnTo>
                  <a:lnTo>
                    <a:pt x="360" y="528"/>
                  </a:lnTo>
                  <a:lnTo>
                    <a:pt x="358" y="528"/>
                  </a:lnTo>
                  <a:lnTo>
                    <a:pt x="360" y="524"/>
                  </a:lnTo>
                  <a:lnTo>
                    <a:pt x="360" y="528"/>
                  </a:lnTo>
                  <a:lnTo>
                    <a:pt x="360" y="528"/>
                  </a:lnTo>
                  <a:lnTo>
                    <a:pt x="360" y="528"/>
                  </a:lnTo>
                  <a:close/>
                </a:path>
              </a:pathLst>
            </a:custGeom>
            <a:solidFill>
              <a:schemeClr val="accent6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85" name="Freeform 367">
              <a:extLst>
                <a:ext uri="{FF2B5EF4-FFF2-40B4-BE49-F238E27FC236}">
                  <a16:creationId xmlns:a16="http://schemas.microsoft.com/office/drawing/2014/main" id="{08352796-718E-496E-3FC9-E98267125245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036810" y="4241596"/>
              <a:ext cx="7416" cy="4450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3" y="2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2"/>
                  </a:lnTo>
                  <a:close/>
                </a:path>
              </a:pathLst>
            </a:custGeom>
            <a:solidFill>
              <a:schemeClr val="accent5"/>
            </a:solidFill>
            <a:ln w="4826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86" name="Freeform 368">
              <a:extLst>
                <a:ext uri="{FF2B5EF4-FFF2-40B4-BE49-F238E27FC236}">
                  <a16:creationId xmlns:a16="http://schemas.microsoft.com/office/drawing/2014/main" id="{7D96D869-94F3-99A8-EAE7-AAA0AF9ACABC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gray">
            <a:xfrm>
              <a:off x="2096132" y="4065111"/>
              <a:ext cx="31145" cy="1334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5" y="0"/>
                </a:cxn>
                <a:cxn ang="0">
                  <a:pos x="5" y="3"/>
                </a:cxn>
                <a:cxn ang="0">
                  <a:pos x="2" y="3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13" y="6"/>
                </a:cxn>
                <a:cxn ang="0">
                  <a:pos x="6" y="4"/>
                </a:cxn>
                <a:cxn ang="0">
                  <a:pos x="9" y="3"/>
                </a:cxn>
                <a:cxn ang="0">
                  <a:pos x="13" y="6"/>
                </a:cxn>
              </a:cxnLst>
              <a:rect l="0" t="0" r="r" b="b"/>
              <a:pathLst>
                <a:path w="13" h="6">
                  <a:moveTo>
                    <a:pt x="2" y="0"/>
                  </a:moveTo>
                  <a:lnTo>
                    <a:pt x="5" y="0"/>
                  </a:lnTo>
                  <a:lnTo>
                    <a:pt x="5" y="3"/>
                  </a:lnTo>
                  <a:lnTo>
                    <a:pt x="2" y="3"/>
                  </a:lnTo>
                  <a:lnTo>
                    <a:pt x="0" y="1"/>
                  </a:lnTo>
                  <a:lnTo>
                    <a:pt x="2" y="0"/>
                  </a:lnTo>
                  <a:close/>
                  <a:moveTo>
                    <a:pt x="13" y="6"/>
                  </a:moveTo>
                  <a:lnTo>
                    <a:pt x="6" y="4"/>
                  </a:lnTo>
                  <a:lnTo>
                    <a:pt x="9" y="3"/>
                  </a:lnTo>
                  <a:lnTo>
                    <a:pt x="13" y="6"/>
                  </a:lnTo>
                  <a:close/>
                </a:path>
              </a:pathLst>
            </a:custGeom>
            <a:solidFill>
              <a:schemeClr val="accent5"/>
            </a:solidFill>
            <a:ln w="4826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87" name="Freeform 369">
              <a:extLst>
                <a:ext uri="{FF2B5EF4-FFF2-40B4-BE49-F238E27FC236}">
                  <a16:creationId xmlns:a16="http://schemas.microsoft.com/office/drawing/2014/main" id="{C09E81B8-026F-E547-ECC0-3719E0E95D0F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139141" y="4081425"/>
              <a:ext cx="4450" cy="44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2"/>
                </a:cxn>
                <a:cxn ang="0">
                  <a:pos x="0" y="1"/>
                </a:cxn>
                <a:cxn ang="0">
                  <a:pos x="2" y="0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1" y="2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accent5"/>
            </a:solidFill>
            <a:ln w="4826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88" name="Freeform 370">
              <a:extLst>
                <a:ext uri="{FF2B5EF4-FFF2-40B4-BE49-F238E27FC236}">
                  <a16:creationId xmlns:a16="http://schemas.microsoft.com/office/drawing/2014/main" id="{0CD85F62-6A82-160C-8C43-C2721ECCE09D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159904" y="4192654"/>
              <a:ext cx="2966" cy="44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1" y="1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4826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89" name="Rectangle 371">
              <a:extLst>
                <a:ext uri="{FF2B5EF4-FFF2-40B4-BE49-F238E27FC236}">
                  <a16:creationId xmlns:a16="http://schemas.microsoft.com/office/drawing/2014/main" id="{9822EA24-E658-ABFC-F10F-4BE34FE74417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976004" y="4081425"/>
              <a:ext cx="2966" cy="2966"/>
            </a:xfrm>
            <a:prstGeom prst="rect">
              <a:avLst/>
            </a:prstGeom>
            <a:solidFill>
              <a:schemeClr val="accent5"/>
            </a:solidFill>
            <a:ln w="4826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90" name="Rectangle 372">
              <a:extLst>
                <a:ext uri="{FF2B5EF4-FFF2-40B4-BE49-F238E27FC236}">
                  <a16:creationId xmlns:a16="http://schemas.microsoft.com/office/drawing/2014/main" id="{0F7EACFB-9D5F-EC44-C746-E0FE241A4DDC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435753" y="4249011"/>
              <a:ext cx="2966" cy="1484"/>
            </a:xfrm>
            <a:prstGeom prst="rect">
              <a:avLst/>
            </a:prstGeom>
            <a:solidFill>
              <a:schemeClr val="accent5"/>
            </a:solidFill>
            <a:ln w="4826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91" name="Freeform 373">
              <a:extLst>
                <a:ext uri="{FF2B5EF4-FFF2-40B4-BE49-F238E27FC236}">
                  <a16:creationId xmlns:a16="http://schemas.microsoft.com/office/drawing/2014/main" id="{CD74B002-93D3-541F-3BCA-711489DAABD8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2635967" y="4145196"/>
              <a:ext cx="11865" cy="7416"/>
            </a:xfrm>
            <a:custGeom>
              <a:avLst/>
              <a:gdLst/>
              <a:ahLst/>
              <a:cxnLst>
                <a:cxn ang="0">
                  <a:pos x="5" y="3"/>
                </a:cxn>
                <a:cxn ang="0">
                  <a:pos x="1" y="1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5" y="3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3"/>
                  </a:lnTo>
                  <a:close/>
                </a:path>
              </a:pathLst>
            </a:custGeom>
            <a:solidFill>
              <a:schemeClr val="accent5"/>
            </a:solidFill>
            <a:ln w="4826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atin typeface="Montserrat" pitchFamily="2" charset="77"/>
              </a:endParaRPr>
            </a:p>
          </p:txBody>
        </p:sp>
        <p:sp>
          <p:nvSpPr>
            <p:cNvPr id="492" name="Elipse 491">
              <a:extLst>
                <a:ext uri="{FF2B5EF4-FFF2-40B4-BE49-F238E27FC236}">
                  <a16:creationId xmlns:a16="http://schemas.microsoft.com/office/drawing/2014/main" id="{485882E3-5785-C7EB-EFA3-D7BEBBE4BDFC}"/>
                </a:ext>
              </a:extLst>
            </p:cNvPr>
            <p:cNvSpPr/>
            <p:nvPr/>
          </p:nvSpPr>
          <p:spPr>
            <a:xfrm>
              <a:off x="6643340" y="2573061"/>
              <a:ext cx="45719" cy="45719"/>
            </a:xfrm>
            <a:prstGeom prst="ellipse">
              <a:avLst/>
            </a:prstGeom>
            <a:solidFill>
              <a:schemeClr val="accent2"/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latin typeface="Century Gothic" panose="020B0502020202020204" pitchFamily="34" charset="0"/>
              </a:endParaRPr>
            </a:p>
          </p:txBody>
        </p:sp>
        <p:sp>
          <p:nvSpPr>
            <p:cNvPr id="493" name="Elipse 492">
              <a:extLst>
                <a:ext uri="{FF2B5EF4-FFF2-40B4-BE49-F238E27FC236}">
                  <a16:creationId xmlns:a16="http://schemas.microsoft.com/office/drawing/2014/main" id="{74063E79-D05D-6552-3F00-BEB4265CF04B}"/>
                </a:ext>
              </a:extLst>
            </p:cNvPr>
            <p:cNvSpPr/>
            <p:nvPr/>
          </p:nvSpPr>
          <p:spPr>
            <a:xfrm>
              <a:off x="3849594" y="4446090"/>
              <a:ext cx="105698" cy="80828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latin typeface="Century Gothic" panose="020B0502020202020204" pitchFamily="34" charset="0"/>
              </a:endParaRPr>
            </a:p>
          </p:txBody>
        </p:sp>
        <p:sp>
          <p:nvSpPr>
            <p:cNvPr id="494" name="Elipse 493">
              <a:extLst>
                <a:ext uri="{FF2B5EF4-FFF2-40B4-BE49-F238E27FC236}">
                  <a16:creationId xmlns:a16="http://schemas.microsoft.com/office/drawing/2014/main" id="{5617FBE0-857B-E346-02CB-F0D4DC14D9D0}"/>
                </a:ext>
              </a:extLst>
            </p:cNvPr>
            <p:cNvSpPr/>
            <p:nvPr/>
          </p:nvSpPr>
          <p:spPr>
            <a:xfrm>
              <a:off x="3915421" y="3977179"/>
              <a:ext cx="133467" cy="116403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latin typeface="Century Gothic" panose="020B0502020202020204" pitchFamily="34" charset="0"/>
              </a:endParaRPr>
            </a:p>
          </p:txBody>
        </p:sp>
        <p:sp>
          <p:nvSpPr>
            <p:cNvPr id="495" name="Elipse 494">
              <a:extLst>
                <a:ext uri="{FF2B5EF4-FFF2-40B4-BE49-F238E27FC236}">
                  <a16:creationId xmlns:a16="http://schemas.microsoft.com/office/drawing/2014/main" id="{D609CD53-E75C-C722-3432-B03A392018E9}"/>
                </a:ext>
              </a:extLst>
            </p:cNvPr>
            <p:cNvSpPr/>
            <p:nvPr/>
          </p:nvSpPr>
          <p:spPr>
            <a:xfrm>
              <a:off x="4144440" y="4210118"/>
              <a:ext cx="75909" cy="88842"/>
            </a:xfrm>
            <a:prstGeom prst="ellipse">
              <a:avLst/>
            </a:prstGeom>
            <a:solidFill>
              <a:srgbClr val="008B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>
                <a:latin typeface="Century Gothic" panose="020B0502020202020204" pitchFamily="34" charset="0"/>
              </a:endParaRPr>
            </a:p>
          </p:txBody>
        </p:sp>
        <p:sp>
          <p:nvSpPr>
            <p:cNvPr id="496" name="Elipse 495">
              <a:extLst>
                <a:ext uri="{FF2B5EF4-FFF2-40B4-BE49-F238E27FC236}">
                  <a16:creationId xmlns:a16="http://schemas.microsoft.com/office/drawing/2014/main" id="{0EC814AD-7C2B-79E2-1631-1E013FC64C2D}"/>
                </a:ext>
              </a:extLst>
            </p:cNvPr>
            <p:cNvSpPr/>
            <p:nvPr/>
          </p:nvSpPr>
          <p:spPr>
            <a:xfrm>
              <a:off x="4113806" y="4335421"/>
              <a:ext cx="115774" cy="84721"/>
            </a:xfrm>
            <a:prstGeom prst="ellipse">
              <a:avLst/>
            </a:prstGeom>
            <a:solidFill>
              <a:srgbClr val="008B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>
                <a:latin typeface="Century Gothic" panose="020B0502020202020204" pitchFamily="34" charset="0"/>
              </a:endParaRPr>
            </a:p>
          </p:txBody>
        </p:sp>
        <p:sp>
          <p:nvSpPr>
            <p:cNvPr id="497" name="Elipse 496">
              <a:extLst>
                <a:ext uri="{FF2B5EF4-FFF2-40B4-BE49-F238E27FC236}">
                  <a16:creationId xmlns:a16="http://schemas.microsoft.com/office/drawing/2014/main" id="{7D28A163-70B9-F296-A418-2FC35CF1B52D}"/>
                </a:ext>
              </a:extLst>
            </p:cNvPr>
            <p:cNvSpPr/>
            <p:nvPr/>
          </p:nvSpPr>
          <p:spPr>
            <a:xfrm>
              <a:off x="4442346" y="4244944"/>
              <a:ext cx="137327" cy="144913"/>
            </a:xfrm>
            <a:prstGeom prst="ellipse">
              <a:avLst/>
            </a:prstGeom>
            <a:solidFill>
              <a:srgbClr val="008B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>
                <a:latin typeface="Century Gothic" panose="020B0502020202020204" pitchFamily="34" charset="0"/>
              </a:endParaRPr>
            </a:p>
          </p:txBody>
        </p:sp>
        <p:sp>
          <p:nvSpPr>
            <p:cNvPr id="498" name="Elipse 497">
              <a:extLst>
                <a:ext uri="{FF2B5EF4-FFF2-40B4-BE49-F238E27FC236}">
                  <a16:creationId xmlns:a16="http://schemas.microsoft.com/office/drawing/2014/main" id="{A28DC9BA-47C8-63C8-A279-7DEDB666E24D}"/>
                </a:ext>
              </a:extLst>
            </p:cNvPr>
            <p:cNvSpPr/>
            <p:nvPr/>
          </p:nvSpPr>
          <p:spPr>
            <a:xfrm>
              <a:off x="4322554" y="4380700"/>
              <a:ext cx="137327" cy="144913"/>
            </a:xfrm>
            <a:prstGeom prst="ellipse">
              <a:avLst/>
            </a:prstGeom>
            <a:solidFill>
              <a:srgbClr val="008B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>
                <a:latin typeface="Century Gothic" panose="020B0502020202020204" pitchFamily="34" charset="0"/>
              </a:endParaRPr>
            </a:p>
          </p:txBody>
        </p:sp>
        <p:sp>
          <p:nvSpPr>
            <p:cNvPr id="499" name="Elipse 498">
              <a:extLst>
                <a:ext uri="{FF2B5EF4-FFF2-40B4-BE49-F238E27FC236}">
                  <a16:creationId xmlns:a16="http://schemas.microsoft.com/office/drawing/2014/main" id="{D9B54CC9-EAFF-75E2-1096-9BCC73FF09AD}"/>
                </a:ext>
              </a:extLst>
            </p:cNvPr>
            <p:cNvSpPr/>
            <p:nvPr/>
          </p:nvSpPr>
          <p:spPr>
            <a:xfrm>
              <a:off x="4621122" y="4362176"/>
              <a:ext cx="182695" cy="193292"/>
            </a:xfrm>
            <a:prstGeom prst="ellipse">
              <a:avLst/>
            </a:prstGeom>
            <a:solidFill>
              <a:srgbClr val="008B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>
                <a:latin typeface="Century Gothic" panose="020B0502020202020204" pitchFamily="34" charset="0"/>
              </a:endParaRPr>
            </a:p>
          </p:txBody>
        </p:sp>
        <p:sp>
          <p:nvSpPr>
            <p:cNvPr id="500" name="Elipse 499">
              <a:extLst>
                <a:ext uri="{FF2B5EF4-FFF2-40B4-BE49-F238E27FC236}">
                  <a16:creationId xmlns:a16="http://schemas.microsoft.com/office/drawing/2014/main" id="{B297B335-8154-A803-1E82-A0DE710715EE}"/>
                </a:ext>
              </a:extLst>
            </p:cNvPr>
            <p:cNvSpPr/>
            <p:nvPr/>
          </p:nvSpPr>
          <p:spPr>
            <a:xfrm>
              <a:off x="4474954" y="4533100"/>
              <a:ext cx="182695" cy="193292"/>
            </a:xfrm>
            <a:prstGeom prst="ellipse">
              <a:avLst/>
            </a:prstGeom>
            <a:solidFill>
              <a:srgbClr val="008B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>
                <a:latin typeface="Century Gothic" panose="020B0502020202020204" pitchFamily="34" charset="0"/>
              </a:endParaRPr>
            </a:p>
          </p:txBody>
        </p:sp>
        <p:sp>
          <p:nvSpPr>
            <p:cNvPr id="501" name="Elipse 500">
              <a:extLst>
                <a:ext uri="{FF2B5EF4-FFF2-40B4-BE49-F238E27FC236}">
                  <a16:creationId xmlns:a16="http://schemas.microsoft.com/office/drawing/2014/main" id="{68F0FB07-655E-1BB7-6F27-46B986784D0B}"/>
                </a:ext>
              </a:extLst>
            </p:cNvPr>
            <p:cNvSpPr/>
            <p:nvPr/>
          </p:nvSpPr>
          <p:spPr>
            <a:xfrm>
              <a:off x="4654440" y="4685500"/>
              <a:ext cx="182695" cy="193292"/>
            </a:xfrm>
            <a:prstGeom prst="ellipse">
              <a:avLst/>
            </a:prstGeom>
            <a:solidFill>
              <a:srgbClr val="008B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>
                <a:latin typeface="Century Gothic" panose="020B0502020202020204" pitchFamily="34" charset="0"/>
              </a:endParaRPr>
            </a:p>
          </p:txBody>
        </p:sp>
        <p:sp>
          <p:nvSpPr>
            <p:cNvPr id="502" name="Elipse 501">
              <a:extLst>
                <a:ext uri="{FF2B5EF4-FFF2-40B4-BE49-F238E27FC236}">
                  <a16:creationId xmlns:a16="http://schemas.microsoft.com/office/drawing/2014/main" id="{A171FDE9-5C64-F639-AA95-2162B22C9E1D}"/>
                </a:ext>
              </a:extLst>
            </p:cNvPr>
            <p:cNvSpPr/>
            <p:nvPr/>
          </p:nvSpPr>
          <p:spPr>
            <a:xfrm>
              <a:off x="4008652" y="5229584"/>
              <a:ext cx="45719" cy="218719"/>
            </a:xfrm>
            <a:prstGeom prst="ellipse">
              <a:avLst/>
            </a:prstGeom>
            <a:solidFill>
              <a:srgbClr val="008B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>
                <a:latin typeface="Century Gothic" panose="020B0502020202020204" pitchFamily="34" charset="0"/>
              </a:endParaRPr>
            </a:p>
          </p:txBody>
        </p:sp>
        <p:sp>
          <p:nvSpPr>
            <p:cNvPr id="503" name="Elipse 502">
              <a:extLst>
                <a:ext uri="{FF2B5EF4-FFF2-40B4-BE49-F238E27FC236}">
                  <a16:creationId xmlns:a16="http://schemas.microsoft.com/office/drawing/2014/main" id="{DD97E123-F0FC-CDC0-724D-AE3E25E6B477}"/>
                </a:ext>
              </a:extLst>
            </p:cNvPr>
            <p:cNvSpPr/>
            <p:nvPr/>
          </p:nvSpPr>
          <p:spPr>
            <a:xfrm>
              <a:off x="5878794" y="3491885"/>
              <a:ext cx="102646" cy="106059"/>
            </a:xfrm>
            <a:prstGeom prst="ellipse">
              <a:avLst/>
            </a:prstGeom>
            <a:solidFill>
              <a:srgbClr val="008B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>
                <a:latin typeface="Century Gothic" panose="020B0502020202020204" pitchFamily="34" charset="0"/>
              </a:endParaRPr>
            </a:p>
          </p:txBody>
        </p:sp>
        <p:sp>
          <p:nvSpPr>
            <p:cNvPr id="504" name="Elipse 503">
              <a:extLst>
                <a:ext uri="{FF2B5EF4-FFF2-40B4-BE49-F238E27FC236}">
                  <a16:creationId xmlns:a16="http://schemas.microsoft.com/office/drawing/2014/main" id="{0A040299-90BF-F443-2AB6-5C3637BDB40A}"/>
                </a:ext>
              </a:extLst>
            </p:cNvPr>
            <p:cNvSpPr/>
            <p:nvPr/>
          </p:nvSpPr>
          <p:spPr>
            <a:xfrm>
              <a:off x="5944561" y="3881550"/>
              <a:ext cx="64154" cy="64577"/>
            </a:xfrm>
            <a:prstGeom prst="ellipse">
              <a:avLst/>
            </a:prstGeom>
            <a:solidFill>
              <a:srgbClr val="008B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>
                <a:latin typeface="Century Gothic" panose="020B0502020202020204" pitchFamily="34" charset="0"/>
              </a:endParaRPr>
            </a:p>
          </p:txBody>
        </p:sp>
        <p:sp>
          <p:nvSpPr>
            <p:cNvPr id="505" name="Elipse 504">
              <a:extLst>
                <a:ext uri="{FF2B5EF4-FFF2-40B4-BE49-F238E27FC236}">
                  <a16:creationId xmlns:a16="http://schemas.microsoft.com/office/drawing/2014/main" id="{77A6658B-F420-1273-FAB5-24D72FFDB068}"/>
                </a:ext>
              </a:extLst>
            </p:cNvPr>
            <p:cNvSpPr/>
            <p:nvPr/>
          </p:nvSpPr>
          <p:spPr>
            <a:xfrm>
              <a:off x="6835142" y="4218582"/>
              <a:ext cx="45719" cy="58145"/>
            </a:xfrm>
            <a:prstGeom prst="ellipse">
              <a:avLst/>
            </a:prstGeom>
            <a:solidFill>
              <a:srgbClr val="008B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>
                <a:latin typeface="Century Gothic" panose="020B0502020202020204" pitchFamily="34" charset="0"/>
              </a:endParaRPr>
            </a:p>
          </p:txBody>
        </p:sp>
        <p:sp>
          <p:nvSpPr>
            <p:cNvPr id="506" name="Elipse 505">
              <a:extLst>
                <a:ext uri="{FF2B5EF4-FFF2-40B4-BE49-F238E27FC236}">
                  <a16:creationId xmlns:a16="http://schemas.microsoft.com/office/drawing/2014/main" id="{E2A303C5-8619-4C01-B47F-1557154E5E15}"/>
                </a:ext>
              </a:extLst>
            </p:cNvPr>
            <p:cNvSpPr/>
            <p:nvPr/>
          </p:nvSpPr>
          <p:spPr>
            <a:xfrm>
              <a:off x="6277570" y="2630162"/>
              <a:ext cx="46757" cy="70281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latin typeface="Century Gothic" panose="020B0502020202020204" pitchFamily="34" charset="0"/>
              </a:endParaRPr>
            </a:p>
          </p:txBody>
        </p:sp>
        <p:sp>
          <p:nvSpPr>
            <p:cNvPr id="507" name="Elipse 506">
              <a:extLst>
                <a:ext uri="{FF2B5EF4-FFF2-40B4-BE49-F238E27FC236}">
                  <a16:creationId xmlns:a16="http://schemas.microsoft.com/office/drawing/2014/main" id="{07AA923B-C04E-8231-83E6-503D05201B65}"/>
                </a:ext>
              </a:extLst>
            </p:cNvPr>
            <p:cNvSpPr/>
            <p:nvPr/>
          </p:nvSpPr>
          <p:spPr>
            <a:xfrm>
              <a:off x="6371757" y="2523806"/>
              <a:ext cx="45719" cy="45719"/>
            </a:xfrm>
            <a:prstGeom prst="ellipse">
              <a:avLst/>
            </a:prstGeom>
            <a:solidFill>
              <a:srgbClr val="008B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>
                <a:latin typeface="Century Gothic" panose="020B0502020202020204" pitchFamily="34" charset="0"/>
              </a:endParaRPr>
            </a:p>
          </p:txBody>
        </p:sp>
        <p:sp>
          <p:nvSpPr>
            <p:cNvPr id="508" name="Elipse 507">
              <a:extLst>
                <a:ext uri="{FF2B5EF4-FFF2-40B4-BE49-F238E27FC236}">
                  <a16:creationId xmlns:a16="http://schemas.microsoft.com/office/drawing/2014/main" id="{C0AF0B91-275E-622F-C912-4BCDFD59A103}"/>
                </a:ext>
              </a:extLst>
            </p:cNvPr>
            <p:cNvSpPr/>
            <p:nvPr/>
          </p:nvSpPr>
          <p:spPr>
            <a:xfrm>
              <a:off x="6530494" y="2733843"/>
              <a:ext cx="36000" cy="36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>
                <a:latin typeface="Century Gothic" panose="020B0502020202020204" pitchFamily="34" charset="0"/>
              </a:endParaRPr>
            </a:p>
          </p:txBody>
        </p:sp>
        <p:sp>
          <p:nvSpPr>
            <p:cNvPr id="509" name="Elipse 508">
              <a:extLst>
                <a:ext uri="{FF2B5EF4-FFF2-40B4-BE49-F238E27FC236}">
                  <a16:creationId xmlns:a16="http://schemas.microsoft.com/office/drawing/2014/main" id="{135BE9F4-4699-6772-DF58-54023E657B33}"/>
                </a:ext>
              </a:extLst>
            </p:cNvPr>
            <p:cNvSpPr/>
            <p:nvPr/>
          </p:nvSpPr>
          <p:spPr>
            <a:xfrm>
              <a:off x="6429970" y="2782562"/>
              <a:ext cx="46757" cy="70281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latin typeface="Century Gothic" panose="020B0502020202020204" pitchFamily="34" charset="0"/>
              </a:endParaRPr>
            </a:p>
          </p:txBody>
        </p:sp>
        <p:sp>
          <p:nvSpPr>
            <p:cNvPr id="510" name="Elipse 509">
              <a:extLst>
                <a:ext uri="{FF2B5EF4-FFF2-40B4-BE49-F238E27FC236}">
                  <a16:creationId xmlns:a16="http://schemas.microsoft.com/office/drawing/2014/main" id="{CB8C0A8A-5C3C-8E9D-BC1A-2CDEC050701C}"/>
                </a:ext>
              </a:extLst>
            </p:cNvPr>
            <p:cNvSpPr/>
            <p:nvPr/>
          </p:nvSpPr>
          <p:spPr>
            <a:xfrm>
              <a:off x="5993851" y="2455327"/>
              <a:ext cx="134837" cy="151908"/>
            </a:xfrm>
            <a:prstGeom prst="ellipse">
              <a:avLst/>
            </a:prstGeom>
            <a:solidFill>
              <a:srgbClr val="008B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>
                <a:latin typeface="Century Gothic" panose="020B0502020202020204" pitchFamily="34" charset="0"/>
              </a:endParaRPr>
            </a:p>
          </p:txBody>
        </p:sp>
        <p:sp>
          <p:nvSpPr>
            <p:cNvPr id="511" name="Elipse 510">
              <a:extLst>
                <a:ext uri="{FF2B5EF4-FFF2-40B4-BE49-F238E27FC236}">
                  <a16:creationId xmlns:a16="http://schemas.microsoft.com/office/drawing/2014/main" id="{EA412B99-B1B1-3304-5701-F15AC166B305}"/>
                </a:ext>
              </a:extLst>
            </p:cNvPr>
            <p:cNvSpPr/>
            <p:nvPr/>
          </p:nvSpPr>
          <p:spPr>
            <a:xfrm>
              <a:off x="5878794" y="2774159"/>
              <a:ext cx="45719" cy="63818"/>
            </a:xfrm>
            <a:prstGeom prst="ellipse">
              <a:avLst/>
            </a:prstGeom>
            <a:solidFill>
              <a:srgbClr val="FFFF00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sp>
          <p:nvSpPr>
            <p:cNvPr id="512" name="Elipse 511">
              <a:extLst>
                <a:ext uri="{FF2B5EF4-FFF2-40B4-BE49-F238E27FC236}">
                  <a16:creationId xmlns:a16="http://schemas.microsoft.com/office/drawing/2014/main" id="{69E6A6E3-0E5D-F638-8DB6-7D866E84B372}"/>
                </a:ext>
              </a:extLst>
            </p:cNvPr>
            <p:cNvSpPr/>
            <p:nvPr/>
          </p:nvSpPr>
          <p:spPr>
            <a:xfrm>
              <a:off x="9656268" y="5042666"/>
              <a:ext cx="154888" cy="148738"/>
            </a:xfrm>
            <a:prstGeom prst="ellipse">
              <a:avLst/>
            </a:prstGeom>
            <a:solidFill>
              <a:srgbClr val="FFFF00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pic>
          <p:nvPicPr>
            <p:cNvPr id="513" name="Imagen 512">
              <a:extLst>
                <a:ext uri="{FF2B5EF4-FFF2-40B4-BE49-F238E27FC236}">
                  <a16:creationId xmlns:a16="http://schemas.microsoft.com/office/drawing/2014/main" id="{D0ED0135-BF93-3172-986E-625E2046DD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593441" y="4165316"/>
              <a:ext cx="292233" cy="310641"/>
            </a:xfrm>
            <a:prstGeom prst="rect">
              <a:avLst/>
            </a:prstGeom>
          </p:spPr>
        </p:pic>
        <p:sp>
          <p:nvSpPr>
            <p:cNvPr id="514" name="Elipse 513">
              <a:extLst>
                <a:ext uri="{FF2B5EF4-FFF2-40B4-BE49-F238E27FC236}">
                  <a16:creationId xmlns:a16="http://schemas.microsoft.com/office/drawing/2014/main" id="{579BBBFD-85A7-C429-D7EB-075BAC28C7AD}"/>
                </a:ext>
              </a:extLst>
            </p:cNvPr>
            <p:cNvSpPr/>
            <p:nvPr/>
          </p:nvSpPr>
          <p:spPr>
            <a:xfrm>
              <a:off x="9092446" y="4136731"/>
              <a:ext cx="64211" cy="68346"/>
            </a:xfrm>
            <a:prstGeom prst="ellipse">
              <a:avLst/>
            </a:prstGeom>
            <a:solidFill>
              <a:srgbClr val="F47E53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>
                <a:solidFill>
                  <a:schemeClr val="tx1"/>
                </a:solidFill>
                <a:latin typeface="Montserrat" pitchFamily="2" charset="77"/>
              </a:endParaRPr>
            </a:p>
          </p:txBody>
        </p:sp>
        <p:sp>
          <p:nvSpPr>
            <p:cNvPr id="515" name="Elipse 514">
              <a:extLst>
                <a:ext uri="{FF2B5EF4-FFF2-40B4-BE49-F238E27FC236}">
                  <a16:creationId xmlns:a16="http://schemas.microsoft.com/office/drawing/2014/main" id="{A44B0867-E3F0-F35F-7268-C774C7CDEC16}"/>
                </a:ext>
              </a:extLst>
            </p:cNvPr>
            <p:cNvSpPr/>
            <p:nvPr/>
          </p:nvSpPr>
          <p:spPr>
            <a:xfrm>
              <a:off x="9489247" y="2928698"/>
              <a:ext cx="48730" cy="57088"/>
            </a:xfrm>
            <a:prstGeom prst="ellipse">
              <a:avLst/>
            </a:prstGeom>
            <a:solidFill>
              <a:srgbClr val="F47E53"/>
            </a:solidFill>
            <a:ln w="317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dirty="0">
                <a:solidFill>
                  <a:schemeClr val="tx1"/>
                </a:solidFill>
                <a:latin typeface="Montserrat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79252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17;p2">
            <a:extLst>
              <a:ext uri="{FF2B5EF4-FFF2-40B4-BE49-F238E27FC236}">
                <a16:creationId xmlns:a16="http://schemas.microsoft.com/office/drawing/2014/main" id="{ECDEF892-2A08-9CA4-4728-016A8AC887D9}"/>
              </a:ext>
            </a:extLst>
          </p:cNvPr>
          <p:cNvSpPr/>
          <p:nvPr/>
        </p:nvSpPr>
        <p:spPr>
          <a:xfrm>
            <a:off x="0" y="-3147"/>
            <a:ext cx="12192000" cy="104069"/>
          </a:xfrm>
          <a:prstGeom prst="rect">
            <a:avLst/>
          </a:prstGeom>
          <a:solidFill>
            <a:srgbClr val="008BB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</a:pPr>
            <a:endParaRPr sz="2400" b="1" kern="0" dirty="0">
              <a:solidFill>
                <a:schemeClr val="bg1"/>
              </a:solidFill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75C85F7-EB34-847D-EE39-2517A9A0B5E9}"/>
              </a:ext>
            </a:extLst>
          </p:cNvPr>
          <p:cNvSpPr/>
          <p:nvPr/>
        </p:nvSpPr>
        <p:spPr>
          <a:xfrm rot="5400000">
            <a:off x="5964199" y="617580"/>
            <a:ext cx="296042" cy="12200695"/>
          </a:xfrm>
          <a:prstGeom prst="rect">
            <a:avLst/>
          </a:prstGeom>
          <a:gradFill flip="none" rotWithShape="1">
            <a:gsLst>
              <a:gs pos="69000">
                <a:srgbClr val="0070C0"/>
              </a:gs>
              <a:gs pos="0">
                <a:srgbClr val="00B0F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F6D24CA0-FF2C-964F-B35B-C3BDDBC157F2}"/>
              </a:ext>
            </a:extLst>
          </p:cNvPr>
          <p:cNvSpPr txBox="1"/>
          <p:nvPr/>
        </p:nvSpPr>
        <p:spPr>
          <a:xfrm>
            <a:off x="492233" y="6394669"/>
            <a:ext cx="18224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20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8EDBEFF9-00FE-5FF7-C729-A5308A019EE5}"/>
              </a:ext>
            </a:extLst>
          </p:cNvPr>
          <p:cNvSpPr txBox="1"/>
          <p:nvPr/>
        </p:nvSpPr>
        <p:spPr>
          <a:xfrm>
            <a:off x="10041014" y="6340002"/>
            <a:ext cx="182242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2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E2E70289-6511-9BC0-D687-AB1015FC6C38}"/>
              </a:ext>
            </a:extLst>
          </p:cNvPr>
          <p:cNvSpPr txBox="1"/>
          <p:nvPr/>
        </p:nvSpPr>
        <p:spPr>
          <a:xfrm>
            <a:off x="3965852" y="6321505"/>
            <a:ext cx="12954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28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51" name="Title 2">
            <a:extLst>
              <a:ext uri="{FF2B5EF4-FFF2-40B4-BE49-F238E27FC236}">
                <a16:creationId xmlns:a16="http://schemas.microsoft.com/office/drawing/2014/main" id="{EC802ACE-B75E-7521-C71A-6B7554588B87}"/>
              </a:ext>
            </a:extLst>
          </p:cNvPr>
          <p:cNvSpPr txBox="1">
            <a:spLocks/>
          </p:cNvSpPr>
          <p:nvPr/>
        </p:nvSpPr>
        <p:spPr>
          <a:xfrm>
            <a:off x="4310388" y="343868"/>
            <a:ext cx="7553046" cy="7990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MX"/>
            </a:defPPr>
            <a:lvl1pPr algn="r">
              <a:lnSpc>
                <a:spcPct val="90000"/>
              </a:lnSpc>
              <a:spcBef>
                <a:spcPct val="0"/>
              </a:spcBef>
              <a:buNone/>
              <a:defRPr sz="2400" b="0" i="0">
                <a:solidFill>
                  <a:srgbClr val="008080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s-MX" b="1" dirty="0">
                <a:solidFill>
                  <a:schemeClr val="accent5">
                    <a:lumMod val="50000"/>
                  </a:schemeClr>
                </a:solidFill>
              </a:rPr>
              <a:t>THERE ARE VARIOUS TYPOLOGIES AND SCHEMES IN GUARANTEE SYSTEMS</a:t>
            </a:r>
            <a:r>
              <a:rPr lang="es-MX" dirty="0">
                <a:solidFill>
                  <a:schemeClr val="accent5">
                    <a:lumMod val="50000"/>
                  </a:schemeClr>
                </a:solidFill>
              </a:rPr>
              <a:t>
</a:t>
            </a:r>
            <a:endParaRPr lang="en-US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CA12B568-7228-F1A8-B8C3-69E96566CC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566" y="743408"/>
            <a:ext cx="1751280" cy="803065"/>
          </a:xfrm>
          <a:prstGeom prst="rect">
            <a:avLst/>
          </a:prstGeom>
        </p:spPr>
      </p:pic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09060CF1-9BB0-5815-96B2-18A91D53DD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3991420"/>
              </p:ext>
            </p:extLst>
          </p:nvPr>
        </p:nvGraphicFramePr>
        <p:xfrm>
          <a:off x="5977704" y="1877879"/>
          <a:ext cx="2836069" cy="4593000"/>
        </p:xfrm>
        <a:graphic>
          <a:graphicData uri="http://schemas.openxmlformats.org/drawingml/2006/table">
            <a:tbl>
              <a:tblPr/>
              <a:tblGrid>
                <a:gridCol w="2836069">
                  <a:extLst>
                    <a:ext uri="{9D8B030D-6E8A-4147-A177-3AD203B41FA5}">
                      <a16:colId xmlns:a16="http://schemas.microsoft.com/office/drawing/2014/main" val="1363457804"/>
                    </a:ext>
                  </a:extLst>
                </a:gridCol>
              </a:tblGrid>
              <a:tr h="73931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Funds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managed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through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a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state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agency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or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bank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
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54221"/>
                  </a:ext>
                </a:extLst>
              </a:tr>
              <a:tr h="52368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Public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or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international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cooperation</a:t>
                      </a:r>
                      <a:endParaRPr kumimoji="0" lang="es-ES" altLang="es-SV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996642"/>
                  </a:ext>
                </a:extLst>
              </a:tr>
              <a:tr h="160185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They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do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not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have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specific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legislation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operate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under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the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same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regulation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applicable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to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the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administrator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with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precisions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in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the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case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of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reserves, capital and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Financial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Intermediaries.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4759916"/>
                  </a:ext>
                </a:extLst>
              </a:tr>
              <a:tr h="58076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Between 50% and 90%
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08392"/>
                  </a:ext>
                </a:extLst>
              </a:tr>
              <a:tr h="602299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Delegate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– (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Second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Floor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)
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5124979"/>
                  </a:ext>
                </a:extLst>
              </a:tr>
              <a:tr h="51020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431629"/>
                  </a:ext>
                </a:extLst>
              </a:tr>
            </a:tbl>
          </a:graphicData>
        </a:graphic>
      </p:graphicFrame>
      <p:graphicFrame>
        <p:nvGraphicFramePr>
          <p:cNvPr id="10" name="Tabla 9">
            <a:extLst>
              <a:ext uri="{FF2B5EF4-FFF2-40B4-BE49-F238E27FC236}">
                <a16:creationId xmlns:a16="http://schemas.microsoft.com/office/drawing/2014/main" id="{82EC4487-BE4D-1731-5389-CCA09E4A7D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9090273"/>
              </p:ext>
            </p:extLst>
          </p:nvPr>
        </p:nvGraphicFramePr>
        <p:xfrm>
          <a:off x="2958239" y="1863973"/>
          <a:ext cx="2836069" cy="4586746"/>
        </p:xfrm>
        <a:graphic>
          <a:graphicData uri="http://schemas.openxmlformats.org/drawingml/2006/table">
            <a:tbl>
              <a:tblPr/>
              <a:tblGrid>
                <a:gridCol w="2836069">
                  <a:extLst>
                    <a:ext uri="{9D8B030D-6E8A-4147-A177-3AD203B41FA5}">
                      <a16:colId xmlns:a16="http://schemas.microsoft.com/office/drawing/2014/main" val="3130212558"/>
                    </a:ext>
                  </a:extLst>
                </a:gridCol>
              </a:tblGrid>
              <a:tr h="76472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Allocation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of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resources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for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specific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purposes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
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4511214"/>
                  </a:ext>
                </a:extLst>
              </a:tr>
              <a:tr h="51663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Public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or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international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cooperation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.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6911923"/>
                  </a:ext>
                </a:extLst>
              </a:tr>
              <a:tr h="159520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They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do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not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have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specific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legislation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mostly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created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by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law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.
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9140227"/>
                  </a:ext>
                </a:extLst>
              </a:tr>
              <a:tr h="541679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Generally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50%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of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the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default.
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8174741"/>
                  </a:ext>
                </a:extLst>
              </a:tr>
              <a:tr h="61061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Delegate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Second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floor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)
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6044080"/>
                  </a:ext>
                </a:extLst>
              </a:tr>
              <a:tr h="527739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981873"/>
                  </a:ext>
                </a:extLst>
              </a:tr>
            </a:tbl>
          </a:graphicData>
        </a:graphic>
      </p:graphicFrame>
      <p:sp>
        <p:nvSpPr>
          <p:cNvPr id="9" name="Rectángulo 8">
            <a:extLst>
              <a:ext uri="{FF2B5EF4-FFF2-40B4-BE49-F238E27FC236}">
                <a16:creationId xmlns:a16="http://schemas.microsoft.com/office/drawing/2014/main" id="{F5A20B8F-E3EB-5978-22E4-51CD39BEB546}"/>
              </a:ext>
            </a:extLst>
          </p:cNvPr>
          <p:cNvSpPr/>
          <p:nvPr/>
        </p:nvSpPr>
        <p:spPr>
          <a:xfrm>
            <a:off x="2958239" y="1221017"/>
            <a:ext cx="2836069" cy="571500"/>
          </a:xfrm>
          <a:prstGeom prst="rect">
            <a:avLst/>
          </a:prstGeom>
          <a:gradFill flip="none" rotWithShape="1">
            <a:gsLst>
              <a:gs pos="0">
                <a:srgbClr val="0093C8">
                  <a:shade val="30000"/>
                  <a:satMod val="115000"/>
                </a:srgbClr>
              </a:gs>
              <a:gs pos="50000">
                <a:srgbClr val="0093C8">
                  <a:shade val="67500"/>
                  <a:satMod val="115000"/>
                </a:srgbClr>
              </a:gs>
              <a:gs pos="100000">
                <a:srgbClr val="0093C8">
                  <a:shade val="100000"/>
                  <a:satMod val="115000"/>
                </a:srgbClr>
              </a:gs>
            </a:gsLst>
            <a:lin ang="162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dirty="0">
                <a:latin typeface="Century Gothic" panose="020B0502020202020204" pitchFamily="34" charset="0"/>
              </a:rPr>
              <a:t>GUARANTEE FUND
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D5BBC5C6-35E4-3F46-638C-1189F78767FD}"/>
              </a:ext>
            </a:extLst>
          </p:cNvPr>
          <p:cNvSpPr/>
          <p:nvPr/>
        </p:nvSpPr>
        <p:spPr>
          <a:xfrm>
            <a:off x="5966075" y="1221017"/>
            <a:ext cx="2836069" cy="571500"/>
          </a:xfrm>
          <a:prstGeom prst="rect">
            <a:avLst/>
          </a:prstGeom>
          <a:gradFill flip="none" rotWithShape="1">
            <a:gsLst>
              <a:gs pos="0">
                <a:srgbClr val="0093C8">
                  <a:shade val="30000"/>
                  <a:satMod val="115000"/>
                </a:srgbClr>
              </a:gs>
              <a:gs pos="50000">
                <a:srgbClr val="0093C8">
                  <a:shade val="67500"/>
                  <a:satMod val="115000"/>
                </a:srgbClr>
              </a:gs>
              <a:gs pos="100000">
                <a:srgbClr val="0093C8">
                  <a:shade val="100000"/>
                  <a:satMod val="115000"/>
                </a:srgbClr>
              </a:gs>
            </a:gsLst>
            <a:lin ang="162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dirty="0">
                <a:latin typeface="Century Gothic" panose="020B0502020202020204" pitchFamily="34" charset="0"/>
              </a:rPr>
              <a:t>GUARANTEE PROGRAM
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6B3242C8-6B90-DF96-7330-617D9DF5C817}"/>
              </a:ext>
            </a:extLst>
          </p:cNvPr>
          <p:cNvSpPr/>
          <p:nvPr/>
        </p:nvSpPr>
        <p:spPr>
          <a:xfrm>
            <a:off x="8973911" y="1230689"/>
            <a:ext cx="2836069" cy="571500"/>
          </a:xfrm>
          <a:prstGeom prst="rect">
            <a:avLst/>
          </a:prstGeom>
          <a:gradFill flip="none" rotWithShape="1">
            <a:gsLst>
              <a:gs pos="0">
                <a:srgbClr val="0093C8">
                  <a:shade val="30000"/>
                  <a:satMod val="115000"/>
                </a:srgbClr>
              </a:gs>
              <a:gs pos="50000">
                <a:srgbClr val="0093C8">
                  <a:shade val="67500"/>
                  <a:satMod val="115000"/>
                </a:srgbClr>
              </a:gs>
              <a:gs pos="100000">
                <a:srgbClr val="0093C8">
                  <a:shade val="100000"/>
                  <a:satMod val="115000"/>
                </a:srgbClr>
              </a:gs>
            </a:gsLst>
            <a:lin ang="162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dirty="0">
                <a:latin typeface="Century Gothic" panose="020B0502020202020204" pitchFamily="34" charset="0"/>
              </a:rPr>
              <a:t>GUARANTEE SOCIETY
</a:t>
            </a: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975F0086-0F0A-D035-3B3D-A6656D914566}"/>
              </a:ext>
            </a:extLst>
          </p:cNvPr>
          <p:cNvSpPr/>
          <p:nvPr/>
        </p:nvSpPr>
        <p:spPr>
          <a:xfrm>
            <a:off x="435766" y="2652592"/>
            <a:ext cx="2439048" cy="442364"/>
          </a:xfrm>
          <a:prstGeom prst="rect">
            <a:avLst/>
          </a:prstGeom>
          <a:gradFill flip="none" rotWithShape="1">
            <a:gsLst>
              <a:gs pos="0">
                <a:srgbClr val="0093C8">
                  <a:shade val="30000"/>
                  <a:satMod val="115000"/>
                </a:srgbClr>
              </a:gs>
              <a:gs pos="50000">
                <a:srgbClr val="0093C8">
                  <a:shade val="67500"/>
                  <a:satMod val="115000"/>
                </a:srgbClr>
              </a:gs>
              <a:gs pos="100000">
                <a:srgbClr val="0093C8">
                  <a:shade val="100000"/>
                  <a:satMod val="115000"/>
                </a:srgbClr>
              </a:gs>
            </a:gsLst>
            <a:lin ang="162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latin typeface="Century Gothic" panose="020B0502020202020204" pitchFamily="34" charset="0"/>
              </a:rPr>
              <a:t>RESOURCE SOURCE
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CF435368-9EEF-2AAF-A0BC-DE07147BD78A}"/>
              </a:ext>
            </a:extLst>
          </p:cNvPr>
          <p:cNvSpPr/>
          <p:nvPr/>
        </p:nvSpPr>
        <p:spPr>
          <a:xfrm>
            <a:off x="446477" y="3151311"/>
            <a:ext cx="2439048" cy="1571397"/>
          </a:xfrm>
          <a:prstGeom prst="rect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latin typeface="Century Gothic" panose="020B0502020202020204" pitchFamily="34" charset="0"/>
              </a:rPr>
              <a:t>LEGAL AND REGULATORY FRAMEWORK
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7B8C1C22-E265-CBD0-F97E-DAD5C8E0EC2F}"/>
              </a:ext>
            </a:extLst>
          </p:cNvPr>
          <p:cNvSpPr/>
          <p:nvPr/>
        </p:nvSpPr>
        <p:spPr>
          <a:xfrm>
            <a:off x="435766" y="4793878"/>
            <a:ext cx="2439048" cy="442362"/>
          </a:xfrm>
          <a:prstGeom prst="rect">
            <a:avLst/>
          </a:prstGeom>
          <a:gradFill flip="none" rotWithShape="1">
            <a:gsLst>
              <a:gs pos="0">
                <a:srgbClr val="0093C8">
                  <a:shade val="30000"/>
                  <a:satMod val="115000"/>
                </a:srgbClr>
              </a:gs>
              <a:gs pos="50000">
                <a:srgbClr val="0093C8">
                  <a:shade val="67500"/>
                  <a:satMod val="115000"/>
                </a:srgbClr>
              </a:gs>
              <a:gs pos="100000">
                <a:srgbClr val="0093C8">
                  <a:shade val="100000"/>
                  <a:satMod val="115000"/>
                </a:srgbClr>
              </a:gs>
            </a:gsLst>
            <a:lin ang="162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latin typeface="Century Gothic" panose="020B0502020202020204" pitchFamily="34" charset="0"/>
              </a:rPr>
              <a:t>COVERAGE
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72F26662-0EC4-60CF-5B56-1AB12301ED97}"/>
              </a:ext>
            </a:extLst>
          </p:cNvPr>
          <p:cNvSpPr/>
          <p:nvPr/>
        </p:nvSpPr>
        <p:spPr>
          <a:xfrm>
            <a:off x="435766" y="5283866"/>
            <a:ext cx="2439048" cy="550773"/>
          </a:xfrm>
          <a:prstGeom prst="rect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latin typeface="Century Gothic" panose="020B0502020202020204" pitchFamily="34" charset="0"/>
              </a:rPr>
              <a:t>CREDIT MANAGEMENT
</a:t>
            </a: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38400D99-D129-C4BC-8079-EE08745B6444}"/>
              </a:ext>
            </a:extLst>
          </p:cNvPr>
          <p:cNvSpPr/>
          <p:nvPr/>
        </p:nvSpPr>
        <p:spPr>
          <a:xfrm>
            <a:off x="446477" y="5878449"/>
            <a:ext cx="2439048" cy="550772"/>
          </a:xfrm>
          <a:prstGeom prst="rect">
            <a:avLst/>
          </a:prstGeom>
          <a:gradFill flip="none" rotWithShape="1">
            <a:gsLst>
              <a:gs pos="0">
                <a:srgbClr val="0093C8">
                  <a:shade val="30000"/>
                  <a:satMod val="115000"/>
                </a:srgbClr>
              </a:gs>
              <a:gs pos="50000">
                <a:srgbClr val="0093C8">
                  <a:shade val="67500"/>
                  <a:satMod val="115000"/>
                </a:srgbClr>
              </a:gs>
              <a:gs pos="100000">
                <a:srgbClr val="0093C8">
                  <a:shade val="100000"/>
                  <a:satMod val="115000"/>
                </a:srgbClr>
              </a:gs>
            </a:gsLst>
            <a:lin ang="162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latin typeface="Century Gothic" panose="020B0502020202020204" pitchFamily="34" charset="0"/>
              </a:rPr>
              <a:t>WEIGHTING GUARANTEED CREDIT
</a:t>
            </a: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9D03E16C-D735-646C-1347-0DE6A5070E6C}"/>
              </a:ext>
            </a:extLst>
          </p:cNvPr>
          <p:cNvSpPr/>
          <p:nvPr/>
        </p:nvSpPr>
        <p:spPr>
          <a:xfrm>
            <a:off x="435766" y="1851273"/>
            <a:ext cx="2439048" cy="753693"/>
          </a:xfrm>
          <a:prstGeom prst="rect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latin typeface="Century Gothic" panose="020B0502020202020204" pitchFamily="34" charset="0"/>
              </a:rPr>
              <a:t>WHAT ARE THEY?
</a:t>
            </a:r>
          </a:p>
        </p:txBody>
      </p:sp>
      <p:graphicFrame>
        <p:nvGraphicFramePr>
          <p:cNvPr id="28" name="Tabla 27">
            <a:extLst>
              <a:ext uri="{FF2B5EF4-FFF2-40B4-BE49-F238E27FC236}">
                <a16:creationId xmlns:a16="http://schemas.microsoft.com/office/drawing/2014/main" id="{E2D55ED2-1180-540B-3CFB-CF7068B06F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947260"/>
              </p:ext>
            </p:extLst>
          </p:nvPr>
        </p:nvGraphicFramePr>
        <p:xfrm>
          <a:off x="8997169" y="1863973"/>
          <a:ext cx="2789904" cy="4589716"/>
        </p:xfrm>
        <a:graphic>
          <a:graphicData uri="http://schemas.openxmlformats.org/drawingml/2006/table">
            <a:tbl>
              <a:tblPr/>
              <a:tblGrid>
                <a:gridCol w="2789904">
                  <a:extLst>
                    <a:ext uri="{9D8B030D-6E8A-4147-A177-3AD203B41FA5}">
                      <a16:colId xmlns:a16="http://schemas.microsoft.com/office/drawing/2014/main" val="4173021718"/>
                    </a:ext>
                  </a:extLst>
                </a:gridCol>
              </a:tblGrid>
              <a:tr h="73014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Commercial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companies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with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contributions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of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resources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
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9971865"/>
                  </a:ext>
                </a:extLst>
              </a:tr>
              <a:tr h="53309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Private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and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public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
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4310495"/>
                  </a:ext>
                </a:extLst>
              </a:tr>
              <a:tr h="158845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Requiere legislación y  regulación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específíca</a:t>
                      </a:r>
                      <a:endParaRPr kumimoji="0" lang="es-ES" altLang="es-SV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5379298"/>
                  </a:ext>
                </a:extLst>
              </a:tr>
              <a:tr h="52133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Garantía solidaria ante la Entidad financiera (100%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1346987"/>
                  </a:ext>
                </a:extLst>
              </a:tr>
              <a:tr h="64008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Operates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as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first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altLang="es-SV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floor</a:t>
                      </a: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
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304230"/>
                  </a:ext>
                </a:extLst>
              </a:tr>
              <a:tr h="50482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ES" altLang="es-SV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50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06272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77263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:a16="http://schemas.microsoft.com/office/drawing/2014/main" id="{AA1F050C-869B-56AA-E479-DB3A49A5C8F0}"/>
              </a:ext>
            </a:extLst>
          </p:cNvPr>
          <p:cNvSpPr/>
          <p:nvPr/>
        </p:nvSpPr>
        <p:spPr>
          <a:xfrm rot="5400000">
            <a:off x="5964199" y="617580"/>
            <a:ext cx="296042" cy="12200695"/>
          </a:xfrm>
          <a:prstGeom prst="rect">
            <a:avLst/>
          </a:prstGeom>
          <a:gradFill flip="none" rotWithShape="1">
            <a:gsLst>
              <a:gs pos="69000">
                <a:srgbClr val="0070C0"/>
              </a:gs>
              <a:gs pos="0">
                <a:srgbClr val="00B0F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95AE589C-DD87-3590-1E38-A439EA5F6D88}"/>
              </a:ext>
            </a:extLst>
          </p:cNvPr>
          <p:cNvSpPr txBox="1"/>
          <p:nvPr/>
        </p:nvSpPr>
        <p:spPr>
          <a:xfrm>
            <a:off x="492233" y="6394669"/>
            <a:ext cx="18224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20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318A58F7-3EC7-20D7-B17B-D3015E5FC168}"/>
              </a:ext>
            </a:extLst>
          </p:cNvPr>
          <p:cNvSpPr txBox="1"/>
          <p:nvPr/>
        </p:nvSpPr>
        <p:spPr>
          <a:xfrm>
            <a:off x="5627727" y="6297697"/>
            <a:ext cx="12954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6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6E39AC5C-3BBC-32D5-0AD6-A1FE8FA327B1}"/>
              </a:ext>
            </a:extLst>
          </p:cNvPr>
          <p:cNvSpPr txBox="1"/>
          <p:nvPr/>
        </p:nvSpPr>
        <p:spPr>
          <a:xfrm>
            <a:off x="10054266" y="6340002"/>
            <a:ext cx="182242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2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CC995FCB-12CF-45CD-3A36-3198F52C89E6}"/>
              </a:ext>
            </a:extLst>
          </p:cNvPr>
          <p:cNvSpPr txBox="1"/>
          <p:nvPr/>
        </p:nvSpPr>
        <p:spPr>
          <a:xfrm>
            <a:off x="3965852" y="6321505"/>
            <a:ext cx="12954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28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E41E443E-13C8-50C3-C45D-A57CC53B3D65}"/>
              </a:ext>
            </a:extLst>
          </p:cNvPr>
          <p:cNvSpPr txBox="1"/>
          <p:nvPr/>
        </p:nvSpPr>
        <p:spPr>
          <a:xfrm>
            <a:off x="2497999" y="6421542"/>
            <a:ext cx="159438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2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graphicFrame>
        <p:nvGraphicFramePr>
          <p:cNvPr id="9" name="object 4">
            <a:extLst>
              <a:ext uri="{FF2B5EF4-FFF2-40B4-BE49-F238E27FC236}">
                <a16:creationId xmlns:a16="http://schemas.microsoft.com/office/drawing/2014/main" id="{B2E8F0A0-95F7-E352-A1B5-F6D1C9BF9F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1096148"/>
              </p:ext>
            </p:extLst>
          </p:nvPr>
        </p:nvGraphicFramePr>
        <p:xfrm>
          <a:off x="337266" y="959632"/>
          <a:ext cx="5774954" cy="572585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575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351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822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1439">
                <a:tc>
                  <a:txBody>
                    <a:bodyPr/>
                    <a:lstStyle/>
                    <a:p>
                      <a:pPr marL="45720" algn="ctr">
                        <a:lnSpc>
                          <a:spcPct val="100000"/>
                        </a:lnSpc>
                        <a:spcBef>
                          <a:spcPts val="695"/>
                        </a:spcBef>
                      </a:pPr>
                      <a:r>
                        <a:rPr sz="1400" b="1" spc="-5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libri"/>
                          <a:cs typeface="Calibri"/>
                        </a:rPr>
                        <a:t>No.</a:t>
                      </a:r>
                      <a:endParaRPr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12700">
                      <a:solidFill>
                        <a:srgbClr val="5B9BD4"/>
                      </a:solidFill>
                      <a:prstDash val="solid"/>
                    </a:lnL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  <a:solidFill>
                      <a:srgbClr val="3192C0"/>
                    </a:solidFill>
                  </a:tcPr>
                </a:tc>
                <a:tc>
                  <a:txBody>
                    <a:bodyPr/>
                    <a:lstStyle/>
                    <a:p>
                      <a:pPr marL="65405" marR="5715" indent="272415">
                        <a:lnSpc>
                          <a:spcPct val="100000"/>
                        </a:lnSpc>
                      </a:pPr>
                      <a:r>
                        <a:rPr lang="es-MX" sz="1400" b="1" spc="-5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libri"/>
                          <a:cs typeface="Calibri"/>
                        </a:rPr>
                        <a:t>PAÍS</a:t>
                      </a:r>
                      <a:endParaRPr lang="es-MX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4445" marB="0" anchor="ctr"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  <a:solidFill>
                      <a:srgbClr val="3192C0"/>
                    </a:solidFill>
                  </a:tcPr>
                </a:tc>
                <a:tc>
                  <a:txBody>
                    <a:bodyPr/>
                    <a:lstStyle/>
                    <a:p>
                      <a:pPr marL="6350" algn="ctr">
                        <a:lnSpc>
                          <a:spcPct val="100000"/>
                        </a:lnSpc>
                      </a:pPr>
                      <a:r>
                        <a:rPr lang="es-MX" sz="1400" b="1" spc="-5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libri"/>
                          <a:cs typeface="Calibri"/>
                        </a:rPr>
                        <a:t>INSTITUCIONES</a:t>
                      </a:r>
                      <a:r>
                        <a:rPr lang="es-MX" sz="1400" b="1" spc="-3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lang="es-MX" sz="1400" b="1" spc="-5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libri"/>
                          <a:cs typeface="Calibri"/>
                        </a:rPr>
                        <a:t>DE GARANTÍAS</a:t>
                      </a:r>
                      <a:endParaRPr lang="es-MX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R w="12700">
                      <a:solidFill>
                        <a:srgbClr val="5B9BD4"/>
                      </a:solidFill>
                      <a:prstDash val="solid"/>
                    </a:lnR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  <a:solidFill>
                      <a:srgbClr val="3192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754">
                <a:tc>
                  <a:txBody>
                    <a:bodyPr/>
                    <a:lstStyle/>
                    <a:p>
                      <a:pPr marL="45085" algn="ctr">
                        <a:lnSpc>
                          <a:spcPct val="100000"/>
                        </a:lnSpc>
                        <a:spcBef>
                          <a:spcPts val="645"/>
                        </a:spcBef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1</a:t>
                      </a:r>
                    </a:p>
                  </a:txBody>
                  <a:tcPr marL="0" marR="0" marT="81915" marB="0">
                    <a:lnL w="12700">
                      <a:solidFill>
                        <a:srgbClr val="5B9BD4"/>
                      </a:solidFill>
                      <a:prstDash val="solid"/>
                    </a:lnL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2705">
                        <a:lnSpc>
                          <a:spcPct val="100000"/>
                        </a:lnSpc>
                        <a:spcBef>
                          <a:spcPts val="645"/>
                        </a:spcBef>
                      </a:pPr>
                      <a:r>
                        <a:rPr sz="1000" b="1" spc="-5" dirty="0">
                          <a:latin typeface="Calibri"/>
                          <a:cs typeface="Calibri"/>
                        </a:rPr>
                        <a:t>Argentina</a:t>
                      </a:r>
                      <a:r>
                        <a:rPr sz="1000" b="1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latin typeface="Calibri"/>
                          <a:cs typeface="Calibri"/>
                        </a:rPr>
                        <a:t>(47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81915" marB="0"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85420" indent="-172720">
                        <a:lnSpc>
                          <a:spcPts val="1255"/>
                        </a:lnSpc>
                        <a:buFont typeface="Arial MT"/>
                        <a:buChar char="•"/>
                        <a:tabLst>
                          <a:tab pos="186055" algn="l"/>
                        </a:tabLst>
                      </a:pPr>
                      <a:r>
                        <a:rPr sz="1050" dirty="0">
                          <a:latin typeface="Calibri"/>
                          <a:cs typeface="Calibri"/>
                        </a:rPr>
                        <a:t>45</a:t>
                      </a:r>
                      <a:r>
                        <a:rPr sz="105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Sociedades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05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Garantía</a:t>
                      </a:r>
                      <a:r>
                        <a:rPr sz="105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Reciprocas</a:t>
                      </a:r>
                      <a:endParaRPr sz="1050" dirty="0">
                        <a:latin typeface="Calibri"/>
                        <a:cs typeface="Calibri"/>
                      </a:endParaRPr>
                    </a:p>
                    <a:p>
                      <a:pPr marL="185420">
                        <a:lnSpc>
                          <a:spcPts val="1210"/>
                        </a:lnSpc>
                      </a:pPr>
                      <a:r>
                        <a:rPr sz="1050" dirty="0">
                          <a:latin typeface="Calibri"/>
                          <a:cs typeface="Calibri"/>
                        </a:rPr>
                        <a:t>FOGAR,</a:t>
                      </a:r>
                      <a:r>
                        <a:rPr sz="105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FOGABA</a:t>
                      </a:r>
                      <a:r>
                        <a:rPr lang="es-ES" sz="1050" dirty="0">
                          <a:latin typeface="Calibri"/>
                          <a:cs typeface="Calibri"/>
                        </a:rPr>
                        <a:t> + 5 FGCS</a:t>
                      </a:r>
                      <a:endParaRPr sz="105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5B9BD4"/>
                      </a:solidFill>
                      <a:prstDash val="solid"/>
                    </a:lnR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881">
                <a:tc>
                  <a:txBody>
                    <a:bodyPr/>
                    <a:lstStyle/>
                    <a:p>
                      <a:pPr marL="45085" algn="ctr">
                        <a:lnSpc>
                          <a:spcPct val="100000"/>
                        </a:lnSpc>
                        <a:spcBef>
                          <a:spcPts val="645"/>
                        </a:spcBef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2</a:t>
                      </a:r>
                    </a:p>
                  </a:txBody>
                  <a:tcPr marL="0" marR="0" marT="81915" marB="0">
                    <a:lnL w="12700">
                      <a:solidFill>
                        <a:srgbClr val="5B9BD4"/>
                      </a:solidFill>
                      <a:prstDash val="solid"/>
                    </a:lnL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2705">
                        <a:lnSpc>
                          <a:spcPct val="100000"/>
                        </a:lnSpc>
                        <a:spcBef>
                          <a:spcPts val="645"/>
                        </a:spcBef>
                      </a:pPr>
                      <a:r>
                        <a:rPr sz="1000" b="1" spc="-5" dirty="0">
                          <a:latin typeface="Calibri"/>
                          <a:cs typeface="Calibri"/>
                        </a:rPr>
                        <a:t>Barbados</a:t>
                      </a:r>
                      <a:r>
                        <a:rPr sz="1000" b="1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latin typeface="Calibri"/>
                          <a:cs typeface="Calibri"/>
                        </a:rPr>
                        <a:t>(1)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81915" marB="0"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85420" marR="169545" indent="-172720">
                        <a:lnSpc>
                          <a:spcPts val="1220"/>
                        </a:lnSpc>
                        <a:spcBef>
                          <a:spcPts val="25"/>
                        </a:spcBef>
                        <a:buFont typeface="Arial MT"/>
                        <a:buChar char="•"/>
                        <a:tabLst>
                          <a:tab pos="186055" algn="l"/>
                        </a:tabLst>
                      </a:pPr>
                      <a:r>
                        <a:rPr sz="1575" baseline="2645" dirty="0">
                          <a:latin typeface="Calibri"/>
                          <a:cs typeface="Calibri"/>
                        </a:rPr>
                        <a:t>Banco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central</a:t>
                      </a:r>
                      <a:r>
                        <a:rPr sz="1575" spc="-44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barbados</a:t>
                      </a:r>
                      <a:r>
                        <a:rPr sz="1575" spc="-44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BCB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(programa</a:t>
                      </a:r>
                      <a:r>
                        <a:rPr sz="1575" spc="-5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para</a:t>
                      </a:r>
                      <a:r>
                        <a:rPr sz="1575" spc="-3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mejora</a:t>
                      </a:r>
                      <a:r>
                        <a:rPr sz="1575" spc="-3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acceso</a:t>
                      </a:r>
                      <a:r>
                        <a:rPr sz="1575" spc="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al</a:t>
                      </a:r>
                      <a:r>
                        <a:rPr sz="1575" spc="-2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crédito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para</a:t>
                      </a:r>
                      <a:r>
                        <a:rPr sz="1575" spc="-3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la </a:t>
                      </a:r>
                      <a:r>
                        <a:rPr sz="1575" spc="-3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productividad</a:t>
                      </a:r>
                      <a:r>
                        <a:rPr sz="105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)</a:t>
                      </a:r>
                    </a:p>
                  </a:txBody>
                  <a:tcPr marL="0" marR="0" marT="3175" marB="0">
                    <a:lnR w="12700">
                      <a:solidFill>
                        <a:srgbClr val="5B9BD4"/>
                      </a:solidFill>
                      <a:prstDash val="solid"/>
                    </a:lnR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3614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45085" algn="ctr">
                        <a:lnSpc>
                          <a:spcPct val="100000"/>
                        </a:lnSpc>
                        <a:spcBef>
                          <a:spcPts val="720"/>
                        </a:spcBef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3</a:t>
                      </a:r>
                    </a:p>
                  </a:txBody>
                  <a:tcPr marL="0" marR="0" marT="0" marB="0">
                    <a:lnL w="12700">
                      <a:solidFill>
                        <a:srgbClr val="5B9BD4"/>
                      </a:solidFill>
                      <a:prstDash val="solid"/>
                    </a:lnL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52705">
                        <a:lnSpc>
                          <a:spcPct val="100000"/>
                        </a:lnSpc>
                        <a:spcBef>
                          <a:spcPts val="720"/>
                        </a:spcBef>
                      </a:pPr>
                      <a:r>
                        <a:rPr sz="1000" b="1" spc="-5" dirty="0">
                          <a:latin typeface="Calibri"/>
                          <a:cs typeface="Calibri"/>
                        </a:rPr>
                        <a:t>Bolivia</a:t>
                      </a:r>
                      <a:r>
                        <a:rPr sz="1000" b="1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latin typeface="Calibri"/>
                          <a:cs typeface="Calibri"/>
                        </a:rPr>
                        <a:t>(4)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185420" indent="-172720">
                        <a:lnSpc>
                          <a:spcPts val="1240"/>
                        </a:lnSpc>
                        <a:buFont typeface="Arial MT"/>
                        <a:buChar char="•"/>
                        <a:tabLst>
                          <a:tab pos="186055" algn="l"/>
                        </a:tabLst>
                      </a:pPr>
                      <a:r>
                        <a:rPr sz="1575" spc="-7" baseline="2645" dirty="0">
                          <a:latin typeface="Calibri"/>
                          <a:cs typeface="Calibri"/>
                        </a:rPr>
                        <a:t>Fondo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Garantía</a:t>
                      </a:r>
                      <a:r>
                        <a:rPr sz="1575" spc="-6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Créditos</a:t>
                      </a:r>
                      <a:r>
                        <a:rPr sz="1575" spc="-2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para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el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Sector</a:t>
                      </a:r>
                      <a:r>
                        <a:rPr sz="1575" spc="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Gremial</a:t>
                      </a:r>
                      <a:r>
                        <a:rPr sz="1575" spc="-6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(FOGAGRE)</a:t>
                      </a:r>
                    </a:p>
                    <a:p>
                      <a:pPr marL="185420" marR="643255">
                        <a:lnSpc>
                          <a:spcPts val="1260"/>
                        </a:lnSpc>
                      </a:pPr>
                      <a:r>
                        <a:rPr sz="1050" spc="-5" dirty="0">
                          <a:latin typeface="Calibri"/>
                          <a:cs typeface="Calibri"/>
                        </a:rPr>
                        <a:t>Fondo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de Garantía para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Créditos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de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Vivienda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de Interés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Social (FOGAVISP) </a:t>
                      </a:r>
                      <a:r>
                        <a:rPr sz="1050" spc="-2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Fondo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05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Garantía</a:t>
                      </a:r>
                      <a:r>
                        <a:rPr sz="105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para</a:t>
                      </a:r>
                      <a:r>
                        <a:rPr sz="105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Créditos</a:t>
                      </a:r>
                      <a:r>
                        <a:rPr sz="105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Productivos</a:t>
                      </a:r>
                      <a:r>
                        <a:rPr sz="105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(FOGACP)</a:t>
                      </a:r>
                      <a:endParaRPr sz="1050" dirty="0">
                        <a:latin typeface="Calibri"/>
                        <a:cs typeface="Calibri"/>
                      </a:endParaRPr>
                    </a:p>
                  </a:txBody>
                  <a:tcPr marL="0" marR="0" marT="5080" marB="0">
                    <a:lnR w="12700">
                      <a:solidFill>
                        <a:srgbClr val="5B9BD4"/>
                      </a:solidFill>
                      <a:prstDash val="solid"/>
                    </a:lnR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65834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45085" algn="ctr">
                        <a:lnSpc>
                          <a:spcPct val="100000"/>
                        </a:lnSpc>
                        <a:spcBef>
                          <a:spcPts val="865"/>
                        </a:spcBef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4</a:t>
                      </a:r>
                    </a:p>
                  </a:txBody>
                  <a:tcPr marL="0" marR="0" marT="0" marB="0">
                    <a:lnL w="12700">
                      <a:solidFill>
                        <a:srgbClr val="5B9BD4"/>
                      </a:solidFill>
                      <a:prstDash val="solid"/>
                    </a:lnL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52705">
                        <a:lnSpc>
                          <a:spcPct val="100000"/>
                        </a:lnSpc>
                        <a:spcBef>
                          <a:spcPts val="865"/>
                        </a:spcBef>
                      </a:pPr>
                      <a:r>
                        <a:rPr sz="1000" b="1" spc="-5" dirty="0">
                          <a:latin typeface="Calibri"/>
                          <a:cs typeface="Calibri"/>
                        </a:rPr>
                        <a:t>Brasil</a:t>
                      </a:r>
                      <a:r>
                        <a:rPr sz="1000" b="1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latin typeface="Calibri"/>
                          <a:cs typeface="Calibri"/>
                        </a:rPr>
                        <a:t>(3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85420" marR="363855" indent="-172720">
                        <a:lnSpc>
                          <a:spcPts val="1220"/>
                        </a:lnSpc>
                        <a:spcBef>
                          <a:spcPts val="80"/>
                        </a:spcBef>
                        <a:buFont typeface="Arial MT"/>
                        <a:buChar char="•"/>
                        <a:tabLst>
                          <a:tab pos="186055" algn="l"/>
                        </a:tabLst>
                      </a:pPr>
                      <a:r>
                        <a:rPr sz="1575" baseline="2645" dirty="0">
                          <a:latin typeface="Calibri"/>
                          <a:cs typeface="Calibri"/>
                        </a:rPr>
                        <a:t>Banco de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Brasil/Fondo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 Garantía de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Operaciones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FGO: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Programa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Nacional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de </a:t>
                      </a:r>
                      <a:r>
                        <a:rPr sz="1575" spc="-33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Apoyo</a:t>
                      </a:r>
                      <a:r>
                        <a:rPr sz="105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05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la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Micro</a:t>
                      </a:r>
                      <a:r>
                        <a:rPr sz="105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y</a:t>
                      </a:r>
                      <a:r>
                        <a:rPr sz="105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Pequeña</a:t>
                      </a:r>
                      <a:r>
                        <a:rPr sz="105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Empresa</a:t>
                      </a:r>
                      <a:r>
                        <a:rPr sz="105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Pronampe</a:t>
                      </a:r>
                      <a:endParaRPr sz="1050" dirty="0">
                        <a:latin typeface="Calibri"/>
                        <a:cs typeface="Calibri"/>
                      </a:endParaRPr>
                    </a:p>
                    <a:p>
                      <a:pPr marL="185420" indent="-172720">
                        <a:lnSpc>
                          <a:spcPts val="1240"/>
                        </a:lnSpc>
                        <a:spcBef>
                          <a:spcPts val="10"/>
                        </a:spcBef>
                        <a:buFont typeface="Arial MT"/>
                        <a:buChar char="•"/>
                        <a:tabLst>
                          <a:tab pos="186055" algn="l"/>
                        </a:tabLst>
                      </a:pPr>
                      <a:r>
                        <a:rPr sz="1575" baseline="2645" dirty="0">
                          <a:latin typeface="Calibri"/>
                          <a:cs typeface="Calibri"/>
                        </a:rPr>
                        <a:t>Banco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Nacional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sarrollo</a:t>
                      </a:r>
                      <a:r>
                        <a:rPr sz="1575" spc="-5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Económico</a:t>
                      </a:r>
                      <a:r>
                        <a:rPr sz="1575" spc="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y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 Social-BNDES/Fondo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Garantía</a:t>
                      </a:r>
                      <a:r>
                        <a:rPr sz="1575" spc="-5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lang="es-ES" sz="1575" spc="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 err="1">
                          <a:latin typeface="Calibri"/>
                          <a:cs typeface="Calibri"/>
                        </a:rPr>
                        <a:t>Inversiones</a:t>
                      </a:r>
                      <a:r>
                        <a:rPr sz="105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(FGI):</a:t>
                      </a:r>
                      <a:r>
                        <a:rPr sz="105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Programa</a:t>
                      </a:r>
                      <a:r>
                        <a:rPr sz="105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05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Emergencia</a:t>
                      </a:r>
                      <a:r>
                        <a:rPr sz="105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05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Acceso</a:t>
                      </a:r>
                      <a:r>
                        <a:rPr sz="105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al</a:t>
                      </a:r>
                      <a:r>
                        <a:rPr sz="105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Crédito</a:t>
                      </a:r>
                      <a:r>
                        <a:rPr sz="105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PEAC</a:t>
                      </a:r>
                      <a:endParaRPr sz="1050" dirty="0">
                        <a:latin typeface="Calibri"/>
                        <a:cs typeface="Calibri"/>
                      </a:endParaRPr>
                    </a:p>
                    <a:p>
                      <a:pPr marL="185420" indent="-172720">
                        <a:lnSpc>
                          <a:spcPct val="100000"/>
                        </a:lnSpc>
                        <a:spcBef>
                          <a:spcPts val="35"/>
                        </a:spcBef>
                        <a:buFont typeface="Arial MT"/>
                        <a:buChar char="•"/>
                        <a:tabLst>
                          <a:tab pos="186055" algn="l"/>
                        </a:tabLst>
                      </a:pPr>
                      <a:r>
                        <a:rPr sz="1575" baseline="2645" dirty="0">
                          <a:latin typeface="Calibri"/>
                          <a:cs typeface="Calibri"/>
                        </a:rPr>
                        <a:t>SGC</a:t>
                      </a:r>
                      <a:r>
                        <a:rPr sz="1575" spc="-5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Central</a:t>
                      </a:r>
                      <a:endParaRPr sz="1575" baseline="2645" dirty="0">
                        <a:latin typeface="Calibri"/>
                        <a:cs typeface="Calibri"/>
                      </a:endParaRPr>
                    </a:p>
                  </a:txBody>
                  <a:tcPr marL="0" marR="0" marT="10160" marB="0">
                    <a:lnR w="12700">
                      <a:solidFill>
                        <a:srgbClr val="5B9BD4"/>
                      </a:solidFill>
                      <a:prstDash val="solid"/>
                    </a:lnR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592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45085" algn="ctr">
                        <a:lnSpc>
                          <a:spcPct val="100000"/>
                        </a:lnSpc>
                        <a:spcBef>
                          <a:spcPts val="760"/>
                        </a:spcBef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5</a:t>
                      </a:r>
                    </a:p>
                  </a:txBody>
                  <a:tcPr marL="0" marR="0" marT="0" marB="0">
                    <a:lnL w="12700">
                      <a:solidFill>
                        <a:srgbClr val="5B9BD4"/>
                      </a:solidFill>
                      <a:prstDash val="solid"/>
                    </a:lnL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52705">
                        <a:lnSpc>
                          <a:spcPct val="100000"/>
                        </a:lnSpc>
                        <a:spcBef>
                          <a:spcPts val="760"/>
                        </a:spcBef>
                      </a:pPr>
                      <a:r>
                        <a:rPr sz="1000" b="1" spc="-5" dirty="0">
                          <a:latin typeface="Calibri"/>
                          <a:cs typeface="Calibri"/>
                        </a:rPr>
                        <a:t>Chile</a:t>
                      </a:r>
                      <a:r>
                        <a:rPr sz="1000" b="1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latin typeface="Calibri"/>
                          <a:cs typeface="Calibri"/>
                        </a:rPr>
                        <a:t>(9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85420" indent="-172720">
                        <a:lnSpc>
                          <a:spcPct val="100000"/>
                        </a:lnSpc>
                        <a:buFont typeface="Arial MT"/>
                        <a:buChar char="•"/>
                        <a:tabLst>
                          <a:tab pos="186055" algn="l"/>
                        </a:tabLst>
                      </a:pPr>
                      <a:r>
                        <a:rPr sz="1050" spc="-5" dirty="0">
                          <a:latin typeface="Calibri"/>
                          <a:cs typeface="Calibri"/>
                        </a:rPr>
                        <a:t>Fondo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05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Garantía</a:t>
                      </a:r>
                      <a:r>
                        <a:rPr sz="105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para</a:t>
                      </a:r>
                      <a:r>
                        <a:rPr sz="105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Pequeños</a:t>
                      </a:r>
                      <a:r>
                        <a:rPr sz="105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Empresarios</a:t>
                      </a:r>
                      <a:r>
                        <a:rPr sz="105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FOGAPE</a:t>
                      </a:r>
                      <a:endParaRPr sz="1050" dirty="0">
                        <a:latin typeface="Calibri"/>
                        <a:cs typeface="Calibri"/>
                      </a:endParaRPr>
                    </a:p>
                    <a:p>
                      <a:pPr marL="215900" indent="-203200">
                        <a:lnSpc>
                          <a:spcPct val="100000"/>
                        </a:lnSpc>
                        <a:buFont typeface="Arial MT"/>
                        <a:buChar char="•"/>
                        <a:tabLst>
                          <a:tab pos="215900" algn="l"/>
                          <a:tab pos="216535" algn="l"/>
                        </a:tabLst>
                      </a:pPr>
                      <a:r>
                        <a:rPr sz="1050" spc="-5" dirty="0">
                          <a:latin typeface="Calibri"/>
                          <a:cs typeface="Calibri"/>
                        </a:rPr>
                        <a:t>fondo</a:t>
                      </a:r>
                      <a:r>
                        <a:rPr sz="105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05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garantía</a:t>
                      </a:r>
                      <a:r>
                        <a:rPr sz="105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CORFO</a:t>
                      </a:r>
                      <a:r>
                        <a:rPr sz="1050" spc="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para</a:t>
                      </a:r>
                      <a:r>
                        <a:rPr sz="105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pro</a:t>
                      </a:r>
                      <a:r>
                        <a:rPr sz="105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inversión</a:t>
                      </a:r>
                      <a:endParaRPr sz="1050" dirty="0">
                        <a:latin typeface="Calibri"/>
                        <a:cs typeface="Calibri"/>
                      </a:endParaRPr>
                    </a:p>
                    <a:p>
                      <a:pPr marL="185420" indent="-172720">
                        <a:lnSpc>
                          <a:spcPct val="100000"/>
                        </a:lnSpc>
                        <a:buFont typeface="Arial MT"/>
                        <a:buChar char="•"/>
                        <a:tabLst>
                          <a:tab pos="186055" algn="l"/>
                        </a:tabLst>
                      </a:pPr>
                      <a:r>
                        <a:rPr sz="1050" dirty="0">
                          <a:latin typeface="Calibri"/>
                          <a:cs typeface="Calibri"/>
                        </a:rPr>
                        <a:t>SGRs</a:t>
                      </a:r>
                    </a:p>
                  </a:txBody>
                  <a:tcPr marL="0" marR="0" marT="0" marB="0">
                    <a:lnR w="12700">
                      <a:solidFill>
                        <a:srgbClr val="5B9BD4"/>
                      </a:solidFill>
                      <a:prstDash val="solid"/>
                    </a:lnR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0718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45085" algn="ctr">
                        <a:lnSpc>
                          <a:spcPct val="100000"/>
                        </a:lnSpc>
                        <a:spcBef>
                          <a:spcPts val="610"/>
                        </a:spcBef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6</a:t>
                      </a:r>
                    </a:p>
                  </a:txBody>
                  <a:tcPr marL="0" marR="0" marT="0" marB="0">
                    <a:lnL w="12700">
                      <a:solidFill>
                        <a:srgbClr val="5B9BD4"/>
                      </a:solidFill>
                      <a:prstDash val="solid"/>
                    </a:lnL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52705">
                        <a:lnSpc>
                          <a:spcPct val="100000"/>
                        </a:lnSpc>
                        <a:spcBef>
                          <a:spcPts val="610"/>
                        </a:spcBef>
                      </a:pPr>
                      <a:r>
                        <a:rPr sz="1000" b="1" spc="-5" dirty="0">
                          <a:latin typeface="Calibri"/>
                          <a:cs typeface="Calibri"/>
                        </a:rPr>
                        <a:t>Colombia</a:t>
                      </a:r>
                      <a:r>
                        <a:rPr sz="1000" b="1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latin typeface="Calibri"/>
                          <a:cs typeface="Calibri"/>
                        </a:rPr>
                        <a:t>(11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85420" indent="-172720">
                        <a:lnSpc>
                          <a:spcPct val="100000"/>
                        </a:lnSpc>
                        <a:spcBef>
                          <a:spcPts val="970"/>
                        </a:spcBef>
                        <a:buFont typeface="Arial MT"/>
                        <a:buChar char="•"/>
                        <a:tabLst>
                          <a:tab pos="186055" algn="l"/>
                        </a:tabLst>
                      </a:pPr>
                      <a:r>
                        <a:rPr sz="1575" spc="-7" baseline="2645" dirty="0">
                          <a:latin typeface="Calibri"/>
                          <a:cs typeface="Calibri"/>
                        </a:rPr>
                        <a:t>Fondo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Nacional</a:t>
                      </a:r>
                      <a:r>
                        <a:rPr sz="1575" spc="-44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Garantías</a:t>
                      </a:r>
                      <a:r>
                        <a:rPr sz="1575" spc="-5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(FNG)</a:t>
                      </a:r>
                      <a:endParaRPr sz="1575" baseline="2645">
                        <a:latin typeface="Calibri"/>
                        <a:cs typeface="Calibri"/>
                      </a:endParaRPr>
                    </a:p>
                    <a:p>
                      <a:pPr marL="185420" indent="-172720">
                        <a:lnSpc>
                          <a:spcPct val="100000"/>
                        </a:lnSpc>
                        <a:buFont typeface="Arial MT"/>
                        <a:buChar char="•"/>
                        <a:tabLst>
                          <a:tab pos="186055" algn="l"/>
                        </a:tabLst>
                      </a:pPr>
                      <a:r>
                        <a:rPr sz="1575" baseline="2645" dirty="0">
                          <a:latin typeface="Calibri"/>
                          <a:cs typeface="Calibri"/>
                        </a:rPr>
                        <a:t>10</a:t>
                      </a:r>
                      <a:r>
                        <a:rPr sz="1575" spc="-3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Fondos</a:t>
                      </a:r>
                      <a:r>
                        <a:rPr sz="1575" spc="-2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Regionales</a:t>
                      </a:r>
                      <a:r>
                        <a:rPr sz="1575" spc="-2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3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Garantía</a:t>
                      </a:r>
                      <a:endParaRPr sz="1575" baseline="2645">
                        <a:latin typeface="Calibri"/>
                        <a:cs typeface="Calibri"/>
                      </a:endParaRPr>
                    </a:p>
                  </a:txBody>
                  <a:tcPr marL="0" marR="0" marT="123190" marB="0">
                    <a:lnR w="12700">
                      <a:solidFill>
                        <a:srgbClr val="5B9BD4"/>
                      </a:solidFill>
                      <a:prstDash val="solid"/>
                    </a:lnR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5862">
                <a:tc>
                  <a:txBody>
                    <a:bodyPr/>
                    <a:lstStyle/>
                    <a:p>
                      <a:pPr marL="45085" algn="ctr">
                        <a:lnSpc>
                          <a:spcPts val="1185"/>
                        </a:lnSpc>
                        <a:spcBef>
                          <a:spcPts val="20"/>
                        </a:spcBef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7</a:t>
                      </a:r>
                    </a:p>
                  </a:txBody>
                  <a:tcPr marL="0" marR="0" marT="2540" marB="0">
                    <a:lnL w="12700">
                      <a:solidFill>
                        <a:srgbClr val="5B9BD4"/>
                      </a:solidFill>
                      <a:prstDash val="solid"/>
                    </a:lnL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2705">
                        <a:lnSpc>
                          <a:spcPts val="1185"/>
                        </a:lnSpc>
                        <a:spcBef>
                          <a:spcPts val="20"/>
                        </a:spcBef>
                      </a:pPr>
                      <a:r>
                        <a:rPr sz="1000" b="1" spc="-5" dirty="0">
                          <a:latin typeface="Calibri"/>
                          <a:cs typeface="Calibri"/>
                        </a:rPr>
                        <a:t>Costa</a:t>
                      </a:r>
                      <a:r>
                        <a:rPr sz="1000" b="1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latin typeface="Calibri"/>
                          <a:cs typeface="Calibri"/>
                        </a:rPr>
                        <a:t>Rica</a:t>
                      </a:r>
                      <a:r>
                        <a:rPr sz="1000" b="1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latin typeface="Calibri"/>
                          <a:cs typeface="Calibri"/>
                        </a:rPr>
                        <a:t>(1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2540" marB="0"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85420" indent="-172720">
                        <a:lnSpc>
                          <a:spcPts val="1205"/>
                        </a:lnSpc>
                        <a:buFont typeface="Arial MT"/>
                        <a:buChar char="•"/>
                        <a:tabLst>
                          <a:tab pos="186055" algn="l"/>
                        </a:tabLst>
                      </a:pPr>
                      <a:r>
                        <a:rPr sz="1050" spc="-5" dirty="0">
                          <a:latin typeface="Calibri"/>
                          <a:cs typeface="Calibri"/>
                        </a:rPr>
                        <a:t>Fondo</a:t>
                      </a:r>
                      <a:r>
                        <a:rPr sz="105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05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Desarrollo</a:t>
                      </a:r>
                      <a:r>
                        <a:rPr sz="105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05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la</a:t>
                      </a:r>
                      <a:r>
                        <a:rPr sz="105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Micro,</a:t>
                      </a:r>
                      <a:r>
                        <a:rPr sz="105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Pequeña</a:t>
                      </a:r>
                      <a:r>
                        <a:rPr sz="105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y Mediana</a:t>
                      </a:r>
                      <a:r>
                        <a:rPr sz="105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Empresa</a:t>
                      </a:r>
                      <a:r>
                        <a:rPr sz="105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FODEMIPYME</a:t>
                      </a:r>
                      <a:endParaRPr sz="105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5B9BD4"/>
                      </a:solidFill>
                      <a:prstDash val="solid"/>
                    </a:lnR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5754">
                <a:tc>
                  <a:txBody>
                    <a:bodyPr/>
                    <a:lstStyle/>
                    <a:p>
                      <a:pPr marL="45085" algn="ctr">
                        <a:lnSpc>
                          <a:spcPct val="100000"/>
                        </a:lnSpc>
                        <a:spcBef>
                          <a:spcPts val="650"/>
                        </a:spcBef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8</a:t>
                      </a:r>
                    </a:p>
                  </a:txBody>
                  <a:tcPr marL="0" marR="0" marT="82550" marB="0">
                    <a:lnL w="12700">
                      <a:solidFill>
                        <a:srgbClr val="5B9BD4"/>
                      </a:solidFill>
                      <a:prstDash val="solid"/>
                    </a:lnL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2705">
                        <a:lnSpc>
                          <a:spcPct val="100000"/>
                        </a:lnSpc>
                        <a:spcBef>
                          <a:spcPts val="650"/>
                        </a:spcBef>
                      </a:pPr>
                      <a:r>
                        <a:rPr sz="1000" b="1" spc="-5" dirty="0">
                          <a:latin typeface="Calibri"/>
                          <a:cs typeface="Calibri"/>
                        </a:rPr>
                        <a:t>Ecuador</a:t>
                      </a:r>
                      <a:r>
                        <a:rPr sz="1000" b="1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latin typeface="Calibri"/>
                          <a:cs typeface="Calibri"/>
                        </a:rPr>
                        <a:t>(2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82550" marB="0"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85420" indent="-172720">
                        <a:lnSpc>
                          <a:spcPct val="100000"/>
                        </a:lnSpc>
                        <a:spcBef>
                          <a:spcPts val="15"/>
                        </a:spcBef>
                        <a:buFont typeface="Arial MT"/>
                        <a:buChar char="•"/>
                        <a:tabLst>
                          <a:tab pos="186055" algn="l"/>
                        </a:tabLst>
                      </a:pPr>
                      <a:r>
                        <a:rPr sz="1575" spc="-7" baseline="2645" dirty="0">
                          <a:latin typeface="Calibri"/>
                          <a:cs typeface="Calibri"/>
                        </a:rPr>
                        <a:t>CONAFIPS</a:t>
                      </a:r>
                      <a:endParaRPr sz="1575" baseline="2645">
                        <a:latin typeface="Calibri"/>
                        <a:cs typeface="Calibri"/>
                      </a:endParaRPr>
                    </a:p>
                    <a:p>
                      <a:pPr marL="185420" indent="-172720">
                        <a:lnSpc>
                          <a:spcPts val="1190"/>
                        </a:lnSpc>
                        <a:buFont typeface="Arial MT"/>
                        <a:buChar char="•"/>
                        <a:tabLst>
                          <a:tab pos="186055" algn="l"/>
                        </a:tabLst>
                      </a:pPr>
                      <a:r>
                        <a:rPr sz="1575" spc="-7" baseline="2645" dirty="0">
                          <a:latin typeface="Calibri"/>
                          <a:cs typeface="Calibri"/>
                        </a:rPr>
                        <a:t>Fondo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nacional</a:t>
                      </a:r>
                      <a:r>
                        <a:rPr sz="1575" spc="-44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garantías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Ecuador</a:t>
                      </a:r>
                      <a:endParaRPr sz="1575" baseline="2645">
                        <a:latin typeface="Calibri"/>
                        <a:cs typeface="Calibri"/>
                      </a:endParaRPr>
                    </a:p>
                  </a:txBody>
                  <a:tcPr marL="0" marR="0" marT="1905" marB="0">
                    <a:lnR w="12700">
                      <a:solidFill>
                        <a:srgbClr val="5B9BD4"/>
                      </a:solidFill>
                      <a:prstDash val="solid"/>
                    </a:lnR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85902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45085" algn="ctr">
                        <a:lnSpc>
                          <a:spcPct val="100000"/>
                        </a:lnSpc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9</a:t>
                      </a:r>
                    </a:p>
                  </a:txBody>
                  <a:tcPr marL="0" marR="0" marT="1905" marB="0">
                    <a:lnL w="12700">
                      <a:solidFill>
                        <a:srgbClr val="5B9BD4"/>
                      </a:solidFill>
                      <a:prstDash val="solid"/>
                    </a:lnL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L="52705">
                        <a:lnSpc>
                          <a:spcPct val="100000"/>
                        </a:lnSpc>
                      </a:pPr>
                      <a:r>
                        <a:rPr sz="1000" b="1" spc="-10" dirty="0">
                          <a:latin typeface="Calibri"/>
                          <a:cs typeface="Calibri"/>
                        </a:rPr>
                        <a:t>El</a:t>
                      </a:r>
                      <a:r>
                        <a:rPr sz="1000" b="1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latin typeface="Calibri"/>
                          <a:cs typeface="Calibri"/>
                        </a:rPr>
                        <a:t>Salvador</a:t>
                      </a:r>
                      <a:r>
                        <a:rPr sz="1000" b="1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latin typeface="Calibri"/>
                          <a:cs typeface="Calibri"/>
                        </a:rPr>
                        <a:t>(2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1905" marB="0"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85420" indent="-172720">
                        <a:lnSpc>
                          <a:spcPct val="100000"/>
                        </a:lnSpc>
                        <a:buFont typeface="Arial MT"/>
                        <a:buChar char="•"/>
                        <a:tabLst>
                          <a:tab pos="186055" algn="l"/>
                        </a:tabLst>
                      </a:pPr>
                      <a:r>
                        <a:rPr sz="1050" dirty="0">
                          <a:latin typeface="Calibri"/>
                          <a:cs typeface="Calibri"/>
                        </a:rPr>
                        <a:t>Garantías</a:t>
                      </a:r>
                      <a:r>
                        <a:rPr sz="105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y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Servicios,</a:t>
                      </a:r>
                      <a:r>
                        <a:rPr sz="105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S.A.</a:t>
                      </a:r>
                      <a:r>
                        <a:rPr sz="105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05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CV,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SGR</a:t>
                      </a:r>
                      <a:endParaRPr sz="1050">
                        <a:latin typeface="Calibri"/>
                        <a:cs typeface="Calibri"/>
                      </a:endParaRPr>
                    </a:p>
                    <a:p>
                      <a:pPr marL="185420" indent="-172720">
                        <a:lnSpc>
                          <a:spcPct val="100000"/>
                        </a:lnSpc>
                        <a:buFont typeface="Arial MT"/>
                        <a:buChar char="•"/>
                        <a:tabLst>
                          <a:tab pos="186055" algn="l"/>
                        </a:tabLst>
                      </a:pPr>
                      <a:r>
                        <a:rPr sz="1050" spc="-5" dirty="0">
                          <a:latin typeface="Calibri"/>
                          <a:cs typeface="Calibri"/>
                        </a:rPr>
                        <a:t>Fondo</a:t>
                      </a:r>
                      <a:r>
                        <a:rPr sz="105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salvadoreño</a:t>
                      </a:r>
                      <a:r>
                        <a:rPr sz="105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05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garantías-BANDESAL</a:t>
                      </a:r>
                      <a:endParaRPr sz="105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R w="12700">
                      <a:solidFill>
                        <a:srgbClr val="5B9BD4"/>
                      </a:solidFill>
                      <a:prstDash val="solid"/>
                    </a:lnR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0723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45085" algn="ctr">
                        <a:lnSpc>
                          <a:spcPct val="100000"/>
                        </a:lnSpc>
                        <a:spcBef>
                          <a:spcPts val="610"/>
                        </a:spcBef>
                      </a:pPr>
                      <a:r>
                        <a:rPr sz="1000" spc="-10" dirty="0">
                          <a:latin typeface="Calibri"/>
                          <a:cs typeface="Calibri"/>
                        </a:rPr>
                        <a:t>10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5B9BD4"/>
                      </a:solidFill>
                      <a:prstDash val="solid"/>
                    </a:lnL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L="52705">
                        <a:lnSpc>
                          <a:spcPct val="100000"/>
                        </a:lnSpc>
                        <a:spcBef>
                          <a:spcPts val="610"/>
                        </a:spcBef>
                      </a:pPr>
                      <a:r>
                        <a:rPr sz="1000" b="1" spc="-5" dirty="0">
                          <a:latin typeface="Calibri"/>
                          <a:cs typeface="Calibri"/>
                        </a:rPr>
                        <a:t>España</a:t>
                      </a:r>
                      <a:r>
                        <a:rPr sz="1000" b="1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latin typeface="Calibri"/>
                          <a:cs typeface="Calibri"/>
                        </a:rPr>
                        <a:t>(19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85420" indent="-172720">
                        <a:lnSpc>
                          <a:spcPct val="100000"/>
                        </a:lnSpc>
                        <a:spcBef>
                          <a:spcPts val="969"/>
                        </a:spcBef>
                        <a:buFont typeface="Arial MT"/>
                        <a:buChar char="•"/>
                        <a:tabLst>
                          <a:tab pos="186055" algn="l"/>
                        </a:tabLst>
                      </a:pPr>
                      <a:r>
                        <a:rPr sz="1575" baseline="2645" dirty="0">
                          <a:latin typeface="Calibri"/>
                          <a:cs typeface="Calibri"/>
                        </a:rPr>
                        <a:t>CERSA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 Sociedad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Mercantil</a:t>
                      </a:r>
                      <a:r>
                        <a:rPr sz="1575" spc="-44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Estatal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(SME)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reafianzadora</a:t>
                      </a:r>
                    </a:p>
                    <a:p>
                      <a:pPr marL="185420" indent="-172720">
                        <a:lnSpc>
                          <a:spcPct val="100000"/>
                        </a:lnSpc>
                        <a:buFont typeface="Arial MT"/>
                        <a:buChar char="•"/>
                        <a:tabLst>
                          <a:tab pos="186055" algn="l"/>
                        </a:tabLst>
                      </a:pPr>
                      <a:r>
                        <a:rPr sz="1575" baseline="2645" dirty="0">
                          <a:latin typeface="Calibri"/>
                          <a:cs typeface="Calibri"/>
                        </a:rPr>
                        <a:t>18</a:t>
                      </a:r>
                      <a:r>
                        <a:rPr sz="1575" spc="-3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Sociedades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3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garantía</a:t>
                      </a:r>
                      <a:r>
                        <a:rPr sz="1575" spc="-3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recíproca</a:t>
                      </a:r>
                    </a:p>
                  </a:txBody>
                  <a:tcPr marL="0" marR="0" marT="123189" marB="0">
                    <a:lnR w="12700">
                      <a:solidFill>
                        <a:srgbClr val="5B9BD4"/>
                      </a:solidFill>
                      <a:prstDash val="solid"/>
                    </a:lnR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0" name="object 5">
            <a:extLst>
              <a:ext uri="{FF2B5EF4-FFF2-40B4-BE49-F238E27FC236}">
                <a16:creationId xmlns:a16="http://schemas.microsoft.com/office/drawing/2014/main" id="{06B2D35C-2D35-75E4-B67C-E48DDB18F5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833236"/>
              </p:ext>
            </p:extLst>
          </p:nvPr>
        </p:nvGraphicFramePr>
        <p:xfrm>
          <a:off x="6256729" y="959632"/>
          <a:ext cx="5774954" cy="465431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417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986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345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47957">
                <a:tc>
                  <a:txBody>
                    <a:bodyPr/>
                    <a:lstStyle/>
                    <a:p>
                      <a:pPr marL="45720" algn="ctr">
                        <a:lnSpc>
                          <a:spcPct val="100000"/>
                        </a:lnSpc>
                        <a:spcBef>
                          <a:spcPts val="695"/>
                        </a:spcBef>
                      </a:pPr>
                      <a:r>
                        <a:rPr sz="1400" b="1" spc="-5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libri"/>
                          <a:cs typeface="Calibri"/>
                        </a:rPr>
                        <a:t>No.</a:t>
                      </a:r>
                      <a:endParaRPr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L w="12700">
                      <a:solidFill>
                        <a:srgbClr val="5B9BD4"/>
                      </a:solidFill>
                      <a:prstDash val="solid"/>
                    </a:lnL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  <a:solidFill>
                      <a:srgbClr val="3192C0"/>
                    </a:solidFill>
                  </a:tcPr>
                </a:tc>
                <a:tc>
                  <a:txBody>
                    <a:bodyPr/>
                    <a:lstStyle/>
                    <a:p>
                      <a:pPr marL="65405" marR="5715" indent="272415">
                        <a:lnSpc>
                          <a:spcPct val="100000"/>
                        </a:lnSpc>
                      </a:pPr>
                      <a:r>
                        <a:rPr lang="es-MX" sz="1400" b="1" spc="-5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libri"/>
                          <a:cs typeface="Calibri"/>
                        </a:rPr>
                        <a:t>PAÍS</a:t>
                      </a:r>
                      <a:endParaRPr lang="es-MX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4445" marB="0" anchor="ctr"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  <a:solidFill>
                      <a:srgbClr val="3192C0"/>
                    </a:solidFill>
                  </a:tcPr>
                </a:tc>
                <a:tc>
                  <a:txBody>
                    <a:bodyPr/>
                    <a:lstStyle/>
                    <a:p>
                      <a:pPr marL="6350" algn="ctr">
                        <a:lnSpc>
                          <a:spcPct val="100000"/>
                        </a:lnSpc>
                      </a:pPr>
                      <a:r>
                        <a:rPr lang="es-MX" sz="1400" b="1" spc="-5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libri"/>
                          <a:cs typeface="Calibri"/>
                        </a:rPr>
                        <a:t>INSTITUCIONES</a:t>
                      </a:r>
                      <a:r>
                        <a:rPr lang="es-MX" sz="1400" b="1" spc="-3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lang="es-MX" sz="1400" b="1" spc="-5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Calibri"/>
                          <a:cs typeface="Calibri"/>
                        </a:rPr>
                        <a:t>DE GARANTÍAS</a:t>
                      </a:r>
                      <a:endParaRPr lang="es-MX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0" marB="0" anchor="ctr">
                    <a:lnR w="12700">
                      <a:solidFill>
                        <a:srgbClr val="5B9BD4"/>
                      </a:solidFill>
                      <a:prstDash val="solid"/>
                    </a:lnR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  <a:solidFill>
                      <a:srgbClr val="3192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9183">
                <a:tc>
                  <a:txBody>
                    <a:bodyPr/>
                    <a:lstStyle/>
                    <a:p>
                      <a:pPr marR="68580" algn="ctr">
                        <a:lnSpc>
                          <a:spcPct val="100000"/>
                        </a:lnSpc>
                        <a:spcBef>
                          <a:spcPts val="54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11</a:t>
                      </a:r>
                    </a:p>
                  </a:txBody>
                  <a:tcPr marL="0" marR="0" marT="68580" marB="0">
                    <a:lnL w="12700">
                      <a:solidFill>
                        <a:srgbClr val="5B9BD4"/>
                      </a:solidFill>
                      <a:prstDash val="solid"/>
                    </a:lnL>
                    <a:lnT w="12700" cap="flat" cmpd="sng" algn="ctr">
                      <a:solidFill>
                        <a:srgbClr val="5B9B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2705">
                        <a:lnSpc>
                          <a:spcPct val="100000"/>
                        </a:lnSpc>
                        <a:spcBef>
                          <a:spcPts val="670"/>
                        </a:spcBef>
                      </a:pPr>
                      <a:r>
                        <a:rPr sz="1000" b="1" spc="-5" dirty="0">
                          <a:latin typeface="Calibri"/>
                          <a:cs typeface="Calibri"/>
                        </a:rPr>
                        <a:t>Jamaica</a:t>
                      </a:r>
                      <a:r>
                        <a:rPr sz="1000" b="1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latin typeface="Calibri"/>
                          <a:cs typeface="Calibri"/>
                        </a:rPr>
                        <a:t>(1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85090" marB="0">
                    <a:lnT w="12700" cap="flat" cmpd="sng" algn="ctr">
                      <a:solidFill>
                        <a:srgbClr val="5B9B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0345" indent="-172720">
                        <a:lnSpc>
                          <a:spcPts val="1240"/>
                        </a:lnSpc>
                        <a:spcBef>
                          <a:spcPts val="30"/>
                        </a:spcBef>
                        <a:buFont typeface="Arial MT"/>
                        <a:buChar char="•"/>
                        <a:tabLst>
                          <a:tab pos="220979" algn="l"/>
                        </a:tabLst>
                      </a:pPr>
                      <a:r>
                        <a:rPr sz="1575" baseline="2645" dirty="0">
                          <a:latin typeface="Calibri"/>
                          <a:cs typeface="Calibri"/>
                        </a:rPr>
                        <a:t>Banco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2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sarrollo</a:t>
                      </a:r>
                      <a:r>
                        <a:rPr sz="1575" spc="-6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Jamaica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(DBJ)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Programa</a:t>
                      </a:r>
                      <a:r>
                        <a:rPr sz="1575" spc="-44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mejoramiento</a:t>
                      </a:r>
                      <a:endParaRPr sz="1575" baseline="2645">
                        <a:latin typeface="Calibri"/>
                        <a:cs typeface="Calibri"/>
                      </a:endParaRPr>
                    </a:p>
                    <a:p>
                      <a:pPr marL="220345">
                        <a:lnSpc>
                          <a:spcPts val="1215"/>
                        </a:lnSpc>
                      </a:pPr>
                      <a:r>
                        <a:rPr sz="105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05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crédito</a:t>
                      </a:r>
                      <a:r>
                        <a:rPr sz="105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para</a:t>
                      </a:r>
                      <a:r>
                        <a:rPr sz="105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las</a:t>
                      </a:r>
                      <a:r>
                        <a:rPr sz="105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MIPYMES</a:t>
                      </a:r>
                      <a:endParaRPr sz="1050">
                        <a:latin typeface="Calibri"/>
                        <a:cs typeface="Calibri"/>
                      </a:endParaRPr>
                    </a:p>
                  </a:txBody>
                  <a:tcPr marL="0" marR="0" marT="3810" marB="0">
                    <a:lnR w="12700">
                      <a:solidFill>
                        <a:srgbClr val="5B9BD4"/>
                      </a:solidFill>
                      <a:prstDash val="solid"/>
                    </a:lnR>
                    <a:lnT w="12700" cap="flat" cmpd="sng" algn="ctr">
                      <a:solidFill>
                        <a:srgbClr val="5B9B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2314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marR="68580" algn="ctr">
                        <a:lnSpc>
                          <a:spcPct val="100000"/>
                        </a:lnSpc>
                        <a:spcBef>
                          <a:spcPts val="79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12</a:t>
                      </a:r>
                    </a:p>
                  </a:txBody>
                  <a:tcPr marL="0" marR="0" marT="0" marB="0">
                    <a:lnL w="12700">
                      <a:solidFill>
                        <a:srgbClr val="5B9BD4"/>
                      </a:solidFill>
                      <a:prstDash val="solid"/>
                    </a:lnL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52705">
                        <a:lnSpc>
                          <a:spcPct val="100000"/>
                        </a:lnSpc>
                      </a:pPr>
                      <a:r>
                        <a:rPr sz="1000" b="1" spc="-5" dirty="0">
                          <a:latin typeface="Calibri"/>
                          <a:cs typeface="Calibri"/>
                        </a:rPr>
                        <a:t>México</a:t>
                      </a:r>
                      <a:r>
                        <a:rPr sz="1000" b="1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latin typeface="Calibri"/>
                          <a:cs typeface="Calibri"/>
                        </a:rPr>
                        <a:t>(4)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0345" indent="-172720">
                        <a:lnSpc>
                          <a:spcPct val="100000"/>
                        </a:lnSpc>
                        <a:spcBef>
                          <a:spcPts val="385"/>
                        </a:spcBef>
                        <a:buFont typeface="Arial MT"/>
                        <a:buChar char="•"/>
                        <a:tabLst>
                          <a:tab pos="220979" algn="l"/>
                        </a:tabLst>
                      </a:pPr>
                      <a:r>
                        <a:rPr sz="1050" dirty="0">
                          <a:latin typeface="Calibri"/>
                          <a:cs typeface="Calibri"/>
                        </a:rPr>
                        <a:t>Nacional</a:t>
                      </a:r>
                      <a:r>
                        <a:rPr sz="105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Financiera</a:t>
                      </a:r>
                      <a:r>
                        <a:rPr sz="105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NAFIN</a:t>
                      </a:r>
                      <a:endParaRPr sz="1050">
                        <a:latin typeface="Calibri"/>
                        <a:cs typeface="Calibri"/>
                      </a:endParaRPr>
                    </a:p>
                    <a:p>
                      <a:pPr marL="220345" indent="-172720">
                        <a:lnSpc>
                          <a:spcPct val="100000"/>
                        </a:lnSpc>
                        <a:buFont typeface="Arial MT"/>
                        <a:buChar char="•"/>
                        <a:tabLst>
                          <a:tab pos="220979" algn="l"/>
                        </a:tabLst>
                      </a:pPr>
                      <a:r>
                        <a:rPr sz="1050" spc="-5" dirty="0">
                          <a:latin typeface="Calibri"/>
                          <a:cs typeface="Calibri"/>
                        </a:rPr>
                        <a:t>Sociedad</a:t>
                      </a:r>
                      <a:r>
                        <a:rPr sz="105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Hipotecaria</a:t>
                      </a:r>
                      <a:r>
                        <a:rPr sz="105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Federal</a:t>
                      </a:r>
                      <a:r>
                        <a:rPr sz="105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SHF</a:t>
                      </a:r>
                      <a:endParaRPr sz="1050">
                        <a:latin typeface="Calibri"/>
                        <a:cs typeface="Calibri"/>
                      </a:endParaRPr>
                    </a:p>
                    <a:p>
                      <a:pPr marL="220345" indent="-172720">
                        <a:lnSpc>
                          <a:spcPct val="100000"/>
                        </a:lnSpc>
                        <a:spcBef>
                          <a:spcPts val="5"/>
                        </a:spcBef>
                        <a:buFont typeface="Arial MT"/>
                        <a:buChar char="•"/>
                        <a:tabLst>
                          <a:tab pos="220979" algn="l"/>
                        </a:tabLst>
                      </a:pPr>
                      <a:r>
                        <a:rPr sz="1050" spc="-5" dirty="0">
                          <a:latin typeface="Calibri"/>
                          <a:cs typeface="Calibri"/>
                        </a:rPr>
                        <a:t>Fideicomisos Instituidos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 en</a:t>
                      </a:r>
                      <a:r>
                        <a:rPr sz="105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Relación</a:t>
                      </a:r>
                      <a:r>
                        <a:rPr sz="105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con</a:t>
                      </a:r>
                      <a:r>
                        <a:rPr sz="105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la</a:t>
                      </a:r>
                      <a:r>
                        <a:rPr sz="105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Agricultura</a:t>
                      </a:r>
                      <a:r>
                        <a:rPr sz="105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FIRA</a:t>
                      </a:r>
                      <a:endParaRPr sz="1050">
                        <a:latin typeface="Calibri"/>
                        <a:cs typeface="Calibri"/>
                      </a:endParaRPr>
                    </a:p>
                    <a:p>
                      <a:pPr marL="220345" indent="-172720">
                        <a:lnSpc>
                          <a:spcPct val="100000"/>
                        </a:lnSpc>
                        <a:buFont typeface="Arial MT"/>
                        <a:buChar char="•"/>
                        <a:tabLst>
                          <a:tab pos="220979" algn="l"/>
                        </a:tabLst>
                      </a:pPr>
                      <a:r>
                        <a:rPr sz="1050" spc="-5" dirty="0">
                          <a:latin typeface="Calibri"/>
                          <a:cs typeface="Calibri"/>
                        </a:rPr>
                        <a:t>Programa</a:t>
                      </a:r>
                      <a:r>
                        <a:rPr sz="105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05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Garantía</a:t>
                      </a:r>
                      <a:r>
                        <a:rPr sz="105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para</a:t>
                      </a:r>
                      <a:r>
                        <a:rPr sz="105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Impulsar</a:t>
                      </a:r>
                      <a:r>
                        <a:rPr sz="105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la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Exportación</a:t>
                      </a:r>
                      <a:r>
                        <a:rPr sz="105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050" spc="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Bancomext</a:t>
                      </a:r>
                      <a:endParaRPr sz="1050">
                        <a:latin typeface="Calibri"/>
                        <a:cs typeface="Calibri"/>
                      </a:endParaRPr>
                    </a:p>
                  </a:txBody>
                  <a:tcPr marL="0" marR="0" marT="48895" marB="0">
                    <a:lnR w="12700">
                      <a:solidFill>
                        <a:srgbClr val="5B9BD4"/>
                      </a:solidFill>
                      <a:prstDash val="solid"/>
                    </a:lnR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9204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marR="68580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1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3175" marB="0">
                    <a:lnL w="12700">
                      <a:solidFill>
                        <a:srgbClr val="5B9BD4"/>
                      </a:solidFill>
                      <a:prstDash val="solid"/>
                    </a:lnL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1100" dirty="0">
                        <a:latin typeface="Times New Roman"/>
                        <a:cs typeface="Times New Roman"/>
                      </a:endParaRPr>
                    </a:p>
                    <a:p>
                      <a:pPr marL="52705">
                        <a:lnSpc>
                          <a:spcPct val="100000"/>
                        </a:lnSpc>
                      </a:pPr>
                      <a:r>
                        <a:rPr sz="1000" b="1" spc="-5" dirty="0">
                          <a:latin typeface="Calibri"/>
                          <a:cs typeface="Calibri"/>
                        </a:rPr>
                        <a:t>Panamá</a:t>
                      </a:r>
                      <a:r>
                        <a:rPr sz="1000" b="1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latin typeface="Calibri"/>
                          <a:cs typeface="Calibri"/>
                        </a:rPr>
                        <a:t>(1)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4445" marB="0"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0345" marR="535305" indent="-172720">
                        <a:lnSpc>
                          <a:spcPct val="98600"/>
                        </a:lnSpc>
                        <a:spcBef>
                          <a:spcPts val="30"/>
                        </a:spcBef>
                        <a:buFont typeface="Arial MT"/>
                        <a:buChar char="•"/>
                        <a:tabLst>
                          <a:tab pos="220979" algn="l"/>
                        </a:tabLst>
                      </a:pPr>
                      <a:r>
                        <a:rPr sz="1575" baseline="2645" dirty="0">
                          <a:latin typeface="Calibri"/>
                          <a:cs typeface="Calibri"/>
                        </a:rPr>
                        <a:t>Autoridad de la micro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pequeña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y mediana empresa </a:t>
                      </a:r>
                      <a:r>
                        <a:rPr sz="1575" spc="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AMPIME(Programa</a:t>
                      </a:r>
                      <a:r>
                        <a:rPr sz="105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FROFIPYME</a:t>
                      </a:r>
                      <a:r>
                        <a:rPr sz="105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PROGRAMA</a:t>
                      </a:r>
                      <a:r>
                        <a:rPr sz="1050" spc="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DE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FOMENTO </a:t>
                      </a:r>
                      <a:r>
                        <a:rPr sz="1050" spc="-2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EMPRESARIAL-froPYME)</a:t>
                      </a:r>
                      <a:endParaRPr sz="1050">
                        <a:latin typeface="Calibri"/>
                        <a:cs typeface="Calibri"/>
                      </a:endParaRPr>
                    </a:p>
                  </a:txBody>
                  <a:tcPr marL="0" marR="0" marT="3810" marB="0">
                    <a:lnR w="12700">
                      <a:solidFill>
                        <a:srgbClr val="5B9BD4"/>
                      </a:solidFill>
                      <a:prstDash val="solid"/>
                    </a:lnR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4937">
                <a:tc>
                  <a:txBody>
                    <a:bodyPr/>
                    <a:lstStyle/>
                    <a:p>
                      <a:pPr marR="68580" algn="ctr">
                        <a:lnSpc>
                          <a:spcPct val="100000"/>
                        </a:lnSpc>
                        <a:spcBef>
                          <a:spcPts val="765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14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97155" marB="0">
                    <a:lnL w="12700">
                      <a:solidFill>
                        <a:srgbClr val="5B9BD4"/>
                      </a:solidFill>
                      <a:prstDash val="solid"/>
                    </a:lnL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2705">
                        <a:lnSpc>
                          <a:spcPct val="100000"/>
                        </a:lnSpc>
                        <a:spcBef>
                          <a:spcPts val="895"/>
                        </a:spcBef>
                      </a:pPr>
                      <a:r>
                        <a:rPr sz="1000" b="1" spc="-5" dirty="0">
                          <a:latin typeface="Calibri"/>
                          <a:cs typeface="Calibri"/>
                        </a:rPr>
                        <a:t>Paraguay</a:t>
                      </a:r>
                      <a:r>
                        <a:rPr sz="1000" b="1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latin typeface="Calibri"/>
                          <a:cs typeface="Calibri"/>
                        </a:rPr>
                        <a:t>(1)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113665" marB="0"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500" dirty="0">
                        <a:latin typeface="Times New Roman"/>
                        <a:cs typeface="Times New Roman"/>
                      </a:endParaRPr>
                    </a:p>
                    <a:p>
                      <a:pPr marL="220345" indent="-172720">
                        <a:lnSpc>
                          <a:spcPts val="1195"/>
                        </a:lnSpc>
                        <a:buFont typeface="Arial MT"/>
                        <a:buChar char="•"/>
                        <a:tabLst>
                          <a:tab pos="220979" algn="l"/>
                        </a:tabLst>
                      </a:pPr>
                      <a:r>
                        <a:rPr sz="1575" spc="-7" baseline="2645" dirty="0">
                          <a:latin typeface="Calibri"/>
                          <a:cs typeface="Calibri"/>
                        </a:rPr>
                        <a:t>FOGAPY</a:t>
                      </a:r>
                      <a:r>
                        <a:rPr sz="1575" spc="-2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Fondos</a:t>
                      </a:r>
                      <a:r>
                        <a:rPr sz="1575" spc="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2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garantías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del</a:t>
                      </a:r>
                      <a:r>
                        <a:rPr sz="1575" spc="-2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Paraguay</a:t>
                      </a:r>
                      <a:endParaRPr sz="1575" baseline="2645" dirty="0">
                        <a:latin typeface="Calibri"/>
                        <a:cs typeface="Calibri"/>
                      </a:endParaRPr>
                    </a:p>
                  </a:txBody>
                  <a:tcPr marL="0" marR="0" marT="1270" marB="0">
                    <a:lnR w="12700">
                      <a:solidFill>
                        <a:srgbClr val="5B9BD4"/>
                      </a:solidFill>
                      <a:prstDash val="solid"/>
                    </a:lnR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7341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"/>
                        </a:spcBef>
                      </a:pPr>
                      <a:endParaRPr sz="1300">
                        <a:latin typeface="Times New Roman"/>
                        <a:cs typeface="Times New Roman"/>
                      </a:endParaRPr>
                    </a:p>
                    <a:p>
                      <a:pPr marR="68580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15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3810" marB="0">
                    <a:lnL w="12700">
                      <a:solidFill>
                        <a:srgbClr val="5B9BD4"/>
                      </a:solidFill>
                      <a:prstDash val="solid"/>
                    </a:lnL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"/>
                        </a:spcBef>
                      </a:pPr>
                      <a:endParaRPr sz="1400" dirty="0">
                        <a:latin typeface="Times New Roman"/>
                        <a:cs typeface="Times New Roman"/>
                      </a:endParaRPr>
                    </a:p>
                    <a:p>
                      <a:pPr marL="5270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000" b="1" spc="-5" dirty="0">
                          <a:latin typeface="Calibri"/>
                          <a:cs typeface="Calibri"/>
                        </a:rPr>
                        <a:t>Perú</a:t>
                      </a:r>
                      <a:r>
                        <a:rPr sz="1000" b="1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latin typeface="Calibri"/>
                          <a:cs typeface="Calibri"/>
                        </a:rPr>
                        <a:t>(3)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5080" marB="0"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0345" indent="-172720">
                        <a:lnSpc>
                          <a:spcPct val="100000"/>
                        </a:lnSpc>
                        <a:spcBef>
                          <a:spcPts val="730"/>
                        </a:spcBef>
                        <a:buFont typeface="Arial MT"/>
                        <a:buChar char="•"/>
                        <a:tabLst>
                          <a:tab pos="220979" algn="l"/>
                        </a:tabLst>
                      </a:pPr>
                      <a:r>
                        <a:rPr sz="1575" spc="-7" baseline="2645" dirty="0">
                          <a:latin typeface="Calibri"/>
                          <a:cs typeface="Calibri"/>
                        </a:rPr>
                        <a:t>Fondo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Garantía</a:t>
                      </a:r>
                      <a:r>
                        <a:rPr sz="1575" spc="-6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para</a:t>
                      </a:r>
                      <a:r>
                        <a:rPr sz="1575" spc="-44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la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pequeña</a:t>
                      </a:r>
                      <a:r>
                        <a:rPr sz="1575" spc="-3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 err="1">
                          <a:latin typeface="Calibri"/>
                          <a:cs typeface="Calibri"/>
                        </a:rPr>
                        <a:t>Industria</a:t>
                      </a:r>
                      <a:r>
                        <a:rPr sz="1575" spc="-44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FOGAP</a:t>
                      </a:r>
                      <a:r>
                        <a:rPr lang="es-ES" sz="1575" spc="-7" baseline="2645" dirty="0">
                          <a:latin typeface="Calibri"/>
                          <a:cs typeface="Calibri"/>
                        </a:rPr>
                        <a:t>I</a:t>
                      </a:r>
                      <a:endParaRPr sz="1575" baseline="2645" dirty="0">
                        <a:latin typeface="Calibri"/>
                        <a:cs typeface="Calibri"/>
                      </a:endParaRPr>
                    </a:p>
                    <a:p>
                      <a:pPr marL="220345" indent="-172720">
                        <a:lnSpc>
                          <a:spcPct val="100000"/>
                        </a:lnSpc>
                        <a:buFont typeface="Arial MT"/>
                        <a:buChar char="•"/>
                        <a:tabLst>
                          <a:tab pos="220979" algn="l"/>
                        </a:tabLst>
                      </a:pPr>
                      <a:r>
                        <a:rPr sz="1575" spc="-7" baseline="2645" dirty="0">
                          <a:latin typeface="Calibri"/>
                          <a:cs typeface="Calibri"/>
                        </a:rPr>
                        <a:t>Fondo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Respaldo</a:t>
                      </a:r>
                      <a:r>
                        <a:rPr sz="1575" spc="-2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a</a:t>
                      </a:r>
                      <a:r>
                        <a:rPr sz="1575" spc="-2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la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Pequeña</a:t>
                      </a:r>
                      <a:r>
                        <a:rPr sz="1575" spc="-44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Empresa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FONREPE</a:t>
                      </a:r>
                      <a:endParaRPr sz="1575" baseline="2645" dirty="0">
                        <a:latin typeface="Calibri"/>
                        <a:cs typeface="Calibri"/>
                      </a:endParaRPr>
                    </a:p>
                    <a:p>
                      <a:pPr marL="220345" indent="-172720">
                        <a:lnSpc>
                          <a:spcPts val="1195"/>
                        </a:lnSpc>
                        <a:buFont typeface="Arial MT"/>
                        <a:buChar char="•"/>
                        <a:tabLst>
                          <a:tab pos="220979" algn="l"/>
                        </a:tabLst>
                      </a:pPr>
                      <a:r>
                        <a:rPr sz="1575" baseline="2645" dirty="0">
                          <a:latin typeface="Calibri"/>
                          <a:cs typeface="Calibri"/>
                        </a:rPr>
                        <a:t>Banco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desarrollo</a:t>
                      </a:r>
                      <a:r>
                        <a:rPr sz="1575" spc="-6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COFIDE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 (FAE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MYPE)</a:t>
                      </a:r>
                    </a:p>
                  </a:txBody>
                  <a:tcPr marL="0" marR="0" marT="92710" marB="0">
                    <a:lnR w="12700">
                      <a:solidFill>
                        <a:srgbClr val="5B9BD4"/>
                      </a:solidFill>
                      <a:prstDash val="solid"/>
                    </a:lnR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6926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450" dirty="0">
                        <a:latin typeface="Times New Roman"/>
                        <a:cs typeface="Times New Roman"/>
                      </a:endParaRPr>
                    </a:p>
                    <a:p>
                      <a:pPr marR="68580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16</a:t>
                      </a:r>
                    </a:p>
                  </a:txBody>
                  <a:tcPr marL="0" marR="0" marT="0" marB="0">
                    <a:lnL w="12700">
                      <a:solidFill>
                        <a:srgbClr val="5B9BD4"/>
                      </a:solidFill>
                      <a:prstDash val="solid"/>
                    </a:lnL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52705">
                        <a:lnSpc>
                          <a:spcPct val="100000"/>
                        </a:lnSpc>
                        <a:spcBef>
                          <a:spcPts val="894"/>
                        </a:spcBef>
                      </a:pPr>
                      <a:r>
                        <a:rPr sz="1000" b="1" spc="-5" dirty="0">
                          <a:latin typeface="Calibri"/>
                          <a:cs typeface="Calibri"/>
                        </a:rPr>
                        <a:t>Portugal</a:t>
                      </a:r>
                      <a:r>
                        <a:rPr sz="1000" b="1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latin typeface="Calibri"/>
                          <a:cs typeface="Calibri"/>
                        </a:rPr>
                        <a:t>(6)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0345" indent="-172720">
                        <a:lnSpc>
                          <a:spcPct val="100000"/>
                        </a:lnSpc>
                        <a:spcBef>
                          <a:spcPts val="40"/>
                        </a:spcBef>
                        <a:buFont typeface="Arial MT"/>
                        <a:buChar char="•"/>
                        <a:tabLst>
                          <a:tab pos="220979" algn="l"/>
                        </a:tabLst>
                      </a:pPr>
                      <a:r>
                        <a:rPr sz="1575" baseline="2645" dirty="0">
                          <a:latin typeface="Calibri"/>
                          <a:cs typeface="Calibri"/>
                        </a:rPr>
                        <a:t>Sociedad</a:t>
                      </a:r>
                      <a:r>
                        <a:rPr sz="1575" spc="-2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Garantía</a:t>
                      </a:r>
                      <a:r>
                        <a:rPr sz="1575" spc="-6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mutua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NORGARANTE</a:t>
                      </a:r>
                    </a:p>
                    <a:p>
                      <a:pPr marL="220345" indent="-172720">
                        <a:lnSpc>
                          <a:spcPct val="100000"/>
                        </a:lnSpc>
                        <a:buFont typeface="Arial MT"/>
                        <a:buChar char="•"/>
                        <a:tabLst>
                          <a:tab pos="220979" algn="l"/>
                        </a:tabLst>
                      </a:pPr>
                      <a:r>
                        <a:rPr sz="1575" baseline="2645" dirty="0">
                          <a:latin typeface="Calibri"/>
                          <a:cs typeface="Calibri"/>
                        </a:rPr>
                        <a:t>Sociedad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Garantía</a:t>
                      </a:r>
                      <a:r>
                        <a:rPr sz="1575" spc="-7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mutua</a:t>
                      </a:r>
                      <a:r>
                        <a:rPr sz="1575" spc="-3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LISGARANTE</a:t>
                      </a:r>
                    </a:p>
                    <a:p>
                      <a:pPr marL="220345" indent="-172720">
                        <a:lnSpc>
                          <a:spcPct val="100000"/>
                        </a:lnSpc>
                        <a:buFont typeface="Arial MT"/>
                        <a:buChar char="•"/>
                        <a:tabLst>
                          <a:tab pos="220979" algn="l"/>
                        </a:tabLst>
                      </a:pPr>
                      <a:r>
                        <a:rPr sz="1575" baseline="2645" dirty="0">
                          <a:latin typeface="Calibri"/>
                          <a:cs typeface="Calibri"/>
                        </a:rPr>
                        <a:t>Sociedad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Garantía</a:t>
                      </a:r>
                      <a:r>
                        <a:rPr sz="1575" spc="-7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mutua</a:t>
                      </a:r>
                      <a:r>
                        <a:rPr sz="1575" spc="-44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GARVAL</a:t>
                      </a:r>
                    </a:p>
                    <a:p>
                      <a:pPr marL="220345" indent="-172720">
                        <a:lnSpc>
                          <a:spcPct val="100000"/>
                        </a:lnSpc>
                        <a:buFont typeface="Arial MT"/>
                        <a:buChar char="•"/>
                        <a:tabLst>
                          <a:tab pos="220979" algn="l"/>
                        </a:tabLst>
                      </a:pPr>
                      <a:r>
                        <a:rPr sz="1575" spc="-7" baseline="2645" dirty="0">
                          <a:latin typeface="Calibri"/>
                          <a:cs typeface="Calibri"/>
                        </a:rPr>
                        <a:t>Sociedad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2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Garantía</a:t>
                      </a:r>
                      <a:r>
                        <a:rPr sz="1575" spc="-5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mutua</a:t>
                      </a:r>
                      <a:r>
                        <a:rPr sz="1575" spc="-2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AGROGARANTE</a:t>
                      </a:r>
                    </a:p>
                    <a:p>
                      <a:pPr marL="220345" indent="-172720">
                        <a:lnSpc>
                          <a:spcPct val="100000"/>
                        </a:lnSpc>
                        <a:buFont typeface="Arial MT"/>
                        <a:buChar char="•"/>
                        <a:tabLst>
                          <a:tab pos="220979" algn="l"/>
                        </a:tabLst>
                      </a:pPr>
                      <a:r>
                        <a:rPr sz="1575" spc="-7" baseline="2645" dirty="0">
                          <a:latin typeface="Calibri"/>
                          <a:cs typeface="Calibri"/>
                        </a:rPr>
                        <a:t>Fondo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2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Contra</a:t>
                      </a:r>
                      <a:r>
                        <a:rPr sz="1575" spc="-44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garantía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Mutuo</a:t>
                      </a:r>
                      <a:r>
                        <a:rPr sz="1575" spc="-3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(FCGM)</a:t>
                      </a:r>
                    </a:p>
                    <a:p>
                      <a:pPr marL="220345" indent="-172720">
                        <a:lnSpc>
                          <a:spcPts val="1190"/>
                        </a:lnSpc>
                        <a:buFont typeface="Arial MT"/>
                        <a:buChar char="•"/>
                        <a:tabLst>
                          <a:tab pos="220979" algn="l"/>
                        </a:tabLst>
                      </a:pPr>
                      <a:r>
                        <a:rPr sz="1575" baseline="2645" dirty="0">
                          <a:latin typeface="Calibri"/>
                          <a:cs typeface="Calibri"/>
                        </a:rPr>
                        <a:t>Sociedad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Portuguesa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garantía</a:t>
                      </a:r>
                      <a:r>
                        <a:rPr sz="1575" spc="-44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mutua</a:t>
                      </a:r>
                      <a:r>
                        <a:rPr sz="1575" spc="-2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–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 SPGM</a:t>
                      </a:r>
                      <a:endParaRPr sz="1575" baseline="2645" dirty="0">
                        <a:latin typeface="Calibri"/>
                        <a:cs typeface="Calibri"/>
                      </a:endParaRPr>
                    </a:p>
                  </a:txBody>
                  <a:tcPr marL="0" marR="0" marT="5080" marB="0">
                    <a:lnR w="12700">
                      <a:solidFill>
                        <a:srgbClr val="5B9BD4"/>
                      </a:solidFill>
                      <a:prstDash val="solid"/>
                    </a:lnR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2455">
                <a:tc>
                  <a:txBody>
                    <a:bodyPr/>
                    <a:lstStyle/>
                    <a:p>
                      <a:pPr marR="68580" algn="ctr">
                        <a:lnSpc>
                          <a:spcPts val="1405"/>
                        </a:lnSpc>
                        <a:spcBef>
                          <a:spcPts val="1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19</a:t>
                      </a:r>
                    </a:p>
                  </a:txBody>
                  <a:tcPr marL="0" marR="0" marT="1270" marB="0">
                    <a:lnL w="12700">
                      <a:solidFill>
                        <a:srgbClr val="5B9BD4"/>
                      </a:solidFill>
                      <a:prstDash val="solid"/>
                    </a:lnL>
                    <a:lnT w="12700" cap="flat" cmpd="sng" algn="ctr">
                      <a:solidFill>
                        <a:srgbClr val="5B9B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2705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sz="1000" b="1" spc="-5" dirty="0">
                          <a:latin typeface="Calibri"/>
                          <a:cs typeface="Calibri"/>
                        </a:rPr>
                        <a:t>Uruguay</a:t>
                      </a:r>
                      <a:r>
                        <a:rPr sz="1000" b="1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latin typeface="Calibri"/>
                          <a:cs typeface="Calibri"/>
                        </a:rPr>
                        <a:t>(1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17780" marB="0">
                    <a:lnT w="12700" cap="flat" cmpd="sng" algn="ctr">
                      <a:solidFill>
                        <a:srgbClr val="5B9B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0825" indent="-203200">
                        <a:lnSpc>
                          <a:spcPts val="1190"/>
                        </a:lnSpc>
                        <a:spcBef>
                          <a:spcPts val="225"/>
                        </a:spcBef>
                        <a:buFont typeface="Arial MT"/>
                        <a:buChar char="•"/>
                        <a:tabLst>
                          <a:tab pos="250825" algn="l"/>
                          <a:tab pos="251460" algn="l"/>
                        </a:tabLst>
                      </a:pPr>
                      <a:r>
                        <a:rPr sz="1575" spc="-7" baseline="2645" dirty="0">
                          <a:latin typeface="Calibri"/>
                          <a:cs typeface="Calibri"/>
                        </a:rPr>
                        <a:t>Sistema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Nacional</a:t>
                      </a:r>
                      <a:r>
                        <a:rPr sz="1575" spc="-44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Garantías</a:t>
                      </a:r>
                      <a:r>
                        <a:rPr sz="1575" spc="-44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SIGA</a:t>
                      </a:r>
                    </a:p>
                  </a:txBody>
                  <a:tcPr marL="0" marR="0" marT="28575" marB="0">
                    <a:lnR w="12700">
                      <a:solidFill>
                        <a:srgbClr val="5B9BD4"/>
                      </a:solidFill>
                      <a:prstDash val="solid"/>
                    </a:lnR>
                    <a:lnT w="12700" cap="flat" cmpd="sng" algn="ctr">
                      <a:solidFill>
                        <a:srgbClr val="5B9B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2455">
                <a:tc>
                  <a:txBody>
                    <a:bodyPr/>
                    <a:lstStyle/>
                    <a:p>
                      <a:pPr marR="68580" algn="ctr">
                        <a:lnSpc>
                          <a:spcPts val="1400"/>
                        </a:lnSpc>
                        <a:spcBef>
                          <a:spcPts val="10"/>
                        </a:spcBef>
                      </a:pPr>
                      <a:r>
                        <a:rPr sz="1200" dirty="0">
                          <a:latin typeface="Calibri Light"/>
                          <a:cs typeface="Calibri Light"/>
                        </a:rPr>
                        <a:t>20</a:t>
                      </a:r>
                    </a:p>
                  </a:txBody>
                  <a:tcPr marL="0" marR="0" marT="1270" marB="0">
                    <a:lnL w="12700">
                      <a:solidFill>
                        <a:srgbClr val="5B9BD4"/>
                      </a:solidFill>
                      <a:prstDash val="solid"/>
                    </a:lnL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2705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sz="1000" spc="-5" dirty="0">
                          <a:latin typeface="Calibri Light"/>
                          <a:cs typeface="Calibri Light"/>
                        </a:rPr>
                        <a:t>Honduras</a:t>
                      </a:r>
                      <a:endParaRPr sz="1000">
                        <a:latin typeface="Calibri Light"/>
                        <a:cs typeface="Calibri Light"/>
                      </a:endParaRPr>
                    </a:p>
                  </a:txBody>
                  <a:tcPr marL="0" marR="0" marT="17780" marB="0"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0345" indent="-172720">
                        <a:lnSpc>
                          <a:spcPts val="1190"/>
                        </a:lnSpc>
                        <a:spcBef>
                          <a:spcPts val="225"/>
                        </a:spcBef>
                        <a:buFont typeface="Arial MT"/>
                        <a:buChar char="•"/>
                        <a:tabLst>
                          <a:tab pos="220979" algn="l"/>
                        </a:tabLst>
                      </a:pPr>
                      <a:r>
                        <a:rPr sz="1575" spc="-7" baseline="2645" dirty="0">
                          <a:latin typeface="Calibri Light"/>
                          <a:cs typeface="Calibri Light"/>
                        </a:rPr>
                        <a:t>CONFIANZA</a:t>
                      </a:r>
                      <a:r>
                        <a:rPr sz="1575" spc="-67" baseline="2645" dirty="0">
                          <a:latin typeface="Calibri Light"/>
                          <a:cs typeface="Calibri Light"/>
                        </a:rPr>
                        <a:t> </a:t>
                      </a:r>
                      <a:r>
                        <a:rPr sz="1575" baseline="2645" dirty="0">
                          <a:latin typeface="Calibri Light"/>
                          <a:cs typeface="Calibri Light"/>
                        </a:rPr>
                        <a:t>SA-FGR</a:t>
                      </a:r>
                    </a:p>
                  </a:txBody>
                  <a:tcPr marL="0" marR="0" marT="28575" marB="0">
                    <a:lnR w="12700">
                      <a:solidFill>
                        <a:srgbClr val="5B9BD4"/>
                      </a:solidFill>
                      <a:prstDash val="solid"/>
                    </a:lnR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29209">
                <a:tc>
                  <a:txBody>
                    <a:bodyPr/>
                    <a:lstStyle/>
                    <a:p>
                      <a:pPr marR="68580" algn="ctr">
                        <a:lnSpc>
                          <a:spcPct val="100000"/>
                        </a:lnSpc>
                        <a:spcBef>
                          <a:spcPts val="550"/>
                        </a:spcBef>
                      </a:pPr>
                      <a:r>
                        <a:rPr sz="1200" dirty="0">
                          <a:latin typeface="Calibri"/>
                          <a:cs typeface="Calibri"/>
                        </a:rPr>
                        <a:t>21</a:t>
                      </a:r>
                    </a:p>
                  </a:txBody>
                  <a:tcPr marL="0" marR="0" marT="69850" marB="0">
                    <a:lnL w="12700">
                      <a:solidFill>
                        <a:srgbClr val="5B9BD4"/>
                      </a:solidFill>
                      <a:prstDash val="solid"/>
                    </a:lnL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2705">
                        <a:lnSpc>
                          <a:spcPct val="100000"/>
                        </a:lnSpc>
                        <a:spcBef>
                          <a:spcPts val="680"/>
                        </a:spcBef>
                      </a:pPr>
                      <a:r>
                        <a:rPr sz="1000" b="1" spc="-5" dirty="0">
                          <a:latin typeface="Calibri"/>
                          <a:cs typeface="Calibri"/>
                        </a:rPr>
                        <a:t>Venezuela</a:t>
                      </a:r>
                      <a:r>
                        <a:rPr sz="1000" b="1" spc="1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00" b="1" spc="-5" dirty="0">
                          <a:latin typeface="Calibri"/>
                          <a:cs typeface="Calibri"/>
                        </a:rPr>
                        <a:t>(1)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86360" marB="0"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0345" marR="80010" indent="-172720">
                        <a:lnSpc>
                          <a:spcPts val="1220"/>
                        </a:lnSpc>
                        <a:spcBef>
                          <a:spcPts val="50"/>
                        </a:spcBef>
                        <a:buFont typeface="Arial MT"/>
                        <a:buChar char="•"/>
                        <a:tabLst>
                          <a:tab pos="220979" algn="l"/>
                        </a:tabLst>
                      </a:pPr>
                      <a:r>
                        <a:rPr sz="1575" spc="-7" baseline="2645" dirty="0">
                          <a:latin typeface="Calibri"/>
                          <a:cs typeface="Calibri"/>
                        </a:rPr>
                        <a:t>Fondo Nacional</a:t>
                      </a:r>
                      <a:r>
                        <a:rPr sz="1575" spc="-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de</a:t>
                      </a:r>
                      <a:r>
                        <a:rPr sz="1575" spc="-2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Garantía</a:t>
                      </a:r>
                      <a:r>
                        <a:rPr sz="1575" spc="-5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spc="-7" baseline="2645" dirty="0">
                          <a:latin typeface="Calibri"/>
                          <a:cs typeface="Calibri"/>
                        </a:rPr>
                        <a:t>Recíprocas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para</a:t>
                      </a:r>
                      <a:r>
                        <a:rPr sz="1575" spc="-22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la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Pequeña</a:t>
                      </a:r>
                      <a:r>
                        <a:rPr sz="1575" spc="-37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y</a:t>
                      </a:r>
                      <a:r>
                        <a:rPr sz="1575" spc="-15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575" baseline="2645" dirty="0">
                          <a:latin typeface="Calibri"/>
                          <a:cs typeface="Calibri"/>
                        </a:rPr>
                        <a:t>Mediana </a:t>
                      </a:r>
                      <a:r>
                        <a:rPr sz="1575" spc="-330" baseline="26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dirty="0">
                          <a:latin typeface="Calibri"/>
                          <a:cs typeface="Calibri"/>
                        </a:rPr>
                        <a:t>Empresa</a:t>
                      </a:r>
                      <a:r>
                        <a:rPr sz="1050" spc="-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050" spc="-5" dirty="0">
                          <a:latin typeface="Calibri"/>
                          <a:cs typeface="Calibri"/>
                        </a:rPr>
                        <a:t>(FONPYME)</a:t>
                      </a:r>
                      <a:endParaRPr sz="1050" dirty="0">
                        <a:latin typeface="Calibri"/>
                        <a:cs typeface="Calibri"/>
                      </a:endParaRPr>
                    </a:p>
                  </a:txBody>
                  <a:tcPr marL="0" marR="0" marT="6350" marB="0">
                    <a:lnR w="12700">
                      <a:solidFill>
                        <a:srgbClr val="5B9BD4"/>
                      </a:solidFill>
                      <a:prstDash val="solid"/>
                    </a:lnR>
                    <a:lnT w="12700">
                      <a:solidFill>
                        <a:srgbClr val="5B9BD4"/>
                      </a:solidFill>
                      <a:prstDash val="solid"/>
                    </a:lnT>
                    <a:lnB w="12700">
                      <a:solidFill>
                        <a:srgbClr val="5B9BD4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pic>
        <p:nvPicPr>
          <p:cNvPr id="31" name="Imagen 30">
            <a:extLst>
              <a:ext uri="{FF2B5EF4-FFF2-40B4-BE49-F238E27FC236}">
                <a16:creationId xmlns:a16="http://schemas.microsoft.com/office/drawing/2014/main" id="{84C9D2FD-3ED9-9F8B-4303-EE60B27F53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02741" y="5041848"/>
            <a:ext cx="320170" cy="231234"/>
          </a:xfrm>
          <a:prstGeom prst="rect">
            <a:avLst/>
          </a:prstGeom>
        </p:spPr>
      </p:pic>
      <p:pic>
        <p:nvPicPr>
          <p:cNvPr id="32" name="Imagen 31">
            <a:extLst>
              <a:ext uri="{FF2B5EF4-FFF2-40B4-BE49-F238E27FC236}">
                <a16:creationId xmlns:a16="http://schemas.microsoft.com/office/drawing/2014/main" id="{64D8ECF4-9DD6-03B2-DAC4-78249894AA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02150" y="2187161"/>
            <a:ext cx="330600" cy="238766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:a16="http://schemas.microsoft.com/office/drawing/2014/main" id="{B27D6D5A-9709-B3A0-5C4E-B6A5427E98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91720" y="1451889"/>
            <a:ext cx="341030" cy="255772"/>
          </a:xfrm>
          <a:prstGeom prst="rect">
            <a:avLst/>
          </a:prstGeom>
        </p:spPr>
      </p:pic>
      <p:pic>
        <p:nvPicPr>
          <p:cNvPr id="34" name="Imagen 33">
            <a:extLst>
              <a:ext uri="{FF2B5EF4-FFF2-40B4-BE49-F238E27FC236}">
                <a16:creationId xmlns:a16="http://schemas.microsoft.com/office/drawing/2014/main" id="{3BDE0E0B-DE2E-DABD-3435-F209501227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01603" y="1448879"/>
            <a:ext cx="344598" cy="248876"/>
          </a:xfrm>
          <a:prstGeom prst="rect">
            <a:avLst/>
          </a:prstGeom>
        </p:spPr>
      </p:pic>
      <p:pic>
        <p:nvPicPr>
          <p:cNvPr id="42" name="Imagen 41">
            <a:extLst>
              <a:ext uri="{FF2B5EF4-FFF2-40B4-BE49-F238E27FC236}">
                <a16:creationId xmlns:a16="http://schemas.microsoft.com/office/drawing/2014/main" id="{77F52A35-AC1C-DA01-A211-68594D9EB2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39489" y="4695661"/>
            <a:ext cx="320172" cy="231235"/>
          </a:xfrm>
          <a:prstGeom prst="rect">
            <a:avLst/>
          </a:prstGeom>
        </p:spPr>
      </p:pic>
      <p:pic>
        <p:nvPicPr>
          <p:cNvPr id="66" name="Imagen 65">
            <a:extLst>
              <a:ext uri="{FF2B5EF4-FFF2-40B4-BE49-F238E27FC236}">
                <a16:creationId xmlns:a16="http://schemas.microsoft.com/office/drawing/2014/main" id="{6F1148FD-42AF-77D4-778C-4458CEAD4A8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07716" y="3523255"/>
            <a:ext cx="341030" cy="255772"/>
          </a:xfrm>
          <a:prstGeom prst="rect">
            <a:avLst/>
          </a:prstGeom>
        </p:spPr>
      </p:pic>
      <p:pic>
        <p:nvPicPr>
          <p:cNvPr id="68" name="Imagen 67">
            <a:extLst>
              <a:ext uri="{FF2B5EF4-FFF2-40B4-BE49-F238E27FC236}">
                <a16:creationId xmlns:a16="http://schemas.microsoft.com/office/drawing/2014/main" id="{CEB5CA96-E0C4-199A-CAAE-88612929EC1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12580" y="1811058"/>
            <a:ext cx="320170" cy="231234"/>
          </a:xfrm>
          <a:prstGeom prst="rect">
            <a:avLst/>
          </a:prstGeom>
        </p:spPr>
      </p:pic>
      <p:pic>
        <p:nvPicPr>
          <p:cNvPr id="69" name="Imagen 68">
            <a:extLst>
              <a:ext uri="{FF2B5EF4-FFF2-40B4-BE49-F238E27FC236}">
                <a16:creationId xmlns:a16="http://schemas.microsoft.com/office/drawing/2014/main" id="{DE78C38F-C879-BD2A-82AE-DC6E14A869A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02150" y="2940353"/>
            <a:ext cx="320170" cy="231234"/>
          </a:xfrm>
          <a:prstGeom prst="rect">
            <a:avLst/>
          </a:prstGeom>
        </p:spPr>
      </p:pic>
      <p:pic>
        <p:nvPicPr>
          <p:cNvPr id="70" name="Imagen 69">
            <a:extLst>
              <a:ext uri="{FF2B5EF4-FFF2-40B4-BE49-F238E27FC236}">
                <a16:creationId xmlns:a16="http://schemas.microsoft.com/office/drawing/2014/main" id="{947FBD48-7693-D78C-6477-A9D506303CC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14352" y="3883741"/>
            <a:ext cx="320170" cy="231234"/>
          </a:xfrm>
          <a:prstGeom prst="rect">
            <a:avLst/>
          </a:prstGeom>
        </p:spPr>
      </p:pic>
      <p:pic>
        <p:nvPicPr>
          <p:cNvPr id="71" name="Imagen 70">
            <a:extLst>
              <a:ext uri="{FF2B5EF4-FFF2-40B4-BE49-F238E27FC236}">
                <a16:creationId xmlns:a16="http://schemas.microsoft.com/office/drawing/2014/main" id="{3CC5DA7D-BEFA-03C0-A1AA-333783B5589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812961" y="5609325"/>
            <a:ext cx="320170" cy="231234"/>
          </a:xfrm>
          <a:prstGeom prst="rect">
            <a:avLst/>
          </a:prstGeom>
        </p:spPr>
      </p:pic>
      <p:pic>
        <p:nvPicPr>
          <p:cNvPr id="72" name="Imagen 71">
            <a:extLst>
              <a:ext uri="{FF2B5EF4-FFF2-40B4-BE49-F238E27FC236}">
                <a16:creationId xmlns:a16="http://schemas.microsoft.com/office/drawing/2014/main" id="{4B8F4D52-C309-BA4E-3F35-E746115468E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677363" y="3972191"/>
            <a:ext cx="405036" cy="263273"/>
          </a:xfrm>
          <a:prstGeom prst="rect">
            <a:avLst/>
          </a:prstGeom>
        </p:spPr>
      </p:pic>
      <p:pic>
        <p:nvPicPr>
          <p:cNvPr id="73" name="Imagen 72">
            <a:extLst>
              <a:ext uri="{FF2B5EF4-FFF2-40B4-BE49-F238E27FC236}">
                <a16:creationId xmlns:a16="http://schemas.microsoft.com/office/drawing/2014/main" id="{34752B69-6000-F21F-4E93-F9C4701CA3E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791302" y="5291078"/>
            <a:ext cx="354147" cy="255772"/>
          </a:xfrm>
          <a:prstGeom prst="rect">
            <a:avLst/>
          </a:prstGeom>
        </p:spPr>
      </p:pic>
      <p:pic>
        <p:nvPicPr>
          <p:cNvPr id="74" name="Imagen 73">
            <a:extLst>
              <a:ext uri="{FF2B5EF4-FFF2-40B4-BE49-F238E27FC236}">
                <a16:creationId xmlns:a16="http://schemas.microsoft.com/office/drawing/2014/main" id="{0D277AB2-FD21-20AF-031B-4CA319F91D9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824478" y="4162003"/>
            <a:ext cx="320171" cy="231234"/>
          </a:xfrm>
          <a:prstGeom prst="rect">
            <a:avLst/>
          </a:prstGeom>
        </p:spPr>
      </p:pic>
      <p:pic>
        <p:nvPicPr>
          <p:cNvPr id="75" name="Imagen 74">
            <a:extLst>
              <a:ext uri="{FF2B5EF4-FFF2-40B4-BE49-F238E27FC236}">
                <a16:creationId xmlns:a16="http://schemas.microsoft.com/office/drawing/2014/main" id="{58857929-D40D-F9D8-0539-3CAC98ADABC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1718121" y="3056597"/>
            <a:ext cx="333447" cy="240822"/>
          </a:xfrm>
          <a:prstGeom prst="rect">
            <a:avLst/>
          </a:prstGeom>
        </p:spPr>
      </p:pic>
      <p:pic>
        <p:nvPicPr>
          <p:cNvPr id="76" name="Imagen 75">
            <a:extLst>
              <a:ext uri="{FF2B5EF4-FFF2-40B4-BE49-F238E27FC236}">
                <a16:creationId xmlns:a16="http://schemas.microsoft.com/office/drawing/2014/main" id="{AD56D5A1-B4E9-7E82-9F17-077017A63BA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1718122" y="3384329"/>
            <a:ext cx="321526" cy="232213"/>
          </a:xfrm>
          <a:prstGeom prst="rect">
            <a:avLst/>
          </a:prstGeom>
        </p:spPr>
      </p:pic>
      <p:pic>
        <p:nvPicPr>
          <p:cNvPr id="77" name="Imagen 76">
            <a:extLst>
              <a:ext uri="{FF2B5EF4-FFF2-40B4-BE49-F238E27FC236}">
                <a16:creationId xmlns:a16="http://schemas.microsoft.com/office/drawing/2014/main" id="{63D1E27E-235E-9349-EEB3-37E4A6D3629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1639539" y="1449168"/>
            <a:ext cx="320170" cy="231234"/>
          </a:xfrm>
          <a:prstGeom prst="rect">
            <a:avLst/>
          </a:prstGeom>
        </p:spPr>
      </p:pic>
      <p:pic>
        <p:nvPicPr>
          <p:cNvPr id="78" name="Imagen 77">
            <a:extLst>
              <a:ext uri="{FF2B5EF4-FFF2-40B4-BE49-F238E27FC236}">
                <a16:creationId xmlns:a16="http://schemas.microsoft.com/office/drawing/2014/main" id="{766BC395-349A-45E6-14E0-902D2B38E1A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1664939" y="1993939"/>
            <a:ext cx="320170" cy="231234"/>
          </a:xfrm>
          <a:prstGeom prst="rect">
            <a:avLst/>
          </a:prstGeom>
        </p:spPr>
      </p:pic>
      <p:pic>
        <p:nvPicPr>
          <p:cNvPr id="79" name="Imagen 78">
            <a:extLst>
              <a:ext uri="{FF2B5EF4-FFF2-40B4-BE49-F238E27FC236}">
                <a16:creationId xmlns:a16="http://schemas.microsoft.com/office/drawing/2014/main" id="{FE75FC4D-37C7-BC6C-7239-459D4F428E81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1664939" y="2574600"/>
            <a:ext cx="320170" cy="231234"/>
          </a:xfrm>
          <a:prstGeom prst="rect">
            <a:avLst/>
          </a:prstGeom>
        </p:spPr>
      </p:pic>
      <p:pic>
        <p:nvPicPr>
          <p:cNvPr id="81" name="Imagen 80">
            <a:extLst>
              <a:ext uri="{FF2B5EF4-FFF2-40B4-BE49-F238E27FC236}">
                <a16:creationId xmlns:a16="http://schemas.microsoft.com/office/drawing/2014/main" id="{A3CFF06D-8D98-3D4C-07EB-CDF36CA9D368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1731399" y="4886387"/>
            <a:ext cx="320170" cy="231234"/>
          </a:xfrm>
          <a:prstGeom prst="rect">
            <a:avLst/>
          </a:prstGeom>
        </p:spPr>
      </p:pic>
      <p:pic>
        <p:nvPicPr>
          <p:cNvPr id="85" name="Imagen 84">
            <a:extLst>
              <a:ext uri="{FF2B5EF4-FFF2-40B4-BE49-F238E27FC236}">
                <a16:creationId xmlns:a16="http://schemas.microsoft.com/office/drawing/2014/main" id="{369931D7-6BC9-EA0D-6F99-3F6839B2FCB5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791720" y="5861046"/>
            <a:ext cx="341030" cy="255772"/>
          </a:xfrm>
          <a:prstGeom prst="rect">
            <a:avLst/>
          </a:prstGeom>
        </p:spPr>
      </p:pic>
      <p:pic>
        <p:nvPicPr>
          <p:cNvPr id="86" name="Imagen 85">
            <a:extLst>
              <a:ext uri="{FF2B5EF4-FFF2-40B4-BE49-F238E27FC236}">
                <a16:creationId xmlns:a16="http://schemas.microsoft.com/office/drawing/2014/main" id="{D695A34C-23D1-F528-1A26-6F3A0B50C2A3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806690" y="6216589"/>
            <a:ext cx="341030" cy="255772"/>
          </a:xfrm>
          <a:prstGeom prst="rect">
            <a:avLst/>
          </a:prstGeom>
        </p:spPr>
      </p:pic>
      <p:pic>
        <p:nvPicPr>
          <p:cNvPr id="87" name="Imagen 86">
            <a:extLst>
              <a:ext uri="{FF2B5EF4-FFF2-40B4-BE49-F238E27FC236}">
                <a16:creationId xmlns:a16="http://schemas.microsoft.com/office/drawing/2014/main" id="{C536DE9E-939C-0D4C-1D6C-E54424D34715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1745764" y="5126869"/>
            <a:ext cx="320171" cy="231234"/>
          </a:xfrm>
          <a:prstGeom prst="rect">
            <a:avLst/>
          </a:prstGeom>
        </p:spPr>
      </p:pic>
      <p:pic>
        <p:nvPicPr>
          <p:cNvPr id="88" name="Imagen 87">
            <a:extLst>
              <a:ext uri="{FF2B5EF4-FFF2-40B4-BE49-F238E27FC236}">
                <a16:creationId xmlns:a16="http://schemas.microsoft.com/office/drawing/2014/main" id="{9FA4EE66-C76A-C888-EBA8-53FF7444C8CE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1745764" y="5372881"/>
            <a:ext cx="320172" cy="231235"/>
          </a:xfrm>
          <a:prstGeom prst="rect">
            <a:avLst/>
          </a:prstGeom>
        </p:spPr>
      </p:pic>
      <p:sp>
        <p:nvSpPr>
          <p:cNvPr id="90" name="CuadroTexto 89">
            <a:extLst>
              <a:ext uri="{FF2B5EF4-FFF2-40B4-BE49-F238E27FC236}">
                <a16:creationId xmlns:a16="http://schemas.microsoft.com/office/drawing/2014/main" id="{315E4FE8-D3EC-9735-8CFB-CA89424EF4EB}"/>
              </a:ext>
            </a:extLst>
          </p:cNvPr>
          <p:cNvSpPr txBox="1"/>
          <p:nvPr/>
        </p:nvSpPr>
        <p:spPr>
          <a:xfrm>
            <a:off x="836831" y="580685"/>
            <a:ext cx="17751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/>
              <a:t>Fondo de Garantía (9)</a:t>
            </a:r>
          </a:p>
        </p:txBody>
      </p:sp>
      <p:sp>
        <p:nvSpPr>
          <p:cNvPr id="92" name="CuadroTexto 91">
            <a:extLst>
              <a:ext uri="{FF2B5EF4-FFF2-40B4-BE49-F238E27FC236}">
                <a16:creationId xmlns:a16="http://schemas.microsoft.com/office/drawing/2014/main" id="{BBBE6E46-62D7-2E11-B89F-C70AD4BE2D82}"/>
              </a:ext>
            </a:extLst>
          </p:cNvPr>
          <p:cNvSpPr txBox="1"/>
          <p:nvPr/>
        </p:nvSpPr>
        <p:spPr>
          <a:xfrm>
            <a:off x="2884926" y="580684"/>
            <a:ext cx="20242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/>
              <a:t>Programa de Garantía (9)</a:t>
            </a:r>
          </a:p>
        </p:txBody>
      </p:sp>
      <p:pic>
        <p:nvPicPr>
          <p:cNvPr id="93" name="Imagen 92">
            <a:extLst>
              <a:ext uri="{FF2B5EF4-FFF2-40B4-BE49-F238E27FC236}">
                <a16:creationId xmlns:a16="http://schemas.microsoft.com/office/drawing/2014/main" id="{E41D803E-0A58-AE4C-0CD1-FDF5F0B541DC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2593772" y="623138"/>
            <a:ext cx="344598" cy="248876"/>
          </a:xfrm>
          <a:prstGeom prst="rect">
            <a:avLst/>
          </a:prstGeom>
        </p:spPr>
      </p:pic>
      <p:sp>
        <p:nvSpPr>
          <p:cNvPr id="96" name="CuadroTexto 95">
            <a:extLst>
              <a:ext uri="{FF2B5EF4-FFF2-40B4-BE49-F238E27FC236}">
                <a16:creationId xmlns:a16="http://schemas.microsoft.com/office/drawing/2014/main" id="{27D999B9-9C1D-5CF9-9805-8E5CF167A543}"/>
              </a:ext>
            </a:extLst>
          </p:cNvPr>
          <p:cNvSpPr txBox="1"/>
          <p:nvPr/>
        </p:nvSpPr>
        <p:spPr>
          <a:xfrm>
            <a:off x="5281578" y="559177"/>
            <a:ext cx="6783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/>
              <a:t>SGR(4)</a:t>
            </a:r>
          </a:p>
        </p:txBody>
      </p:sp>
      <p:sp>
        <p:nvSpPr>
          <p:cNvPr id="97" name="CuadroTexto 96">
            <a:extLst>
              <a:ext uri="{FF2B5EF4-FFF2-40B4-BE49-F238E27FC236}">
                <a16:creationId xmlns:a16="http://schemas.microsoft.com/office/drawing/2014/main" id="{14F92850-8447-F855-AA10-EDCFDD4EB07E}"/>
              </a:ext>
            </a:extLst>
          </p:cNvPr>
          <p:cNvSpPr txBox="1"/>
          <p:nvPr/>
        </p:nvSpPr>
        <p:spPr>
          <a:xfrm>
            <a:off x="6294799" y="544733"/>
            <a:ext cx="7745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/>
              <a:t>SGM (1)</a:t>
            </a:r>
          </a:p>
        </p:txBody>
      </p:sp>
      <p:pic>
        <p:nvPicPr>
          <p:cNvPr id="98" name="Imagen 97">
            <a:extLst>
              <a:ext uri="{FF2B5EF4-FFF2-40B4-BE49-F238E27FC236}">
                <a16:creationId xmlns:a16="http://schemas.microsoft.com/office/drawing/2014/main" id="{FFBFC070-B564-9D42-6DDF-1E356A18B8AC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962901" y="581430"/>
            <a:ext cx="405036" cy="263273"/>
          </a:xfrm>
          <a:prstGeom prst="rect">
            <a:avLst/>
          </a:prstGeom>
        </p:spPr>
      </p:pic>
      <p:pic>
        <p:nvPicPr>
          <p:cNvPr id="99" name="Imagen 98">
            <a:extLst>
              <a:ext uri="{FF2B5EF4-FFF2-40B4-BE49-F238E27FC236}">
                <a16:creationId xmlns:a16="http://schemas.microsoft.com/office/drawing/2014/main" id="{677481BF-172B-53B3-7654-3D566D7CA0DA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4993913" y="588931"/>
            <a:ext cx="341030" cy="255772"/>
          </a:xfrm>
          <a:prstGeom prst="rect">
            <a:avLst/>
          </a:prstGeom>
        </p:spPr>
      </p:pic>
      <p:pic>
        <p:nvPicPr>
          <p:cNvPr id="100" name="Imagen 99">
            <a:extLst>
              <a:ext uri="{FF2B5EF4-FFF2-40B4-BE49-F238E27FC236}">
                <a16:creationId xmlns:a16="http://schemas.microsoft.com/office/drawing/2014/main" id="{092FC574-91BD-3903-BE99-955EE33BC92E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516661" y="626146"/>
            <a:ext cx="320170" cy="231234"/>
          </a:xfrm>
          <a:prstGeom prst="rect">
            <a:avLst/>
          </a:prstGeom>
        </p:spPr>
      </p:pic>
      <p:pic>
        <p:nvPicPr>
          <p:cNvPr id="101" name="Picture 2">
            <a:extLst>
              <a:ext uri="{FF2B5EF4-FFF2-40B4-BE49-F238E27FC236}">
                <a16:creationId xmlns:a16="http://schemas.microsoft.com/office/drawing/2014/main" id="{350B1E4D-9AB3-D122-6CF6-3ADE29957399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353320" y="5868171"/>
            <a:ext cx="1751280" cy="803065"/>
          </a:xfrm>
          <a:prstGeom prst="rect">
            <a:avLst/>
          </a:prstGeom>
        </p:spPr>
      </p:pic>
      <p:sp>
        <p:nvSpPr>
          <p:cNvPr id="102" name="Title 2">
            <a:extLst>
              <a:ext uri="{FF2B5EF4-FFF2-40B4-BE49-F238E27FC236}">
                <a16:creationId xmlns:a16="http://schemas.microsoft.com/office/drawing/2014/main" id="{2D865A45-7154-34E3-2DE6-6BE2005DB9AD}"/>
              </a:ext>
            </a:extLst>
          </p:cNvPr>
          <p:cNvSpPr txBox="1">
            <a:spLocks/>
          </p:cNvSpPr>
          <p:nvPr/>
        </p:nvSpPr>
        <p:spPr>
          <a:xfrm>
            <a:off x="3793621" y="-45832"/>
            <a:ext cx="8337748" cy="7990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MX"/>
            </a:defPPr>
            <a:lvl1pPr algn="r">
              <a:lnSpc>
                <a:spcPct val="90000"/>
              </a:lnSpc>
              <a:spcBef>
                <a:spcPct val="0"/>
              </a:spcBef>
              <a:buNone/>
              <a:defRPr sz="2400" b="0" i="0">
                <a:solidFill>
                  <a:srgbClr val="008080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s-MX" sz="2000" b="1" dirty="0">
                <a:solidFill>
                  <a:schemeClr val="accent5">
                    <a:lumMod val="50000"/>
                  </a:schemeClr>
                </a:solidFill>
              </a:rPr>
              <a:t>GUARANTEE </a:t>
            </a:r>
            <a:r>
              <a:rPr lang="es-MX" sz="20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SCHEMES</a:t>
            </a:r>
            <a:r>
              <a:rPr lang="es-MX" sz="2000" b="1" dirty="0">
                <a:solidFill>
                  <a:schemeClr val="accent5">
                    <a:lumMod val="50000"/>
                  </a:schemeClr>
                </a:solidFill>
              </a:rPr>
              <a:t> IN IBEROAMERICA
</a:t>
            </a:r>
            <a:endParaRPr lang="en-US" sz="20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472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:a16="http://schemas.microsoft.com/office/drawing/2014/main" id="{AA1F050C-869B-56AA-E479-DB3A49A5C8F0}"/>
              </a:ext>
            </a:extLst>
          </p:cNvPr>
          <p:cNvSpPr/>
          <p:nvPr/>
        </p:nvSpPr>
        <p:spPr>
          <a:xfrm rot="5400000">
            <a:off x="5964199" y="617580"/>
            <a:ext cx="296042" cy="12200695"/>
          </a:xfrm>
          <a:prstGeom prst="rect">
            <a:avLst/>
          </a:prstGeom>
          <a:gradFill flip="none" rotWithShape="1">
            <a:gsLst>
              <a:gs pos="69000">
                <a:srgbClr val="0070C0"/>
              </a:gs>
              <a:gs pos="0">
                <a:srgbClr val="00B0F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95AE589C-DD87-3590-1E38-A439EA5F6D88}"/>
              </a:ext>
            </a:extLst>
          </p:cNvPr>
          <p:cNvSpPr txBox="1"/>
          <p:nvPr/>
        </p:nvSpPr>
        <p:spPr>
          <a:xfrm>
            <a:off x="492233" y="6394669"/>
            <a:ext cx="18224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20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318A58F7-3EC7-20D7-B17B-D3015E5FC168}"/>
              </a:ext>
            </a:extLst>
          </p:cNvPr>
          <p:cNvSpPr txBox="1"/>
          <p:nvPr/>
        </p:nvSpPr>
        <p:spPr>
          <a:xfrm>
            <a:off x="5627727" y="6297697"/>
            <a:ext cx="12954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6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6E39AC5C-3BBC-32D5-0AD6-A1FE8FA327B1}"/>
              </a:ext>
            </a:extLst>
          </p:cNvPr>
          <p:cNvSpPr txBox="1"/>
          <p:nvPr/>
        </p:nvSpPr>
        <p:spPr>
          <a:xfrm>
            <a:off x="10054266" y="6340002"/>
            <a:ext cx="182242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2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CC995FCB-12CF-45CD-3A36-3198F52C89E6}"/>
              </a:ext>
            </a:extLst>
          </p:cNvPr>
          <p:cNvSpPr txBox="1"/>
          <p:nvPr/>
        </p:nvSpPr>
        <p:spPr>
          <a:xfrm>
            <a:off x="3965852" y="6321505"/>
            <a:ext cx="12954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28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E41E443E-13C8-50C3-C45D-A57CC53B3D65}"/>
              </a:ext>
            </a:extLst>
          </p:cNvPr>
          <p:cNvSpPr txBox="1"/>
          <p:nvPr/>
        </p:nvSpPr>
        <p:spPr>
          <a:xfrm>
            <a:off x="2497999" y="6421542"/>
            <a:ext cx="159438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2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45F23A16-3965-8964-AFB0-1544AECFA78B}"/>
              </a:ext>
            </a:extLst>
          </p:cNvPr>
          <p:cNvSpPr txBox="1"/>
          <p:nvPr/>
        </p:nvSpPr>
        <p:spPr>
          <a:xfrm>
            <a:off x="990104" y="1136515"/>
            <a:ext cx="10109695" cy="53553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accent6"/>
              </a:buClr>
            </a:pPr>
            <a:r>
              <a:rPr lang="es-MX" dirty="0">
                <a:latin typeface="Century Gothic" panose="020B0502020202020204" pitchFamily="34" charset="0"/>
              </a:rPr>
              <a:t>Heterogeneous legal structures
Explicit legal and regulatory framework 
</a:t>
            </a:r>
            <a:endParaRPr lang="es-MX" dirty="0">
              <a:effectLst/>
              <a:latin typeface="Century Gothic" panose="020B0502020202020204" pitchFamily="34" charset="0"/>
            </a:endParaRPr>
          </a:p>
          <a:p>
            <a:pPr>
              <a:buClr>
                <a:schemeClr val="accent6"/>
              </a:buClr>
            </a:pPr>
            <a:r>
              <a:rPr lang="es-MX" dirty="0">
                <a:latin typeface="Century Gothic" panose="020B0502020202020204" pitchFamily="34" charset="0"/>
              </a:rPr>
              <a:t>Limited funding sources particularly in the cases of SGRs and SGCs
</a:t>
            </a:r>
          </a:p>
          <a:p>
            <a:pPr>
              <a:buClr>
                <a:schemeClr val="accent6"/>
              </a:buClr>
            </a:pPr>
            <a:r>
              <a:rPr lang="es-MX" dirty="0">
                <a:latin typeface="Century Gothic" panose="020B0502020202020204" pitchFamily="34" charset="0"/>
              </a:rPr>
              <a:t>Corporate governance structure is established in legislation
</a:t>
            </a:r>
          </a:p>
          <a:p>
            <a:pPr>
              <a:buClr>
                <a:schemeClr val="accent6"/>
              </a:buClr>
            </a:pPr>
            <a:r>
              <a:rPr lang="es-MX" dirty="0">
                <a:latin typeface="Century Gothic" panose="020B0502020202020204" pitchFamily="34" charset="0"/>
              </a:rPr>
              <a:t>There are instances for goal setting and planning, as well as approval of new products and warranty programs.
</a:t>
            </a:r>
          </a:p>
          <a:p>
            <a:pPr>
              <a:buClr>
                <a:schemeClr val="accent6"/>
              </a:buClr>
            </a:pPr>
            <a:r>
              <a:rPr lang="es-MX" dirty="0">
                <a:latin typeface="Century Gothic" panose="020B0502020202020204" pitchFamily="34" charset="0"/>
              </a:rPr>
              <a:t>Structures with autonomy to technically assess the granting of guarantees
</a:t>
            </a:r>
          </a:p>
          <a:p>
            <a:pPr>
              <a:buClr>
                <a:schemeClr val="accent6"/>
              </a:buClr>
            </a:pPr>
            <a:r>
              <a:rPr lang="es-MX" dirty="0">
                <a:latin typeface="Century Gothic" panose="020B0502020202020204" pitchFamily="34" charset="0"/>
              </a:rPr>
              <a:t>To mitigate fiscal risks, policy guidelines define budget limits, mainly those for non-reimbursable resources. 
The use of funding and existing limits are periodically reviewed based on auditable performance parameters. 
</a:t>
            </a:r>
            <a:endParaRPr lang="es-MX" dirty="0">
              <a:effectLst/>
              <a:latin typeface="Century Gothic" panose="020B0502020202020204" pitchFamily="34" charset="0"/>
            </a:endParaRP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7D8D0AE2-2D57-B5F9-94F3-4A147FE2414E}"/>
              </a:ext>
            </a:extLst>
          </p:cNvPr>
          <p:cNvSpPr txBox="1">
            <a:spLocks/>
          </p:cNvSpPr>
          <p:nvPr/>
        </p:nvSpPr>
        <p:spPr>
          <a:xfrm>
            <a:off x="3551638" y="311902"/>
            <a:ext cx="8337748" cy="7990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s-MX"/>
            </a:defPPr>
            <a:lvl1pPr algn="r">
              <a:lnSpc>
                <a:spcPct val="90000"/>
              </a:lnSpc>
              <a:spcBef>
                <a:spcPct val="0"/>
              </a:spcBef>
              <a:buNone/>
              <a:defRPr sz="2400" b="0" i="0">
                <a:solidFill>
                  <a:srgbClr val="008080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s-MX" sz="2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SCHEMES </a:t>
            </a:r>
            <a:r>
              <a:rPr lang="es-MX" b="1" dirty="0">
                <a:solidFill>
                  <a:schemeClr val="accent5">
                    <a:lumMod val="50000"/>
                  </a:schemeClr>
                </a:solidFill>
              </a:rPr>
              <a:t>OF GUARANTEE SYSTEMS IN IBERO-AMERICA
</a:t>
            </a:r>
            <a:endParaRPr lang="en-US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155129D9-7E8B-D1C2-4BA1-0BFEFF584A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165" y="144148"/>
            <a:ext cx="1751280" cy="803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4975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17;p2">
            <a:extLst>
              <a:ext uri="{FF2B5EF4-FFF2-40B4-BE49-F238E27FC236}">
                <a16:creationId xmlns:a16="http://schemas.microsoft.com/office/drawing/2014/main" id="{F52AA384-13E5-4312-4DB0-0BAEDE223358}"/>
              </a:ext>
            </a:extLst>
          </p:cNvPr>
          <p:cNvSpPr/>
          <p:nvPr/>
        </p:nvSpPr>
        <p:spPr>
          <a:xfrm>
            <a:off x="0" y="-3147"/>
            <a:ext cx="12192000" cy="104069"/>
          </a:xfrm>
          <a:prstGeom prst="rect">
            <a:avLst/>
          </a:prstGeom>
          <a:solidFill>
            <a:srgbClr val="008BB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</a:pPr>
            <a:endParaRPr sz="2400" b="1" kern="0" dirty="0">
              <a:solidFill>
                <a:schemeClr val="bg1"/>
              </a:solidFill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B1774F50-BC1B-7E7E-2AF5-F5032765C8BC}"/>
              </a:ext>
            </a:extLst>
          </p:cNvPr>
          <p:cNvSpPr/>
          <p:nvPr/>
        </p:nvSpPr>
        <p:spPr>
          <a:xfrm rot="5400000">
            <a:off x="5949358" y="617580"/>
            <a:ext cx="296042" cy="12200695"/>
          </a:xfrm>
          <a:prstGeom prst="rect">
            <a:avLst/>
          </a:prstGeom>
          <a:gradFill flip="none" rotWithShape="1">
            <a:gsLst>
              <a:gs pos="69000">
                <a:srgbClr val="0070C0"/>
              </a:gs>
              <a:gs pos="0">
                <a:srgbClr val="00B0F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57A221FC-CA12-048A-BCA0-DE2FB164DF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4165" y="144148"/>
            <a:ext cx="1751280" cy="803065"/>
          </a:xfrm>
          <a:prstGeom prst="rect">
            <a:avLst/>
          </a:prstGeom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4E4A68D7-51C3-52A0-7311-06E1F76CAF1B}"/>
              </a:ext>
            </a:extLst>
          </p:cNvPr>
          <p:cNvSpPr txBox="1"/>
          <p:nvPr/>
        </p:nvSpPr>
        <p:spPr>
          <a:xfrm>
            <a:off x="8818142" y="3220567"/>
            <a:ext cx="31691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dirty="0">
                <a:latin typeface="Montserrat" pitchFamily="2" charset="77"/>
              </a:rPr>
              <a:t>Lower use of capital capitalizing only 1.6% of the 8% required (MÉXICO) </a:t>
            </a:r>
            <a:endParaRPr lang="es-MX" sz="1600" dirty="0">
              <a:latin typeface="Montserrat" pitchFamily="2" charset="77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3627EB1B-E9CB-B883-98F5-D6066C54D6B4}"/>
              </a:ext>
            </a:extLst>
          </p:cNvPr>
          <p:cNvSpPr/>
          <p:nvPr/>
        </p:nvSpPr>
        <p:spPr>
          <a:xfrm>
            <a:off x="3315160" y="3986855"/>
            <a:ext cx="2723775" cy="2134546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accent1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accent1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000" b="1" dirty="0"/>
              <a:t>MODALITIES
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3A8A1838-FC13-F397-AE5F-768461730573}"/>
              </a:ext>
            </a:extLst>
          </p:cNvPr>
          <p:cNvSpPr/>
          <p:nvPr/>
        </p:nvSpPr>
        <p:spPr>
          <a:xfrm>
            <a:off x="3315160" y="1716219"/>
            <a:ext cx="2723775" cy="2225315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accent5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accent5">
                  <a:lumMod val="60000"/>
                  <a:lumOff val="40000"/>
                  <a:shade val="100000"/>
                  <a:satMod val="115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000" b="1" dirty="0"/>
              <a:t>LEVERAGE
/COVERAGE
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0EA1A59C-D1E3-4D49-8AAA-5C5B93321AE2}"/>
              </a:ext>
            </a:extLst>
          </p:cNvPr>
          <p:cNvSpPr/>
          <p:nvPr/>
        </p:nvSpPr>
        <p:spPr>
          <a:xfrm>
            <a:off x="6074235" y="3977474"/>
            <a:ext cx="2723776" cy="2134546"/>
          </a:xfrm>
          <a:prstGeom prst="rect">
            <a:avLst/>
          </a:prstGeom>
          <a:gradFill flip="none" rotWithShape="1">
            <a:gsLst>
              <a:gs pos="0">
                <a:srgbClr val="00A493">
                  <a:shade val="30000"/>
                  <a:satMod val="115000"/>
                </a:srgbClr>
              </a:gs>
              <a:gs pos="50000">
                <a:srgbClr val="00A493">
                  <a:shade val="67500"/>
                  <a:satMod val="115000"/>
                </a:srgbClr>
              </a:gs>
              <a:gs pos="100000">
                <a:srgbClr val="00A493">
                  <a:shade val="100000"/>
                  <a:satMod val="115000"/>
                </a:srgbClr>
              </a:gs>
            </a:gsLst>
            <a:lin ang="81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dirty="0">
                <a:latin typeface="Century Gothic" panose="020B0502020202020204" pitchFamily="34" charset="0"/>
              </a:rPr>
              <a:t>REASSURANCE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205D084-FAF7-40BA-DF4C-34802ECD1080}"/>
              </a:ext>
            </a:extLst>
          </p:cNvPr>
          <p:cNvSpPr/>
          <p:nvPr/>
        </p:nvSpPr>
        <p:spPr>
          <a:xfrm>
            <a:off x="6074235" y="1709663"/>
            <a:ext cx="2723776" cy="2225315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accent6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accent6">
                  <a:lumMod val="60000"/>
                  <a:lumOff val="40000"/>
                  <a:shade val="100000"/>
                  <a:satMod val="115000"/>
                </a:schemeClr>
              </a:gs>
            </a:gsLst>
            <a:lin ang="81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b="1" dirty="0">
                <a:latin typeface="Century Gothic" panose="020B0502020202020204" pitchFamily="34" charset="0"/>
              </a:rPr>
              <a:t>FISCAL STIMULUS/CAPITAL CONSUMPTION 
</a:t>
            </a:r>
          </a:p>
        </p:txBody>
      </p:sp>
      <p:sp>
        <p:nvSpPr>
          <p:cNvPr id="27" name="Título 1">
            <a:extLst>
              <a:ext uri="{FF2B5EF4-FFF2-40B4-BE49-F238E27FC236}">
                <a16:creationId xmlns:a16="http://schemas.microsoft.com/office/drawing/2014/main" id="{A78CCF59-688B-D105-C16A-C86EA5A91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679" y="311832"/>
            <a:ext cx="10979727" cy="535420"/>
          </a:xfrm>
        </p:spPr>
        <p:txBody>
          <a:bodyPr>
            <a:normAutofit/>
          </a:bodyPr>
          <a:lstStyle/>
          <a:p>
            <a:pPr algn="r"/>
            <a:r>
              <a:rPr lang="es-MX" sz="2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GUARANTEE SCHEMES IN IBEROAMERICA  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958FF8B5-ABB9-2690-6258-2540177CF15F}"/>
              </a:ext>
            </a:extLst>
          </p:cNvPr>
          <p:cNvSpPr txBox="1"/>
          <p:nvPr/>
        </p:nvSpPr>
        <p:spPr>
          <a:xfrm>
            <a:off x="731206" y="918444"/>
            <a:ext cx="11125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dirty="0">
                <a:latin typeface="Montserrat" pitchFamily="2" charset="77"/>
              </a:rPr>
              <a:t>IN GENERAL, SIMILAR LEVELS OF LEVERAGE, HEDGING, AND SUPERVISION ARE HANDLED EXCEPT IN THE CASE OF FISCAL INCENTIVES AND TAX EXEMPTIONS.. 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A5829702-8230-4893-A8E9-22381EF0E680}"/>
              </a:ext>
            </a:extLst>
          </p:cNvPr>
          <p:cNvSpPr txBox="1"/>
          <p:nvPr/>
        </p:nvSpPr>
        <p:spPr>
          <a:xfrm>
            <a:off x="8798011" y="1764380"/>
            <a:ext cx="327722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marL="285750" indent="-285750">
              <a:buFont typeface="Arial" panose="020B0604020202020204" pitchFamily="34" charset="0"/>
              <a:buChar char="•"/>
              <a:defRPr b="1">
                <a:latin typeface="Montserrat" pitchFamily="2" charset="77"/>
              </a:defRPr>
            </a:lvl1pPr>
          </a:lstStyle>
          <a:p>
            <a:r>
              <a:rPr lang="es-MX" b="0" dirty="0"/>
              <a:t>Tax exemptions between 25% and 35% on gains from capital contributions to SGR's (ARGENTINA)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0C1B0E1D-ED63-D04F-C04C-DA42351167B7}"/>
              </a:ext>
            </a:extLst>
          </p:cNvPr>
          <p:cNvSpPr txBox="1"/>
          <p:nvPr/>
        </p:nvSpPr>
        <p:spPr>
          <a:xfrm>
            <a:off x="446464" y="3152458"/>
            <a:ext cx="25960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marL="285750" indent="-285750">
              <a:buFont typeface="Arial" panose="020B0604020202020204" pitchFamily="34" charset="0"/>
              <a:buChar char="•"/>
              <a:defRPr b="1">
                <a:latin typeface="Montserrat" pitchFamily="2" charset="77"/>
              </a:defRPr>
            </a:lvl1pPr>
          </a:lstStyle>
          <a:p>
            <a:r>
              <a:rPr lang="es-MX" b="0" dirty="0"/>
              <a:t>50%-75%</a:t>
            </a:r>
          </a:p>
          <a:p>
            <a:r>
              <a:rPr lang="es-MX" b="0" dirty="0"/>
              <a:t>Crisis: 80% y 90%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5542B13-AF32-4C97-28DE-57597BC9225D}"/>
              </a:ext>
            </a:extLst>
          </p:cNvPr>
          <p:cNvSpPr txBox="1"/>
          <p:nvPr/>
        </p:nvSpPr>
        <p:spPr>
          <a:xfrm>
            <a:off x="446464" y="1885465"/>
            <a:ext cx="27237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marL="285750" indent="-285750">
              <a:buFont typeface="Arial" panose="020B0604020202020204" pitchFamily="34" charset="0"/>
              <a:buChar char="•"/>
              <a:defRPr b="1">
                <a:latin typeface="Montserrat" pitchFamily="2" charset="77"/>
              </a:defRPr>
            </a:lvl1pPr>
          </a:lstStyle>
          <a:p>
            <a:r>
              <a:rPr lang="es-MX" b="0" dirty="0"/>
              <a:t>Entre 3 y 5 veces.</a:t>
            </a:r>
          </a:p>
          <a:p>
            <a:r>
              <a:rPr lang="es-MX" b="0" dirty="0"/>
              <a:t>Greater according to expected loss
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2395D139-7C6F-155D-A900-3E8CB7C948D4}"/>
              </a:ext>
            </a:extLst>
          </p:cNvPr>
          <p:cNvSpPr txBox="1"/>
          <p:nvPr/>
        </p:nvSpPr>
        <p:spPr>
          <a:xfrm>
            <a:off x="8906124" y="4781838"/>
            <a:ext cx="30609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dirty="0">
                <a:latin typeface="Montserrat" pitchFamily="2" charset="77"/>
              </a:rPr>
              <a:t>It is used by SGRs and Guarantee Funds.
(ARGENTINA)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A14BC8DB-3204-C14D-61BF-A6726A675919}"/>
              </a:ext>
            </a:extLst>
          </p:cNvPr>
          <p:cNvSpPr txBox="1"/>
          <p:nvPr/>
        </p:nvSpPr>
        <p:spPr>
          <a:xfrm>
            <a:off x="446463" y="4134580"/>
            <a:ext cx="286869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marL="285750" indent="-285750">
              <a:buFont typeface="Arial" panose="020B0604020202020204" pitchFamily="34" charset="0"/>
              <a:buChar char="•"/>
              <a:defRPr b="1">
                <a:latin typeface="Montserrat" pitchFamily="2" charset="77"/>
              </a:defRPr>
            </a:lvl1pPr>
          </a:lstStyle>
          <a:p>
            <a:r>
              <a:rPr lang="es-MX" b="0" dirty="0"/>
              <a:t>Portfolio Guarantee
Sectoral Funds
Counter-guarantees
Syndicated guarantees 
Electronic auctions</a:t>
            </a:r>
          </a:p>
        </p:txBody>
      </p:sp>
    </p:spTree>
    <p:extLst>
      <p:ext uri="{BB962C8B-B14F-4D97-AF65-F5344CB8AC3E}">
        <p14:creationId xmlns:p14="http://schemas.microsoft.com/office/powerpoint/2010/main" val="39294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:a16="http://schemas.microsoft.com/office/drawing/2014/main" id="{AA1F050C-869B-56AA-E479-DB3A49A5C8F0}"/>
              </a:ext>
            </a:extLst>
          </p:cNvPr>
          <p:cNvSpPr/>
          <p:nvPr/>
        </p:nvSpPr>
        <p:spPr>
          <a:xfrm rot="5400000">
            <a:off x="5964199" y="617580"/>
            <a:ext cx="296042" cy="12200695"/>
          </a:xfrm>
          <a:prstGeom prst="rect">
            <a:avLst/>
          </a:prstGeom>
          <a:gradFill flip="none" rotWithShape="1">
            <a:gsLst>
              <a:gs pos="69000">
                <a:srgbClr val="0070C0"/>
              </a:gs>
              <a:gs pos="0">
                <a:srgbClr val="00B0F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95AE589C-DD87-3590-1E38-A439EA5F6D88}"/>
              </a:ext>
            </a:extLst>
          </p:cNvPr>
          <p:cNvSpPr txBox="1"/>
          <p:nvPr/>
        </p:nvSpPr>
        <p:spPr>
          <a:xfrm>
            <a:off x="492233" y="6394669"/>
            <a:ext cx="18224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20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318A58F7-3EC7-20D7-B17B-D3015E5FC168}"/>
              </a:ext>
            </a:extLst>
          </p:cNvPr>
          <p:cNvSpPr txBox="1"/>
          <p:nvPr/>
        </p:nvSpPr>
        <p:spPr>
          <a:xfrm>
            <a:off x="5627727" y="6297697"/>
            <a:ext cx="12954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6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6E39AC5C-3BBC-32D5-0AD6-A1FE8FA327B1}"/>
              </a:ext>
            </a:extLst>
          </p:cNvPr>
          <p:cNvSpPr txBox="1"/>
          <p:nvPr/>
        </p:nvSpPr>
        <p:spPr>
          <a:xfrm>
            <a:off x="10054266" y="6340002"/>
            <a:ext cx="182242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2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CC995FCB-12CF-45CD-3A36-3198F52C89E6}"/>
              </a:ext>
            </a:extLst>
          </p:cNvPr>
          <p:cNvSpPr txBox="1"/>
          <p:nvPr/>
        </p:nvSpPr>
        <p:spPr>
          <a:xfrm>
            <a:off x="3965852" y="6321505"/>
            <a:ext cx="12954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28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E41E443E-13C8-50C3-C45D-A57CC53B3D65}"/>
              </a:ext>
            </a:extLst>
          </p:cNvPr>
          <p:cNvSpPr txBox="1"/>
          <p:nvPr/>
        </p:nvSpPr>
        <p:spPr>
          <a:xfrm>
            <a:off x="2497999" y="6421542"/>
            <a:ext cx="159438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2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9C79C619-BCE7-4F15-5568-1A829AFACD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165" y="144148"/>
            <a:ext cx="1751280" cy="803065"/>
          </a:xfrm>
          <a:prstGeom prst="rect">
            <a:avLst/>
          </a:prstGeom>
        </p:spPr>
      </p:pic>
      <p:sp>
        <p:nvSpPr>
          <p:cNvPr id="28" name="Título 1">
            <a:extLst>
              <a:ext uri="{FF2B5EF4-FFF2-40B4-BE49-F238E27FC236}">
                <a16:creationId xmlns:a16="http://schemas.microsoft.com/office/drawing/2014/main" id="{20AC56E9-FCEB-3C87-B59A-68F27CBCA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84" y="31267"/>
            <a:ext cx="9057584" cy="1012567"/>
          </a:xfrm>
        </p:spPr>
        <p:txBody>
          <a:bodyPr>
            <a:noAutofit/>
          </a:bodyPr>
          <a:lstStyle/>
          <a:p>
            <a:pPr algn="r"/>
            <a:r>
              <a:rPr lang="es-MX" sz="24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OUTSTANDING COLLATERAL BALANCE 2021
</a:t>
            </a:r>
            <a:endParaRPr lang="es-MX" sz="2400" dirty="0">
              <a:solidFill>
                <a:schemeClr val="accent5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TextBox 22">
            <a:extLst>
              <a:ext uri="{FF2B5EF4-FFF2-40B4-BE49-F238E27FC236}">
                <a16:creationId xmlns:a16="http://schemas.microsoft.com/office/drawing/2014/main" id="{03C765FE-9207-EFCA-D60B-94AF8833A63D}"/>
              </a:ext>
            </a:extLst>
          </p:cNvPr>
          <p:cNvSpPr txBox="1"/>
          <p:nvPr/>
        </p:nvSpPr>
        <p:spPr>
          <a:xfrm>
            <a:off x="207034" y="1802245"/>
            <a:ext cx="662794" cy="369332"/>
          </a:xfrm>
          <a:prstGeom prst="rect">
            <a:avLst/>
          </a:prstGeom>
          <a:solidFill>
            <a:srgbClr val="21880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MX" sz="900">
                <a:solidFill>
                  <a:schemeClr val="bg1"/>
                </a:solidFill>
                <a:latin typeface="Montserrat" pitchFamily="2" charset="77"/>
              </a:rPr>
              <a:t>%</a:t>
            </a:r>
          </a:p>
          <a:p>
            <a:pPr algn="ctr"/>
            <a:r>
              <a:rPr lang="es-MX" sz="900">
                <a:solidFill>
                  <a:schemeClr val="bg1"/>
                </a:solidFill>
                <a:latin typeface="Montserrat" pitchFamily="2" charset="77"/>
              </a:rPr>
              <a:t>TOTAL</a:t>
            </a:r>
            <a:endParaRPr lang="en-US" sz="90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4" name="TextBox 8">
            <a:extLst>
              <a:ext uri="{FF2B5EF4-FFF2-40B4-BE49-F238E27FC236}">
                <a16:creationId xmlns:a16="http://schemas.microsoft.com/office/drawing/2014/main" id="{CF2101DE-AEBF-CCBC-CED6-8F7439C5B5E5}"/>
              </a:ext>
            </a:extLst>
          </p:cNvPr>
          <p:cNvSpPr txBox="1"/>
          <p:nvPr/>
        </p:nvSpPr>
        <p:spPr>
          <a:xfrm>
            <a:off x="933872" y="1808798"/>
            <a:ext cx="891789" cy="369332"/>
          </a:xfrm>
          <a:prstGeom prst="rect">
            <a:avLst/>
          </a:prstGeom>
          <a:solidFill>
            <a:srgbClr val="21880F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MX" sz="900" dirty="0">
                <a:solidFill>
                  <a:schemeClr val="bg1"/>
                </a:solidFill>
                <a:latin typeface="Montserrat" pitchFamily="2" charset="77"/>
              </a:rPr>
              <a:t>COUNTRY(No. Entes)</a:t>
            </a:r>
            <a:endParaRPr lang="en-US" sz="900" dirty="0">
              <a:solidFill>
                <a:schemeClr val="bg1"/>
              </a:solidFill>
              <a:latin typeface="Montserrat" pitchFamily="2" charset="77"/>
            </a:endParaRPr>
          </a:p>
        </p:txBody>
      </p:sp>
      <p:graphicFrame>
        <p:nvGraphicFramePr>
          <p:cNvPr id="5" name="3 Gráfico">
            <a:extLst>
              <a:ext uri="{FF2B5EF4-FFF2-40B4-BE49-F238E27FC236}">
                <a16:creationId xmlns:a16="http://schemas.microsoft.com/office/drawing/2014/main" id="{D3CAD822-8688-AD31-D530-28F50651469F}"/>
              </a:ext>
            </a:extLst>
          </p:cNvPr>
          <p:cNvGraphicFramePr>
            <a:graphicFrameLocks/>
          </p:cNvGraphicFramePr>
          <p:nvPr/>
        </p:nvGraphicFramePr>
        <p:xfrm>
          <a:off x="869828" y="1967864"/>
          <a:ext cx="10989940" cy="4304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25317E3B-5324-7EFF-E498-9748F741FF40}"/>
              </a:ext>
            </a:extLst>
          </p:cNvPr>
          <p:cNvGraphicFramePr>
            <a:graphicFrameLocks noGrp="1"/>
          </p:cNvGraphicFramePr>
          <p:nvPr/>
        </p:nvGraphicFramePr>
        <p:xfrm>
          <a:off x="207034" y="2312622"/>
          <a:ext cx="662794" cy="37619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2794">
                  <a:extLst>
                    <a:ext uri="{9D8B030D-6E8A-4147-A177-3AD203B41FA5}">
                      <a16:colId xmlns:a16="http://schemas.microsoft.com/office/drawing/2014/main" val="3930869310"/>
                    </a:ext>
                  </a:extLst>
                </a:gridCol>
              </a:tblGrid>
              <a:tr h="268714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67.5%</a:t>
                      </a:r>
                    </a:p>
                  </a:txBody>
                  <a:tcPr marL="0" marR="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30531"/>
                  </a:ext>
                </a:extLst>
              </a:tr>
              <a:tr h="268714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9.8%</a:t>
                      </a:r>
                    </a:p>
                  </a:txBody>
                  <a:tcPr marL="0" marR="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2184606"/>
                  </a:ext>
                </a:extLst>
              </a:tr>
              <a:tr h="268714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5.9%</a:t>
                      </a:r>
                    </a:p>
                  </a:txBody>
                  <a:tcPr marL="0" marR="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3620829"/>
                  </a:ext>
                </a:extLst>
              </a:tr>
              <a:tr h="268714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5.8%</a:t>
                      </a:r>
                    </a:p>
                  </a:txBody>
                  <a:tcPr marL="0" marR="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8868468"/>
                  </a:ext>
                </a:extLst>
              </a:tr>
              <a:tr h="268714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4.6%</a:t>
                      </a:r>
                    </a:p>
                  </a:txBody>
                  <a:tcPr marL="0" marR="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2377517"/>
                  </a:ext>
                </a:extLst>
              </a:tr>
              <a:tr h="268714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4.2%</a:t>
                      </a:r>
                    </a:p>
                  </a:txBody>
                  <a:tcPr marL="0" marR="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8524382"/>
                  </a:ext>
                </a:extLst>
              </a:tr>
              <a:tr h="268714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1.1%</a:t>
                      </a:r>
                    </a:p>
                  </a:txBody>
                  <a:tcPr marL="0" marR="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11634"/>
                  </a:ext>
                </a:extLst>
              </a:tr>
              <a:tr h="268714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6%</a:t>
                      </a:r>
                    </a:p>
                  </a:txBody>
                  <a:tcPr marL="0" marR="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1856850"/>
                  </a:ext>
                </a:extLst>
              </a:tr>
              <a:tr h="268714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3%</a:t>
                      </a:r>
                    </a:p>
                  </a:txBody>
                  <a:tcPr marL="0" marR="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1439186"/>
                  </a:ext>
                </a:extLst>
              </a:tr>
              <a:tr h="268714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1%</a:t>
                      </a:r>
                    </a:p>
                  </a:txBody>
                  <a:tcPr marL="0" marR="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0463918"/>
                  </a:ext>
                </a:extLst>
              </a:tr>
              <a:tr h="268714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1%</a:t>
                      </a:r>
                    </a:p>
                  </a:txBody>
                  <a:tcPr marL="0" marR="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5681654"/>
                  </a:ext>
                </a:extLst>
              </a:tr>
              <a:tr h="268714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1%</a:t>
                      </a:r>
                    </a:p>
                  </a:txBody>
                  <a:tcPr marL="0" marR="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0529303"/>
                  </a:ext>
                </a:extLst>
              </a:tr>
              <a:tr h="268714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0%</a:t>
                      </a:r>
                    </a:p>
                  </a:txBody>
                  <a:tcPr marL="0" marR="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5915936"/>
                  </a:ext>
                </a:extLst>
              </a:tr>
              <a:tr h="268714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0%</a:t>
                      </a:r>
                    </a:p>
                  </a:txBody>
                  <a:tcPr marL="0" marR="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484691"/>
                  </a:ext>
                </a:extLst>
              </a:tr>
            </a:tbl>
          </a:graphicData>
        </a:graphic>
      </p:graphicFrame>
      <p:sp>
        <p:nvSpPr>
          <p:cNvPr id="7" name="TextBox 34">
            <a:extLst>
              <a:ext uri="{FF2B5EF4-FFF2-40B4-BE49-F238E27FC236}">
                <a16:creationId xmlns:a16="http://schemas.microsoft.com/office/drawing/2014/main" id="{51481F2A-A6C9-4950-32FF-23ECDE0AC7EE}"/>
              </a:ext>
            </a:extLst>
          </p:cNvPr>
          <p:cNvSpPr txBox="1"/>
          <p:nvPr/>
        </p:nvSpPr>
        <p:spPr>
          <a:xfrm>
            <a:off x="3744436" y="1350322"/>
            <a:ext cx="52407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400" b="1" dirty="0">
                <a:latin typeface="Montserrat" pitchFamily="2" charset="77"/>
              </a:rPr>
              <a:t>   184,260 miles USD$ </a:t>
            </a:r>
            <a:endParaRPr lang="en-US" sz="2400" b="1" dirty="0">
              <a:latin typeface="Montserrat" pitchFamily="2" charset="77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5E5B592E-E535-18FB-61F4-5BB0C6461694}"/>
              </a:ext>
            </a:extLst>
          </p:cNvPr>
          <p:cNvSpPr/>
          <p:nvPr/>
        </p:nvSpPr>
        <p:spPr>
          <a:xfrm>
            <a:off x="184732" y="2316218"/>
            <a:ext cx="11351554" cy="1600438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4AEDD0BF-E819-79F5-B613-FE199C2469E7}"/>
              </a:ext>
            </a:extLst>
          </p:cNvPr>
          <p:cNvSpPr txBox="1"/>
          <p:nvPr/>
        </p:nvSpPr>
        <p:spPr>
          <a:xfrm>
            <a:off x="6128804" y="4165003"/>
            <a:ext cx="551805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fontAlgn="base"/>
            <a:r>
              <a:rPr lang="es-MX" sz="1600" b="1" dirty="0">
                <a:solidFill>
                  <a:srgbClr val="666666"/>
                </a:solidFill>
                <a:latin typeface="Century Gothic" panose="020B0502020202020204" pitchFamily="34" charset="0"/>
              </a:rPr>
              <a:t>Portugal, Chile, México y Colombia  - </a:t>
            </a:r>
            <a:r>
              <a:rPr lang="es-MX" sz="1600" dirty="0">
                <a:solidFill>
                  <a:srgbClr val="666666"/>
                </a:solidFill>
                <a:latin typeface="Century Gothic" panose="020B0502020202020204" pitchFamily="34" charset="0"/>
              </a:rPr>
              <a:t>Public guarantee funds independent or managed by Development Banks.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5078DA7F-1CA4-12A5-2B72-B4C9B3B146E1}"/>
              </a:ext>
            </a:extLst>
          </p:cNvPr>
          <p:cNvSpPr/>
          <p:nvPr/>
        </p:nvSpPr>
        <p:spPr>
          <a:xfrm>
            <a:off x="5792666" y="4265999"/>
            <a:ext cx="284267" cy="167269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s-MX" sz="1600"/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A4B7A113-5FBC-6F36-CF0E-41B46AA77A6E}"/>
              </a:ext>
            </a:extLst>
          </p:cNvPr>
          <p:cNvSpPr txBox="1"/>
          <p:nvPr/>
        </p:nvSpPr>
        <p:spPr>
          <a:xfrm>
            <a:off x="6096000" y="5147161"/>
            <a:ext cx="546258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MX" sz="1600" b="1" dirty="0">
                <a:solidFill>
                  <a:srgbClr val="666666"/>
                </a:solidFill>
                <a:latin typeface="Century Gothic" panose="020B0502020202020204" pitchFamily="34" charset="0"/>
              </a:rPr>
              <a:t>Argentina – </a:t>
            </a:r>
            <a:r>
              <a:rPr lang="es-MX" sz="1600" dirty="0">
                <a:solidFill>
                  <a:srgbClr val="666666"/>
                </a:solidFill>
                <a:latin typeface="Century Gothic" panose="020B0502020202020204" pitchFamily="34" charset="0"/>
              </a:rPr>
              <a:t>Public Guarantee Funds and Mutual Guarantee Societies</a:t>
            </a:r>
            <a:endParaRPr lang="es-MX" sz="1600" dirty="0"/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2B4988F8-9E88-A242-7C4B-2320FFF62A72}"/>
              </a:ext>
            </a:extLst>
          </p:cNvPr>
          <p:cNvSpPr/>
          <p:nvPr/>
        </p:nvSpPr>
        <p:spPr>
          <a:xfrm>
            <a:off x="5789628" y="5303057"/>
            <a:ext cx="284267" cy="167269"/>
          </a:xfrm>
          <a:prstGeom prst="rect">
            <a:avLst/>
          </a:prstGeom>
          <a:gradFill flip="none" rotWithShape="1">
            <a:gsLst>
              <a:gs pos="0">
                <a:srgbClr val="3FA8E3">
                  <a:shade val="30000"/>
                  <a:satMod val="115000"/>
                </a:srgbClr>
              </a:gs>
              <a:gs pos="50000">
                <a:srgbClr val="3FA8E3">
                  <a:shade val="67500"/>
                  <a:satMod val="115000"/>
                </a:srgbClr>
              </a:gs>
              <a:gs pos="100000">
                <a:srgbClr val="3FA8E3">
                  <a:shade val="100000"/>
                  <a:satMod val="115000"/>
                </a:srgb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s-MX" sz="1600"/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C01AA957-EABA-CF34-5C1F-20489B83C81E}"/>
              </a:ext>
            </a:extLst>
          </p:cNvPr>
          <p:cNvSpPr txBox="1"/>
          <p:nvPr/>
        </p:nvSpPr>
        <p:spPr>
          <a:xfrm>
            <a:off x="6128804" y="5757448"/>
            <a:ext cx="546258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MX" sz="1600" b="1" dirty="0">
                <a:solidFill>
                  <a:srgbClr val="666666"/>
                </a:solidFill>
                <a:latin typeface="Century Gothic" panose="020B0502020202020204" pitchFamily="34" charset="0"/>
              </a:rPr>
              <a:t>Brasil y España – </a:t>
            </a:r>
            <a:r>
              <a:rPr lang="es-MX" sz="1600" dirty="0">
                <a:solidFill>
                  <a:srgbClr val="666666"/>
                </a:solidFill>
                <a:latin typeface="Century Gothic" panose="020B0502020202020204" pitchFamily="34" charset="0"/>
              </a:rPr>
              <a:t> Reciprocal Guarantee Companies and Public Banking</a:t>
            </a:r>
            <a:endParaRPr lang="es-MX" sz="1600" dirty="0"/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05A5F741-1997-2E5C-1B30-FC6B171B807B}"/>
              </a:ext>
            </a:extLst>
          </p:cNvPr>
          <p:cNvSpPr/>
          <p:nvPr/>
        </p:nvSpPr>
        <p:spPr>
          <a:xfrm>
            <a:off x="5789628" y="5856273"/>
            <a:ext cx="284267" cy="167269"/>
          </a:xfrm>
          <a:prstGeom prst="rect">
            <a:avLst/>
          </a:prstGeom>
          <a:gradFill flip="none" rotWithShape="1">
            <a:gsLst>
              <a:gs pos="0">
                <a:srgbClr val="3FA8E3">
                  <a:shade val="30000"/>
                  <a:satMod val="115000"/>
                </a:srgbClr>
              </a:gs>
              <a:gs pos="50000">
                <a:srgbClr val="3FA8E3">
                  <a:shade val="67500"/>
                  <a:satMod val="115000"/>
                </a:srgbClr>
              </a:gs>
              <a:gs pos="100000">
                <a:srgbClr val="3FA8E3">
                  <a:shade val="100000"/>
                  <a:satMod val="115000"/>
                </a:srgb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s-MX" sz="160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1D2BF530-476D-722F-89D4-A13A489831D8}"/>
              </a:ext>
            </a:extLst>
          </p:cNvPr>
          <p:cNvSpPr txBox="1"/>
          <p:nvPr/>
        </p:nvSpPr>
        <p:spPr>
          <a:xfrm>
            <a:off x="254165" y="6575663"/>
            <a:ext cx="978575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050" dirty="0">
                <a:solidFill>
                  <a:schemeClr val="bg1">
                    <a:lumMod val="95000"/>
                  </a:schemeClr>
                </a:solidFill>
                <a:latin typeface="ArialMT"/>
              </a:rPr>
              <a:t>Source: REGAR with data from the statistics of the activity of the guarantees 2021
</a:t>
            </a:r>
            <a:endParaRPr lang="es-MX" sz="1050" b="1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70444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:a16="http://schemas.microsoft.com/office/drawing/2014/main" id="{AA1F050C-869B-56AA-E479-DB3A49A5C8F0}"/>
              </a:ext>
            </a:extLst>
          </p:cNvPr>
          <p:cNvSpPr/>
          <p:nvPr/>
        </p:nvSpPr>
        <p:spPr>
          <a:xfrm rot="5400000">
            <a:off x="5964199" y="617580"/>
            <a:ext cx="296042" cy="12200695"/>
          </a:xfrm>
          <a:prstGeom prst="rect">
            <a:avLst/>
          </a:prstGeom>
          <a:gradFill flip="none" rotWithShape="1">
            <a:gsLst>
              <a:gs pos="69000">
                <a:srgbClr val="0070C0"/>
              </a:gs>
              <a:gs pos="0">
                <a:srgbClr val="00B0F0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95AE589C-DD87-3590-1E38-A439EA5F6D88}"/>
              </a:ext>
            </a:extLst>
          </p:cNvPr>
          <p:cNvSpPr txBox="1"/>
          <p:nvPr/>
        </p:nvSpPr>
        <p:spPr>
          <a:xfrm>
            <a:off x="492233" y="6394669"/>
            <a:ext cx="18224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20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318A58F7-3EC7-20D7-B17B-D3015E5FC168}"/>
              </a:ext>
            </a:extLst>
          </p:cNvPr>
          <p:cNvSpPr txBox="1"/>
          <p:nvPr/>
        </p:nvSpPr>
        <p:spPr>
          <a:xfrm>
            <a:off x="5627727" y="6297697"/>
            <a:ext cx="12954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6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6E39AC5C-3BBC-32D5-0AD6-A1FE8FA327B1}"/>
              </a:ext>
            </a:extLst>
          </p:cNvPr>
          <p:cNvSpPr txBox="1"/>
          <p:nvPr/>
        </p:nvSpPr>
        <p:spPr>
          <a:xfrm>
            <a:off x="10054266" y="6340002"/>
            <a:ext cx="182242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2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CC995FCB-12CF-45CD-3A36-3198F52C89E6}"/>
              </a:ext>
            </a:extLst>
          </p:cNvPr>
          <p:cNvSpPr txBox="1"/>
          <p:nvPr/>
        </p:nvSpPr>
        <p:spPr>
          <a:xfrm>
            <a:off x="3965852" y="6321505"/>
            <a:ext cx="12954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28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E41E443E-13C8-50C3-C45D-A57CC53B3D65}"/>
              </a:ext>
            </a:extLst>
          </p:cNvPr>
          <p:cNvSpPr txBox="1"/>
          <p:nvPr/>
        </p:nvSpPr>
        <p:spPr>
          <a:xfrm>
            <a:off x="2497999" y="6421542"/>
            <a:ext cx="159438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300"/>
            </a:pPr>
            <a:r>
              <a:rPr lang="es-CO" sz="3200" b="1" dirty="0">
                <a:solidFill>
                  <a:schemeClr val="bg1">
                    <a:alpha val="13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2023</a:t>
            </a: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9C79C619-BCE7-4F15-5568-1A829AFACD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165" y="144148"/>
            <a:ext cx="1751280" cy="803065"/>
          </a:xfrm>
          <a:prstGeom prst="rect">
            <a:avLst/>
          </a:prstGeom>
        </p:spPr>
      </p:pic>
      <p:sp>
        <p:nvSpPr>
          <p:cNvPr id="28" name="Título 1">
            <a:extLst>
              <a:ext uri="{FF2B5EF4-FFF2-40B4-BE49-F238E27FC236}">
                <a16:creationId xmlns:a16="http://schemas.microsoft.com/office/drawing/2014/main" id="{20AC56E9-FCEB-3C87-B59A-68F27CBCA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8207" y="254135"/>
            <a:ext cx="9799628" cy="622818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r"/>
            <a:r>
              <a:rPr lang="es-MX" sz="20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CREDIT BALANCE MOBILISED 2021</a:t>
            </a:r>
            <a:br>
              <a:rPr lang="es-MX" sz="2000" b="1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</a:br>
            <a:r>
              <a:rPr lang="es-MX" sz="2000" dirty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rPr>
              <a:t> RELEVANT PARTICIPATION OF GUARANTEE FUNDS
</a:t>
            </a:r>
          </a:p>
        </p:txBody>
      </p:sp>
      <p:graphicFrame>
        <p:nvGraphicFramePr>
          <p:cNvPr id="29" name="Gráfico 28">
            <a:extLst>
              <a:ext uri="{FF2B5EF4-FFF2-40B4-BE49-F238E27FC236}">
                <a16:creationId xmlns:a16="http://schemas.microsoft.com/office/drawing/2014/main" id="{62ACF431-5469-3801-B5E0-A42C7586E00A}"/>
              </a:ext>
            </a:extLst>
          </p:cNvPr>
          <p:cNvGraphicFramePr>
            <a:graphicFrameLocks/>
          </p:cNvGraphicFramePr>
          <p:nvPr/>
        </p:nvGraphicFramePr>
        <p:xfrm>
          <a:off x="867544" y="1973710"/>
          <a:ext cx="9917116" cy="4222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0" name="TextBox 22">
            <a:extLst>
              <a:ext uri="{FF2B5EF4-FFF2-40B4-BE49-F238E27FC236}">
                <a16:creationId xmlns:a16="http://schemas.microsoft.com/office/drawing/2014/main" id="{EE29C2AE-4C5B-23A6-2EF3-B409F1D071DC}"/>
              </a:ext>
            </a:extLst>
          </p:cNvPr>
          <p:cNvSpPr txBox="1"/>
          <p:nvPr/>
        </p:nvSpPr>
        <p:spPr>
          <a:xfrm>
            <a:off x="207034" y="1790416"/>
            <a:ext cx="662794" cy="369332"/>
          </a:xfrm>
          <a:prstGeom prst="rect">
            <a:avLst/>
          </a:prstGeom>
          <a:solidFill>
            <a:srgbClr val="21880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MX" sz="900">
                <a:solidFill>
                  <a:schemeClr val="bg1"/>
                </a:solidFill>
                <a:latin typeface="Montserrat" pitchFamily="2" charset="77"/>
              </a:rPr>
              <a:t>%</a:t>
            </a:r>
          </a:p>
          <a:p>
            <a:pPr algn="ctr"/>
            <a:r>
              <a:rPr lang="es-MX" sz="900">
                <a:solidFill>
                  <a:schemeClr val="bg1"/>
                </a:solidFill>
                <a:latin typeface="Montserrat" pitchFamily="2" charset="77"/>
              </a:rPr>
              <a:t>TOTAL</a:t>
            </a:r>
            <a:endParaRPr lang="en-US" sz="900">
              <a:solidFill>
                <a:schemeClr val="bg1"/>
              </a:solidFill>
              <a:latin typeface="Montserrat" pitchFamily="2" charset="77"/>
            </a:endParaRPr>
          </a:p>
        </p:txBody>
      </p:sp>
      <p:sp>
        <p:nvSpPr>
          <p:cNvPr id="31" name="TextBox 34">
            <a:extLst>
              <a:ext uri="{FF2B5EF4-FFF2-40B4-BE49-F238E27FC236}">
                <a16:creationId xmlns:a16="http://schemas.microsoft.com/office/drawing/2014/main" id="{7002CE95-DCE2-ADF3-A4ED-1CB458F55421}"/>
              </a:ext>
            </a:extLst>
          </p:cNvPr>
          <p:cNvSpPr txBox="1"/>
          <p:nvPr/>
        </p:nvSpPr>
        <p:spPr>
          <a:xfrm>
            <a:off x="3126729" y="1321224"/>
            <a:ext cx="63445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400" b="1" dirty="0">
                <a:latin typeface="Montserrat" pitchFamily="2" charset="77"/>
              </a:rPr>
              <a:t>  241,236 miles US$ </a:t>
            </a:r>
            <a:endParaRPr lang="en-US" sz="2400" b="1" dirty="0">
              <a:latin typeface="Montserrat" pitchFamily="2" charset="77"/>
            </a:endParaRPr>
          </a:p>
        </p:txBody>
      </p:sp>
      <p:sp>
        <p:nvSpPr>
          <p:cNvPr id="33" name="TextBox 8">
            <a:extLst>
              <a:ext uri="{FF2B5EF4-FFF2-40B4-BE49-F238E27FC236}">
                <a16:creationId xmlns:a16="http://schemas.microsoft.com/office/drawing/2014/main" id="{2A8CB4C7-A42B-821C-B3D2-FFD310127F7F}"/>
              </a:ext>
            </a:extLst>
          </p:cNvPr>
          <p:cNvSpPr txBox="1"/>
          <p:nvPr/>
        </p:nvSpPr>
        <p:spPr>
          <a:xfrm>
            <a:off x="921588" y="1782889"/>
            <a:ext cx="891789" cy="369332"/>
          </a:xfrm>
          <a:prstGeom prst="rect">
            <a:avLst/>
          </a:prstGeom>
          <a:solidFill>
            <a:srgbClr val="21880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MX" sz="900" dirty="0">
                <a:solidFill>
                  <a:schemeClr val="bg1"/>
                </a:solidFill>
                <a:latin typeface="Montserrat" pitchFamily="2" charset="77"/>
              </a:rPr>
              <a:t>COUNTRY(No. Entes)</a:t>
            </a:r>
            <a:endParaRPr lang="en-US" sz="900" dirty="0">
              <a:solidFill>
                <a:schemeClr val="bg1"/>
              </a:solidFill>
              <a:latin typeface="Montserrat" pitchFamily="2" charset="77"/>
            </a:endParaRPr>
          </a:p>
        </p:txBody>
      </p:sp>
      <p:graphicFrame>
        <p:nvGraphicFramePr>
          <p:cNvPr id="34" name="Tabla 33">
            <a:extLst>
              <a:ext uri="{FF2B5EF4-FFF2-40B4-BE49-F238E27FC236}">
                <a16:creationId xmlns:a16="http://schemas.microsoft.com/office/drawing/2014/main" id="{9134049D-58E0-F79F-B4CF-55CD7E2AC63E}"/>
              </a:ext>
            </a:extLst>
          </p:cNvPr>
          <p:cNvGraphicFramePr>
            <a:graphicFrameLocks noGrp="1"/>
          </p:cNvGraphicFramePr>
          <p:nvPr/>
        </p:nvGraphicFramePr>
        <p:xfrm>
          <a:off x="241500" y="2276839"/>
          <a:ext cx="626043" cy="3768646"/>
        </p:xfrm>
        <a:graphic>
          <a:graphicData uri="http://schemas.openxmlformats.org/drawingml/2006/table">
            <a:tbl>
              <a:tblPr/>
              <a:tblGrid>
                <a:gridCol w="626043">
                  <a:extLst>
                    <a:ext uri="{9D8B030D-6E8A-4147-A177-3AD203B41FA5}">
                      <a16:colId xmlns:a16="http://schemas.microsoft.com/office/drawing/2014/main" val="2240402295"/>
                    </a:ext>
                  </a:extLst>
                </a:gridCol>
              </a:tblGrid>
              <a:tr h="269189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66.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1871046"/>
                  </a:ext>
                </a:extLst>
              </a:tr>
              <a:tr h="269189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8.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6535524"/>
                  </a:ext>
                </a:extLst>
              </a:tr>
              <a:tr h="269189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7.2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044466"/>
                  </a:ext>
                </a:extLst>
              </a:tr>
              <a:tr h="269189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6.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3417"/>
                  </a:ext>
                </a:extLst>
              </a:tr>
              <a:tr h="269189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5.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4558091"/>
                  </a:ext>
                </a:extLst>
              </a:tr>
              <a:tr h="269189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4.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918068"/>
                  </a:ext>
                </a:extLst>
              </a:tr>
              <a:tr h="269189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860652"/>
                  </a:ext>
                </a:extLst>
              </a:tr>
              <a:tr h="269189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698924"/>
                  </a:ext>
                </a:extLst>
              </a:tr>
              <a:tr h="269189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3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93780"/>
                  </a:ext>
                </a:extLst>
              </a:tr>
              <a:tr h="269189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8303704"/>
                  </a:ext>
                </a:extLst>
              </a:tr>
              <a:tr h="269189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2721976"/>
                  </a:ext>
                </a:extLst>
              </a:tr>
              <a:tr h="269189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0898036"/>
                  </a:ext>
                </a:extLst>
              </a:tr>
              <a:tr h="269189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418215"/>
                  </a:ext>
                </a:extLst>
              </a:tr>
              <a:tr h="269189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ontserrat" pitchFamily="2" charset="77"/>
                        </a:rPr>
                        <a:t>0.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61841"/>
                  </a:ext>
                </a:extLst>
              </a:tr>
            </a:tbl>
          </a:graphicData>
        </a:graphic>
      </p:graphicFrame>
      <p:sp>
        <p:nvSpPr>
          <p:cNvPr id="36" name="Rectángulo 35">
            <a:extLst>
              <a:ext uri="{FF2B5EF4-FFF2-40B4-BE49-F238E27FC236}">
                <a16:creationId xmlns:a16="http://schemas.microsoft.com/office/drawing/2014/main" id="{EA780BA7-17D9-6C4A-3510-DCF8D39FDC09}"/>
              </a:ext>
            </a:extLst>
          </p:cNvPr>
          <p:cNvSpPr/>
          <p:nvPr/>
        </p:nvSpPr>
        <p:spPr>
          <a:xfrm>
            <a:off x="207034" y="2196928"/>
            <a:ext cx="11351554" cy="168788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094E760B-0EDE-77E0-5517-749DBB1D9501}"/>
              </a:ext>
            </a:extLst>
          </p:cNvPr>
          <p:cNvSpPr txBox="1"/>
          <p:nvPr/>
        </p:nvSpPr>
        <p:spPr>
          <a:xfrm>
            <a:off x="6128804" y="4165003"/>
            <a:ext cx="551805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fontAlgn="base"/>
            <a:r>
              <a:rPr lang="es-MX" sz="1600" b="1" dirty="0">
                <a:solidFill>
                  <a:srgbClr val="666666"/>
                </a:solidFill>
                <a:latin typeface="Century Gothic" panose="020B0502020202020204" pitchFamily="34" charset="0"/>
              </a:rPr>
              <a:t>Portugal, Chile, México y Colombia  - </a:t>
            </a:r>
            <a:r>
              <a:rPr lang="es-MX" sz="1600" dirty="0">
                <a:solidFill>
                  <a:srgbClr val="666666"/>
                </a:solidFill>
                <a:latin typeface="Century Gothic" panose="020B0502020202020204" pitchFamily="34" charset="0"/>
              </a:rPr>
              <a:t>Public guarantee funds independent or managed by Development Banks.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95DF7059-3F5A-B62E-2908-EA758FD335FB}"/>
              </a:ext>
            </a:extLst>
          </p:cNvPr>
          <p:cNvSpPr/>
          <p:nvPr/>
        </p:nvSpPr>
        <p:spPr>
          <a:xfrm>
            <a:off x="5792666" y="4265999"/>
            <a:ext cx="284267" cy="167269"/>
          </a:xfrm>
          <a:prstGeom prst="rect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s-MX" sz="160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E1E6ED83-2FC8-8F48-058A-E17B87DB89DB}"/>
              </a:ext>
            </a:extLst>
          </p:cNvPr>
          <p:cNvSpPr txBox="1"/>
          <p:nvPr/>
        </p:nvSpPr>
        <p:spPr>
          <a:xfrm>
            <a:off x="6096000" y="5147161"/>
            <a:ext cx="546258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MX" sz="1600" b="1" dirty="0">
                <a:solidFill>
                  <a:srgbClr val="666666"/>
                </a:solidFill>
                <a:latin typeface="Century Gothic" panose="020B0502020202020204" pitchFamily="34" charset="0"/>
              </a:rPr>
              <a:t>Argentina – </a:t>
            </a:r>
            <a:r>
              <a:rPr lang="es-MX" sz="1600" dirty="0">
                <a:solidFill>
                  <a:srgbClr val="666666"/>
                </a:solidFill>
                <a:latin typeface="Century Gothic" panose="020B0502020202020204" pitchFamily="34" charset="0"/>
              </a:rPr>
              <a:t>Public Guarantee Funds and Mutual Guarantee Societies</a:t>
            </a:r>
            <a:endParaRPr lang="es-MX" sz="1600" dirty="0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7A50F7BD-6120-1872-9F98-71866B5712FC}"/>
              </a:ext>
            </a:extLst>
          </p:cNvPr>
          <p:cNvSpPr/>
          <p:nvPr/>
        </p:nvSpPr>
        <p:spPr>
          <a:xfrm>
            <a:off x="5789628" y="5303057"/>
            <a:ext cx="284267" cy="167269"/>
          </a:xfrm>
          <a:prstGeom prst="rect">
            <a:avLst/>
          </a:prstGeom>
          <a:gradFill flip="none" rotWithShape="1">
            <a:gsLst>
              <a:gs pos="0">
                <a:srgbClr val="3FA8E3">
                  <a:shade val="30000"/>
                  <a:satMod val="115000"/>
                </a:srgbClr>
              </a:gs>
              <a:gs pos="50000">
                <a:srgbClr val="3FA8E3">
                  <a:shade val="67500"/>
                  <a:satMod val="115000"/>
                </a:srgbClr>
              </a:gs>
              <a:gs pos="100000">
                <a:srgbClr val="3FA8E3">
                  <a:shade val="100000"/>
                  <a:satMod val="115000"/>
                </a:srgb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s-MX" sz="160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270005A3-2202-5B0D-6EB8-F343A97EB493}"/>
              </a:ext>
            </a:extLst>
          </p:cNvPr>
          <p:cNvSpPr txBox="1"/>
          <p:nvPr/>
        </p:nvSpPr>
        <p:spPr>
          <a:xfrm>
            <a:off x="6128804" y="5757448"/>
            <a:ext cx="546258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MX" sz="1600" b="1" dirty="0">
                <a:solidFill>
                  <a:srgbClr val="666666"/>
                </a:solidFill>
                <a:latin typeface="Century Gothic" panose="020B0502020202020204" pitchFamily="34" charset="0"/>
              </a:rPr>
              <a:t>Brasil y España – </a:t>
            </a:r>
            <a:r>
              <a:rPr lang="es-MX" sz="1600" dirty="0">
                <a:solidFill>
                  <a:srgbClr val="666666"/>
                </a:solidFill>
                <a:latin typeface="Century Gothic" panose="020B0502020202020204" pitchFamily="34" charset="0"/>
              </a:rPr>
              <a:t> Reciprocal Guarantee Companies and Public Banking</a:t>
            </a:r>
            <a:endParaRPr lang="es-MX" sz="1600" dirty="0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567C253-844D-F697-969A-97138B6F042D}"/>
              </a:ext>
            </a:extLst>
          </p:cNvPr>
          <p:cNvSpPr/>
          <p:nvPr/>
        </p:nvSpPr>
        <p:spPr>
          <a:xfrm>
            <a:off x="5789628" y="5856273"/>
            <a:ext cx="284267" cy="167269"/>
          </a:xfrm>
          <a:prstGeom prst="rect">
            <a:avLst/>
          </a:prstGeom>
          <a:gradFill flip="none" rotWithShape="1">
            <a:gsLst>
              <a:gs pos="0">
                <a:srgbClr val="3FA8E3">
                  <a:shade val="30000"/>
                  <a:satMod val="115000"/>
                </a:srgbClr>
              </a:gs>
              <a:gs pos="50000">
                <a:srgbClr val="3FA8E3">
                  <a:shade val="67500"/>
                  <a:satMod val="115000"/>
                </a:srgbClr>
              </a:gs>
              <a:gs pos="100000">
                <a:srgbClr val="3FA8E3">
                  <a:shade val="100000"/>
                  <a:satMod val="115000"/>
                </a:srgb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es-MX" sz="1600"/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1CFDC1A8-5C30-2793-9153-8524AE3CE201}"/>
              </a:ext>
            </a:extLst>
          </p:cNvPr>
          <p:cNvSpPr txBox="1"/>
          <p:nvPr/>
        </p:nvSpPr>
        <p:spPr>
          <a:xfrm>
            <a:off x="254165" y="6575663"/>
            <a:ext cx="978575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050" dirty="0">
                <a:solidFill>
                  <a:schemeClr val="bg1">
                    <a:lumMod val="95000"/>
                  </a:schemeClr>
                </a:solidFill>
                <a:latin typeface="ArialMT"/>
              </a:rPr>
              <a:t>Source: REGAR with data from the statistics of the activity of the guarantees 2021
</a:t>
            </a:r>
            <a:endParaRPr lang="es-MX" sz="1050" b="1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5452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NbC5T0PEOxMgJIEamR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.aWg3D1ketox04Otbz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j5QxSouU2ziTM7sMbz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CJ3eMUWEeK16JrIae7.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2ehMxkyXkOmlHhOb8S4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MU7pWwQEaXROBtDIRY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7__aemWkmxyCD9FjwDhg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strategia proyecto Inclusión Financiera-Microcrédito BID-FNG" id="{EAA77E83-9767-4942-9A44-8C37CB022AD6}" vid="{35010F8F-9840-8240-98D2-CC82FBB5BAF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Yu Gothic Light"/>
      <a:font script="Hang" typeface="맑은 고딕"/>
      <a:font script="Hans" typeface="DengXian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Yu Gothic"/>
      <a:font script="Hang" typeface="맑은 고딕"/>
      <a:font script="Hans" typeface="DengXian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1d0c5059-8818-4a43-9a41-da423b3159bd">EHANDWUMDYYX-1923883681-115824</_dlc_DocId>
    <_dlc_DocIdUrl xmlns="1d0c5059-8818-4a43-9a41-da423b3159bd">
      <Url>https://nafinsnc.sharepoint.com/DGADF/DD/SG/_layouts/15/DocIdRedir.aspx?ID=EHANDWUMDYYX-1923883681-115824</Url>
      <Description>EHANDWUMDYYX-1923883681-115824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7DF3CCE703EBB439D5910FE45F20556" ma:contentTypeVersion="12" ma:contentTypeDescription="Crear nuevo documento." ma:contentTypeScope="" ma:versionID="60712a1e9079624a84c151ab151f9dcb">
  <xsd:schema xmlns:xsd="http://www.w3.org/2001/XMLSchema" xmlns:xs="http://www.w3.org/2001/XMLSchema" xmlns:p="http://schemas.microsoft.com/office/2006/metadata/properties" xmlns:ns2="1d0c5059-8818-4a43-9a41-da423b3159bd" xmlns:ns3="4dd4be62-ce7f-47f5-baeb-040e81cab271" targetNamespace="http://schemas.microsoft.com/office/2006/metadata/properties" ma:root="true" ma:fieldsID="e6520c7de256ec775ba1977f270867d6" ns2:_="" ns3:_="">
    <xsd:import namespace="1d0c5059-8818-4a43-9a41-da423b3159bd"/>
    <xsd:import namespace="4dd4be62-ce7f-47f5-baeb-040e81cab271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2:SharedWithUsers" minOccurs="0"/>
                <xsd:element ref="ns2:SharedWithDetails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0c5059-8818-4a43-9a41-da423b3159bd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Valor de Id. de documento" ma:description="El valor del identificador de documento asignado a este elemento." ma:internalName="_dlc_DocId" ma:readOnly="true">
      <xsd:simpleType>
        <xsd:restriction base="dms:Text"/>
      </xsd:simpleType>
    </xsd:element>
    <xsd:element name="_dlc_DocIdUrl" ma:index="9" nillable="true" ma:displayName="Id. de documento" ma:description="Vínculo permanente a este documento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d4be62-ce7f-47f5-baeb-040e81cab27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83E5B2-099C-47A0-9B0D-5C6C5D4E351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289BED7-4C01-499C-9270-9C304596F997}">
  <ds:schemaRefs>
    <ds:schemaRef ds:uri="http://purl.org/dc/dcmitype/"/>
    <ds:schemaRef ds:uri="http://purl.org/dc/terms/"/>
    <ds:schemaRef ds:uri="http://schemas.microsoft.com/office/2006/metadata/properties"/>
    <ds:schemaRef ds:uri="1d0c5059-8818-4a43-9a41-da423b3159bd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4dd4be62-ce7f-47f5-baeb-040e81cab271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33893B4-9204-4D45-AC88-32C15D062F49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123F498B-75D1-4A46-B6B6-A34B6700312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d0c5059-8818-4a43-9a41-da423b3159bd"/>
    <ds:schemaRef ds:uri="4dd4be62-ce7f-47f5-baeb-040e81cab27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1153</TotalTime>
  <Words>1863</Words>
  <Application>Microsoft Macintosh PowerPoint</Application>
  <PresentationFormat>Panorámica</PresentationFormat>
  <Paragraphs>416</Paragraphs>
  <Slides>17</Slides>
  <Notes>5</Notes>
  <HiddenSlides>0</HiddenSlides>
  <MMClips>0</MMClips>
  <ScaleCrop>false</ScaleCrop>
  <HeadingPairs>
    <vt:vector size="6" baseType="variant">
      <vt:variant>
        <vt:lpstr>Fuentes usadas</vt:lpstr>
      </vt:variant>
      <vt:variant>
        <vt:i4>12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7</vt:i4>
      </vt:variant>
    </vt:vector>
  </HeadingPairs>
  <TitlesOfParts>
    <vt:vector size="30" baseType="lpstr">
      <vt:lpstr>Arial</vt:lpstr>
      <vt:lpstr>Arial MT</vt:lpstr>
      <vt:lpstr>Arial Narrow</vt:lpstr>
      <vt:lpstr>ArialMT</vt:lpstr>
      <vt:lpstr>Calibri</vt:lpstr>
      <vt:lpstr>Calibri Light</vt:lpstr>
      <vt:lpstr>Century Gothic</vt:lpstr>
      <vt:lpstr>Letra del sistema regular</vt:lpstr>
      <vt:lpstr>Montserrat</vt:lpstr>
      <vt:lpstr>SymbolMT</vt:lpstr>
      <vt:lpstr>Tahoma</vt:lpstr>
      <vt:lpstr>Times New Roman</vt:lpstr>
      <vt:lpstr>1_Tema de Office</vt:lpstr>
      <vt:lpstr>Presentación de PowerPoint</vt:lpstr>
      <vt:lpstr> THE IBEROAMERICAN NETWORK OF GUARANTEES - REGAR
</vt:lpstr>
      <vt:lpstr>Presentación de PowerPoint</vt:lpstr>
      <vt:lpstr>Presentación de PowerPoint</vt:lpstr>
      <vt:lpstr>Presentación de PowerPoint</vt:lpstr>
      <vt:lpstr>Presentación de PowerPoint</vt:lpstr>
      <vt:lpstr>GUARANTEE SCHEMES IN IBEROAMERICA  </vt:lpstr>
      <vt:lpstr>OUTSTANDING COLLATERAL BALANCE 2021
</vt:lpstr>
      <vt:lpstr>CREDIT BALANCE MOBILISED 2021  RELEVANT PARTICIPATION OF GUARANTEE FUNDS
</vt:lpstr>
      <vt:lpstr>NUMBER OF GUARANTEED MSMES (2021) COUNTRIES WITH PUBLIC GUARANTEE FUNDS STAND OUT WITH GREATER MASSIVENESS. </vt:lpstr>
      <vt:lpstr>Presentación de PowerPoint</vt:lpstr>
      <vt:lpstr>Presentación de PowerPoint</vt:lpstr>
      <vt:lpstr>Presentación de PowerPoint</vt:lpstr>
      <vt:lpstr>Presentación de PowerPoint</vt:lpstr>
      <vt:lpstr>MAIN REGULATORY HURDLES
</vt:lpstr>
      <vt:lpstr>MAIN CHALLENGES
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Usuario de Microsoft Office</dc:creator>
  <cp:lastModifiedBy>Stella Lozano</cp:lastModifiedBy>
  <cp:revision>294</cp:revision>
  <cp:lastPrinted>2022-04-19T14:01:45Z</cp:lastPrinted>
  <dcterms:created xsi:type="dcterms:W3CDTF">2019-08-28T00:08:55Z</dcterms:created>
  <dcterms:modified xsi:type="dcterms:W3CDTF">2023-06-16T09:16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DF3CCE703EBB439D5910FE45F20556</vt:lpwstr>
  </property>
  <property fmtid="{D5CDD505-2E9C-101B-9397-08002B2CF9AE}" pid="3" name="_dlc_DocIdItemGuid">
    <vt:lpwstr>e9eddf80-ff14-4453-9d84-c14cfcb81d84</vt:lpwstr>
  </property>
</Properties>
</file>